
<file path=[Content_Types].xml><?xml version="1.0" encoding="utf-8"?>
<Types xmlns="http://schemas.openxmlformats.org/package/2006/content-types"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notesSlides/notesSlide1.xml" ContentType="application/vnd.openxmlformats-officedocument.presentationml.notesSlide+xml"/>
  <Override PartName="/ppt/tags/tag2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3.xml" ContentType="application/vnd.openxmlformats-officedocument.presentationml.tags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1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 autoCompressPictures="0">
  <p:sldMasterIdLst>
    <p:sldMasterId id="2147483660" r:id="rId1"/>
    <p:sldMasterId id="2147483674" r:id="rId2"/>
  </p:sldMasterIdLst>
  <p:notesMasterIdLst>
    <p:notesMasterId r:id="rId25"/>
  </p:notesMasterIdLst>
  <p:sldIdLst>
    <p:sldId id="269" r:id="rId3"/>
    <p:sldId id="577" r:id="rId4"/>
    <p:sldId id="600" r:id="rId5"/>
    <p:sldId id="601" r:id="rId6"/>
    <p:sldId id="604" r:id="rId7"/>
    <p:sldId id="621" r:id="rId8"/>
    <p:sldId id="622" r:id="rId9"/>
    <p:sldId id="605" r:id="rId10"/>
    <p:sldId id="606" r:id="rId11"/>
    <p:sldId id="607" r:id="rId12"/>
    <p:sldId id="623" r:id="rId13"/>
    <p:sldId id="609" r:id="rId14"/>
    <p:sldId id="611" r:id="rId15"/>
    <p:sldId id="619" r:id="rId16"/>
    <p:sldId id="620" r:id="rId17"/>
    <p:sldId id="613" r:id="rId18"/>
    <p:sldId id="614" r:id="rId19"/>
    <p:sldId id="615" r:id="rId20"/>
    <p:sldId id="618" r:id="rId21"/>
    <p:sldId id="616" r:id="rId22"/>
    <p:sldId id="617" r:id="rId23"/>
    <p:sldId id="497" r:id="rId24"/>
  </p:sldIdLst>
  <p:sldSz cx="12192000" cy="6858000"/>
  <p:notesSz cx="6858000" cy="9144000"/>
  <p:embeddedFontLst>
    <p:embeddedFont>
      <p:font typeface="Akrobat" panose="00000600000000000000" pitchFamily="50" charset="-52"/>
      <p:regular r:id="rId26"/>
    </p:embeddedFont>
    <p:embeddedFont>
      <p:font typeface="Akrobat Bold" panose="00000800000000000000" pitchFamily="50" charset="-52"/>
      <p:bold r:id="rId27"/>
    </p:embeddedFont>
    <p:embeddedFont>
      <p:font typeface="Calibri" panose="020F0502020204030204" pitchFamily="34" charset="0"/>
      <p:regular r:id="rId28"/>
      <p:bold r:id="rId29"/>
      <p:italic r:id="rId30"/>
      <p:boldItalic r:id="rId31"/>
    </p:embeddedFont>
    <p:embeddedFont>
      <p:font typeface="Calibri Light" panose="020F0302020204030204" pitchFamily="34" charset="0"/>
      <p:regular r:id="rId32"/>
      <p:italic r:id="rId33"/>
    </p:embeddedFont>
    <p:embeddedFont>
      <p:font typeface="Poppins Bold" panose="00000800000000000000" pitchFamily="2" charset="0"/>
      <p:bold r:id="rId34"/>
    </p:embeddedFont>
    <p:embeddedFont>
      <p:font typeface="Roboto" pitchFamily="2" charset="0"/>
      <p:regular r:id="rId35"/>
      <p:bold r:id="rId36"/>
      <p:italic r:id="rId37"/>
      <p:boldItalic r:id="rId38"/>
    </p:embeddedFont>
    <p:embeddedFont>
      <p:font typeface="Roboto Light" panose="02000000000000000000" pitchFamily="2" charset="0"/>
      <p:regular r:id="rId39"/>
      <p:italic r:id="rId40"/>
    </p:embeddedFont>
    <p:embeddedFont>
      <p:font typeface="SB Sans Text" panose="020B0604020202020204" charset="-52"/>
      <p:regular r:id="rId41"/>
      <p:bold r:id="rId42"/>
      <p:italic r:id="rId43"/>
      <p:boldItalic r:id="rId44"/>
    </p:embeddedFont>
    <p:embeddedFont>
      <p:font typeface="SB Sans Text Light" panose="020B0604020202020204" charset="-52"/>
      <p:regular r:id="rId45"/>
      <p:italic r:id="rId46"/>
    </p:embeddedFont>
    <p:embeddedFont>
      <p:font typeface="SB Sans Text Medium" panose="020B0604020202020204" charset="-52"/>
      <p:regular r:id="rId47"/>
    </p:embeddedFont>
  </p:embeddedFontLst>
  <p:defaultTextStyle>
    <a:defPPr>
      <a:defRPr lang="en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2648" autoAdjust="0"/>
    <p:restoredTop sz="88058" autoAdjust="0"/>
  </p:normalViewPr>
  <p:slideViewPr>
    <p:cSldViewPr snapToGrid="0">
      <p:cViewPr varScale="1">
        <p:scale>
          <a:sx n="72" d="100"/>
          <a:sy n="72" d="100"/>
        </p:scale>
        <p:origin x="1210" y="62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font" Target="fonts/font1.fntdata"/><Relationship Id="rId39" Type="http://schemas.openxmlformats.org/officeDocument/2006/relationships/font" Target="fonts/font14.fntdata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34" Type="http://schemas.openxmlformats.org/officeDocument/2006/relationships/font" Target="fonts/font9.fntdata"/><Relationship Id="rId42" Type="http://schemas.openxmlformats.org/officeDocument/2006/relationships/font" Target="fonts/font17.fntdata"/><Relationship Id="rId47" Type="http://schemas.openxmlformats.org/officeDocument/2006/relationships/font" Target="fonts/font22.fntdata"/><Relationship Id="rId50" Type="http://schemas.openxmlformats.org/officeDocument/2006/relationships/theme" Target="theme/theme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notesMaster" Target="notesMasters/notesMaster1.xml"/><Relationship Id="rId33" Type="http://schemas.openxmlformats.org/officeDocument/2006/relationships/font" Target="fonts/font8.fntdata"/><Relationship Id="rId38" Type="http://schemas.openxmlformats.org/officeDocument/2006/relationships/font" Target="fonts/font13.fntdata"/><Relationship Id="rId46" Type="http://schemas.openxmlformats.org/officeDocument/2006/relationships/font" Target="fonts/font21.fntdata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font" Target="fonts/font4.fntdata"/><Relationship Id="rId41" Type="http://schemas.openxmlformats.org/officeDocument/2006/relationships/font" Target="fonts/font16.fntdata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font" Target="fonts/font7.fntdata"/><Relationship Id="rId37" Type="http://schemas.openxmlformats.org/officeDocument/2006/relationships/font" Target="fonts/font12.fntdata"/><Relationship Id="rId40" Type="http://schemas.openxmlformats.org/officeDocument/2006/relationships/font" Target="fonts/font15.fntdata"/><Relationship Id="rId45" Type="http://schemas.openxmlformats.org/officeDocument/2006/relationships/font" Target="fonts/font20.fntdata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font" Target="fonts/font3.fntdata"/><Relationship Id="rId36" Type="http://schemas.openxmlformats.org/officeDocument/2006/relationships/font" Target="fonts/font11.fntdata"/><Relationship Id="rId49" Type="http://schemas.openxmlformats.org/officeDocument/2006/relationships/viewProps" Target="viewProps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font" Target="fonts/font6.fntdata"/><Relationship Id="rId44" Type="http://schemas.openxmlformats.org/officeDocument/2006/relationships/font" Target="fonts/font19.fntdata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font" Target="fonts/font2.fntdata"/><Relationship Id="rId30" Type="http://schemas.openxmlformats.org/officeDocument/2006/relationships/font" Target="fonts/font5.fntdata"/><Relationship Id="rId35" Type="http://schemas.openxmlformats.org/officeDocument/2006/relationships/font" Target="fonts/font10.fntdata"/><Relationship Id="rId43" Type="http://schemas.openxmlformats.org/officeDocument/2006/relationships/font" Target="fonts/font18.fntdata"/><Relationship Id="rId48" Type="http://schemas.openxmlformats.org/officeDocument/2006/relationships/presProps" Target="presProps.xml"/><Relationship Id="rId8" Type="http://schemas.openxmlformats.org/officeDocument/2006/relationships/slide" Target="slides/slide6.xml"/><Relationship Id="rId51" Type="http://schemas.openxmlformats.org/officeDocument/2006/relationships/tableStyles" Target="tableStyle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C8FF617-208D-4B3A-A0E6-D63C1A834245}" type="datetimeFigureOut">
              <a:rPr lang="ru-RU" smtClean="0"/>
              <a:t>18.09.2023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1925B17-9D05-465B-B47E-FBD2CE447C1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8470490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1925B17-9D05-465B-B47E-FBD2CE447C1C}" type="slidenum">
              <a:rPr lang="ru-RU" smtClean="0"/>
              <a:t>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617025946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3C0F2BB-195B-475C-89DD-9A3483B6C545}" type="slidenum">
              <a:rPr lang="ru-RU" smtClean="0"/>
              <a:t>2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0625505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1925B17-9D05-465B-B47E-FBD2CE447C1C}" type="slidenum">
              <a:rPr lang="ru-RU" smtClean="0"/>
              <a:t>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8778805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1925B17-9D05-465B-B47E-FBD2CE447C1C}" type="slidenum">
              <a:rPr lang="ru-RU" smtClean="0"/>
              <a:t>4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3818715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1925B17-9D05-465B-B47E-FBD2CE447C1C}" type="slidenum">
              <a:rPr lang="ru-RU" smtClean="0"/>
              <a:t>8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8353250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1925B17-9D05-465B-B47E-FBD2CE447C1C}" type="slidenum">
              <a:rPr lang="ru-RU" smtClean="0"/>
              <a:t>16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13353028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1925B17-9D05-465B-B47E-FBD2CE447C1C}" type="slidenum">
              <a:rPr lang="ru-RU" smtClean="0"/>
              <a:t>17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402309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1925B17-9D05-465B-B47E-FBD2CE447C1C}" type="slidenum">
              <a:rPr lang="ru-RU" smtClean="0"/>
              <a:t>19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72745962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1925B17-9D05-465B-B47E-FBD2CE447C1C}" type="slidenum">
              <a:rPr lang="ru-RU" smtClean="0"/>
              <a:t>20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12945094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1925B17-9D05-465B-B47E-FBD2CE447C1C}" type="slidenum">
              <a:rPr lang="ru-RU" smtClean="0"/>
              <a:t>2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8925644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F3F1B2B0-0A30-4169-B4B3-D8D2E98E10D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>
            <a:extLst>
              <a:ext uri="{FF2B5EF4-FFF2-40B4-BE49-F238E27FC236}">
                <a16:creationId xmlns:a16="http://schemas.microsoft.com/office/drawing/2014/main" id="{1CD8C0AD-E5B1-4CC0-B6C4-F43A2EC3953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9453BDE6-28AC-4226-BDEE-3DCABFCA1F0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18E30C5-3F4A-4D2C-98EA-109B4D866A39}" type="datetimeFigureOut">
              <a:rPr lang="ru-RU" smtClean="0"/>
              <a:t>18.09.2023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28BBF3ED-4181-4ABC-B6D1-8645220225B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3A56CE92-0D17-4826-8E0A-1E167758AE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553EFB-8B96-4E42-BF8F-D66A24C07F8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00808401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B4696618-6965-48D9-AB2E-5C26678DA89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>
            <a:extLst>
              <a:ext uri="{FF2B5EF4-FFF2-40B4-BE49-F238E27FC236}">
                <a16:creationId xmlns:a16="http://schemas.microsoft.com/office/drawing/2014/main" id="{813BAD62-F0F6-44C9-B76A-74B4050BFB4B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E1BFCC5B-B784-4CD0-9DBC-468844FB3CE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18E30C5-3F4A-4D2C-98EA-109B4D866A39}" type="datetimeFigureOut">
              <a:rPr lang="ru-RU" smtClean="0"/>
              <a:t>18.09.2023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888693FC-F1AA-4A1B-8438-5BDFFEEDBE0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871EB9AC-69E2-4E8D-A60D-0BFF6967B1F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553EFB-8B96-4E42-BF8F-D66A24C07F8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25613565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>
            <a:extLst>
              <a:ext uri="{FF2B5EF4-FFF2-40B4-BE49-F238E27FC236}">
                <a16:creationId xmlns:a16="http://schemas.microsoft.com/office/drawing/2014/main" id="{349920C7-4968-46AF-B80A-4E33B4650551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>
            <a:extLst>
              <a:ext uri="{FF2B5EF4-FFF2-40B4-BE49-F238E27FC236}">
                <a16:creationId xmlns:a16="http://schemas.microsoft.com/office/drawing/2014/main" id="{6A017AC1-DB54-472F-9F98-31EC0C25117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1D876B3B-F55B-47A6-9AFA-599E3F808AD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18E30C5-3F4A-4D2C-98EA-109B4D866A39}" type="datetimeFigureOut">
              <a:rPr lang="ru-RU" smtClean="0"/>
              <a:t>18.09.2023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DE23FE86-2A30-4484-B09B-907FCBCA93A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792AF534-4ADD-4AFF-8E1E-A14A1E3FD25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553EFB-8B96-4E42-BF8F-D66A24C07F8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0931386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ntro (9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10">
            <a:extLst>
              <a:ext uri="{FF2B5EF4-FFF2-40B4-BE49-F238E27FC236}">
                <a16:creationId xmlns:a16="http://schemas.microsoft.com/office/drawing/2014/main" id="{B5954375-EACA-7B8B-65A4-EC8EA965285B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35000" y="635000"/>
            <a:ext cx="1069474" cy="508000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defRPr>
                <a:noFill/>
              </a:defRPr>
            </a:lvl1pPr>
          </a:lstStyle>
          <a:p>
            <a:endParaRPr lang="en-UA"/>
          </a:p>
        </p:txBody>
      </p:sp>
    </p:spTree>
    <p:extLst>
      <p:ext uri="{BB962C8B-B14F-4D97-AF65-F5344CB8AC3E}">
        <p14:creationId xmlns:p14="http://schemas.microsoft.com/office/powerpoint/2010/main" val="27900469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50">
        <p:push/>
      </p:transition>
    </mc:Choice>
    <mc:Fallback xmlns="">
      <p:transition spd="slow">
        <p:push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199652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50">
        <p:push/>
      </p:transition>
    </mc:Choice>
    <mc:Fallback xmlns="">
      <p:transition spd="slow">
        <p:push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F3F1B2B0-0A30-4169-B4B3-D8D2E98E10D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>
            <a:extLst>
              <a:ext uri="{FF2B5EF4-FFF2-40B4-BE49-F238E27FC236}">
                <a16:creationId xmlns:a16="http://schemas.microsoft.com/office/drawing/2014/main" id="{1CD8C0AD-E5B1-4CC0-B6C4-F43A2EC3953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9453BDE6-28AC-4226-BDEE-3DCABFCA1F0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18E30C5-3F4A-4D2C-98EA-109B4D866A39}" type="datetimeFigureOut">
              <a:rPr lang="ru-RU" smtClean="0"/>
              <a:t>18.09.2023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28BBF3ED-4181-4ABC-B6D1-8645220225B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3A56CE92-0D17-4826-8E0A-1E167758AE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553EFB-8B96-4E42-BF8F-D66A24C07F8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76864245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FB66D5E4-A4C2-4D58-BF3C-7401A9E1CA1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757259F1-1CEB-4C76-9648-D99B9053DF4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3F155AD4-DB39-4737-99FB-649CDFFEA42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18E30C5-3F4A-4D2C-98EA-109B4D866A39}" type="datetimeFigureOut">
              <a:rPr lang="ru-RU" smtClean="0"/>
              <a:t>18.09.2023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C30D5631-E5FC-473C-9910-65F509C8B0F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7C16AA4F-9084-4B32-91AD-2999581C11F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553EFB-8B96-4E42-BF8F-D66A24C07F8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571114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EE808F0A-AF91-407A-BECF-CB5B264232B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4B967452-C68C-4E4C-BB24-E2F574885D9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6A38CF88-A280-4A60-ADC3-7DFA4D85DE6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18E30C5-3F4A-4D2C-98EA-109B4D866A39}" type="datetimeFigureOut">
              <a:rPr lang="ru-RU" smtClean="0"/>
              <a:t>18.09.2023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77CE85B8-D12B-4696-9855-336DCA5A4B5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F28D55A4-34DB-4BA0-B093-7220076ADEA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553EFB-8B96-4E42-BF8F-D66A24C07F8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454644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55E225CA-C0A4-4DE3-9B6D-DB1DFE5AF9D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11715478-9020-4FBA-B0FC-7D6F983B657D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>
            <a:extLst>
              <a:ext uri="{FF2B5EF4-FFF2-40B4-BE49-F238E27FC236}">
                <a16:creationId xmlns:a16="http://schemas.microsoft.com/office/drawing/2014/main" id="{89362BB3-DFC4-4139-82A8-5F3DCE8C850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id="{E318AB40-03F1-4A48-A03E-B8DB42D5481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18E30C5-3F4A-4D2C-98EA-109B4D866A39}" type="datetimeFigureOut">
              <a:rPr lang="ru-RU" smtClean="0"/>
              <a:t>18.09.2023</a:t>
            </a:fld>
            <a:endParaRPr lang="ru-RU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396E47A6-2FAA-4E37-9317-14B19C8DC4B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F0F51422-0DC1-4709-B3ED-824F279DC05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553EFB-8B96-4E42-BF8F-D66A24C07F8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74332013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9F16F4AB-E8BB-4FB0-A770-20E83B43917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530AEC55-1C03-4FC0-8030-277C07F1674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>
            <a:extLst>
              <a:ext uri="{FF2B5EF4-FFF2-40B4-BE49-F238E27FC236}">
                <a16:creationId xmlns:a16="http://schemas.microsoft.com/office/drawing/2014/main" id="{C57DAE61-5302-4446-B511-F3D5F1DA945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>
            <a:extLst>
              <a:ext uri="{FF2B5EF4-FFF2-40B4-BE49-F238E27FC236}">
                <a16:creationId xmlns:a16="http://schemas.microsoft.com/office/drawing/2014/main" id="{5AF6C227-7EB6-4ED3-AFF7-E61923E5AFE0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>
            <a:extLst>
              <a:ext uri="{FF2B5EF4-FFF2-40B4-BE49-F238E27FC236}">
                <a16:creationId xmlns:a16="http://schemas.microsoft.com/office/drawing/2014/main" id="{7E28BB57-8BA0-4283-A949-80FE4AA80654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>
            <a:extLst>
              <a:ext uri="{FF2B5EF4-FFF2-40B4-BE49-F238E27FC236}">
                <a16:creationId xmlns:a16="http://schemas.microsoft.com/office/drawing/2014/main" id="{1EBCEE55-6EB7-4BC4-A634-0AF393A84A7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18E30C5-3F4A-4D2C-98EA-109B4D866A39}" type="datetimeFigureOut">
              <a:rPr lang="ru-RU" smtClean="0"/>
              <a:t>18.09.2023</a:t>
            </a:fld>
            <a:endParaRPr lang="ru-RU"/>
          </a:p>
        </p:txBody>
      </p:sp>
      <p:sp>
        <p:nvSpPr>
          <p:cNvPr id="8" name="Нижний колонтитул 7">
            <a:extLst>
              <a:ext uri="{FF2B5EF4-FFF2-40B4-BE49-F238E27FC236}">
                <a16:creationId xmlns:a16="http://schemas.microsoft.com/office/drawing/2014/main" id="{BE77BB6D-2898-4178-94DF-CA297D48F9F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>
            <a:extLst>
              <a:ext uri="{FF2B5EF4-FFF2-40B4-BE49-F238E27FC236}">
                <a16:creationId xmlns:a16="http://schemas.microsoft.com/office/drawing/2014/main" id="{32461F4B-9419-4910-8B8B-A911309728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553EFB-8B96-4E42-BF8F-D66A24C07F8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2586545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180E0298-FBF2-4B21-9794-E5780CCE35D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>
            <a:extLst>
              <a:ext uri="{FF2B5EF4-FFF2-40B4-BE49-F238E27FC236}">
                <a16:creationId xmlns:a16="http://schemas.microsoft.com/office/drawing/2014/main" id="{4B106609-FE2A-4A34-9D09-41B89F6E22A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18E30C5-3F4A-4D2C-98EA-109B4D866A39}" type="datetimeFigureOut">
              <a:rPr lang="ru-RU" smtClean="0"/>
              <a:t>18.09.2023</a:t>
            </a:fld>
            <a:endParaRPr lang="ru-RU"/>
          </a:p>
        </p:txBody>
      </p:sp>
      <p:sp>
        <p:nvSpPr>
          <p:cNvPr id="4" name="Нижний колонтитул 3">
            <a:extLst>
              <a:ext uri="{FF2B5EF4-FFF2-40B4-BE49-F238E27FC236}">
                <a16:creationId xmlns:a16="http://schemas.microsoft.com/office/drawing/2014/main" id="{9057A86F-AC44-4C8B-BDD5-04F1F2140D8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>
            <a:extLst>
              <a:ext uri="{FF2B5EF4-FFF2-40B4-BE49-F238E27FC236}">
                <a16:creationId xmlns:a16="http://schemas.microsoft.com/office/drawing/2014/main" id="{1A12A28D-10E2-4935-B0E8-DC016916296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553EFB-8B96-4E42-BF8F-D66A24C07F8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7756905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FB66D5E4-A4C2-4D58-BF3C-7401A9E1CA1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757259F1-1CEB-4C76-9648-D99B9053DF4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3F155AD4-DB39-4737-99FB-649CDFFEA42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18E30C5-3F4A-4D2C-98EA-109B4D866A39}" type="datetimeFigureOut">
              <a:rPr lang="ru-RU" smtClean="0"/>
              <a:t>18.09.2023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C30D5631-E5FC-473C-9910-65F509C8B0F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7C16AA4F-9084-4B32-91AD-2999581C11F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553EFB-8B96-4E42-BF8F-D66A24C07F8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71770029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>
            <a:extLst>
              <a:ext uri="{FF2B5EF4-FFF2-40B4-BE49-F238E27FC236}">
                <a16:creationId xmlns:a16="http://schemas.microsoft.com/office/drawing/2014/main" id="{6DE55D1B-9692-4ED1-BD53-83E9511A7FE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18E30C5-3F4A-4D2C-98EA-109B4D866A39}" type="datetimeFigureOut">
              <a:rPr lang="ru-RU" smtClean="0"/>
              <a:t>18.09.2023</a:t>
            </a:fld>
            <a:endParaRPr lang="ru-RU"/>
          </a:p>
        </p:txBody>
      </p:sp>
      <p:sp>
        <p:nvSpPr>
          <p:cNvPr id="3" name="Нижний колонтитул 2">
            <a:extLst>
              <a:ext uri="{FF2B5EF4-FFF2-40B4-BE49-F238E27FC236}">
                <a16:creationId xmlns:a16="http://schemas.microsoft.com/office/drawing/2014/main" id="{A9C61E41-1700-4050-8585-B83F65B6437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3CDEF654-5F7E-431A-A6E0-37AD2A40842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553EFB-8B96-4E42-BF8F-D66A24C07F8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237965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6C5280D4-F24B-4DB5-B1D8-BAB1336DAB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B1D4916F-E68A-4BC1-80D0-C2627E0CC10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2A23F1DD-FEF5-4904-ABDA-52E5D4B72B3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id="{88865754-37E0-4732-9FB0-14B10791942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18E30C5-3F4A-4D2C-98EA-109B4D866A39}" type="datetimeFigureOut">
              <a:rPr lang="ru-RU" smtClean="0"/>
              <a:t>18.09.2023</a:t>
            </a:fld>
            <a:endParaRPr lang="ru-RU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380FBA0B-9EF8-4D3F-921D-48F63B116AC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6BA82513-777E-4357-97E6-90286DC9F6C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553EFB-8B96-4E42-BF8F-D66A24C07F8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244203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D6194A4C-3C5D-43E1-B664-5B618A2741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>
            <a:extLst>
              <a:ext uri="{FF2B5EF4-FFF2-40B4-BE49-F238E27FC236}">
                <a16:creationId xmlns:a16="http://schemas.microsoft.com/office/drawing/2014/main" id="{11813986-8CDB-4455-BA32-84CEB957FF14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19C66BEB-8F12-4EDD-8406-2100D71EBAD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id="{61837F78-258D-4723-8F18-3FE44A321CE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18E30C5-3F4A-4D2C-98EA-109B4D866A39}" type="datetimeFigureOut">
              <a:rPr lang="ru-RU" smtClean="0"/>
              <a:t>18.09.2023</a:t>
            </a:fld>
            <a:endParaRPr lang="ru-RU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413826B4-8522-4B1B-9D42-F90D533EDC1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8C9CEDC8-E407-483D-9EB0-0738310BAFE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553EFB-8B96-4E42-BF8F-D66A24C07F8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79990980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B4696618-6965-48D9-AB2E-5C26678DA89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>
            <a:extLst>
              <a:ext uri="{FF2B5EF4-FFF2-40B4-BE49-F238E27FC236}">
                <a16:creationId xmlns:a16="http://schemas.microsoft.com/office/drawing/2014/main" id="{813BAD62-F0F6-44C9-B76A-74B4050BFB4B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E1BFCC5B-B784-4CD0-9DBC-468844FB3CE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18E30C5-3F4A-4D2C-98EA-109B4D866A39}" type="datetimeFigureOut">
              <a:rPr lang="ru-RU" smtClean="0"/>
              <a:t>18.09.2023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888693FC-F1AA-4A1B-8438-5BDFFEEDBE0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871EB9AC-69E2-4E8D-A60D-0BFF6967B1F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553EFB-8B96-4E42-BF8F-D66A24C07F8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70260729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>
            <a:extLst>
              <a:ext uri="{FF2B5EF4-FFF2-40B4-BE49-F238E27FC236}">
                <a16:creationId xmlns:a16="http://schemas.microsoft.com/office/drawing/2014/main" id="{349920C7-4968-46AF-B80A-4E33B4650551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>
            <a:extLst>
              <a:ext uri="{FF2B5EF4-FFF2-40B4-BE49-F238E27FC236}">
                <a16:creationId xmlns:a16="http://schemas.microsoft.com/office/drawing/2014/main" id="{6A017AC1-DB54-472F-9F98-31EC0C25117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1D876B3B-F55B-47A6-9AFA-599E3F808AD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18E30C5-3F4A-4D2C-98EA-109B4D866A39}" type="datetimeFigureOut">
              <a:rPr lang="ru-RU" smtClean="0"/>
              <a:t>18.09.2023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DE23FE86-2A30-4484-B09B-907FCBCA93A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792AF534-4ADD-4AFF-8E1E-A14A1E3FD25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553EFB-8B96-4E42-BF8F-D66A24C07F8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693657149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ntro (9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10">
            <a:extLst>
              <a:ext uri="{FF2B5EF4-FFF2-40B4-BE49-F238E27FC236}">
                <a16:creationId xmlns:a16="http://schemas.microsoft.com/office/drawing/2014/main" id="{B5954375-EACA-7B8B-65A4-EC8EA965285B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35000" y="635000"/>
            <a:ext cx="1069474" cy="508000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defRPr>
                <a:noFill/>
              </a:defRPr>
            </a:lvl1pPr>
          </a:lstStyle>
          <a:p>
            <a:endParaRPr lang="en-UA"/>
          </a:p>
        </p:txBody>
      </p:sp>
    </p:spTree>
    <p:extLst>
      <p:ext uri="{BB962C8B-B14F-4D97-AF65-F5344CB8AC3E}">
        <p14:creationId xmlns:p14="http://schemas.microsoft.com/office/powerpoint/2010/main" val="38121265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50">
        <p:push/>
      </p:transition>
    </mc:Choice>
    <mc:Fallback xmlns="">
      <p:transition spd="slow">
        <p:push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000799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50">
        <p:push/>
      </p:transition>
    </mc:Choice>
    <mc:Fallback xmlns="">
      <p:transition spd="slow">
        <p:push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EE808F0A-AF91-407A-BECF-CB5B264232B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4B967452-C68C-4E4C-BB24-E2F574885D9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6A38CF88-A280-4A60-ADC3-7DFA4D85DE6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18E30C5-3F4A-4D2C-98EA-109B4D866A39}" type="datetimeFigureOut">
              <a:rPr lang="ru-RU" smtClean="0"/>
              <a:t>18.09.2023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77CE85B8-D12B-4696-9855-336DCA5A4B5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F28D55A4-34DB-4BA0-B093-7220076ADEA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553EFB-8B96-4E42-BF8F-D66A24C07F8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0134190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55E225CA-C0A4-4DE3-9B6D-DB1DFE5AF9D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11715478-9020-4FBA-B0FC-7D6F983B657D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>
            <a:extLst>
              <a:ext uri="{FF2B5EF4-FFF2-40B4-BE49-F238E27FC236}">
                <a16:creationId xmlns:a16="http://schemas.microsoft.com/office/drawing/2014/main" id="{89362BB3-DFC4-4139-82A8-5F3DCE8C850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id="{E318AB40-03F1-4A48-A03E-B8DB42D5481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18E30C5-3F4A-4D2C-98EA-109B4D866A39}" type="datetimeFigureOut">
              <a:rPr lang="ru-RU" smtClean="0"/>
              <a:t>18.09.2023</a:t>
            </a:fld>
            <a:endParaRPr lang="ru-RU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396E47A6-2FAA-4E37-9317-14B19C8DC4B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F0F51422-0DC1-4709-B3ED-824F279DC05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553EFB-8B96-4E42-BF8F-D66A24C07F8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3126712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9F16F4AB-E8BB-4FB0-A770-20E83B43917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530AEC55-1C03-4FC0-8030-277C07F1674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>
            <a:extLst>
              <a:ext uri="{FF2B5EF4-FFF2-40B4-BE49-F238E27FC236}">
                <a16:creationId xmlns:a16="http://schemas.microsoft.com/office/drawing/2014/main" id="{C57DAE61-5302-4446-B511-F3D5F1DA945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>
            <a:extLst>
              <a:ext uri="{FF2B5EF4-FFF2-40B4-BE49-F238E27FC236}">
                <a16:creationId xmlns:a16="http://schemas.microsoft.com/office/drawing/2014/main" id="{5AF6C227-7EB6-4ED3-AFF7-E61923E5AFE0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>
            <a:extLst>
              <a:ext uri="{FF2B5EF4-FFF2-40B4-BE49-F238E27FC236}">
                <a16:creationId xmlns:a16="http://schemas.microsoft.com/office/drawing/2014/main" id="{7E28BB57-8BA0-4283-A949-80FE4AA80654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>
            <a:extLst>
              <a:ext uri="{FF2B5EF4-FFF2-40B4-BE49-F238E27FC236}">
                <a16:creationId xmlns:a16="http://schemas.microsoft.com/office/drawing/2014/main" id="{1EBCEE55-6EB7-4BC4-A634-0AF393A84A7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18E30C5-3F4A-4D2C-98EA-109B4D866A39}" type="datetimeFigureOut">
              <a:rPr lang="ru-RU" smtClean="0"/>
              <a:t>18.09.2023</a:t>
            </a:fld>
            <a:endParaRPr lang="ru-RU"/>
          </a:p>
        </p:txBody>
      </p:sp>
      <p:sp>
        <p:nvSpPr>
          <p:cNvPr id="8" name="Нижний колонтитул 7">
            <a:extLst>
              <a:ext uri="{FF2B5EF4-FFF2-40B4-BE49-F238E27FC236}">
                <a16:creationId xmlns:a16="http://schemas.microsoft.com/office/drawing/2014/main" id="{BE77BB6D-2898-4178-94DF-CA297D48F9F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>
            <a:extLst>
              <a:ext uri="{FF2B5EF4-FFF2-40B4-BE49-F238E27FC236}">
                <a16:creationId xmlns:a16="http://schemas.microsoft.com/office/drawing/2014/main" id="{32461F4B-9419-4910-8B8B-A911309728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553EFB-8B96-4E42-BF8F-D66A24C07F8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18249559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180E0298-FBF2-4B21-9794-E5780CCE35D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>
            <a:extLst>
              <a:ext uri="{FF2B5EF4-FFF2-40B4-BE49-F238E27FC236}">
                <a16:creationId xmlns:a16="http://schemas.microsoft.com/office/drawing/2014/main" id="{4B106609-FE2A-4A34-9D09-41B89F6E22A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18E30C5-3F4A-4D2C-98EA-109B4D866A39}" type="datetimeFigureOut">
              <a:rPr lang="ru-RU" smtClean="0"/>
              <a:t>18.09.2023</a:t>
            </a:fld>
            <a:endParaRPr lang="ru-RU"/>
          </a:p>
        </p:txBody>
      </p:sp>
      <p:sp>
        <p:nvSpPr>
          <p:cNvPr id="4" name="Нижний колонтитул 3">
            <a:extLst>
              <a:ext uri="{FF2B5EF4-FFF2-40B4-BE49-F238E27FC236}">
                <a16:creationId xmlns:a16="http://schemas.microsoft.com/office/drawing/2014/main" id="{9057A86F-AC44-4C8B-BDD5-04F1F2140D8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>
            <a:extLst>
              <a:ext uri="{FF2B5EF4-FFF2-40B4-BE49-F238E27FC236}">
                <a16:creationId xmlns:a16="http://schemas.microsoft.com/office/drawing/2014/main" id="{1A12A28D-10E2-4935-B0E8-DC016916296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553EFB-8B96-4E42-BF8F-D66A24C07F8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2818475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>
            <a:extLst>
              <a:ext uri="{FF2B5EF4-FFF2-40B4-BE49-F238E27FC236}">
                <a16:creationId xmlns:a16="http://schemas.microsoft.com/office/drawing/2014/main" id="{6DE55D1B-9692-4ED1-BD53-83E9511A7FE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18E30C5-3F4A-4D2C-98EA-109B4D866A39}" type="datetimeFigureOut">
              <a:rPr lang="ru-RU" smtClean="0"/>
              <a:t>18.09.2023</a:t>
            </a:fld>
            <a:endParaRPr lang="ru-RU"/>
          </a:p>
        </p:txBody>
      </p:sp>
      <p:sp>
        <p:nvSpPr>
          <p:cNvPr id="3" name="Нижний колонтитул 2">
            <a:extLst>
              <a:ext uri="{FF2B5EF4-FFF2-40B4-BE49-F238E27FC236}">
                <a16:creationId xmlns:a16="http://schemas.microsoft.com/office/drawing/2014/main" id="{A9C61E41-1700-4050-8585-B83F65B6437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3CDEF654-5F7E-431A-A6E0-37AD2A40842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553EFB-8B96-4E42-BF8F-D66A24C07F8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01643585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6C5280D4-F24B-4DB5-B1D8-BAB1336DAB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B1D4916F-E68A-4BC1-80D0-C2627E0CC10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2A23F1DD-FEF5-4904-ABDA-52E5D4B72B3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id="{88865754-37E0-4732-9FB0-14B10791942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18E30C5-3F4A-4D2C-98EA-109B4D866A39}" type="datetimeFigureOut">
              <a:rPr lang="ru-RU" smtClean="0"/>
              <a:t>18.09.2023</a:t>
            </a:fld>
            <a:endParaRPr lang="ru-RU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380FBA0B-9EF8-4D3F-921D-48F63B116AC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6BA82513-777E-4357-97E6-90286DC9F6C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553EFB-8B96-4E42-BF8F-D66A24C07F8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5072312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D6194A4C-3C5D-43E1-B664-5B618A2741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>
            <a:extLst>
              <a:ext uri="{FF2B5EF4-FFF2-40B4-BE49-F238E27FC236}">
                <a16:creationId xmlns:a16="http://schemas.microsoft.com/office/drawing/2014/main" id="{11813986-8CDB-4455-BA32-84CEB957FF14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19C66BEB-8F12-4EDD-8406-2100D71EBAD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id="{61837F78-258D-4723-8F18-3FE44A321CE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18E30C5-3F4A-4D2C-98EA-109B4D866A39}" type="datetimeFigureOut">
              <a:rPr lang="ru-RU" smtClean="0"/>
              <a:t>18.09.2023</a:t>
            </a:fld>
            <a:endParaRPr lang="ru-RU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413826B4-8522-4B1B-9D42-F90D533EDC1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8C9CEDC8-E407-483D-9EB0-0738310BAFE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553EFB-8B96-4E42-BF8F-D66A24C07F8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7665028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.xml"/><Relationship Id="rId13" Type="http://schemas.openxmlformats.org/officeDocument/2006/relationships/slideLayout" Target="../slideLayouts/slideLayout26.xml"/><Relationship Id="rId3" Type="http://schemas.openxmlformats.org/officeDocument/2006/relationships/slideLayout" Target="../slideLayouts/slideLayout16.xml"/><Relationship Id="rId7" Type="http://schemas.openxmlformats.org/officeDocument/2006/relationships/slideLayout" Target="../slideLayouts/slideLayout20.xml"/><Relationship Id="rId12" Type="http://schemas.openxmlformats.org/officeDocument/2006/relationships/slideLayout" Target="../slideLayouts/slideLayout25.xml"/><Relationship Id="rId2" Type="http://schemas.openxmlformats.org/officeDocument/2006/relationships/slideLayout" Target="../slideLayouts/slideLayout15.xml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11" Type="http://schemas.openxmlformats.org/officeDocument/2006/relationships/slideLayout" Target="../slideLayouts/slideLayout24.xml"/><Relationship Id="rId5" Type="http://schemas.openxmlformats.org/officeDocument/2006/relationships/slideLayout" Target="../slideLayouts/slideLayout18.xml"/><Relationship Id="rId10" Type="http://schemas.openxmlformats.org/officeDocument/2006/relationships/slideLayout" Target="../slideLayouts/slideLayout23.xml"/><Relationship Id="rId4" Type="http://schemas.openxmlformats.org/officeDocument/2006/relationships/slideLayout" Target="../slideLayouts/slideLayout17.xml"/><Relationship Id="rId9" Type="http://schemas.openxmlformats.org/officeDocument/2006/relationships/slideLayout" Target="../slideLayouts/slideLayout22.xml"/><Relationship Id="rId14" Type="http://schemas.openxmlformats.org/officeDocument/2006/relationships/theme" Target="../theme/theme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1204D37A-7950-4F33-AF44-073763A06AB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88E53D30-338F-45A3-8A5B-AFDFC4902F4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8AB99C26-CEF8-4CC8-87A4-A5D83E51CB3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18E30C5-3F4A-4D2C-98EA-109B4D866A39}" type="datetimeFigureOut">
              <a:rPr lang="ru-RU" smtClean="0"/>
              <a:t>18.09.2023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4080A8A5-C466-4324-96BE-AFCEEC08B21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20382116-2C8B-4A75-9943-ED5808455F0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7553EFB-8B96-4E42-BF8F-D66A24C07F8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7812060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1204D37A-7950-4F33-AF44-073763A06AB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88E53D30-338F-45A3-8A5B-AFDFC4902F4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8AB99C26-CEF8-4CC8-87A4-A5D83E51CB3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18E30C5-3F4A-4D2C-98EA-109B4D866A39}" type="datetimeFigureOut">
              <a:rPr lang="ru-RU" smtClean="0"/>
              <a:t>18.09.2023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4080A8A5-C466-4324-96BE-AFCEEC08B21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20382116-2C8B-4A75-9943-ED5808455F0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7553EFB-8B96-4E42-BF8F-D66A24C07F8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7591043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5" r:id="rId1"/>
    <p:sldLayoutId id="2147483676" r:id="rId2"/>
    <p:sldLayoutId id="2147483677" r:id="rId3"/>
    <p:sldLayoutId id="2147483678" r:id="rId4"/>
    <p:sldLayoutId id="2147483679" r:id="rId5"/>
    <p:sldLayoutId id="2147483680" r:id="rId6"/>
    <p:sldLayoutId id="2147483681" r:id="rId7"/>
    <p:sldLayoutId id="2147483682" r:id="rId8"/>
    <p:sldLayoutId id="2147483683" r:id="rId9"/>
    <p:sldLayoutId id="2147483684" r:id="rId10"/>
    <p:sldLayoutId id="2147483685" r:id="rId11"/>
    <p:sldLayoutId id="2147483686" r:id="rId12"/>
    <p:sldLayoutId id="2147483687" r:id="rId1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notesSlide" Target="../notesSlides/notesSlide1.xml"/><Relationship Id="rId7" Type="http://schemas.openxmlformats.org/officeDocument/2006/relationships/image" Target="../media/image4.jpeg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1.xml"/><Relationship Id="rId6" Type="http://schemas.openxmlformats.org/officeDocument/2006/relationships/image" Target="../media/image3.jpeg"/><Relationship Id="rId5" Type="http://schemas.openxmlformats.org/officeDocument/2006/relationships/image" Target="../media/image2.svg"/><Relationship Id="rId4" Type="http://schemas.openxmlformats.org/officeDocument/2006/relationships/image" Target="../media/image1.png"/><Relationship Id="rId9" Type="http://schemas.openxmlformats.org/officeDocument/2006/relationships/image" Target="../media/image6.sv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17.svg"/><Relationship Id="rId5" Type="http://schemas.openxmlformats.org/officeDocument/2006/relationships/image" Target="../media/image16.png"/><Relationship Id="rId4" Type="http://schemas.openxmlformats.org/officeDocument/2006/relationships/image" Target="../media/image15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5.xml"/><Relationship Id="rId4" Type="http://schemas.openxmlformats.org/officeDocument/2006/relationships/image" Target="../media/image15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5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5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5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5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7" Type="http://schemas.openxmlformats.org/officeDocument/2006/relationships/image" Target="../media/image19.svg"/><Relationship Id="rId2" Type="http://schemas.openxmlformats.org/officeDocument/2006/relationships/slideLayout" Target="../slideLayouts/slideLayout15.xml"/><Relationship Id="rId1" Type="http://schemas.openxmlformats.org/officeDocument/2006/relationships/tags" Target="../tags/tag3.xml"/><Relationship Id="rId6" Type="http://schemas.openxmlformats.org/officeDocument/2006/relationships/image" Target="../media/image18.png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svg"/><Relationship Id="rId3" Type="http://schemas.openxmlformats.org/officeDocument/2006/relationships/image" Target="../media/image5.png"/><Relationship Id="rId7" Type="http://schemas.openxmlformats.org/officeDocument/2006/relationships/image" Target="../media/image22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21.svg"/><Relationship Id="rId5" Type="http://schemas.openxmlformats.org/officeDocument/2006/relationships/image" Target="../media/image20.png"/><Relationship Id="rId10" Type="http://schemas.openxmlformats.org/officeDocument/2006/relationships/image" Target="../media/image25.svg"/><Relationship Id="rId4" Type="http://schemas.openxmlformats.org/officeDocument/2006/relationships/image" Target="../media/image6.svg"/><Relationship Id="rId9" Type="http://schemas.openxmlformats.org/officeDocument/2006/relationships/image" Target="../media/image24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5.xml"/><Relationship Id="rId5" Type="http://schemas.openxmlformats.org/officeDocument/2006/relationships/image" Target="../media/image27.svg"/><Relationship Id="rId4" Type="http://schemas.openxmlformats.org/officeDocument/2006/relationships/image" Target="../media/image26.png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1.svg"/><Relationship Id="rId3" Type="http://schemas.openxmlformats.org/officeDocument/2006/relationships/image" Target="../media/image5.png"/><Relationship Id="rId7" Type="http://schemas.openxmlformats.org/officeDocument/2006/relationships/image" Target="../media/image30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29.svg"/><Relationship Id="rId5" Type="http://schemas.openxmlformats.org/officeDocument/2006/relationships/image" Target="../media/image28.png"/><Relationship Id="rId4" Type="http://schemas.openxmlformats.org/officeDocument/2006/relationships/image" Target="../media/image6.sv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7" Type="http://schemas.openxmlformats.org/officeDocument/2006/relationships/image" Target="../media/image4.jpeg"/><Relationship Id="rId2" Type="http://schemas.openxmlformats.org/officeDocument/2006/relationships/slideLayout" Target="../slideLayouts/slideLayout15.xml"/><Relationship Id="rId1" Type="http://schemas.openxmlformats.org/officeDocument/2006/relationships/tags" Target="../tags/tag2.xml"/><Relationship Id="rId6" Type="http://schemas.openxmlformats.org/officeDocument/2006/relationships/image" Target="../media/image3.jpeg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1.svg"/><Relationship Id="rId3" Type="http://schemas.openxmlformats.org/officeDocument/2006/relationships/image" Target="../media/image5.png"/><Relationship Id="rId7" Type="http://schemas.openxmlformats.org/officeDocument/2006/relationships/image" Target="../media/image30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29.svg"/><Relationship Id="rId5" Type="http://schemas.openxmlformats.org/officeDocument/2006/relationships/image" Target="../media/image28.png"/><Relationship Id="rId4" Type="http://schemas.openxmlformats.org/officeDocument/2006/relationships/image" Target="../media/image6.svg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5.svg"/><Relationship Id="rId3" Type="http://schemas.openxmlformats.org/officeDocument/2006/relationships/image" Target="../media/image5.png"/><Relationship Id="rId7" Type="http://schemas.openxmlformats.org/officeDocument/2006/relationships/image" Target="../media/image34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33.svg"/><Relationship Id="rId5" Type="http://schemas.openxmlformats.org/officeDocument/2006/relationships/image" Target="../media/image32.png"/><Relationship Id="rId10" Type="http://schemas.openxmlformats.org/officeDocument/2006/relationships/image" Target="../media/image37.svg"/><Relationship Id="rId4" Type="http://schemas.openxmlformats.org/officeDocument/2006/relationships/image" Target="../media/image6.svg"/><Relationship Id="rId9" Type="http://schemas.openxmlformats.org/officeDocument/2006/relationships/image" Target="../media/image36.png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slideLayout" Target="../slideLayouts/slideLayout26.xml"/><Relationship Id="rId7" Type="http://schemas.openxmlformats.org/officeDocument/2006/relationships/image" Target="../media/image3.jpeg"/><Relationship Id="rId12" Type="http://schemas.openxmlformats.org/officeDocument/2006/relationships/image" Target="../media/image4.jpeg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2.svg"/><Relationship Id="rId11" Type="http://schemas.openxmlformats.org/officeDocument/2006/relationships/image" Target="../media/image39.svg"/><Relationship Id="rId5" Type="http://schemas.openxmlformats.org/officeDocument/2006/relationships/image" Target="../media/image1.png"/><Relationship Id="rId10" Type="http://schemas.openxmlformats.org/officeDocument/2006/relationships/image" Target="../media/image38.png"/><Relationship Id="rId4" Type="http://schemas.openxmlformats.org/officeDocument/2006/relationships/notesSlide" Target="../notesSlides/notesSlide10.xml"/><Relationship Id="rId9" Type="http://schemas.openxmlformats.org/officeDocument/2006/relationships/image" Target="../media/image6.sv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image" Target="../media/image8.svg"/><Relationship Id="rId7" Type="http://schemas.openxmlformats.org/officeDocument/2006/relationships/image" Target="../media/image12.sv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11.png"/><Relationship Id="rId11" Type="http://schemas.openxmlformats.org/officeDocument/2006/relationships/image" Target="../media/image14.svg"/><Relationship Id="rId5" Type="http://schemas.openxmlformats.org/officeDocument/2006/relationships/image" Target="../media/image10.svg"/><Relationship Id="rId10" Type="http://schemas.openxmlformats.org/officeDocument/2006/relationships/image" Target="../media/image13.png"/><Relationship Id="rId4" Type="http://schemas.openxmlformats.org/officeDocument/2006/relationships/image" Target="../media/image9.png"/><Relationship Id="rId9" Type="http://schemas.openxmlformats.org/officeDocument/2006/relationships/image" Target="../media/image6.sv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5.xml"/><Relationship Id="rId4" Type="http://schemas.openxmlformats.org/officeDocument/2006/relationships/image" Target="../media/image6.sv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5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5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5.xml"/><Relationship Id="rId4" Type="http://schemas.openxmlformats.org/officeDocument/2006/relationships/image" Target="../media/image6.sv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17.svg"/><Relationship Id="rId5" Type="http://schemas.openxmlformats.org/officeDocument/2006/relationships/image" Target="../media/image16.png"/><Relationship Id="rId4" Type="http://schemas.openxmlformats.org/officeDocument/2006/relationships/image" Target="../media/image15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2" name="Pattern">
            <a:extLst>
              <a:ext uri="{FF2B5EF4-FFF2-40B4-BE49-F238E27FC236}">
                <a16:creationId xmlns:a16="http://schemas.microsoft.com/office/drawing/2014/main" id="{B82003D0-A4BE-4B7C-9DBE-3F1773370BF9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4473" y="7802"/>
            <a:ext cx="12192000" cy="6858000"/>
          </a:xfrm>
          <a:prstGeom prst="rect">
            <a:avLst/>
          </a:prstGeom>
        </p:spPr>
      </p:pic>
      <p:sp>
        <p:nvSpPr>
          <p:cNvPr id="127" name="Graphic 4"/>
          <p:cNvSpPr/>
          <p:nvPr/>
        </p:nvSpPr>
        <p:spPr>
          <a:xfrm>
            <a:off x="10032999" y="2349500"/>
            <a:ext cx="2159001" cy="215900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600" y="0"/>
                </a:moveTo>
                <a:lnTo>
                  <a:pt x="21600" y="21600"/>
                </a:lnTo>
                <a:lnTo>
                  <a:pt x="10800" y="21600"/>
                </a:lnTo>
                <a:cubicBezTo>
                  <a:pt x="4835" y="21600"/>
                  <a:pt x="0" y="16765"/>
                  <a:pt x="0" y="10800"/>
                </a:cubicBezTo>
                <a:cubicBezTo>
                  <a:pt x="0" y="4835"/>
                  <a:pt x="4835" y="0"/>
                  <a:pt x="10800" y="0"/>
                </a:cubicBezTo>
                <a:lnTo>
                  <a:pt x="21600" y="0"/>
                </a:lnTo>
                <a:close/>
              </a:path>
            </a:pathLst>
          </a:custGeom>
          <a:solidFill>
            <a:schemeClr val="bg2"/>
          </a:solidFill>
          <a:ln w="12700">
            <a:miter lim="400000"/>
          </a:ln>
        </p:spPr>
        <p:txBody>
          <a:bodyPr lIns="22860" rIns="22860" anchor="ctr"/>
          <a:lstStyle/>
          <a:p>
            <a:pPr marL="0" marR="0" lvl="0" indent="0" algn="ctr" defTabSz="41275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>
                <a:solidFill>
                  <a:srgbClr val="FFFFFF"/>
                </a:solidFill>
                <a:latin typeface="Poppins Bold"/>
                <a:ea typeface="Poppins Bold"/>
                <a:cs typeface="Poppins Bold"/>
                <a:sym typeface="Poppins Bold"/>
              </a:defRPr>
            </a:pPr>
            <a:endParaRPr kumimoji="0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oppins Bold"/>
              <a:cs typeface="Poppins Bold"/>
              <a:sym typeface="Poppins Bold"/>
            </a:endParaRPr>
          </a:p>
        </p:txBody>
      </p:sp>
      <p:sp>
        <p:nvSpPr>
          <p:cNvPr id="128" name="Circle"/>
          <p:cNvSpPr/>
          <p:nvPr/>
        </p:nvSpPr>
        <p:spPr>
          <a:xfrm>
            <a:off x="10758153" y="3032125"/>
            <a:ext cx="793751" cy="793750"/>
          </a:xfrm>
          <a:prstGeom prst="ellipse">
            <a:avLst/>
          </a:prstGeom>
          <a:ln w="63500">
            <a:solidFill>
              <a:srgbClr val="FFFFFF"/>
            </a:solidFill>
            <a:miter lim="400000"/>
          </a:ln>
        </p:spPr>
        <p:txBody>
          <a:bodyPr lIns="0" tIns="0" rIns="0" bIns="0" anchor="ctr"/>
          <a:lstStyle/>
          <a:p>
            <a:pPr marL="0" marR="0" lvl="0" indent="0" algn="ctr" defTabSz="41275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>
                <a:solidFill>
                  <a:srgbClr val="FFFFFF"/>
                </a:solidFill>
                <a:latin typeface="Poppins Bold"/>
                <a:ea typeface="Poppins Bold"/>
                <a:cs typeface="Poppins Bold"/>
                <a:sym typeface="Poppins Bold"/>
              </a:defRPr>
            </a:pPr>
            <a:endParaRPr kumimoji="0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oppins Bold"/>
              <a:cs typeface="Poppins Bold"/>
              <a:sym typeface="Poppins Bold"/>
            </a:endParaRPr>
          </a:p>
        </p:txBody>
      </p:sp>
      <p:sp>
        <p:nvSpPr>
          <p:cNvPr id="129" name="Line"/>
          <p:cNvSpPr/>
          <p:nvPr/>
        </p:nvSpPr>
        <p:spPr>
          <a:xfrm>
            <a:off x="11007096" y="3429000"/>
            <a:ext cx="296182" cy="0"/>
          </a:xfrm>
          <a:prstGeom prst="line">
            <a:avLst/>
          </a:prstGeom>
          <a:ln w="38100">
            <a:solidFill>
              <a:srgbClr val="FFFFFF"/>
            </a:solidFill>
            <a:miter lim="400000"/>
            <a:tailEnd type="arrow"/>
          </a:ln>
        </p:spPr>
        <p:txBody>
          <a:bodyPr lIns="0" tIns="0" rIns="0" bIns="0" anchor="ctr"/>
          <a:lstStyle/>
          <a:p>
            <a:pPr marL="0" marR="0" lvl="0" indent="0" algn="ctr" defTabSz="41275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>
                <a:solidFill>
                  <a:srgbClr val="FFFFFF"/>
                </a:solidFill>
                <a:latin typeface="Poppins Bold"/>
                <a:ea typeface="Poppins Bold"/>
                <a:cs typeface="Poppins Bold"/>
                <a:sym typeface="Poppins Bold"/>
              </a:defRPr>
            </a:pPr>
            <a:endParaRPr kumimoji="0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oppins Bold"/>
              <a:cs typeface="Poppins Bold"/>
              <a:sym typeface="Poppins Bold"/>
            </a:endParaRPr>
          </a:p>
        </p:txBody>
      </p:sp>
      <p:sp>
        <p:nvSpPr>
          <p:cNvPr id="25" name="Заголовок">
            <a:extLst>
              <a:ext uri="{FF2B5EF4-FFF2-40B4-BE49-F238E27FC236}">
                <a16:creationId xmlns:a16="http://schemas.microsoft.com/office/drawing/2014/main" id="{5457FC2E-3B87-4B8B-AEC3-EB2449AC98BC}"/>
              </a:ext>
            </a:extLst>
          </p:cNvPr>
          <p:cNvSpPr txBox="1"/>
          <p:nvPr/>
        </p:nvSpPr>
        <p:spPr>
          <a:xfrm>
            <a:off x="694081" y="2120791"/>
            <a:ext cx="8089585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4800" dirty="0">
                <a:solidFill>
                  <a:srgbClr val="FFFFFF"/>
                </a:solidFill>
                <a:latin typeface="SB Sans Text Medium" panose="020B0603040504020204" pitchFamily="34" charset="-52"/>
                <a:ea typeface="Roboto" pitchFamily="2" charset="0"/>
                <a:cs typeface="SB Sans Text Medium" panose="020B0603040504020204" pitchFamily="34" charset="-52"/>
              </a:rPr>
              <a:t>Синхронизация персональных данных между ДЗО и ПАО </a:t>
            </a:r>
            <a:endParaRPr kumimoji="0" lang="ru-RU" sz="480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B Sans Text Medium" panose="020B0603040504020204" pitchFamily="34" charset="-52"/>
              <a:ea typeface="Roboto" pitchFamily="2" charset="0"/>
              <a:cs typeface="SB Sans Text Medium" panose="020B0603040504020204" pitchFamily="34" charset="-52"/>
            </a:endParaRPr>
          </a:p>
        </p:txBody>
      </p:sp>
      <p:grpSp>
        <p:nvGrpSpPr>
          <p:cNvPr id="30" name="Группа 29">
            <a:extLst>
              <a:ext uri="{FF2B5EF4-FFF2-40B4-BE49-F238E27FC236}">
                <a16:creationId xmlns:a16="http://schemas.microsoft.com/office/drawing/2014/main" id="{5B3FEE9E-D287-4BF8-A0BF-6450E9376BB5}"/>
              </a:ext>
            </a:extLst>
          </p:cNvPr>
          <p:cNvGrpSpPr/>
          <p:nvPr/>
        </p:nvGrpSpPr>
        <p:grpSpPr>
          <a:xfrm>
            <a:off x="823295" y="5447625"/>
            <a:ext cx="3202071" cy="762000"/>
            <a:chOff x="1217541" y="5509934"/>
            <a:chExt cx="3202071" cy="762000"/>
          </a:xfrm>
        </p:grpSpPr>
        <p:grpSp>
          <p:nvGrpSpPr>
            <p:cNvPr id="31" name="Группа 30">
              <a:extLst>
                <a:ext uri="{FF2B5EF4-FFF2-40B4-BE49-F238E27FC236}">
                  <a16:creationId xmlns:a16="http://schemas.microsoft.com/office/drawing/2014/main" id="{74F481C8-A300-4CF6-BC0D-6A77DB483BF6}"/>
                </a:ext>
              </a:extLst>
            </p:cNvPr>
            <p:cNvGrpSpPr/>
            <p:nvPr/>
          </p:nvGrpSpPr>
          <p:grpSpPr>
            <a:xfrm>
              <a:off x="1217541" y="5509934"/>
              <a:ext cx="3202071" cy="762000"/>
              <a:chOff x="478199" y="1484302"/>
              <a:chExt cx="3202071" cy="762000"/>
            </a:xfrm>
          </p:grpSpPr>
          <p:sp>
            <p:nvSpPr>
              <p:cNvPr id="34" name="Rounded Rectangle">
                <a:extLst>
                  <a:ext uri="{FF2B5EF4-FFF2-40B4-BE49-F238E27FC236}">
                    <a16:creationId xmlns:a16="http://schemas.microsoft.com/office/drawing/2014/main" id="{0B86B469-3FA5-4F94-8FE0-35011EA1B724}"/>
                  </a:ext>
                </a:extLst>
              </p:cNvPr>
              <p:cNvSpPr/>
              <p:nvPr/>
            </p:nvSpPr>
            <p:spPr>
              <a:xfrm>
                <a:off x="478199" y="1484302"/>
                <a:ext cx="3202071" cy="762000"/>
              </a:xfrm>
              <a:prstGeom prst="roundRect">
                <a:avLst>
                  <a:gd name="adj" fmla="val 50000"/>
                </a:avLst>
              </a:prstGeom>
              <a:solidFill>
                <a:schemeClr val="bg1"/>
              </a:solidFill>
              <a:ln w="12700" cap="flat">
                <a:noFill/>
                <a:prstDash val="dash"/>
                <a:miter/>
              </a:ln>
              <a:effectLst>
                <a:outerShdw blurRad="1003300" sx="102000" sy="102000" algn="ctr" rotWithShape="0">
                  <a:schemeClr val="tx1">
                    <a:alpha val="15000"/>
                  </a:schemeClr>
                </a:outerShdw>
              </a:effectLst>
            </p:spPr>
            <p:txBody>
              <a:bodyPr lIns="0" tIns="0" rIns="0" bIns="0" anchor="ctr"/>
              <a:lstStyle/>
              <a:p>
                <a:pPr algn="ctr" defTabSz="309563" hangingPunct="0"/>
                <a:endParaRPr sz="1200" dirty="0">
                  <a:solidFill>
                    <a:srgbClr val="FFFFFF"/>
                  </a:solidFill>
                  <a:latin typeface="Roboto" pitchFamily="2" charset="0"/>
                  <a:ea typeface="Roboto" pitchFamily="2" charset="0"/>
                  <a:cs typeface="Poppins Bold"/>
                  <a:sym typeface="Poppins Bold"/>
                </a:endParaRPr>
              </a:p>
            </p:txBody>
          </p:sp>
          <p:sp>
            <p:nvSpPr>
              <p:cNvPr id="35" name="Market analysis">
                <a:extLst>
                  <a:ext uri="{FF2B5EF4-FFF2-40B4-BE49-F238E27FC236}">
                    <a16:creationId xmlns:a16="http://schemas.microsoft.com/office/drawing/2014/main" id="{59159994-E08E-4D42-9533-271614F05D91}"/>
                  </a:ext>
                </a:extLst>
              </p:cNvPr>
              <p:cNvSpPr txBox="1"/>
              <p:nvPr/>
            </p:nvSpPr>
            <p:spPr>
              <a:xfrm>
                <a:off x="1307014" y="1580628"/>
                <a:ext cx="1931448" cy="218521"/>
              </a:xfrm>
              <a:prstGeom prst="rect">
                <a:avLst/>
              </a:prstGeom>
              <a:ln w="12700">
                <a:miter lim="400000"/>
              </a:ln>
              <a:extLst>
                <a:ext uri="{C572A759-6A51-4108-AA02-DFA0A04FC94B}">
  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  </a:ext>
              </a:extLst>
            </p:spPr>
            <p:txBody>
              <a:bodyPr wrap="square" lIns="0" tIns="0" rIns="0" bIns="0" anchor="ctr">
                <a:spAutoFit/>
              </a:bodyPr>
              <a:lstStyle>
                <a:lvl1pPr>
                  <a:lnSpc>
                    <a:spcPct val="130000"/>
                  </a:lnSpc>
                  <a:defRPr sz="3000">
                    <a:latin typeface="+mn-lt"/>
                    <a:ea typeface="+mn-ea"/>
                    <a:cs typeface="+mn-cs"/>
                    <a:sym typeface="Poppins SemiBold"/>
                  </a:defRPr>
                </a:lvl1pPr>
              </a:lstStyle>
              <a:p>
                <a:pPr defTabSz="309563" hangingPunct="0">
                  <a:buClrTx/>
                  <a:defRPr/>
                </a:pPr>
                <a:r>
                  <a:rPr lang="ru-RU" sz="1200" dirty="0">
                    <a:solidFill>
                      <a:schemeClr val="bg2"/>
                    </a:solidFill>
                    <a:latin typeface="SB Sans Text Medium" panose="020B0603040504020204" pitchFamily="34" charset="-52"/>
                    <a:ea typeface="Roboto" pitchFamily="2" charset="0"/>
                    <a:cs typeface="SB Sans Text Medium" panose="020B0603040504020204" pitchFamily="34" charset="-52"/>
                  </a:rPr>
                  <a:t>Светлана Агапова</a:t>
                </a:r>
              </a:p>
            </p:txBody>
          </p:sp>
          <p:sp>
            <p:nvSpPr>
              <p:cNvPr id="36" name="Market analysis">
                <a:extLst>
                  <a:ext uri="{FF2B5EF4-FFF2-40B4-BE49-F238E27FC236}">
                    <a16:creationId xmlns:a16="http://schemas.microsoft.com/office/drawing/2014/main" id="{C6156070-82DB-4747-9DD5-3011F1A55D44}"/>
                  </a:ext>
                </a:extLst>
              </p:cNvPr>
              <p:cNvSpPr txBox="1"/>
              <p:nvPr/>
            </p:nvSpPr>
            <p:spPr>
              <a:xfrm>
                <a:off x="1307014" y="1836963"/>
                <a:ext cx="2168875" cy="275396"/>
              </a:xfrm>
              <a:prstGeom prst="rect">
                <a:avLst/>
              </a:prstGeom>
              <a:ln w="12700">
                <a:miter lim="400000"/>
              </a:ln>
              <a:extLst>
                <a:ext uri="{C572A759-6A51-4108-AA02-DFA0A04FC94B}">
  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  </a:ext>
              </a:extLst>
            </p:spPr>
            <p:txBody>
              <a:bodyPr wrap="square" lIns="0" tIns="0" rIns="0" bIns="0" anchor="ctr">
                <a:spAutoFit/>
              </a:bodyPr>
              <a:lstStyle>
                <a:lvl1pPr>
                  <a:lnSpc>
                    <a:spcPct val="130000"/>
                  </a:lnSpc>
                  <a:defRPr sz="3000">
                    <a:latin typeface="+mn-lt"/>
                    <a:ea typeface="+mn-ea"/>
                    <a:cs typeface="+mn-cs"/>
                    <a:sym typeface="Poppins SemiBold"/>
                  </a:defRPr>
                </a:lvl1pPr>
              </a:lstStyle>
              <a:p>
                <a:pPr defTabSz="309563" hangingPunct="0">
                  <a:lnSpc>
                    <a:spcPct val="85000"/>
                  </a:lnSpc>
                  <a:buClrTx/>
                  <a:defRPr/>
                </a:pPr>
                <a:r>
                  <a:rPr lang="ru-RU" sz="1050" dirty="0">
                    <a:latin typeface="SB Sans Text" panose="020B0503040504020204" pitchFamily="34" charset="-52"/>
                    <a:ea typeface="Roboto Light" panose="02000000000000000000" pitchFamily="2" charset="0"/>
                    <a:cs typeface="SB Sans Text" panose="020B0503040504020204" pitchFamily="34" charset="-52"/>
                  </a:rPr>
                  <a:t>Управляющий директор,</a:t>
                </a:r>
                <a:br>
                  <a:rPr lang="ru-RU" sz="1050" dirty="0">
                    <a:latin typeface="SB Sans Text" panose="020B0503040504020204" pitchFamily="34" charset="-52"/>
                    <a:ea typeface="Roboto Light" panose="02000000000000000000" pitchFamily="2" charset="0"/>
                    <a:cs typeface="SB Sans Text" panose="020B0503040504020204" pitchFamily="34" charset="-52"/>
                  </a:rPr>
                </a:br>
                <a:r>
                  <a:rPr lang="ru-RU" sz="1050" dirty="0">
                    <a:latin typeface="SB Sans Text" panose="020B0503040504020204" pitchFamily="34" charset="-52"/>
                    <a:ea typeface="Roboto Light" panose="02000000000000000000" pitchFamily="2" charset="0"/>
                    <a:cs typeface="SB Sans Text" panose="020B0503040504020204" pitchFamily="34" charset="-52"/>
                  </a:rPr>
                  <a:t>блок «Технологии», </a:t>
                </a:r>
                <a:r>
                  <a:rPr lang="ru-RU" sz="1050" dirty="0" err="1">
                    <a:latin typeface="SB Sans Text" panose="020B0503040504020204" pitchFamily="34" charset="-52"/>
                    <a:ea typeface="Roboto Light" panose="02000000000000000000" pitchFamily="2" charset="0"/>
                    <a:cs typeface="SB Sans Text" panose="020B0503040504020204" pitchFamily="34" charset="-52"/>
                  </a:rPr>
                  <a:t>Сбер</a:t>
                </a:r>
                <a:endParaRPr lang="ru-RU" sz="1050" dirty="0">
                  <a:latin typeface="SB Sans Text" panose="020B0503040504020204" pitchFamily="34" charset="-52"/>
                  <a:ea typeface="Roboto Light" panose="02000000000000000000" pitchFamily="2" charset="0"/>
                  <a:cs typeface="SB Sans Text" panose="020B0503040504020204" pitchFamily="34" charset="-52"/>
                </a:endParaRPr>
              </a:p>
            </p:txBody>
          </p:sp>
        </p:grpSp>
        <p:pic>
          <p:nvPicPr>
            <p:cNvPr id="33" name="Рисунок 32">
              <a:extLst>
                <a:ext uri="{FF2B5EF4-FFF2-40B4-BE49-F238E27FC236}">
                  <a16:creationId xmlns:a16="http://schemas.microsoft.com/office/drawing/2014/main" id="{71B056AE-0EDD-49F8-B269-ADB6077FE5AF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/>
            <a:srcRect t="3534" b="31606"/>
            <a:stretch/>
          </p:blipFill>
          <p:spPr>
            <a:xfrm>
              <a:off x="1373289" y="5597342"/>
              <a:ext cx="587423" cy="571500"/>
            </a:xfrm>
            <a:custGeom>
              <a:avLst/>
              <a:gdLst>
                <a:gd name="connsiteX0" fmla="*/ 285750 w 571500"/>
                <a:gd name="connsiteY0" fmla="*/ 0 h 571500"/>
                <a:gd name="connsiteX1" fmla="*/ 571500 w 571500"/>
                <a:gd name="connsiteY1" fmla="*/ 285750 h 571500"/>
                <a:gd name="connsiteX2" fmla="*/ 285750 w 571500"/>
                <a:gd name="connsiteY2" fmla="*/ 571500 h 571500"/>
                <a:gd name="connsiteX3" fmla="*/ 0 w 571500"/>
                <a:gd name="connsiteY3" fmla="*/ 285750 h 571500"/>
                <a:gd name="connsiteX4" fmla="*/ 285750 w 571500"/>
                <a:gd name="connsiteY4" fmla="*/ 0 h 571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0" h="571500">
                  <a:moveTo>
                    <a:pt x="285750" y="0"/>
                  </a:moveTo>
                  <a:cubicBezTo>
                    <a:pt x="443565" y="0"/>
                    <a:pt x="571500" y="127935"/>
                    <a:pt x="571500" y="285750"/>
                  </a:cubicBezTo>
                  <a:cubicBezTo>
                    <a:pt x="571500" y="443565"/>
                    <a:pt x="443565" y="571500"/>
                    <a:pt x="285750" y="571500"/>
                  </a:cubicBezTo>
                  <a:cubicBezTo>
                    <a:pt x="127935" y="571500"/>
                    <a:pt x="0" y="443565"/>
                    <a:pt x="0" y="285750"/>
                  </a:cubicBezTo>
                  <a:cubicBezTo>
                    <a:pt x="0" y="127935"/>
                    <a:pt x="127935" y="0"/>
                    <a:pt x="285750" y="0"/>
                  </a:cubicBezTo>
                  <a:close/>
                </a:path>
              </a:pathLst>
            </a:custGeom>
          </p:spPr>
        </p:pic>
      </p:grpSp>
      <p:sp>
        <p:nvSpPr>
          <p:cNvPr id="37" name="Заголовок">
            <a:extLst>
              <a:ext uri="{FF2B5EF4-FFF2-40B4-BE49-F238E27FC236}">
                <a16:creationId xmlns:a16="http://schemas.microsoft.com/office/drawing/2014/main" id="{73A9DC60-9412-4A8C-88EB-D8F8B85BD1B2}"/>
              </a:ext>
            </a:extLst>
          </p:cNvPr>
          <p:cNvSpPr txBox="1"/>
          <p:nvPr/>
        </p:nvSpPr>
        <p:spPr>
          <a:xfrm>
            <a:off x="694081" y="4389869"/>
            <a:ext cx="556127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2400" dirty="0">
                <a:solidFill>
                  <a:schemeClr val="bg2"/>
                </a:solidFill>
                <a:latin typeface="SB Sans Text" panose="020B0503040504020204" pitchFamily="34" charset="-52"/>
                <a:ea typeface="Roboto" pitchFamily="2" charset="0"/>
                <a:cs typeface="SB Sans Text" panose="020B0503040504020204" pitchFamily="34" charset="-52"/>
              </a:rPr>
              <a:t>Работы HFLabs и выгоды ДЗО</a:t>
            </a:r>
            <a:endParaRPr kumimoji="0" lang="ru-RU" sz="2400" i="0" u="none" strike="noStrike" kern="1200" cap="none" spc="0" normalizeH="0" baseline="0" noProof="0" dirty="0">
              <a:ln>
                <a:noFill/>
              </a:ln>
              <a:solidFill>
                <a:schemeClr val="bg2"/>
              </a:solidFill>
              <a:effectLst/>
              <a:uLnTx/>
              <a:uFillTx/>
              <a:latin typeface="SB Sans Text" panose="020B0503040504020204" pitchFamily="34" charset="-52"/>
              <a:ea typeface="Roboto" pitchFamily="2" charset="0"/>
              <a:cs typeface="SB Sans Text" panose="020B0503040504020204" pitchFamily="34" charset="-52"/>
            </a:endParaRPr>
          </a:p>
        </p:txBody>
      </p:sp>
      <p:grpSp>
        <p:nvGrpSpPr>
          <p:cNvPr id="38" name="Группа 37">
            <a:extLst>
              <a:ext uri="{FF2B5EF4-FFF2-40B4-BE49-F238E27FC236}">
                <a16:creationId xmlns:a16="http://schemas.microsoft.com/office/drawing/2014/main" id="{18AE9FA2-3147-4003-8167-CDD2CD8EC650}"/>
              </a:ext>
            </a:extLst>
          </p:cNvPr>
          <p:cNvGrpSpPr/>
          <p:nvPr/>
        </p:nvGrpSpPr>
        <p:grpSpPr>
          <a:xfrm>
            <a:off x="4361625" y="5447625"/>
            <a:ext cx="3202071" cy="762000"/>
            <a:chOff x="1217541" y="5509934"/>
            <a:chExt cx="3202071" cy="762000"/>
          </a:xfrm>
        </p:grpSpPr>
        <p:grpSp>
          <p:nvGrpSpPr>
            <p:cNvPr id="39" name="Группа 38">
              <a:extLst>
                <a:ext uri="{FF2B5EF4-FFF2-40B4-BE49-F238E27FC236}">
                  <a16:creationId xmlns:a16="http://schemas.microsoft.com/office/drawing/2014/main" id="{23E6A4B3-BEA4-49A0-9E8C-B62EDB426EAC}"/>
                </a:ext>
              </a:extLst>
            </p:cNvPr>
            <p:cNvGrpSpPr/>
            <p:nvPr/>
          </p:nvGrpSpPr>
          <p:grpSpPr>
            <a:xfrm>
              <a:off x="1217541" y="5509934"/>
              <a:ext cx="3202071" cy="762000"/>
              <a:chOff x="478199" y="1484302"/>
              <a:chExt cx="3202071" cy="762000"/>
            </a:xfrm>
          </p:grpSpPr>
          <p:sp>
            <p:nvSpPr>
              <p:cNvPr id="41" name="Rounded Rectangle">
                <a:extLst>
                  <a:ext uri="{FF2B5EF4-FFF2-40B4-BE49-F238E27FC236}">
                    <a16:creationId xmlns:a16="http://schemas.microsoft.com/office/drawing/2014/main" id="{71559D26-D103-4EAB-8ABB-DAEA4C8D1F91}"/>
                  </a:ext>
                </a:extLst>
              </p:cNvPr>
              <p:cNvSpPr/>
              <p:nvPr/>
            </p:nvSpPr>
            <p:spPr>
              <a:xfrm>
                <a:off x="478199" y="1484302"/>
                <a:ext cx="3202071" cy="762000"/>
              </a:xfrm>
              <a:prstGeom prst="roundRect">
                <a:avLst>
                  <a:gd name="adj" fmla="val 50000"/>
                </a:avLst>
              </a:prstGeom>
              <a:solidFill>
                <a:schemeClr val="bg1"/>
              </a:solidFill>
              <a:ln w="12700" cap="flat">
                <a:noFill/>
                <a:prstDash val="dash"/>
                <a:miter/>
              </a:ln>
              <a:effectLst>
                <a:outerShdw blurRad="1003300" sx="102000" sy="102000" algn="ctr" rotWithShape="0">
                  <a:schemeClr val="tx1">
                    <a:alpha val="15000"/>
                  </a:schemeClr>
                </a:outerShdw>
              </a:effectLst>
            </p:spPr>
            <p:txBody>
              <a:bodyPr lIns="0" tIns="0" rIns="0" bIns="0" anchor="ctr"/>
              <a:lstStyle/>
              <a:p>
                <a:pPr algn="ctr" defTabSz="309563" hangingPunct="0"/>
                <a:endParaRPr sz="1200" dirty="0">
                  <a:solidFill>
                    <a:srgbClr val="FFFFFF"/>
                  </a:solidFill>
                  <a:latin typeface="Roboto" pitchFamily="2" charset="0"/>
                  <a:ea typeface="Roboto" pitchFamily="2" charset="0"/>
                  <a:cs typeface="Poppins Bold"/>
                  <a:sym typeface="Poppins Bold"/>
                </a:endParaRPr>
              </a:p>
            </p:txBody>
          </p:sp>
          <p:sp>
            <p:nvSpPr>
              <p:cNvPr id="42" name="Market analysis">
                <a:extLst>
                  <a:ext uri="{FF2B5EF4-FFF2-40B4-BE49-F238E27FC236}">
                    <a16:creationId xmlns:a16="http://schemas.microsoft.com/office/drawing/2014/main" id="{DB3EE3E9-563B-4037-B25C-5BB5FA446A8D}"/>
                  </a:ext>
                </a:extLst>
              </p:cNvPr>
              <p:cNvSpPr txBox="1"/>
              <p:nvPr/>
            </p:nvSpPr>
            <p:spPr>
              <a:xfrm>
                <a:off x="1307014" y="1580628"/>
                <a:ext cx="1931448" cy="218521"/>
              </a:xfrm>
              <a:prstGeom prst="rect">
                <a:avLst/>
              </a:prstGeom>
              <a:ln w="12700">
                <a:miter lim="400000"/>
              </a:ln>
              <a:extLst>
                <a:ext uri="{C572A759-6A51-4108-AA02-DFA0A04FC94B}">
  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  </a:ext>
              </a:extLst>
            </p:spPr>
            <p:txBody>
              <a:bodyPr wrap="square" lIns="0" tIns="0" rIns="0" bIns="0" anchor="ctr">
                <a:spAutoFit/>
              </a:bodyPr>
              <a:lstStyle>
                <a:lvl1pPr>
                  <a:lnSpc>
                    <a:spcPct val="130000"/>
                  </a:lnSpc>
                  <a:defRPr sz="3000">
                    <a:latin typeface="+mn-lt"/>
                    <a:ea typeface="+mn-ea"/>
                    <a:cs typeface="+mn-cs"/>
                    <a:sym typeface="Poppins SemiBold"/>
                  </a:defRPr>
                </a:lvl1pPr>
              </a:lstStyle>
              <a:p>
                <a:pPr defTabSz="309563" hangingPunct="0">
                  <a:buClrTx/>
                  <a:defRPr/>
                </a:pPr>
                <a:r>
                  <a:rPr lang="ru-RU" sz="1200" dirty="0">
                    <a:solidFill>
                      <a:schemeClr val="bg2"/>
                    </a:solidFill>
                    <a:latin typeface="SB Sans Text Medium" panose="020B0603040504020204" pitchFamily="34" charset="-52"/>
                    <a:ea typeface="Roboto" pitchFamily="2" charset="0"/>
                    <a:cs typeface="SB Sans Text Medium" panose="020B0603040504020204" pitchFamily="34" charset="-52"/>
                  </a:rPr>
                  <a:t>Олег Кузичев</a:t>
                </a:r>
              </a:p>
            </p:txBody>
          </p:sp>
          <p:sp>
            <p:nvSpPr>
              <p:cNvPr id="43" name="Market analysis">
                <a:extLst>
                  <a:ext uri="{FF2B5EF4-FFF2-40B4-BE49-F238E27FC236}">
                    <a16:creationId xmlns:a16="http://schemas.microsoft.com/office/drawing/2014/main" id="{3DE2586B-8453-49EA-B090-ECD80D1D4347}"/>
                  </a:ext>
                </a:extLst>
              </p:cNvPr>
              <p:cNvSpPr txBox="1"/>
              <p:nvPr/>
            </p:nvSpPr>
            <p:spPr>
              <a:xfrm>
                <a:off x="1307014" y="1836963"/>
                <a:ext cx="2168875" cy="275396"/>
              </a:xfrm>
              <a:prstGeom prst="rect">
                <a:avLst/>
              </a:prstGeom>
              <a:ln w="12700">
                <a:miter lim="400000"/>
              </a:ln>
              <a:extLst>
                <a:ext uri="{C572A759-6A51-4108-AA02-DFA0A04FC94B}">
  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  </a:ext>
              </a:extLst>
            </p:spPr>
            <p:txBody>
              <a:bodyPr wrap="square" lIns="0" tIns="0" rIns="0" bIns="0" anchor="ctr">
                <a:spAutoFit/>
              </a:bodyPr>
              <a:lstStyle>
                <a:lvl1pPr>
                  <a:lnSpc>
                    <a:spcPct val="130000"/>
                  </a:lnSpc>
                  <a:defRPr sz="3000">
                    <a:latin typeface="+mn-lt"/>
                    <a:ea typeface="+mn-ea"/>
                    <a:cs typeface="+mn-cs"/>
                    <a:sym typeface="Poppins SemiBold"/>
                  </a:defRPr>
                </a:lvl1pPr>
              </a:lstStyle>
              <a:p>
                <a:pPr defTabSz="309563" hangingPunct="0">
                  <a:lnSpc>
                    <a:spcPct val="85000"/>
                  </a:lnSpc>
                  <a:buClrTx/>
                  <a:defRPr/>
                </a:pPr>
                <a:r>
                  <a:rPr lang="ru-RU" sz="1050" dirty="0">
                    <a:latin typeface="SB Sans Text" panose="020B0503040504020204" pitchFamily="34" charset="-52"/>
                    <a:ea typeface="Roboto Light" panose="02000000000000000000" pitchFamily="2" charset="0"/>
                    <a:cs typeface="SB Sans Text" panose="020B0503040504020204" pitchFamily="34" charset="-52"/>
                  </a:rPr>
                  <a:t>Владелец продукта «Данные </a:t>
                </a:r>
                <a:r>
                  <a:rPr lang="ru-RU" sz="1050" dirty="0" err="1">
                    <a:latin typeface="SB Sans Text" panose="020B0503040504020204" pitchFamily="34" charset="-52"/>
                    <a:ea typeface="Roboto Light" panose="02000000000000000000" pitchFamily="2" charset="0"/>
                    <a:cs typeface="SB Sans Text" panose="020B0503040504020204" pitchFamily="34" charset="-52"/>
                  </a:rPr>
                  <a:t>СберНПФ</a:t>
                </a:r>
                <a:r>
                  <a:rPr lang="ru-RU" sz="1050" dirty="0">
                    <a:latin typeface="SB Sans Text" panose="020B0503040504020204" pitchFamily="34" charset="-52"/>
                    <a:ea typeface="Roboto Light" panose="02000000000000000000" pitchFamily="2" charset="0"/>
                    <a:cs typeface="SB Sans Text" panose="020B0503040504020204" pitchFamily="34" charset="-52"/>
                  </a:rPr>
                  <a:t>»</a:t>
                </a:r>
              </a:p>
            </p:txBody>
          </p:sp>
        </p:grpSp>
        <p:pic>
          <p:nvPicPr>
            <p:cNvPr id="40" name="Рисунок 39">
              <a:extLst>
                <a:ext uri="{FF2B5EF4-FFF2-40B4-BE49-F238E27FC236}">
                  <a16:creationId xmlns:a16="http://schemas.microsoft.com/office/drawing/2014/main" id="{5B88B073-E710-4FF3-9C3D-6673610150E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/>
            <a:srcRect t="2671" b="32469"/>
            <a:stretch/>
          </p:blipFill>
          <p:spPr>
            <a:xfrm>
              <a:off x="1373289" y="5597342"/>
              <a:ext cx="587423" cy="571500"/>
            </a:xfrm>
            <a:custGeom>
              <a:avLst/>
              <a:gdLst>
                <a:gd name="connsiteX0" fmla="*/ 285750 w 571500"/>
                <a:gd name="connsiteY0" fmla="*/ 0 h 571500"/>
                <a:gd name="connsiteX1" fmla="*/ 571500 w 571500"/>
                <a:gd name="connsiteY1" fmla="*/ 285750 h 571500"/>
                <a:gd name="connsiteX2" fmla="*/ 285750 w 571500"/>
                <a:gd name="connsiteY2" fmla="*/ 571500 h 571500"/>
                <a:gd name="connsiteX3" fmla="*/ 0 w 571500"/>
                <a:gd name="connsiteY3" fmla="*/ 285750 h 571500"/>
                <a:gd name="connsiteX4" fmla="*/ 285750 w 571500"/>
                <a:gd name="connsiteY4" fmla="*/ 0 h 571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0" h="571500">
                  <a:moveTo>
                    <a:pt x="285750" y="0"/>
                  </a:moveTo>
                  <a:cubicBezTo>
                    <a:pt x="443565" y="0"/>
                    <a:pt x="571500" y="127935"/>
                    <a:pt x="571500" y="285750"/>
                  </a:cubicBezTo>
                  <a:cubicBezTo>
                    <a:pt x="571500" y="443565"/>
                    <a:pt x="443565" y="571500"/>
                    <a:pt x="285750" y="571500"/>
                  </a:cubicBezTo>
                  <a:cubicBezTo>
                    <a:pt x="127935" y="571500"/>
                    <a:pt x="0" y="443565"/>
                    <a:pt x="0" y="285750"/>
                  </a:cubicBezTo>
                  <a:cubicBezTo>
                    <a:pt x="0" y="127935"/>
                    <a:pt x="127935" y="0"/>
                    <a:pt x="285750" y="0"/>
                  </a:cubicBezTo>
                  <a:close/>
                </a:path>
              </a:pathLst>
            </a:custGeom>
          </p:spPr>
        </p:pic>
      </p:grpSp>
      <p:grpSp>
        <p:nvGrpSpPr>
          <p:cNvPr id="44" name="Рисунок 2">
            <a:extLst>
              <a:ext uri="{FF2B5EF4-FFF2-40B4-BE49-F238E27FC236}">
                <a16:creationId xmlns:a16="http://schemas.microsoft.com/office/drawing/2014/main" id="{56051CE7-05BA-4211-AA04-9A67F7945380}"/>
              </a:ext>
            </a:extLst>
          </p:cNvPr>
          <p:cNvGrpSpPr/>
          <p:nvPr/>
        </p:nvGrpSpPr>
        <p:grpSpPr>
          <a:xfrm>
            <a:off x="823295" y="1113267"/>
            <a:ext cx="1488859" cy="256659"/>
            <a:chOff x="1447975" y="1300681"/>
            <a:chExt cx="3559515" cy="613613"/>
          </a:xfrm>
          <a:solidFill>
            <a:schemeClr val="bg1"/>
          </a:solidFill>
        </p:grpSpPr>
        <p:sp>
          <p:nvSpPr>
            <p:cNvPr id="45" name="Полилиния: фигура 44">
              <a:extLst>
                <a:ext uri="{FF2B5EF4-FFF2-40B4-BE49-F238E27FC236}">
                  <a16:creationId xmlns:a16="http://schemas.microsoft.com/office/drawing/2014/main" id="{21A6C574-C71B-49B8-B839-D577DFF440AD}"/>
                </a:ext>
              </a:extLst>
            </p:cNvPr>
            <p:cNvSpPr/>
            <p:nvPr/>
          </p:nvSpPr>
          <p:spPr>
            <a:xfrm>
              <a:off x="1622986" y="1482862"/>
              <a:ext cx="197959" cy="262511"/>
            </a:xfrm>
            <a:custGeom>
              <a:avLst/>
              <a:gdLst>
                <a:gd name="connsiteX0" fmla="*/ 197960 w 197959"/>
                <a:gd name="connsiteY0" fmla="*/ 262511 h 262511"/>
                <a:gd name="connsiteX1" fmla="*/ 162098 w 197959"/>
                <a:gd name="connsiteY1" fmla="*/ 262511 h 262511"/>
                <a:gd name="connsiteX2" fmla="*/ 162098 w 197959"/>
                <a:gd name="connsiteY2" fmla="*/ 146318 h 262511"/>
                <a:gd name="connsiteX3" fmla="*/ 34427 w 197959"/>
                <a:gd name="connsiteY3" fmla="*/ 146318 h 262511"/>
                <a:gd name="connsiteX4" fmla="*/ 34427 w 197959"/>
                <a:gd name="connsiteY4" fmla="*/ 262511 h 262511"/>
                <a:gd name="connsiteX5" fmla="*/ 0 w 197959"/>
                <a:gd name="connsiteY5" fmla="*/ 262511 h 262511"/>
                <a:gd name="connsiteX6" fmla="*/ 0 w 197959"/>
                <a:gd name="connsiteY6" fmla="*/ 0 h 262511"/>
                <a:gd name="connsiteX7" fmla="*/ 34427 w 197959"/>
                <a:gd name="connsiteY7" fmla="*/ 0 h 262511"/>
                <a:gd name="connsiteX8" fmla="*/ 34427 w 197959"/>
                <a:gd name="connsiteY8" fmla="*/ 119062 h 262511"/>
                <a:gd name="connsiteX9" fmla="*/ 162098 w 197959"/>
                <a:gd name="connsiteY9" fmla="*/ 119062 h 262511"/>
                <a:gd name="connsiteX10" fmla="*/ 162098 w 197959"/>
                <a:gd name="connsiteY10" fmla="*/ 0 h 262511"/>
                <a:gd name="connsiteX11" fmla="*/ 197960 w 197959"/>
                <a:gd name="connsiteY11" fmla="*/ 0 h 262511"/>
                <a:gd name="connsiteX12" fmla="*/ 197960 w 197959"/>
                <a:gd name="connsiteY12" fmla="*/ 262511 h 2625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97959" h="262511">
                  <a:moveTo>
                    <a:pt x="197960" y="262511"/>
                  </a:moveTo>
                  <a:lnTo>
                    <a:pt x="162098" y="262511"/>
                  </a:lnTo>
                  <a:lnTo>
                    <a:pt x="162098" y="146318"/>
                  </a:lnTo>
                  <a:lnTo>
                    <a:pt x="34427" y="146318"/>
                  </a:lnTo>
                  <a:lnTo>
                    <a:pt x="34427" y="262511"/>
                  </a:lnTo>
                  <a:lnTo>
                    <a:pt x="0" y="262511"/>
                  </a:lnTo>
                  <a:lnTo>
                    <a:pt x="0" y="0"/>
                  </a:lnTo>
                  <a:lnTo>
                    <a:pt x="34427" y="0"/>
                  </a:lnTo>
                  <a:lnTo>
                    <a:pt x="34427" y="119062"/>
                  </a:lnTo>
                  <a:lnTo>
                    <a:pt x="162098" y="119062"/>
                  </a:lnTo>
                  <a:lnTo>
                    <a:pt x="162098" y="0"/>
                  </a:lnTo>
                  <a:lnTo>
                    <a:pt x="197960" y="0"/>
                  </a:lnTo>
                  <a:lnTo>
                    <a:pt x="197960" y="262511"/>
                  </a:lnTo>
                  <a:close/>
                </a:path>
              </a:pathLst>
            </a:custGeom>
            <a:grpFill/>
            <a:ln w="140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dirty="0">
                <a:latin typeface="Akrobat" panose="00000600000000000000" pitchFamily="50" charset="-52"/>
              </a:endParaRPr>
            </a:p>
          </p:txBody>
        </p:sp>
        <p:sp>
          <p:nvSpPr>
            <p:cNvPr id="46" name="Полилиния: фигура 45">
              <a:extLst>
                <a:ext uri="{FF2B5EF4-FFF2-40B4-BE49-F238E27FC236}">
                  <a16:creationId xmlns:a16="http://schemas.microsoft.com/office/drawing/2014/main" id="{255BF8F8-DED1-4A30-8C5F-09DB8C648DA6}"/>
                </a:ext>
              </a:extLst>
            </p:cNvPr>
            <p:cNvSpPr/>
            <p:nvPr/>
          </p:nvSpPr>
          <p:spPr>
            <a:xfrm>
              <a:off x="2919774" y="1482862"/>
              <a:ext cx="172134" cy="262511"/>
            </a:xfrm>
            <a:custGeom>
              <a:avLst/>
              <a:gdLst>
                <a:gd name="connsiteX0" fmla="*/ 154920 w 172134"/>
                <a:gd name="connsiteY0" fmla="*/ 146318 h 262511"/>
                <a:gd name="connsiteX1" fmla="*/ 34430 w 172134"/>
                <a:gd name="connsiteY1" fmla="*/ 146318 h 262511"/>
                <a:gd name="connsiteX2" fmla="*/ 34430 w 172134"/>
                <a:gd name="connsiteY2" fmla="*/ 262511 h 262511"/>
                <a:gd name="connsiteX3" fmla="*/ 0 w 172134"/>
                <a:gd name="connsiteY3" fmla="*/ 262511 h 262511"/>
                <a:gd name="connsiteX4" fmla="*/ 0 w 172134"/>
                <a:gd name="connsiteY4" fmla="*/ 0 h 262511"/>
                <a:gd name="connsiteX5" fmla="*/ 172134 w 172134"/>
                <a:gd name="connsiteY5" fmla="*/ 0 h 262511"/>
                <a:gd name="connsiteX6" fmla="*/ 172134 w 172134"/>
                <a:gd name="connsiteY6" fmla="*/ 28690 h 262511"/>
                <a:gd name="connsiteX7" fmla="*/ 34430 w 172134"/>
                <a:gd name="connsiteY7" fmla="*/ 28690 h 262511"/>
                <a:gd name="connsiteX8" fmla="*/ 34430 w 172134"/>
                <a:gd name="connsiteY8" fmla="*/ 119062 h 262511"/>
                <a:gd name="connsiteX9" fmla="*/ 154920 w 172134"/>
                <a:gd name="connsiteY9" fmla="*/ 119062 h 262511"/>
                <a:gd name="connsiteX10" fmla="*/ 154920 w 172134"/>
                <a:gd name="connsiteY10" fmla="*/ 146318 h 2625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72134" h="262511">
                  <a:moveTo>
                    <a:pt x="154920" y="146318"/>
                  </a:moveTo>
                  <a:lnTo>
                    <a:pt x="34430" y="146318"/>
                  </a:lnTo>
                  <a:lnTo>
                    <a:pt x="34430" y="262511"/>
                  </a:lnTo>
                  <a:lnTo>
                    <a:pt x="0" y="262511"/>
                  </a:lnTo>
                  <a:lnTo>
                    <a:pt x="0" y="0"/>
                  </a:lnTo>
                  <a:lnTo>
                    <a:pt x="172134" y="0"/>
                  </a:lnTo>
                  <a:lnTo>
                    <a:pt x="172134" y="28690"/>
                  </a:lnTo>
                  <a:lnTo>
                    <a:pt x="34430" y="28690"/>
                  </a:lnTo>
                  <a:lnTo>
                    <a:pt x="34430" y="119062"/>
                  </a:lnTo>
                  <a:lnTo>
                    <a:pt x="154920" y="119062"/>
                  </a:lnTo>
                  <a:lnTo>
                    <a:pt x="154920" y="146318"/>
                  </a:lnTo>
                  <a:close/>
                </a:path>
              </a:pathLst>
            </a:custGeom>
            <a:grpFill/>
            <a:ln w="140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dirty="0">
                <a:latin typeface="Akrobat" panose="00000600000000000000" pitchFamily="50" charset="-52"/>
              </a:endParaRPr>
            </a:p>
          </p:txBody>
        </p:sp>
        <p:sp>
          <p:nvSpPr>
            <p:cNvPr id="47" name="Полилиния: фигура 46">
              <a:extLst>
                <a:ext uri="{FF2B5EF4-FFF2-40B4-BE49-F238E27FC236}">
                  <a16:creationId xmlns:a16="http://schemas.microsoft.com/office/drawing/2014/main" id="{71C4CAC2-CF8A-4F57-9C30-21471AC50991}"/>
                </a:ext>
              </a:extLst>
            </p:cNvPr>
            <p:cNvSpPr/>
            <p:nvPr/>
          </p:nvSpPr>
          <p:spPr>
            <a:xfrm>
              <a:off x="4078842" y="1464205"/>
              <a:ext cx="755979" cy="285464"/>
            </a:xfrm>
            <a:custGeom>
              <a:avLst/>
              <a:gdLst>
                <a:gd name="connsiteX0" fmla="*/ 35862 w 755979"/>
                <a:gd name="connsiteY0" fmla="*/ 252472 h 285464"/>
                <a:gd name="connsiteX1" fmla="*/ 159230 w 755979"/>
                <a:gd name="connsiteY1" fmla="*/ 252472 h 285464"/>
                <a:gd name="connsiteX2" fmla="*/ 159230 w 755979"/>
                <a:gd name="connsiteY2" fmla="*/ 281161 h 285464"/>
                <a:gd name="connsiteX3" fmla="*/ 0 w 755979"/>
                <a:gd name="connsiteY3" fmla="*/ 281161 h 285464"/>
                <a:gd name="connsiteX4" fmla="*/ 0 w 755979"/>
                <a:gd name="connsiteY4" fmla="*/ 18648 h 285464"/>
                <a:gd name="connsiteX5" fmla="*/ 35862 w 755979"/>
                <a:gd name="connsiteY5" fmla="*/ 18648 h 285464"/>
                <a:gd name="connsiteX6" fmla="*/ 35862 w 755979"/>
                <a:gd name="connsiteY6" fmla="*/ 252472 h 285464"/>
                <a:gd name="connsiteX7" fmla="*/ 312718 w 755979"/>
                <a:gd name="connsiteY7" fmla="*/ 281161 h 285464"/>
                <a:gd name="connsiteX8" fmla="*/ 309853 w 755979"/>
                <a:gd name="connsiteY8" fmla="*/ 265381 h 285464"/>
                <a:gd name="connsiteX9" fmla="*/ 308407 w 755979"/>
                <a:gd name="connsiteY9" fmla="*/ 252472 h 285464"/>
                <a:gd name="connsiteX10" fmla="*/ 282599 w 755979"/>
                <a:gd name="connsiteY10" fmla="*/ 275424 h 285464"/>
                <a:gd name="connsiteX11" fmla="*/ 248169 w 755979"/>
                <a:gd name="connsiteY11" fmla="*/ 285465 h 285464"/>
                <a:gd name="connsiteX12" fmla="*/ 202267 w 755979"/>
                <a:gd name="connsiteY12" fmla="*/ 269685 h 285464"/>
                <a:gd name="connsiteX13" fmla="*/ 186485 w 755979"/>
                <a:gd name="connsiteY13" fmla="*/ 226651 h 285464"/>
                <a:gd name="connsiteX14" fmla="*/ 209429 w 755979"/>
                <a:gd name="connsiteY14" fmla="*/ 183616 h 285464"/>
                <a:gd name="connsiteX15" fmla="*/ 271113 w 755979"/>
                <a:gd name="connsiteY15" fmla="*/ 167837 h 285464"/>
                <a:gd name="connsiteX16" fmla="*/ 309853 w 755979"/>
                <a:gd name="connsiteY16" fmla="*/ 167837 h 285464"/>
                <a:gd name="connsiteX17" fmla="*/ 309853 w 755979"/>
                <a:gd name="connsiteY17" fmla="*/ 147753 h 285464"/>
                <a:gd name="connsiteX18" fmla="*/ 299814 w 755979"/>
                <a:gd name="connsiteY18" fmla="*/ 120498 h 285464"/>
                <a:gd name="connsiteX19" fmla="*/ 269681 w 755979"/>
                <a:gd name="connsiteY19" fmla="*/ 110456 h 285464"/>
                <a:gd name="connsiteX20" fmla="*/ 242426 w 755979"/>
                <a:gd name="connsiteY20" fmla="*/ 119063 h 285464"/>
                <a:gd name="connsiteX21" fmla="*/ 232386 w 755979"/>
                <a:gd name="connsiteY21" fmla="*/ 139147 h 285464"/>
                <a:gd name="connsiteX22" fmla="*/ 196524 w 755979"/>
                <a:gd name="connsiteY22" fmla="*/ 139147 h 285464"/>
                <a:gd name="connsiteX23" fmla="*/ 196524 w 755979"/>
                <a:gd name="connsiteY23" fmla="*/ 137712 h 285464"/>
                <a:gd name="connsiteX24" fmla="*/ 216604 w 755979"/>
                <a:gd name="connsiteY24" fmla="*/ 98981 h 285464"/>
                <a:gd name="connsiteX25" fmla="*/ 271113 w 755979"/>
                <a:gd name="connsiteY25" fmla="*/ 81766 h 285464"/>
                <a:gd name="connsiteX26" fmla="*/ 324190 w 755979"/>
                <a:gd name="connsiteY26" fmla="*/ 98981 h 285464"/>
                <a:gd name="connsiteX27" fmla="*/ 344283 w 755979"/>
                <a:gd name="connsiteY27" fmla="*/ 147753 h 285464"/>
                <a:gd name="connsiteX28" fmla="*/ 344283 w 755979"/>
                <a:gd name="connsiteY28" fmla="*/ 240995 h 285464"/>
                <a:gd name="connsiteX29" fmla="*/ 345715 w 755979"/>
                <a:gd name="connsiteY29" fmla="*/ 261078 h 285464"/>
                <a:gd name="connsiteX30" fmla="*/ 350012 w 755979"/>
                <a:gd name="connsiteY30" fmla="*/ 279728 h 285464"/>
                <a:gd name="connsiteX31" fmla="*/ 312718 w 755979"/>
                <a:gd name="connsiteY31" fmla="*/ 279728 h 285464"/>
                <a:gd name="connsiteX32" fmla="*/ 312718 w 755979"/>
                <a:gd name="connsiteY32" fmla="*/ 281161 h 285464"/>
                <a:gd name="connsiteX33" fmla="*/ 253898 w 755979"/>
                <a:gd name="connsiteY33" fmla="*/ 255340 h 285464"/>
                <a:gd name="connsiteX34" fmla="*/ 288328 w 755979"/>
                <a:gd name="connsiteY34" fmla="*/ 245299 h 285464"/>
                <a:gd name="connsiteX35" fmla="*/ 308407 w 755979"/>
                <a:gd name="connsiteY35" fmla="*/ 222347 h 285464"/>
                <a:gd name="connsiteX36" fmla="*/ 308407 w 755979"/>
                <a:gd name="connsiteY36" fmla="*/ 190789 h 285464"/>
                <a:gd name="connsiteX37" fmla="*/ 268248 w 755979"/>
                <a:gd name="connsiteY37" fmla="*/ 190789 h 285464"/>
                <a:gd name="connsiteX38" fmla="*/ 233819 w 755979"/>
                <a:gd name="connsiteY38" fmla="*/ 200830 h 285464"/>
                <a:gd name="connsiteX39" fmla="*/ 220915 w 755979"/>
                <a:gd name="connsiteY39" fmla="*/ 226651 h 285464"/>
                <a:gd name="connsiteX40" fmla="*/ 229522 w 755979"/>
                <a:gd name="connsiteY40" fmla="*/ 246733 h 285464"/>
                <a:gd name="connsiteX41" fmla="*/ 253898 w 755979"/>
                <a:gd name="connsiteY41" fmla="*/ 255340 h 285464"/>
                <a:gd name="connsiteX42" fmla="*/ 562319 w 755979"/>
                <a:gd name="connsiteY42" fmla="*/ 190789 h 285464"/>
                <a:gd name="connsiteX43" fmla="*/ 542240 w 755979"/>
                <a:gd name="connsiteY43" fmla="*/ 258209 h 285464"/>
                <a:gd name="connsiteX44" fmla="*/ 486284 w 755979"/>
                <a:gd name="connsiteY44" fmla="*/ 284030 h 285464"/>
                <a:gd name="connsiteX45" fmla="*/ 453301 w 755979"/>
                <a:gd name="connsiteY45" fmla="*/ 276857 h 285464"/>
                <a:gd name="connsiteX46" fmla="*/ 430343 w 755979"/>
                <a:gd name="connsiteY46" fmla="*/ 255340 h 285464"/>
                <a:gd name="connsiteX47" fmla="*/ 426047 w 755979"/>
                <a:gd name="connsiteY47" fmla="*/ 281161 h 285464"/>
                <a:gd name="connsiteX48" fmla="*/ 397346 w 755979"/>
                <a:gd name="connsiteY48" fmla="*/ 281161 h 285464"/>
                <a:gd name="connsiteX49" fmla="*/ 397346 w 755979"/>
                <a:gd name="connsiteY49" fmla="*/ 0 h 285464"/>
                <a:gd name="connsiteX50" fmla="*/ 433222 w 755979"/>
                <a:gd name="connsiteY50" fmla="*/ 0 h 285464"/>
                <a:gd name="connsiteX51" fmla="*/ 433222 w 755979"/>
                <a:gd name="connsiteY51" fmla="*/ 109022 h 285464"/>
                <a:gd name="connsiteX52" fmla="*/ 456166 w 755979"/>
                <a:gd name="connsiteY52" fmla="*/ 88939 h 285464"/>
                <a:gd name="connsiteX53" fmla="*/ 487731 w 755979"/>
                <a:gd name="connsiteY53" fmla="*/ 81766 h 285464"/>
                <a:gd name="connsiteX54" fmla="*/ 543672 w 755979"/>
                <a:gd name="connsiteY54" fmla="*/ 110456 h 285464"/>
                <a:gd name="connsiteX55" fmla="*/ 563751 w 755979"/>
                <a:gd name="connsiteY55" fmla="*/ 186485 h 285464"/>
                <a:gd name="connsiteX56" fmla="*/ 563751 w 755979"/>
                <a:gd name="connsiteY56" fmla="*/ 190789 h 285464"/>
                <a:gd name="connsiteX57" fmla="*/ 562319 w 755979"/>
                <a:gd name="connsiteY57" fmla="*/ 190789 h 285464"/>
                <a:gd name="connsiteX58" fmla="*/ 526457 w 755979"/>
                <a:gd name="connsiteY58" fmla="*/ 187919 h 285464"/>
                <a:gd name="connsiteX59" fmla="*/ 513553 w 755979"/>
                <a:gd name="connsiteY59" fmla="*/ 133408 h 285464"/>
                <a:gd name="connsiteX60" fmla="*/ 476245 w 755979"/>
                <a:gd name="connsiteY60" fmla="*/ 111891 h 285464"/>
                <a:gd name="connsiteX61" fmla="*/ 448990 w 755979"/>
                <a:gd name="connsiteY61" fmla="*/ 120498 h 285464"/>
                <a:gd name="connsiteX62" fmla="*/ 431775 w 755979"/>
                <a:gd name="connsiteY62" fmla="*/ 142016 h 285464"/>
                <a:gd name="connsiteX63" fmla="*/ 431775 w 755979"/>
                <a:gd name="connsiteY63" fmla="*/ 226651 h 285464"/>
                <a:gd name="connsiteX64" fmla="*/ 448990 w 755979"/>
                <a:gd name="connsiteY64" fmla="*/ 249603 h 285464"/>
                <a:gd name="connsiteX65" fmla="*/ 476245 w 755979"/>
                <a:gd name="connsiteY65" fmla="*/ 258209 h 285464"/>
                <a:gd name="connsiteX66" fmla="*/ 513553 w 755979"/>
                <a:gd name="connsiteY66" fmla="*/ 240995 h 285464"/>
                <a:gd name="connsiteX67" fmla="*/ 526457 w 755979"/>
                <a:gd name="connsiteY67" fmla="*/ 193657 h 285464"/>
                <a:gd name="connsiteX68" fmla="*/ 526457 w 755979"/>
                <a:gd name="connsiteY68" fmla="*/ 187919 h 285464"/>
                <a:gd name="connsiteX69" fmla="*/ 718685 w 755979"/>
                <a:gd name="connsiteY69" fmla="*/ 229519 h 285464"/>
                <a:gd name="connsiteX70" fmla="*/ 710078 w 755979"/>
                <a:gd name="connsiteY70" fmla="*/ 210871 h 285464"/>
                <a:gd name="connsiteX71" fmla="*/ 675648 w 755979"/>
                <a:gd name="connsiteY71" fmla="*/ 197961 h 285464"/>
                <a:gd name="connsiteX72" fmla="*/ 622571 w 755979"/>
                <a:gd name="connsiteY72" fmla="*/ 176443 h 285464"/>
                <a:gd name="connsiteX73" fmla="*/ 605356 w 755979"/>
                <a:gd name="connsiteY73" fmla="*/ 140581 h 285464"/>
                <a:gd name="connsiteX74" fmla="*/ 625436 w 755979"/>
                <a:gd name="connsiteY74" fmla="*/ 100415 h 285464"/>
                <a:gd name="connsiteX75" fmla="*/ 678513 w 755979"/>
                <a:gd name="connsiteY75" fmla="*/ 83201 h 285464"/>
                <a:gd name="connsiteX76" fmla="*/ 733021 w 755979"/>
                <a:gd name="connsiteY76" fmla="*/ 100415 h 285464"/>
                <a:gd name="connsiteX77" fmla="*/ 751668 w 755979"/>
                <a:gd name="connsiteY77" fmla="*/ 143451 h 285464"/>
                <a:gd name="connsiteX78" fmla="*/ 751668 w 755979"/>
                <a:gd name="connsiteY78" fmla="*/ 144884 h 285464"/>
                <a:gd name="connsiteX79" fmla="*/ 717239 w 755979"/>
                <a:gd name="connsiteY79" fmla="*/ 144884 h 285464"/>
                <a:gd name="connsiteX80" fmla="*/ 707199 w 755979"/>
                <a:gd name="connsiteY80" fmla="*/ 121932 h 285464"/>
                <a:gd name="connsiteX81" fmla="*/ 678513 w 755979"/>
                <a:gd name="connsiteY81" fmla="*/ 111891 h 285464"/>
                <a:gd name="connsiteX82" fmla="*/ 649826 w 755979"/>
                <a:gd name="connsiteY82" fmla="*/ 120498 h 285464"/>
                <a:gd name="connsiteX83" fmla="*/ 641218 w 755979"/>
                <a:gd name="connsiteY83" fmla="*/ 140581 h 285464"/>
                <a:gd name="connsiteX84" fmla="*/ 649826 w 755979"/>
                <a:gd name="connsiteY84" fmla="*/ 159229 h 285464"/>
                <a:gd name="connsiteX85" fmla="*/ 682823 w 755979"/>
                <a:gd name="connsiteY85" fmla="*/ 170705 h 285464"/>
                <a:gd name="connsiteX86" fmla="*/ 737332 w 755979"/>
                <a:gd name="connsiteY86" fmla="*/ 192222 h 285464"/>
                <a:gd name="connsiteX87" fmla="*/ 755979 w 755979"/>
                <a:gd name="connsiteY87" fmla="*/ 228086 h 285464"/>
                <a:gd name="connsiteX88" fmla="*/ 734454 w 755979"/>
                <a:gd name="connsiteY88" fmla="*/ 269685 h 285464"/>
                <a:gd name="connsiteX89" fmla="*/ 679944 w 755979"/>
                <a:gd name="connsiteY89" fmla="*/ 285465 h 285464"/>
                <a:gd name="connsiteX90" fmla="*/ 621139 w 755979"/>
                <a:gd name="connsiteY90" fmla="*/ 266816 h 285464"/>
                <a:gd name="connsiteX91" fmla="*/ 601045 w 755979"/>
                <a:gd name="connsiteY91" fmla="*/ 222347 h 285464"/>
                <a:gd name="connsiteX92" fmla="*/ 601045 w 755979"/>
                <a:gd name="connsiteY92" fmla="*/ 220912 h 285464"/>
                <a:gd name="connsiteX93" fmla="*/ 635475 w 755979"/>
                <a:gd name="connsiteY93" fmla="*/ 220912 h 285464"/>
                <a:gd name="connsiteX94" fmla="*/ 649826 w 755979"/>
                <a:gd name="connsiteY94" fmla="*/ 248168 h 285464"/>
                <a:gd name="connsiteX95" fmla="*/ 679944 w 755979"/>
                <a:gd name="connsiteY95" fmla="*/ 256775 h 285464"/>
                <a:gd name="connsiteX96" fmla="*/ 710078 w 755979"/>
                <a:gd name="connsiteY96" fmla="*/ 249603 h 285464"/>
                <a:gd name="connsiteX97" fmla="*/ 718685 w 755979"/>
                <a:gd name="connsiteY97" fmla="*/ 229519 h 2854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</a:cxnLst>
              <a:rect l="l" t="t" r="r" b="b"/>
              <a:pathLst>
                <a:path w="755979" h="285464">
                  <a:moveTo>
                    <a:pt x="35862" y="252472"/>
                  </a:moveTo>
                  <a:lnTo>
                    <a:pt x="159230" y="252472"/>
                  </a:lnTo>
                  <a:lnTo>
                    <a:pt x="159230" y="281161"/>
                  </a:lnTo>
                  <a:lnTo>
                    <a:pt x="0" y="281161"/>
                  </a:lnTo>
                  <a:lnTo>
                    <a:pt x="0" y="18648"/>
                  </a:lnTo>
                  <a:lnTo>
                    <a:pt x="35862" y="18648"/>
                  </a:lnTo>
                  <a:lnTo>
                    <a:pt x="35862" y="252472"/>
                  </a:lnTo>
                  <a:close/>
                  <a:moveTo>
                    <a:pt x="312718" y="281161"/>
                  </a:moveTo>
                  <a:cubicBezTo>
                    <a:pt x="311286" y="275422"/>
                    <a:pt x="311286" y="269685"/>
                    <a:pt x="309853" y="265381"/>
                  </a:cubicBezTo>
                  <a:cubicBezTo>
                    <a:pt x="309853" y="261079"/>
                    <a:pt x="308407" y="256775"/>
                    <a:pt x="308407" y="252472"/>
                  </a:cubicBezTo>
                  <a:cubicBezTo>
                    <a:pt x="301246" y="262513"/>
                    <a:pt x="292639" y="269685"/>
                    <a:pt x="282599" y="275424"/>
                  </a:cubicBezTo>
                  <a:cubicBezTo>
                    <a:pt x="272545" y="281161"/>
                    <a:pt x="261073" y="285465"/>
                    <a:pt x="248169" y="285465"/>
                  </a:cubicBezTo>
                  <a:cubicBezTo>
                    <a:pt x="228076" y="285465"/>
                    <a:pt x="212307" y="279726"/>
                    <a:pt x="202267" y="269685"/>
                  </a:cubicBezTo>
                  <a:cubicBezTo>
                    <a:pt x="192214" y="259644"/>
                    <a:pt x="186485" y="245299"/>
                    <a:pt x="186485" y="226651"/>
                  </a:cubicBezTo>
                  <a:cubicBezTo>
                    <a:pt x="186485" y="208002"/>
                    <a:pt x="193660" y="193657"/>
                    <a:pt x="209429" y="183616"/>
                  </a:cubicBezTo>
                  <a:cubicBezTo>
                    <a:pt x="223779" y="173574"/>
                    <a:pt x="245291" y="167837"/>
                    <a:pt x="271113" y="167837"/>
                  </a:cubicBezTo>
                  <a:lnTo>
                    <a:pt x="309853" y="167837"/>
                  </a:lnTo>
                  <a:lnTo>
                    <a:pt x="309853" y="147753"/>
                  </a:lnTo>
                  <a:cubicBezTo>
                    <a:pt x="309853" y="136277"/>
                    <a:pt x="306975" y="127671"/>
                    <a:pt x="299814" y="120498"/>
                  </a:cubicBezTo>
                  <a:cubicBezTo>
                    <a:pt x="292639" y="113326"/>
                    <a:pt x="282599" y="110456"/>
                    <a:pt x="269681" y="110456"/>
                  </a:cubicBezTo>
                  <a:cubicBezTo>
                    <a:pt x="258209" y="110456"/>
                    <a:pt x="249601" y="113326"/>
                    <a:pt x="242426" y="119063"/>
                  </a:cubicBezTo>
                  <a:cubicBezTo>
                    <a:pt x="235251" y="124801"/>
                    <a:pt x="232386" y="131973"/>
                    <a:pt x="232386" y="139147"/>
                  </a:cubicBezTo>
                  <a:lnTo>
                    <a:pt x="196524" y="139147"/>
                  </a:lnTo>
                  <a:lnTo>
                    <a:pt x="196524" y="137712"/>
                  </a:lnTo>
                  <a:cubicBezTo>
                    <a:pt x="195092" y="123367"/>
                    <a:pt x="202267" y="110456"/>
                    <a:pt x="216604" y="98981"/>
                  </a:cubicBezTo>
                  <a:cubicBezTo>
                    <a:pt x="230954" y="87505"/>
                    <a:pt x="249601" y="81766"/>
                    <a:pt x="271113" y="81766"/>
                  </a:cubicBezTo>
                  <a:cubicBezTo>
                    <a:pt x="292639" y="81766"/>
                    <a:pt x="311286" y="87505"/>
                    <a:pt x="324190" y="98981"/>
                  </a:cubicBezTo>
                  <a:cubicBezTo>
                    <a:pt x="337108" y="110456"/>
                    <a:pt x="344283" y="126236"/>
                    <a:pt x="344283" y="147753"/>
                  </a:cubicBezTo>
                  <a:lnTo>
                    <a:pt x="344283" y="240995"/>
                  </a:lnTo>
                  <a:cubicBezTo>
                    <a:pt x="344283" y="248168"/>
                    <a:pt x="344283" y="255340"/>
                    <a:pt x="345715" y="261078"/>
                  </a:cubicBezTo>
                  <a:cubicBezTo>
                    <a:pt x="347148" y="268250"/>
                    <a:pt x="347148" y="273989"/>
                    <a:pt x="350012" y="279728"/>
                  </a:cubicBezTo>
                  <a:lnTo>
                    <a:pt x="312718" y="279728"/>
                  </a:lnTo>
                  <a:lnTo>
                    <a:pt x="312718" y="281161"/>
                  </a:lnTo>
                  <a:close/>
                  <a:moveTo>
                    <a:pt x="253898" y="255340"/>
                  </a:moveTo>
                  <a:cubicBezTo>
                    <a:pt x="266816" y="255340"/>
                    <a:pt x="278288" y="252472"/>
                    <a:pt x="288328" y="245299"/>
                  </a:cubicBezTo>
                  <a:cubicBezTo>
                    <a:pt x="298367" y="238127"/>
                    <a:pt x="305543" y="230954"/>
                    <a:pt x="308407" y="222347"/>
                  </a:cubicBezTo>
                  <a:lnTo>
                    <a:pt x="308407" y="190789"/>
                  </a:lnTo>
                  <a:lnTo>
                    <a:pt x="268248" y="190789"/>
                  </a:lnTo>
                  <a:cubicBezTo>
                    <a:pt x="253898" y="190789"/>
                    <a:pt x="242426" y="193657"/>
                    <a:pt x="233819" y="200830"/>
                  </a:cubicBezTo>
                  <a:cubicBezTo>
                    <a:pt x="225211" y="208002"/>
                    <a:pt x="220915" y="216610"/>
                    <a:pt x="220915" y="226651"/>
                  </a:cubicBezTo>
                  <a:cubicBezTo>
                    <a:pt x="220915" y="235258"/>
                    <a:pt x="223779" y="242430"/>
                    <a:pt x="229522" y="246733"/>
                  </a:cubicBezTo>
                  <a:cubicBezTo>
                    <a:pt x="235251" y="252472"/>
                    <a:pt x="243858" y="255340"/>
                    <a:pt x="253898" y="255340"/>
                  </a:cubicBezTo>
                  <a:close/>
                  <a:moveTo>
                    <a:pt x="562319" y="190789"/>
                  </a:moveTo>
                  <a:cubicBezTo>
                    <a:pt x="562319" y="219478"/>
                    <a:pt x="555144" y="240995"/>
                    <a:pt x="542240" y="258209"/>
                  </a:cubicBezTo>
                  <a:cubicBezTo>
                    <a:pt x="529322" y="275424"/>
                    <a:pt x="510675" y="284030"/>
                    <a:pt x="486284" y="284030"/>
                  </a:cubicBezTo>
                  <a:cubicBezTo>
                    <a:pt x="473380" y="284030"/>
                    <a:pt x="461909" y="281161"/>
                    <a:pt x="453301" y="276857"/>
                  </a:cubicBezTo>
                  <a:cubicBezTo>
                    <a:pt x="443262" y="272554"/>
                    <a:pt x="436086" y="263948"/>
                    <a:pt x="430343" y="255340"/>
                  </a:cubicBezTo>
                  <a:lnTo>
                    <a:pt x="426047" y="281161"/>
                  </a:lnTo>
                  <a:lnTo>
                    <a:pt x="397346" y="281161"/>
                  </a:lnTo>
                  <a:lnTo>
                    <a:pt x="397346" y="0"/>
                  </a:lnTo>
                  <a:lnTo>
                    <a:pt x="433222" y="0"/>
                  </a:lnTo>
                  <a:lnTo>
                    <a:pt x="433222" y="109022"/>
                  </a:lnTo>
                  <a:cubicBezTo>
                    <a:pt x="438951" y="100415"/>
                    <a:pt x="447558" y="93243"/>
                    <a:pt x="456166" y="88939"/>
                  </a:cubicBezTo>
                  <a:cubicBezTo>
                    <a:pt x="464773" y="84635"/>
                    <a:pt x="476245" y="81766"/>
                    <a:pt x="487731" y="81766"/>
                  </a:cubicBezTo>
                  <a:cubicBezTo>
                    <a:pt x="512107" y="81766"/>
                    <a:pt x="530754" y="91807"/>
                    <a:pt x="543672" y="110456"/>
                  </a:cubicBezTo>
                  <a:cubicBezTo>
                    <a:pt x="556576" y="129104"/>
                    <a:pt x="563751" y="154925"/>
                    <a:pt x="563751" y="186485"/>
                  </a:cubicBezTo>
                  <a:lnTo>
                    <a:pt x="563751" y="190789"/>
                  </a:lnTo>
                  <a:lnTo>
                    <a:pt x="562319" y="190789"/>
                  </a:lnTo>
                  <a:close/>
                  <a:moveTo>
                    <a:pt x="526457" y="187919"/>
                  </a:moveTo>
                  <a:cubicBezTo>
                    <a:pt x="526457" y="164966"/>
                    <a:pt x="522146" y="147753"/>
                    <a:pt x="513553" y="133408"/>
                  </a:cubicBezTo>
                  <a:cubicBezTo>
                    <a:pt x="504946" y="119063"/>
                    <a:pt x="493460" y="111891"/>
                    <a:pt x="476245" y="111891"/>
                  </a:cubicBezTo>
                  <a:cubicBezTo>
                    <a:pt x="464773" y="111891"/>
                    <a:pt x="456166" y="114760"/>
                    <a:pt x="448990" y="120498"/>
                  </a:cubicBezTo>
                  <a:cubicBezTo>
                    <a:pt x="441815" y="126236"/>
                    <a:pt x="436086" y="133408"/>
                    <a:pt x="431775" y="142016"/>
                  </a:cubicBezTo>
                  <a:lnTo>
                    <a:pt x="431775" y="226651"/>
                  </a:lnTo>
                  <a:cubicBezTo>
                    <a:pt x="436086" y="236692"/>
                    <a:pt x="441815" y="243864"/>
                    <a:pt x="448990" y="249603"/>
                  </a:cubicBezTo>
                  <a:cubicBezTo>
                    <a:pt x="456166" y="255340"/>
                    <a:pt x="466205" y="258209"/>
                    <a:pt x="476245" y="258209"/>
                  </a:cubicBezTo>
                  <a:cubicBezTo>
                    <a:pt x="493460" y="258209"/>
                    <a:pt x="504946" y="252472"/>
                    <a:pt x="513553" y="240995"/>
                  </a:cubicBezTo>
                  <a:cubicBezTo>
                    <a:pt x="522146" y="229519"/>
                    <a:pt x="526457" y="213740"/>
                    <a:pt x="526457" y="193657"/>
                  </a:cubicBezTo>
                  <a:lnTo>
                    <a:pt x="526457" y="187919"/>
                  </a:lnTo>
                  <a:close/>
                  <a:moveTo>
                    <a:pt x="718685" y="229519"/>
                  </a:moveTo>
                  <a:cubicBezTo>
                    <a:pt x="718685" y="222347"/>
                    <a:pt x="715806" y="215175"/>
                    <a:pt x="710078" y="210871"/>
                  </a:cubicBezTo>
                  <a:cubicBezTo>
                    <a:pt x="704335" y="206567"/>
                    <a:pt x="692863" y="200830"/>
                    <a:pt x="675648" y="197961"/>
                  </a:cubicBezTo>
                  <a:cubicBezTo>
                    <a:pt x="652690" y="192222"/>
                    <a:pt x="634043" y="186485"/>
                    <a:pt x="622571" y="176443"/>
                  </a:cubicBezTo>
                  <a:cubicBezTo>
                    <a:pt x="611099" y="167837"/>
                    <a:pt x="605356" y="154925"/>
                    <a:pt x="605356" y="140581"/>
                  </a:cubicBezTo>
                  <a:cubicBezTo>
                    <a:pt x="605356" y="124801"/>
                    <a:pt x="612532" y="111891"/>
                    <a:pt x="625436" y="100415"/>
                  </a:cubicBezTo>
                  <a:cubicBezTo>
                    <a:pt x="638354" y="88939"/>
                    <a:pt x="657001" y="83201"/>
                    <a:pt x="678513" y="83201"/>
                  </a:cubicBezTo>
                  <a:cubicBezTo>
                    <a:pt x="701470" y="83201"/>
                    <a:pt x="718685" y="88939"/>
                    <a:pt x="733021" y="100415"/>
                  </a:cubicBezTo>
                  <a:cubicBezTo>
                    <a:pt x="745939" y="111891"/>
                    <a:pt x="753101" y="126236"/>
                    <a:pt x="751668" y="143451"/>
                  </a:cubicBezTo>
                  <a:lnTo>
                    <a:pt x="751668" y="144884"/>
                  </a:lnTo>
                  <a:lnTo>
                    <a:pt x="717239" y="144884"/>
                  </a:lnTo>
                  <a:cubicBezTo>
                    <a:pt x="717239" y="136277"/>
                    <a:pt x="712942" y="129104"/>
                    <a:pt x="707199" y="121932"/>
                  </a:cubicBezTo>
                  <a:cubicBezTo>
                    <a:pt x="700024" y="114760"/>
                    <a:pt x="689984" y="111891"/>
                    <a:pt x="678513" y="111891"/>
                  </a:cubicBezTo>
                  <a:cubicBezTo>
                    <a:pt x="665608" y="111891"/>
                    <a:pt x="657001" y="114760"/>
                    <a:pt x="649826" y="120498"/>
                  </a:cubicBezTo>
                  <a:cubicBezTo>
                    <a:pt x="644083" y="126236"/>
                    <a:pt x="641218" y="131975"/>
                    <a:pt x="641218" y="140581"/>
                  </a:cubicBezTo>
                  <a:cubicBezTo>
                    <a:pt x="641218" y="147753"/>
                    <a:pt x="644083" y="154925"/>
                    <a:pt x="649826" y="159229"/>
                  </a:cubicBezTo>
                  <a:cubicBezTo>
                    <a:pt x="655555" y="163533"/>
                    <a:pt x="665608" y="167837"/>
                    <a:pt x="682823" y="170705"/>
                  </a:cubicBezTo>
                  <a:cubicBezTo>
                    <a:pt x="707199" y="176444"/>
                    <a:pt x="725846" y="183616"/>
                    <a:pt x="737332" y="192222"/>
                  </a:cubicBezTo>
                  <a:cubicBezTo>
                    <a:pt x="748804" y="200830"/>
                    <a:pt x="755979" y="213740"/>
                    <a:pt x="755979" y="228086"/>
                  </a:cubicBezTo>
                  <a:cubicBezTo>
                    <a:pt x="755979" y="245299"/>
                    <a:pt x="748804" y="259644"/>
                    <a:pt x="734454" y="269685"/>
                  </a:cubicBezTo>
                  <a:cubicBezTo>
                    <a:pt x="720117" y="279726"/>
                    <a:pt x="702902" y="285465"/>
                    <a:pt x="679944" y="285465"/>
                  </a:cubicBezTo>
                  <a:cubicBezTo>
                    <a:pt x="655569" y="285465"/>
                    <a:pt x="635475" y="279726"/>
                    <a:pt x="621139" y="266816"/>
                  </a:cubicBezTo>
                  <a:cubicBezTo>
                    <a:pt x="606789" y="253905"/>
                    <a:pt x="599613" y="239560"/>
                    <a:pt x="601045" y="222347"/>
                  </a:cubicBezTo>
                  <a:lnTo>
                    <a:pt x="601045" y="220912"/>
                  </a:lnTo>
                  <a:lnTo>
                    <a:pt x="635475" y="220912"/>
                  </a:lnTo>
                  <a:cubicBezTo>
                    <a:pt x="635475" y="233823"/>
                    <a:pt x="641218" y="242430"/>
                    <a:pt x="649826" y="248168"/>
                  </a:cubicBezTo>
                  <a:cubicBezTo>
                    <a:pt x="658433" y="253905"/>
                    <a:pt x="668473" y="256775"/>
                    <a:pt x="679944" y="256775"/>
                  </a:cubicBezTo>
                  <a:cubicBezTo>
                    <a:pt x="692863" y="256775"/>
                    <a:pt x="702902" y="253907"/>
                    <a:pt x="710078" y="249603"/>
                  </a:cubicBezTo>
                  <a:cubicBezTo>
                    <a:pt x="714374" y="243864"/>
                    <a:pt x="718685" y="236692"/>
                    <a:pt x="718685" y="229519"/>
                  </a:cubicBezTo>
                  <a:close/>
                </a:path>
              </a:pathLst>
            </a:custGeom>
            <a:grpFill/>
            <a:ln w="140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dirty="0">
                <a:latin typeface="Akrobat" panose="00000600000000000000" pitchFamily="50" charset="-52"/>
              </a:endParaRPr>
            </a:p>
          </p:txBody>
        </p:sp>
        <p:sp>
          <p:nvSpPr>
            <p:cNvPr id="48" name="Полилиния: фигура 47">
              <a:extLst>
                <a:ext uri="{FF2B5EF4-FFF2-40B4-BE49-F238E27FC236}">
                  <a16:creationId xmlns:a16="http://schemas.microsoft.com/office/drawing/2014/main" id="{922B8668-51E5-4095-BF74-4C0F1CE0C762}"/>
                </a:ext>
              </a:extLst>
            </p:cNvPr>
            <p:cNvSpPr/>
            <p:nvPr/>
          </p:nvSpPr>
          <p:spPr>
            <a:xfrm>
              <a:off x="1447975" y="1300681"/>
              <a:ext cx="3558981" cy="612528"/>
            </a:xfrm>
            <a:custGeom>
              <a:avLst/>
              <a:gdLst>
                <a:gd name="connsiteX0" fmla="*/ 35862 w 3558981"/>
                <a:gd name="connsiteY0" fmla="*/ 582404 h 612528"/>
                <a:gd name="connsiteX1" fmla="*/ 3523120 w 3558981"/>
                <a:gd name="connsiteY1" fmla="*/ 582404 h 612528"/>
                <a:gd name="connsiteX2" fmla="*/ 3523120 w 3558981"/>
                <a:gd name="connsiteY2" fmla="*/ 27256 h 612528"/>
                <a:gd name="connsiteX3" fmla="*/ 35862 w 3558981"/>
                <a:gd name="connsiteY3" fmla="*/ 27256 h 612528"/>
                <a:gd name="connsiteX4" fmla="*/ 35862 w 3558981"/>
                <a:gd name="connsiteY4" fmla="*/ 582404 h 612528"/>
                <a:gd name="connsiteX5" fmla="*/ 0 w 3558981"/>
                <a:gd name="connsiteY5" fmla="*/ 0 h 612528"/>
                <a:gd name="connsiteX6" fmla="*/ 3558982 w 3558981"/>
                <a:gd name="connsiteY6" fmla="*/ 0 h 612528"/>
                <a:gd name="connsiteX7" fmla="*/ 3558982 w 3558981"/>
                <a:gd name="connsiteY7" fmla="*/ 612529 h 612528"/>
                <a:gd name="connsiteX8" fmla="*/ 0 w 3558981"/>
                <a:gd name="connsiteY8" fmla="*/ 612529 h 612528"/>
                <a:gd name="connsiteX9" fmla="*/ 0 w 3558981"/>
                <a:gd name="connsiteY9" fmla="*/ 0 h 6125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558981" h="612528">
                  <a:moveTo>
                    <a:pt x="35862" y="582404"/>
                  </a:moveTo>
                  <a:lnTo>
                    <a:pt x="3523120" y="582404"/>
                  </a:lnTo>
                  <a:lnTo>
                    <a:pt x="3523120" y="27256"/>
                  </a:lnTo>
                  <a:lnTo>
                    <a:pt x="35862" y="27256"/>
                  </a:lnTo>
                  <a:lnTo>
                    <a:pt x="35862" y="582404"/>
                  </a:lnTo>
                  <a:close/>
                  <a:moveTo>
                    <a:pt x="0" y="0"/>
                  </a:moveTo>
                  <a:lnTo>
                    <a:pt x="3558982" y="0"/>
                  </a:lnTo>
                  <a:lnTo>
                    <a:pt x="3558982" y="612529"/>
                  </a:lnTo>
                  <a:lnTo>
                    <a:pt x="0" y="612529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40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dirty="0">
                <a:latin typeface="Akrobat" panose="00000600000000000000" pitchFamily="50" charset="-52"/>
              </a:endParaRPr>
            </a:p>
          </p:txBody>
        </p:sp>
      </p:grpSp>
      <p:grpSp>
        <p:nvGrpSpPr>
          <p:cNvPr id="49" name="CDIConf_Black">
            <a:extLst>
              <a:ext uri="{FF2B5EF4-FFF2-40B4-BE49-F238E27FC236}">
                <a16:creationId xmlns:a16="http://schemas.microsoft.com/office/drawing/2014/main" id="{F31E8088-F105-4354-BA46-88067913791A}"/>
              </a:ext>
            </a:extLst>
          </p:cNvPr>
          <p:cNvGrpSpPr/>
          <p:nvPr/>
        </p:nvGrpSpPr>
        <p:grpSpPr>
          <a:xfrm>
            <a:off x="823295" y="1549499"/>
            <a:ext cx="2651425" cy="345863"/>
            <a:chOff x="7406975" y="5855999"/>
            <a:chExt cx="2270483" cy="296171"/>
          </a:xfrm>
        </p:grpSpPr>
        <p:sp>
          <p:nvSpPr>
            <p:cNvPr id="50" name="Полилиния: фигура 49">
              <a:extLst>
                <a:ext uri="{FF2B5EF4-FFF2-40B4-BE49-F238E27FC236}">
                  <a16:creationId xmlns:a16="http://schemas.microsoft.com/office/drawing/2014/main" id="{9868DA1D-9682-437D-922E-EF38479E9A91}"/>
                </a:ext>
              </a:extLst>
            </p:cNvPr>
            <p:cNvSpPr/>
            <p:nvPr/>
          </p:nvSpPr>
          <p:spPr>
            <a:xfrm>
              <a:off x="7406975" y="5878280"/>
              <a:ext cx="1394458" cy="273890"/>
            </a:xfrm>
            <a:custGeom>
              <a:avLst/>
              <a:gdLst>
                <a:gd name="connsiteX0" fmla="*/ 157354 w 1394458"/>
                <a:gd name="connsiteY0" fmla="*/ 188093 h 273890"/>
                <a:gd name="connsiteX1" fmla="*/ 200773 w 1394458"/>
                <a:gd name="connsiteY1" fmla="*/ 188093 h 273890"/>
                <a:gd name="connsiteX2" fmla="*/ 186877 w 1394458"/>
                <a:gd name="connsiteY2" fmla="*/ 232383 h 273890"/>
                <a:gd name="connsiteX3" fmla="*/ 153706 w 1394458"/>
                <a:gd name="connsiteY3" fmla="*/ 262777 h 273890"/>
                <a:gd name="connsiteX4" fmla="*/ 101775 w 1394458"/>
                <a:gd name="connsiteY4" fmla="*/ 273891 h 273890"/>
                <a:gd name="connsiteX5" fmla="*/ 59572 w 1394458"/>
                <a:gd name="connsiteY5" fmla="*/ 265554 h 273890"/>
                <a:gd name="connsiteX6" fmla="*/ 27442 w 1394458"/>
                <a:gd name="connsiteY6" fmla="*/ 241585 h 273890"/>
                <a:gd name="connsiteX7" fmla="*/ 6950 w 1394458"/>
                <a:gd name="connsiteY7" fmla="*/ 203896 h 273890"/>
                <a:gd name="connsiteX8" fmla="*/ 0 w 1394458"/>
                <a:gd name="connsiteY8" fmla="*/ 154577 h 273890"/>
                <a:gd name="connsiteX9" fmla="*/ 0 w 1394458"/>
                <a:gd name="connsiteY9" fmla="*/ 133560 h 273890"/>
                <a:gd name="connsiteX10" fmla="*/ 7121 w 1394458"/>
                <a:gd name="connsiteY10" fmla="*/ 84236 h 273890"/>
                <a:gd name="connsiteX11" fmla="*/ 27962 w 1394458"/>
                <a:gd name="connsiteY11" fmla="*/ 46552 h 273890"/>
                <a:gd name="connsiteX12" fmla="*/ 60438 w 1394458"/>
                <a:gd name="connsiteY12" fmla="*/ 22408 h 273890"/>
                <a:gd name="connsiteX13" fmla="*/ 103336 w 1394458"/>
                <a:gd name="connsiteY13" fmla="*/ 14071 h 273890"/>
                <a:gd name="connsiteX14" fmla="*/ 154397 w 1394458"/>
                <a:gd name="connsiteY14" fmla="*/ 25185 h 273890"/>
                <a:gd name="connsiteX15" fmla="*/ 186702 w 1394458"/>
                <a:gd name="connsiteY15" fmla="*/ 55924 h 273890"/>
                <a:gd name="connsiteX16" fmla="*/ 200943 w 1394458"/>
                <a:gd name="connsiteY16" fmla="*/ 100905 h 273890"/>
                <a:gd name="connsiteX17" fmla="*/ 157524 w 1394458"/>
                <a:gd name="connsiteY17" fmla="*/ 100905 h 273890"/>
                <a:gd name="connsiteX18" fmla="*/ 149883 w 1394458"/>
                <a:gd name="connsiteY18" fmla="*/ 72943 h 273890"/>
                <a:gd name="connsiteX19" fmla="*/ 132865 w 1394458"/>
                <a:gd name="connsiteY19" fmla="*/ 55229 h 273890"/>
                <a:gd name="connsiteX20" fmla="*/ 103341 w 1394458"/>
                <a:gd name="connsiteY20" fmla="*/ 48974 h 273890"/>
                <a:gd name="connsiteX21" fmla="*/ 77291 w 1394458"/>
                <a:gd name="connsiteY21" fmla="*/ 54533 h 273890"/>
                <a:gd name="connsiteX22" fmla="*/ 58706 w 1394458"/>
                <a:gd name="connsiteY22" fmla="*/ 70861 h 273890"/>
                <a:gd name="connsiteX23" fmla="*/ 47417 w 1394458"/>
                <a:gd name="connsiteY23" fmla="*/ 97432 h 273890"/>
                <a:gd name="connsiteX24" fmla="*/ 43769 w 1394458"/>
                <a:gd name="connsiteY24" fmla="*/ 133210 h 273890"/>
                <a:gd name="connsiteX25" fmla="*/ 43769 w 1394458"/>
                <a:gd name="connsiteY25" fmla="*/ 154572 h 273890"/>
                <a:gd name="connsiteX26" fmla="*/ 47067 w 1394458"/>
                <a:gd name="connsiteY26" fmla="*/ 189304 h 273890"/>
                <a:gd name="connsiteX27" fmla="*/ 57490 w 1394458"/>
                <a:gd name="connsiteY27" fmla="*/ 215875 h 273890"/>
                <a:gd name="connsiteX28" fmla="*/ 75550 w 1394458"/>
                <a:gd name="connsiteY28" fmla="*/ 233069 h 273890"/>
                <a:gd name="connsiteX29" fmla="*/ 101775 w 1394458"/>
                <a:gd name="connsiteY29" fmla="*/ 239149 h 273890"/>
                <a:gd name="connsiteX30" fmla="*/ 131824 w 1394458"/>
                <a:gd name="connsiteY30" fmla="*/ 233244 h 273890"/>
                <a:gd name="connsiteX31" fmla="*/ 149363 w 1394458"/>
                <a:gd name="connsiteY31" fmla="*/ 216050 h 273890"/>
                <a:gd name="connsiteX32" fmla="*/ 157354 w 1394458"/>
                <a:gd name="connsiteY32" fmla="*/ 188088 h 273890"/>
                <a:gd name="connsiteX33" fmla="*/ 313837 w 1394458"/>
                <a:gd name="connsiteY33" fmla="*/ 270418 h 273890"/>
                <a:gd name="connsiteX34" fmla="*/ 259825 w 1394458"/>
                <a:gd name="connsiteY34" fmla="*/ 270418 h 273890"/>
                <a:gd name="connsiteX35" fmla="*/ 260170 w 1394458"/>
                <a:gd name="connsiteY35" fmla="*/ 235856 h 273890"/>
                <a:gd name="connsiteX36" fmla="*/ 313837 w 1394458"/>
                <a:gd name="connsiteY36" fmla="*/ 235856 h 273890"/>
                <a:gd name="connsiteX37" fmla="*/ 353088 w 1394458"/>
                <a:gd name="connsiteY37" fmla="*/ 225608 h 273890"/>
                <a:gd name="connsiteX38" fmla="*/ 377057 w 1394458"/>
                <a:gd name="connsiteY38" fmla="*/ 196255 h 273890"/>
                <a:gd name="connsiteX39" fmla="*/ 385218 w 1394458"/>
                <a:gd name="connsiteY39" fmla="*/ 150754 h 273890"/>
                <a:gd name="connsiteX40" fmla="*/ 385218 w 1394458"/>
                <a:gd name="connsiteY40" fmla="*/ 137033 h 273890"/>
                <a:gd name="connsiteX41" fmla="*/ 380530 w 1394458"/>
                <a:gd name="connsiteY41" fmla="*/ 100734 h 273890"/>
                <a:gd name="connsiteX42" fmla="*/ 366984 w 1394458"/>
                <a:gd name="connsiteY42" fmla="*/ 74163 h 273890"/>
                <a:gd name="connsiteX43" fmla="*/ 345102 w 1394458"/>
                <a:gd name="connsiteY43" fmla="*/ 57840 h 273890"/>
                <a:gd name="connsiteX44" fmla="*/ 315403 w 1394458"/>
                <a:gd name="connsiteY44" fmla="*/ 52281 h 273890"/>
                <a:gd name="connsiteX45" fmla="*/ 258784 w 1394458"/>
                <a:gd name="connsiteY45" fmla="*/ 52281 h 273890"/>
                <a:gd name="connsiteX46" fmla="*/ 258784 w 1394458"/>
                <a:gd name="connsiteY46" fmla="*/ 17544 h 273890"/>
                <a:gd name="connsiteX47" fmla="*/ 315403 w 1394458"/>
                <a:gd name="connsiteY47" fmla="*/ 17544 h 273890"/>
                <a:gd name="connsiteX48" fmla="*/ 361429 w 1394458"/>
                <a:gd name="connsiteY48" fmla="*/ 26055 h 273890"/>
                <a:gd name="connsiteX49" fmla="*/ 397383 w 1394458"/>
                <a:gd name="connsiteY49" fmla="*/ 50195 h 273890"/>
                <a:gd name="connsiteX50" fmla="*/ 420826 w 1394458"/>
                <a:gd name="connsiteY50" fmla="*/ 88054 h 273890"/>
                <a:gd name="connsiteX51" fmla="*/ 428988 w 1394458"/>
                <a:gd name="connsiteY51" fmla="*/ 137378 h 273890"/>
                <a:gd name="connsiteX52" fmla="*/ 428988 w 1394458"/>
                <a:gd name="connsiteY52" fmla="*/ 150754 h 273890"/>
                <a:gd name="connsiteX53" fmla="*/ 420826 w 1394458"/>
                <a:gd name="connsiteY53" fmla="*/ 200078 h 273890"/>
                <a:gd name="connsiteX54" fmla="*/ 397383 w 1394458"/>
                <a:gd name="connsiteY54" fmla="*/ 237938 h 273890"/>
                <a:gd name="connsiteX55" fmla="*/ 360909 w 1394458"/>
                <a:gd name="connsiteY55" fmla="*/ 262077 h 273890"/>
                <a:gd name="connsiteX56" fmla="*/ 313842 w 1394458"/>
                <a:gd name="connsiteY56" fmla="*/ 270413 h 273890"/>
                <a:gd name="connsiteX57" fmla="*/ 283964 w 1394458"/>
                <a:gd name="connsiteY57" fmla="*/ 17544 h 273890"/>
                <a:gd name="connsiteX58" fmla="*/ 283964 w 1394458"/>
                <a:gd name="connsiteY58" fmla="*/ 270418 h 273890"/>
                <a:gd name="connsiteX59" fmla="*/ 240369 w 1394458"/>
                <a:gd name="connsiteY59" fmla="*/ 270418 h 273890"/>
                <a:gd name="connsiteX60" fmla="*/ 240369 w 1394458"/>
                <a:gd name="connsiteY60" fmla="*/ 17544 h 273890"/>
                <a:gd name="connsiteX61" fmla="*/ 283964 w 1394458"/>
                <a:gd name="connsiteY61" fmla="*/ 17544 h 273890"/>
                <a:gd name="connsiteX62" fmla="*/ 519299 w 1394458"/>
                <a:gd name="connsiteY62" fmla="*/ 17544 h 273890"/>
                <a:gd name="connsiteX63" fmla="*/ 519299 w 1394458"/>
                <a:gd name="connsiteY63" fmla="*/ 270418 h 273890"/>
                <a:gd name="connsiteX64" fmla="*/ 475705 w 1394458"/>
                <a:gd name="connsiteY64" fmla="*/ 270418 h 273890"/>
                <a:gd name="connsiteX65" fmla="*/ 475705 w 1394458"/>
                <a:gd name="connsiteY65" fmla="*/ 17544 h 273890"/>
                <a:gd name="connsiteX66" fmla="*/ 519299 w 1394458"/>
                <a:gd name="connsiteY66" fmla="*/ 17544 h 273890"/>
                <a:gd name="connsiteX67" fmla="*/ 811424 w 1394458"/>
                <a:gd name="connsiteY67" fmla="*/ 188093 h 273890"/>
                <a:gd name="connsiteX68" fmla="*/ 854843 w 1394458"/>
                <a:gd name="connsiteY68" fmla="*/ 188093 h 273890"/>
                <a:gd name="connsiteX69" fmla="*/ 840947 w 1394458"/>
                <a:gd name="connsiteY69" fmla="*/ 232383 h 273890"/>
                <a:gd name="connsiteX70" fmla="*/ 807776 w 1394458"/>
                <a:gd name="connsiteY70" fmla="*/ 262777 h 273890"/>
                <a:gd name="connsiteX71" fmla="*/ 755845 w 1394458"/>
                <a:gd name="connsiteY71" fmla="*/ 273891 h 273890"/>
                <a:gd name="connsiteX72" fmla="*/ 713642 w 1394458"/>
                <a:gd name="connsiteY72" fmla="*/ 265554 h 273890"/>
                <a:gd name="connsiteX73" fmla="*/ 681512 w 1394458"/>
                <a:gd name="connsiteY73" fmla="*/ 241585 h 273890"/>
                <a:gd name="connsiteX74" fmla="*/ 661021 w 1394458"/>
                <a:gd name="connsiteY74" fmla="*/ 203896 h 273890"/>
                <a:gd name="connsiteX75" fmla="*/ 654075 w 1394458"/>
                <a:gd name="connsiteY75" fmla="*/ 154572 h 273890"/>
                <a:gd name="connsiteX76" fmla="*/ 654075 w 1394458"/>
                <a:gd name="connsiteY76" fmla="*/ 133555 h 273890"/>
                <a:gd name="connsiteX77" fmla="*/ 661196 w 1394458"/>
                <a:gd name="connsiteY77" fmla="*/ 84231 h 273890"/>
                <a:gd name="connsiteX78" fmla="*/ 682037 w 1394458"/>
                <a:gd name="connsiteY78" fmla="*/ 46547 h 273890"/>
                <a:gd name="connsiteX79" fmla="*/ 714513 w 1394458"/>
                <a:gd name="connsiteY79" fmla="*/ 22403 h 273890"/>
                <a:gd name="connsiteX80" fmla="*/ 757411 w 1394458"/>
                <a:gd name="connsiteY80" fmla="*/ 14066 h 273890"/>
                <a:gd name="connsiteX81" fmla="*/ 808472 w 1394458"/>
                <a:gd name="connsiteY81" fmla="*/ 25180 h 273890"/>
                <a:gd name="connsiteX82" fmla="*/ 840777 w 1394458"/>
                <a:gd name="connsiteY82" fmla="*/ 55919 h 273890"/>
                <a:gd name="connsiteX83" fmla="*/ 855018 w 1394458"/>
                <a:gd name="connsiteY83" fmla="*/ 100900 h 273890"/>
                <a:gd name="connsiteX84" fmla="*/ 811599 w 1394458"/>
                <a:gd name="connsiteY84" fmla="*/ 100900 h 273890"/>
                <a:gd name="connsiteX85" fmla="*/ 803958 w 1394458"/>
                <a:gd name="connsiteY85" fmla="*/ 72938 h 273890"/>
                <a:gd name="connsiteX86" fmla="*/ 786940 w 1394458"/>
                <a:gd name="connsiteY86" fmla="*/ 55224 h 273890"/>
                <a:gd name="connsiteX87" fmla="*/ 757416 w 1394458"/>
                <a:gd name="connsiteY87" fmla="*/ 48969 h 273890"/>
                <a:gd name="connsiteX88" fmla="*/ 731366 w 1394458"/>
                <a:gd name="connsiteY88" fmla="*/ 54528 h 273890"/>
                <a:gd name="connsiteX89" fmla="*/ 712781 w 1394458"/>
                <a:gd name="connsiteY89" fmla="*/ 70856 h 273890"/>
                <a:gd name="connsiteX90" fmla="*/ 701492 w 1394458"/>
                <a:gd name="connsiteY90" fmla="*/ 97427 h 273890"/>
                <a:gd name="connsiteX91" fmla="*/ 697844 w 1394458"/>
                <a:gd name="connsiteY91" fmla="*/ 133205 h 273890"/>
                <a:gd name="connsiteX92" fmla="*/ 697844 w 1394458"/>
                <a:gd name="connsiteY92" fmla="*/ 154567 h 273890"/>
                <a:gd name="connsiteX93" fmla="*/ 701142 w 1394458"/>
                <a:gd name="connsiteY93" fmla="*/ 189299 h 273890"/>
                <a:gd name="connsiteX94" fmla="*/ 711565 w 1394458"/>
                <a:gd name="connsiteY94" fmla="*/ 215870 h 273890"/>
                <a:gd name="connsiteX95" fmla="*/ 729629 w 1394458"/>
                <a:gd name="connsiteY95" fmla="*/ 233064 h 273890"/>
                <a:gd name="connsiteX96" fmla="*/ 755855 w 1394458"/>
                <a:gd name="connsiteY96" fmla="*/ 239144 h 273890"/>
                <a:gd name="connsiteX97" fmla="*/ 785904 w 1394458"/>
                <a:gd name="connsiteY97" fmla="*/ 233239 h 273890"/>
                <a:gd name="connsiteX98" fmla="*/ 803443 w 1394458"/>
                <a:gd name="connsiteY98" fmla="*/ 216046 h 273890"/>
                <a:gd name="connsiteX99" fmla="*/ 811434 w 1394458"/>
                <a:gd name="connsiteY99" fmla="*/ 188084 h 273890"/>
                <a:gd name="connsiteX100" fmla="*/ 882285 w 1394458"/>
                <a:gd name="connsiteY100" fmla="*/ 178541 h 273890"/>
                <a:gd name="connsiteX101" fmla="*/ 882285 w 1394458"/>
                <a:gd name="connsiteY101" fmla="*/ 174548 h 273890"/>
                <a:gd name="connsiteX102" fmla="*/ 888190 w 1394458"/>
                <a:gd name="connsiteY102" fmla="*/ 136858 h 273890"/>
                <a:gd name="connsiteX103" fmla="*/ 905208 w 1394458"/>
                <a:gd name="connsiteY103" fmla="*/ 106464 h 273890"/>
                <a:gd name="connsiteX104" fmla="*/ 932650 w 1394458"/>
                <a:gd name="connsiteY104" fmla="*/ 86318 h 273890"/>
                <a:gd name="connsiteX105" fmla="*/ 969469 w 1394458"/>
                <a:gd name="connsiteY105" fmla="*/ 79022 h 273890"/>
                <a:gd name="connsiteX106" fmla="*/ 1006288 w 1394458"/>
                <a:gd name="connsiteY106" fmla="*/ 86318 h 273890"/>
                <a:gd name="connsiteX107" fmla="*/ 1033899 w 1394458"/>
                <a:gd name="connsiteY107" fmla="*/ 106464 h 273890"/>
                <a:gd name="connsiteX108" fmla="*/ 1051093 w 1394458"/>
                <a:gd name="connsiteY108" fmla="*/ 136858 h 273890"/>
                <a:gd name="connsiteX109" fmla="*/ 1056998 w 1394458"/>
                <a:gd name="connsiteY109" fmla="*/ 174548 h 273890"/>
                <a:gd name="connsiteX110" fmla="*/ 1056998 w 1394458"/>
                <a:gd name="connsiteY110" fmla="*/ 178541 h 273890"/>
                <a:gd name="connsiteX111" fmla="*/ 1051093 w 1394458"/>
                <a:gd name="connsiteY111" fmla="*/ 216230 h 273890"/>
                <a:gd name="connsiteX112" fmla="*/ 1033899 w 1394458"/>
                <a:gd name="connsiteY112" fmla="*/ 246624 h 273890"/>
                <a:gd name="connsiteX113" fmla="*/ 1006458 w 1394458"/>
                <a:gd name="connsiteY113" fmla="*/ 266770 h 273890"/>
                <a:gd name="connsiteX114" fmla="*/ 969814 w 1394458"/>
                <a:gd name="connsiteY114" fmla="*/ 273891 h 273890"/>
                <a:gd name="connsiteX115" fmla="*/ 932820 w 1394458"/>
                <a:gd name="connsiteY115" fmla="*/ 266770 h 273890"/>
                <a:gd name="connsiteX116" fmla="*/ 905378 w 1394458"/>
                <a:gd name="connsiteY116" fmla="*/ 246624 h 273890"/>
                <a:gd name="connsiteX117" fmla="*/ 888185 w 1394458"/>
                <a:gd name="connsiteY117" fmla="*/ 216230 h 273890"/>
                <a:gd name="connsiteX118" fmla="*/ 882280 w 1394458"/>
                <a:gd name="connsiteY118" fmla="*/ 178541 h 273890"/>
                <a:gd name="connsiteX119" fmla="*/ 924143 w 1394458"/>
                <a:gd name="connsiteY119" fmla="*/ 174548 h 273890"/>
                <a:gd name="connsiteX120" fmla="*/ 924143 w 1394458"/>
                <a:gd name="connsiteY120" fmla="*/ 178541 h 273890"/>
                <a:gd name="connsiteX121" fmla="*/ 926750 w 1394458"/>
                <a:gd name="connsiteY121" fmla="*/ 202510 h 273890"/>
                <a:gd name="connsiteX122" fmla="*/ 934911 w 1394458"/>
                <a:gd name="connsiteY122" fmla="*/ 222310 h 273890"/>
                <a:gd name="connsiteX123" fmla="*/ 949152 w 1394458"/>
                <a:gd name="connsiteY123" fmla="*/ 235681 h 273890"/>
                <a:gd name="connsiteX124" fmla="*/ 969819 w 1394458"/>
                <a:gd name="connsiteY124" fmla="*/ 240545 h 273890"/>
                <a:gd name="connsiteX125" fmla="*/ 989965 w 1394458"/>
                <a:gd name="connsiteY125" fmla="*/ 235681 h 273890"/>
                <a:gd name="connsiteX126" fmla="*/ 1004206 w 1394458"/>
                <a:gd name="connsiteY126" fmla="*/ 222310 h 273890"/>
                <a:gd name="connsiteX127" fmla="*/ 1012367 w 1394458"/>
                <a:gd name="connsiteY127" fmla="*/ 202510 h 273890"/>
                <a:gd name="connsiteX128" fmla="*/ 1015145 w 1394458"/>
                <a:gd name="connsiteY128" fmla="*/ 178541 h 273890"/>
                <a:gd name="connsiteX129" fmla="*/ 1015145 w 1394458"/>
                <a:gd name="connsiteY129" fmla="*/ 174548 h 273890"/>
                <a:gd name="connsiteX130" fmla="*/ 1012367 w 1394458"/>
                <a:gd name="connsiteY130" fmla="*/ 150929 h 273890"/>
                <a:gd name="connsiteX131" fmla="*/ 1004031 w 1394458"/>
                <a:gd name="connsiteY131" fmla="*/ 130958 h 273890"/>
                <a:gd name="connsiteX132" fmla="*/ 989790 w 1394458"/>
                <a:gd name="connsiteY132" fmla="*/ 117412 h 273890"/>
                <a:gd name="connsiteX133" fmla="*/ 969469 w 1394458"/>
                <a:gd name="connsiteY133" fmla="*/ 112378 h 273890"/>
                <a:gd name="connsiteX134" fmla="*/ 948977 w 1394458"/>
                <a:gd name="connsiteY134" fmla="*/ 117412 h 273890"/>
                <a:gd name="connsiteX135" fmla="*/ 934911 w 1394458"/>
                <a:gd name="connsiteY135" fmla="*/ 130958 h 273890"/>
                <a:gd name="connsiteX136" fmla="*/ 926750 w 1394458"/>
                <a:gd name="connsiteY136" fmla="*/ 150929 h 273890"/>
                <a:gd name="connsiteX137" fmla="*/ 924143 w 1394458"/>
                <a:gd name="connsiteY137" fmla="*/ 174548 h 273890"/>
                <a:gd name="connsiteX138" fmla="*/ 1133598 w 1394458"/>
                <a:gd name="connsiteY138" fmla="*/ 122617 h 273890"/>
                <a:gd name="connsiteX139" fmla="*/ 1133598 w 1394458"/>
                <a:gd name="connsiteY139" fmla="*/ 270418 h 273890"/>
                <a:gd name="connsiteX140" fmla="*/ 1091745 w 1394458"/>
                <a:gd name="connsiteY140" fmla="*/ 270418 h 273890"/>
                <a:gd name="connsiteX141" fmla="*/ 1091745 w 1394458"/>
                <a:gd name="connsiteY141" fmla="*/ 82495 h 273890"/>
                <a:gd name="connsiteX142" fmla="*/ 1131171 w 1394458"/>
                <a:gd name="connsiteY142" fmla="*/ 82495 h 273890"/>
                <a:gd name="connsiteX143" fmla="*/ 1133603 w 1394458"/>
                <a:gd name="connsiteY143" fmla="*/ 122617 h 273890"/>
                <a:gd name="connsiteX144" fmla="*/ 1126132 w 1394458"/>
                <a:gd name="connsiteY144" fmla="*/ 169509 h 273890"/>
                <a:gd name="connsiteX145" fmla="*/ 1112586 w 1394458"/>
                <a:gd name="connsiteY145" fmla="*/ 169334 h 273890"/>
                <a:gd name="connsiteX146" fmla="*/ 1118145 w 1394458"/>
                <a:gd name="connsiteY146" fmla="*/ 132690 h 273890"/>
                <a:gd name="connsiteX147" fmla="*/ 1133428 w 1394458"/>
                <a:gd name="connsiteY147" fmla="*/ 104032 h 273890"/>
                <a:gd name="connsiteX148" fmla="*/ 1157046 w 1394458"/>
                <a:gd name="connsiteY148" fmla="*/ 85623 h 273890"/>
                <a:gd name="connsiteX149" fmla="*/ 1187615 w 1394458"/>
                <a:gd name="connsiteY149" fmla="*/ 79022 h 273890"/>
                <a:gd name="connsiteX150" fmla="*/ 1212105 w 1394458"/>
                <a:gd name="connsiteY150" fmla="*/ 82840 h 273890"/>
                <a:gd name="connsiteX151" fmla="*/ 1231034 w 1394458"/>
                <a:gd name="connsiteY151" fmla="*/ 94825 h 273890"/>
                <a:gd name="connsiteX152" fmla="*/ 1243189 w 1394458"/>
                <a:gd name="connsiteY152" fmla="*/ 116532 h 273890"/>
                <a:gd name="connsiteX153" fmla="*/ 1247357 w 1394458"/>
                <a:gd name="connsiteY153" fmla="*/ 149013 h 273890"/>
                <a:gd name="connsiteX154" fmla="*/ 1247357 w 1394458"/>
                <a:gd name="connsiteY154" fmla="*/ 270413 h 273890"/>
                <a:gd name="connsiteX155" fmla="*/ 1205329 w 1394458"/>
                <a:gd name="connsiteY155" fmla="*/ 270413 h 273890"/>
                <a:gd name="connsiteX156" fmla="*/ 1205329 w 1394458"/>
                <a:gd name="connsiteY156" fmla="*/ 148837 h 273890"/>
                <a:gd name="connsiteX157" fmla="*/ 1201336 w 1394458"/>
                <a:gd name="connsiteY157" fmla="*/ 127476 h 273890"/>
                <a:gd name="connsiteX158" fmla="*/ 1190047 w 1394458"/>
                <a:gd name="connsiteY158" fmla="*/ 116187 h 273890"/>
                <a:gd name="connsiteX159" fmla="*/ 1171813 w 1394458"/>
                <a:gd name="connsiteY159" fmla="*/ 112714 h 273890"/>
                <a:gd name="connsiteX160" fmla="*/ 1152533 w 1394458"/>
                <a:gd name="connsiteY160" fmla="*/ 117228 h 273890"/>
                <a:gd name="connsiteX161" fmla="*/ 1138116 w 1394458"/>
                <a:gd name="connsiteY161" fmla="*/ 129557 h 273890"/>
                <a:gd name="connsiteX162" fmla="*/ 1129259 w 1394458"/>
                <a:gd name="connsiteY162" fmla="*/ 147621 h 273890"/>
                <a:gd name="connsiteX163" fmla="*/ 1126132 w 1394458"/>
                <a:gd name="connsiteY163" fmla="*/ 169504 h 273890"/>
                <a:gd name="connsiteX164" fmla="*/ 1346701 w 1394458"/>
                <a:gd name="connsiteY164" fmla="*/ 270418 h 273890"/>
                <a:gd name="connsiteX165" fmla="*/ 1304843 w 1394458"/>
                <a:gd name="connsiteY165" fmla="*/ 270418 h 273890"/>
                <a:gd name="connsiteX166" fmla="*/ 1304843 w 1394458"/>
                <a:gd name="connsiteY166" fmla="*/ 64436 h 273890"/>
                <a:gd name="connsiteX167" fmla="*/ 1312659 w 1394458"/>
                <a:gd name="connsiteY167" fmla="*/ 29178 h 273890"/>
                <a:gd name="connsiteX168" fmla="*/ 1335412 w 1394458"/>
                <a:gd name="connsiteY168" fmla="*/ 7471 h 273890"/>
                <a:gd name="connsiteX169" fmla="*/ 1370319 w 1394458"/>
                <a:gd name="connsiteY169" fmla="*/ 0 h 273890"/>
                <a:gd name="connsiteX170" fmla="*/ 1382649 w 1394458"/>
                <a:gd name="connsiteY170" fmla="*/ 871 h 273890"/>
                <a:gd name="connsiteX171" fmla="*/ 1394458 w 1394458"/>
                <a:gd name="connsiteY171" fmla="*/ 3127 h 273890"/>
                <a:gd name="connsiteX172" fmla="*/ 1393418 w 1394458"/>
                <a:gd name="connsiteY172" fmla="*/ 35433 h 273890"/>
                <a:gd name="connsiteX173" fmla="*/ 1385776 w 1394458"/>
                <a:gd name="connsiteY173" fmla="*/ 34217 h 273890"/>
                <a:gd name="connsiteX174" fmla="*/ 1377095 w 1394458"/>
                <a:gd name="connsiteY174" fmla="*/ 33872 h 273890"/>
                <a:gd name="connsiteX175" fmla="*/ 1360596 w 1394458"/>
                <a:gd name="connsiteY175" fmla="*/ 37519 h 273890"/>
                <a:gd name="connsiteX176" fmla="*/ 1350178 w 1394458"/>
                <a:gd name="connsiteY176" fmla="*/ 47767 h 273890"/>
                <a:gd name="connsiteX177" fmla="*/ 1346706 w 1394458"/>
                <a:gd name="connsiteY177" fmla="*/ 64441 h 273890"/>
                <a:gd name="connsiteX178" fmla="*/ 1346706 w 1394458"/>
                <a:gd name="connsiteY178" fmla="*/ 270423 h 273890"/>
                <a:gd name="connsiteX179" fmla="*/ 1385431 w 1394458"/>
                <a:gd name="connsiteY179" fmla="*/ 82500 h 273890"/>
                <a:gd name="connsiteX180" fmla="*/ 1385431 w 1394458"/>
                <a:gd name="connsiteY180" fmla="*/ 113069 h 273890"/>
                <a:gd name="connsiteX181" fmla="*/ 1276015 w 1394458"/>
                <a:gd name="connsiteY181" fmla="*/ 113069 h 273890"/>
                <a:gd name="connsiteX182" fmla="*/ 1276015 w 1394458"/>
                <a:gd name="connsiteY182" fmla="*/ 82500 h 273890"/>
                <a:gd name="connsiteX183" fmla="*/ 1385431 w 1394458"/>
                <a:gd name="connsiteY183" fmla="*/ 82500 h 2738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</a:cxnLst>
              <a:rect l="l" t="t" r="r" b="b"/>
              <a:pathLst>
                <a:path w="1394458" h="273890">
                  <a:moveTo>
                    <a:pt x="157354" y="188093"/>
                  </a:moveTo>
                  <a:lnTo>
                    <a:pt x="200773" y="188093"/>
                  </a:lnTo>
                  <a:cubicBezTo>
                    <a:pt x="199382" y="204650"/>
                    <a:pt x="194752" y="219411"/>
                    <a:pt x="186877" y="232383"/>
                  </a:cubicBezTo>
                  <a:cubicBezTo>
                    <a:pt x="179003" y="245233"/>
                    <a:pt x="167947" y="255365"/>
                    <a:pt x="153706" y="262777"/>
                  </a:cubicBezTo>
                  <a:cubicBezTo>
                    <a:pt x="139465" y="270185"/>
                    <a:pt x="122155" y="273891"/>
                    <a:pt x="101775" y="273891"/>
                  </a:cubicBezTo>
                  <a:cubicBezTo>
                    <a:pt x="86143" y="273891"/>
                    <a:pt x="72077" y="271114"/>
                    <a:pt x="59572" y="265554"/>
                  </a:cubicBezTo>
                  <a:cubicBezTo>
                    <a:pt x="47067" y="259878"/>
                    <a:pt x="36357" y="251892"/>
                    <a:pt x="27442" y="241585"/>
                  </a:cubicBezTo>
                  <a:cubicBezTo>
                    <a:pt x="18526" y="231162"/>
                    <a:pt x="11697" y="218604"/>
                    <a:pt x="6950" y="203896"/>
                  </a:cubicBezTo>
                  <a:cubicBezTo>
                    <a:pt x="2315" y="189192"/>
                    <a:pt x="0" y="172753"/>
                    <a:pt x="0" y="154577"/>
                  </a:cubicBezTo>
                  <a:lnTo>
                    <a:pt x="0" y="133560"/>
                  </a:lnTo>
                  <a:cubicBezTo>
                    <a:pt x="0" y="115379"/>
                    <a:pt x="2374" y="98940"/>
                    <a:pt x="7121" y="84236"/>
                  </a:cubicBezTo>
                  <a:cubicBezTo>
                    <a:pt x="11984" y="69533"/>
                    <a:pt x="18930" y="56970"/>
                    <a:pt x="27962" y="46552"/>
                  </a:cubicBezTo>
                  <a:cubicBezTo>
                    <a:pt x="36994" y="36017"/>
                    <a:pt x="47816" y="27967"/>
                    <a:pt x="60438" y="22408"/>
                  </a:cubicBezTo>
                  <a:cubicBezTo>
                    <a:pt x="73171" y="16848"/>
                    <a:pt x="87471" y="14071"/>
                    <a:pt x="103336" y="14071"/>
                  </a:cubicBezTo>
                  <a:cubicBezTo>
                    <a:pt x="123482" y="14071"/>
                    <a:pt x="140506" y="17777"/>
                    <a:pt x="154397" y="25185"/>
                  </a:cubicBezTo>
                  <a:cubicBezTo>
                    <a:pt x="168293" y="32597"/>
                    <a:pt x="179056" y="42840"/>
                    <a:pt x="186702" y="55924"/>
                  </a:cubicBezTo>
                  <a:cubicBezTo>
                    <a:pt x="194460" y="69008"/>
                    <a:pt x="199207" y="84003"/>
                    <a:pt x="200943" y="100905"/>
                  </a:cubicBezTo>
                  <a:lnTo>
                    <a:pt x="157524" y="100905"/>
                  </a:lnTo>
                  <a:cubicBezTo>
                    <a:pt x="156367" y="90019"/>
                    <a:pt x="153818" y="80700"/>
                    <a:pt x="149883" y="72943"/>
                  </a:cubicBezTo>
                  <a:cubicBezTo>
                    <a:pt x="146065" y="65185"/>
                    <a:pt x="140389" y="59280"/>
                    <a:pt x="132865" y="55229"/>
                  </a:cubicBezTo>
                  <a:cubicBezTo>
                    <a:pt x="125340" y="51060"/>
                    <a:pt x="115496" y="48974"/>
                    <a:pt x="103341" y="48974"/>
                  </a:cubicBezTo>
                  <a:cubicBezTo>
                    <a:pt x="93385" y="48974"/>
                    <a:pt x="84698" y="50827"/>
                    <a:pt x="77291" y="54533"/>
                  </a:cubicBezTo>
                  <a:cubicBezTo>
                    <a:pt x="69878" y="58239"/>
                    <a:pt x="63687" y="63682"/>
                    <a:pt x="58706" y="70861"/>
                  </a:cubicBezTo>
                  <a:cubicBezTo>
                    <a:pt x="53730" y="78040"/>
                    <a:pt x="49966" y="86897"/>
                    <a:pt x="47417" y="97432"/>
                  </a:cubicBezTo>
                  <a:cubicBezTo>
                    <a:pt x="44985" y="107850"/>
                    <a:pt x="43769" y="119776"/>
                    <a:pt x="43769" y="133210"/>
                  </a:cubicBezTo>
                  <a:lnTo>
                    <a:pt x="43769" y="154572"/>
                  </a:lnTo>
                  <a:cubicBezTo>
                    <a:pt x="43769" y="167305"/>
                    <a:pt x="44869" y="178886"/>
                    <a:pt x="47067" y="189304"/>
                  </a:cubicBezTo>
                  <a:cubicBezTo>
                    <a:pt x="49382" y="199611"/>
                    <a:pt x="52855" y="208468"/>
                    <a:pt x="57490" y="215875"/>
                  </a:cubicBezTo>
                  <a:cubicBezTo>
                    <a:pt x="62237" y="223288"/>
                    <a:pt x="68259" y="229017"/>
                    <a:pt x="75550" y="233069"/>
                  </a:cubicBezTo>
                  <a:cubicBezTo>
                    <a:pt x="82845" y="237120"/>
                    <a:pt x="91585" y="239149"/>
                    <a:pt x="101775" y="239149"/>
                  </a:cubicBezTo>
                  <a:cubicBezTo>
                    <a:pt x="114163" y="239149"/>
                    <a:pt x="124178" y="237179"/>
                    <a:pt x="131824" y="233244"/>
                  </a:cubicBezTo>
                  <a:cubicBezTo>
                    <a:pt x="139582" y="229309"/>
                    <a:pt x="145428" y="223575"/>
                    <a:pt x="149363" y="216050"/>
                  </a:cubicBezTo>
                  <a:cubicBezTo>
                    <a:pt x="153414" y="208409"/>
                    <a:pt x="156080" y="199090"/>
                    <a:pt x="157354" y="188088"/>
                  </a:cubicBezTo>
                  <a:close/>
                  <a:moveTo>
                    <a:pt x="313837" y="270418"/>
                  </a:moveTo>
                  <a:lnTo>
                    <a:pt x="259825" y="270418"/>
                  </a:lnTo>
                  <a:lnTo>
                    <a:pt x="260170" y="235856"/>
                  </a:lnTo>
                  <a:lnTo>
                    <a:pt x="313837" y="235856"/>
                  </a:lnTo>
                  <a:cubicBezTo>
                    <a:pt x="329469" y="235856"/>
                    <a:pt x="342553" y="232441"/>
                    <a:pt x="353088" y="225608"/>
                  </a:cubicBezTo>
                  <a:cubicBezTo>
                    <a:pt x="363740" y="218779"/>
                    <a:pt x="371731" y="208993"/>
                    <a:pt x="377057" y="196255"/>
                  </a:cubicBezTo>
                  <a:cubicBezTo>
                    <a:pt x="382499" y="183521"/>
                    <a:pt x="385218" y="168351"/>
                    <a:pt x="385218" y="150754"/>
                  </a:cubicBezTo>
                  <a:lnTo>
                    <a:pt x="385218" y="137033"/>
                  </a:lnTo>
                  <a:cubicBezTo>
                    <a:pt x="385218" y="123371"/>
                    <a:pt x="383657" y="111269"/>
                    <a:pt x="380530" y="100734"/>
                  </a:cubicBezTo>
                  <a:cubicBezTo>
                    <a:pt x="377519" y="90199"/>
                    <a:pt x="373005" y="81342"/>
                    <a:pt x="366984" y="74163"/>
                  </a:cubicBezTo>
                  <a:cubicBezTo>
                    <a:pt x="361079" y="66984"/>
                    <a:pt x="353784" y="61542"/>
                    <a:pt x="345102" y="57840"/>
                  </a:cubicBezTo>
                  <a:cubicBezTo>
                    <a:pt x="336532" y="54134"/>
                    <a:pt x="326634" y="52281"/>
                    <a:pt x="315403" y="52281"/>
                  </a:cubicBezTo>
                  <a:lnTo>
                    <a:pt x="258784" y="52281"/>
                  </a:lnTo>
                  <a:lnTo>
                    <a:pt x="258784" y="17544"/>
                  </a:lnTo>
                  <a:lnTo>
                    <a:pt x="315403" y="17544"/>
                  </a:lnTo>
                  <a:cubicBezTo>
                    <a:pt x="332193" y="17544"/>
                    <a:pt x="347534" y="20379"/>
                    <a:pt x="361429" y="26055"/>
                  </a:cubicBezTo>
                  <a:cubicBezTo>
                    <a:pt x="375325" y="31615"/>
                    <a:pt x="387310" y="39660"/>
                    <a:pt x="397383" y="50195"/>
                  </a:cubicBezTo>
                  <a:cubicBezTo>
                    <a:pt x="407572" y="60730"/>
                    <a:pt x="415389" y="73351"/>
                    <a:pt x="420826" y="88054"/>
                  </a:cubicBezTo>
                  <a:cubicBezTo>
                    <a:pt x="426269" y="102758"/>
                    <a:pt x="428988" y="119202"/>
                    <a:pt x="428988" y="137378"/>
                  </a:cubicBezTo>
                  <a:lnTo>
                    <a:pt x="428988" y="150754"/>
                  </a:lnTo>
                  <a:cubicBezTo>
                    <a:pt x="428988" y="168930"/>
                    <a:pt x="426269" y="185374"/>
                    <a:pt x="420826" y="200078"/>
                  </a:cubicBezTo>
                  <a:cubicBezTo>
                    <a:pt x="415384" y="214781"/>
                    <a:pt x="407568" y="227403"/>
                    <a:pt x="397383" y="237938"/>
                  </a:cubicBezTo>
                  <a:cubicBezTo>
                    <a:pt x="387193" y="248356"/>
                    <a:pt x="375038" y="256405"/>
                    <a:pt x="360909" y="262077"/>
                  </a:cubicBezTo>
                  <a:cubicBezTo>
                    <a:pt x="346896" y="267636"/>
                    <a:pt x="331211" y="270413"/>
                    <a:pt x="313842" y="270413"/>
                  </a:cubicBezTo>
                  <a:close/>
                  <a:moveTo>
                    <a:pt x="283964" y="17544"/>
                  </a:moveTo>
                  <a:lnTo>
                    <a:pt x="283964" y="270418"/>
                  </a:lnTo>
                  <a:lnTo>
                    <a:pt x="240369" y="270418"/>
                  </a:lnTo>
                  <a:lnTo>
                    <a:pt x="240369" y="17544"/>
                  </a:lnTo>
                  <a:lnTo>
                    <a:pt x="283964" y="17544"/>
                  </a:lnTo>
                  <a:close/>
                  <a:moveTo>
                    <a:pt x="519299" y="17544"/>
                  </a:moveTo>
                  <a:lnTo>
                    <a:pt x="519299" y="270418"/>
                  </a:lnTo>
                  <a:lnTo>
                    <a:pt x="475705" y="270418"/>
                  </a:lnTo>
                  <a:lnTo>
                    <a:pt x="475705" y="17544"/>
                  </a:lnTo>
                  <a:lnTo>
                    <a:pt x="519299" y="17544"/>
                  </a:lnTo>
                  <a:close/>
                  <a:moveTo>
                    <a:pt x="811424" y="188093"/>
                  </a:moveTo>
                  <a:lnTo>
                    <a:pt x="854843" y="188093"/>
                  </a:lnTo>
                  <a:cubicBezTo>
                    <a:pt x="853452" y="204650"/>
                    <a:pt x="848822" y="219411"/>
                    <a:pt x="840947" y="232383"/>
                  </a:cubicBezTo>
                  <a:cubicBezTo>
                    <a:pt x="833073" y="245233"/>
                    <a:pt x="822017" y="255365"/>
                    <a:pt x="807776" y="262777"/>
                  </a:cubicBezTo>
                  <a:cubicBezTo>
                    <a:pt x="793535" y="270185"/>
                    <a:pt x="776225" y="273891"/>
                    <a:pt x="755845" y="273891"/>
                  </a:cubicBezTo>
                  <a:cubicBezTo>
                    <a:pt x="740213" y="273891"/>
                    <a:pt x="726147" y="271114"/>
                    <a:pt x="713642" y="265554"/>
                  </a:cubicBezTo>
                  <a:cubicBezTo>
                    <a:pt x="701137" y="259878"/>
                    <a:pt x="690427" y="251892"/>
                    <a:pt x="681512" y="241585"/>
                  </a:cubicBezTo>
                  <a:cubicBezTo>
                    <a:pt x="672596" y="231162"/>
                    <a:pt x="665768" y="218604"/>
                    <a:pt x="661021" y="203896"/>
                  </a:cubicBezTo>
                  <a:cubicBezTo>
                    <a:pt x="656390" y="189192"/>
                    <a:pt x="654075" y="172748"/>
                    <a:pt x="654075" y="154572"/>
                  </a:cubicBezTo>
                  <a:lnTo>
                    <a:pt x="654075" y="133555"/>
                  </a:lnTo>
                  <a:cubicBezTo>
                    <a:pt x="654075" y="115374"/>
                    <a:pt x="656449" y="98935"/>
                    <a:pt x="661196" y="84231"/>
                  </a:cubicBezTo>
                  <a:cubicBezTo>
                    <a:pt x="666059" y="69528"/>
                    <a:pt x="673005" y="56965"/>
                    <a:pt x="682037" y="46547"/>
                  </a:cubicBezTo>
                  <a:cubicBezTo>
                    <a:pt x="691069" y="36012"/>
                    <a:pt x="701891" y="27962"/>
                    <a:pt x="714513" y="22403"/>
                  </a:cubicBezTo>
                  <a:cubicBezTo>
                    <a:pt x="727246" y="16843"/>
                    <a:pt x="741546" y="14066"/>
                    <a:pt x="757411" y="14066"/>
                  </a:cubicBezTo>
                  <a:cubicBezTo>
                    <a:pt x="777557" y="14066"/>
                    <a:pt x="794581" y="17772"/>
                    <a:pt x="808472" y="25180"/>
                  </a:cubicBezTo>
                  <a:cubicBezTo>
                    <a:pt x="822368" y="32592"/>
                    <a:pt x="833131" y="42836"/>
                    <a:pt x="840777" y="55919"/>
                  </a:cubicBezTo>
                  <a:cubicBezTo>
                    <a:pt x="848535" y="69003"/>
                    <a:pt x="853282" y="83998"/>
                    <a:pt x="855018" y="100900"/>
                  </a:cubicBezTo>
                  <a:lnTo>
                    <a:pt x="811599" y="100900"/>
                  </a:lnTo>
                  <a:cubicBezTo>
                    <a:pt x="810442" y="90015"/>
                    <a:pt x="807893" y="80695"/>
                    <a:pt x="803958" y="72938"/>
                  </a:cubicBezTo>
                  <a:cubicBezTo>
                    <a:pt x="800140" y="65180"/>
                    <a:pt x="794464" y="59275"/>
                    <a:pt x="786940" y="55224"/>
                  </a:cubicBezTo>
                  <a:cubicBezTo>
                    <a:pt x="779415" y="51055"/>
                    <a:pt x="769571" y="48969"/>
                    <a:pt x="757416" y="48969"/>
                  </a:cubicBezTo>
                  <a:cubicBezTo>
                    <a:pt x="747460" y="48969"/>
                    <a:pt x="738773" y="50822"/>
                    <a:pt x="731366" y="54528"/>
                  </a:cubicBezTo>
                  <a:cubicBezTo>
                    <a:pt x="723953" y="58234"/>
                    <a:pt x="717762" y="63677"/>
                    <a:pt x="712781" y="70856"/>
                  </a:cubicBezTo>
                  <a:cubicBezTo>
                    <a:pt x="707801" y="78035"/>
                    <a:pt x="704041" y="86892"/>
                    <a:pt x="701492" y="97427"/>
                  </a:cubicBezTo>
                  <a:cubicBezTo>
                    <a:pt x="699060" y="107845"/>
                    <a:pt x="697844" y="119771"/>
                    <a:pt x="697844" y="133205"/>
                  </a:cubicBezTo>
                  <a:lnTo>
                    <a:pt x="697844" y="154567"/>
                  </a:lnTo>
                  <a:cubicBezTo>
                    <a:pt x="697844" y="167300"/>
                    <a:pt x="698944" y="178881"/>
                    <a:pt x="701142" y="189299"/>
                  </a:cubicBezTo>
                  <a:cubicBezTo>
                    <a:pt x="703457" y="199606"/>
                    <a:pt x="706930" y="208463"/>
                    <a:pt x="711565" y="215870"/>
                  </a:cubicBezTo>
                  <a:cubicBezTo>
                    <a:pt x="716312" y="223283"/>
                    <a:pt x="722334" y="229012"/>
                    <a:pt x="729629" y="233064"/>
                  </a:cubicBezTo>
                  <a:cubicBezTo>
                    <a:pt x="736925" y="237116"/>
                    <a:pt x="745665" y="239144"/>
                    <a:pt x="755855" y="239144"/>
                  </a:cubicBezTo>
                  <a:cubicBezTo>
                    <a:pt x="768243" y="239144"/>
                    <a:pt x="778258" y="237174"/>
                    <a:pt x="785904" y="233239"/>
                  </a:cubicBezTo>
                  <a:cubicBezTo>
                    <a:pt x="793661" y="229304"/>
                    <a:pt x="799508" y="223570"/>
                    <a:pt x="803443" y="216046"/>
                  </a:cubicBezTo>
                  <a:cubicBezTo>
                    <a:pt x="807494" y="208405"/>
                    <a:pt x="810159" y="199085"/>
                    <a:pt x="811434" y="188084"/>
                  </a:cubicBezTo>
                  <a:close/>
                  <a:moveTo>
                    <a:pt x="882285" y="178541"/>
                  </a:moveTo>
                  <a:lnTo>
                    <a:pt x="882285" y="174548"/>
                  </a:lnTo>
                  <a:cubicBezTo>
                    <a:pt x="882285" y="161002"/>
                    <a:pt x="884255" y="148439"/>
                    <a:pt x="888190" y="136858"/>
                  </a:cubicBezTo>
                  <a:cubicBezTo>
                    <a:pt x="892124" y="125165"/>
                    <a:pt x="897800" y="115034"/>
                    <a:pt x="905208" y="106464"/>
                  </a:cubicBezTo>
                  <a:cubicBezTo>
                    <a:pt x="912732" y="97782"/>
                    <a:pt x="921881" y="91065"/>
                    <a:pt x="932650" y="86318"/>
                  </a:cubicBezTo>
                  <a:cubicBezTo>
                    <a:pt x="943535" y="81454"/>
                    <a:pt x="955806" y="79022"/>
                    <a:pt x="969469" y="79022"/>
                  </a:cubicBezTo>
                  <a:cubicBezTo>
                    <a:pt x="983131" y="79022"/>
                    <a:pt x="995519" y="81454"/>
                    <a:pt x="1006288" y="86318"/>
                  </a:cubicBezTo>
                  <a:cubicBezTo>
                    <a:pt x="1017173" y="91065"/>
                    <a:pt x="1026375" y="97782"/>
                    <a:pt x="1033899" y="106464"/>
                  </a:cubicBezTo>
                  <a:cubicBezTo>
                    <a:pt x="1041424" y="115034"/>
                    <a:pt x="1047158" y="125165"/>
                    <a:pt x="1051093" y="136858"/>
                  </a:cubicBezTo>
                  <a:cubicBezTo>
                    <a:pt x="1055028" y="148439"/>
                    <a:pt x="1056998" y="160997"/>
                    <a:pt x="1056998" y="174548"/>
                  </a:cubicBezTo>
                  <a:lnTo>
                    <a:pt x="1056998" y="178541"/>
                  </a:lnTo>
                  <a:cubicBezTo>
                    <a:pt x="1056998" y="192086"/>
                    <a:pt x="1055028" y="204650"/>
                    <a:pt x="1051093" y="216230"/>
                  </a:cubicBezTo>
                  <a:cubicBezTo>
                    <a:pt x="1047153" y="227806"/>
                    <a:pt x="1041424" y="237938"/>
                    <a:pt x="1033899" y="246624"/>
                  </a:cubicBezTo>
                  <a:cubicBezTo>
                    <a:pt x="1026375" y="255194"/>
                    <a:pt x="1017226" y="261906"/>
                    <a:pt x="1006458" y="266770"/>
                  </a:cubicBezTo>
                  <a:cubicBezTo>
                    <a:pt x="995689" y="271517"/>
                    <a:pt x="983476" y="273891"/>
                    <a:pt x="969814" y="273891"/>
                  </a:cubicBezTo>
                  <a:cubicBezTo>
                    <a:pt x="956151" y="273891"/>
                    <a:pt x="943705" y="271517"/>
                    <a:pt x="932820" y="266770"/>
                  </a:cubicBezTo>
                  <a:cubicBezTo>
                    <a:pt x="922051" y="261906"/>
                    <a:pt x="912907" y="255189"/>
                    <a:pt x="905378" y="246624"/>
                  </a:cubicBezTo>
                  <a:cubicBezTo>
                    <a:pt x="897854" y="237942"/>
                    <a:pt x="892119" y="227811"/>
                    <a:pt x="888185" y="216230"/>
                  </a:cubicBezTo>
                  <a:cubicBezTo>
                    <a:pt x="884245" y="204650"/>
                    <a:pt x="882280" y="192086"/>
                    <a:pt x="882280" y="178541"/>
                  </a:cubicBezTo>
                  <a:close/>
                  <a:moveTo>
                    <a:pt x="924143" y="174548"/>
                  </a:moveTo>
                  <a:lnTo>
                    <a:pt x="924143" y="178541"/>
                  </a:lnTo>
                  <a:cubicBezTo>
                    <a:pt x="924143" y="186994"/>
                    <a:pt x="925013" y="194980"/>
                    <a:pt x="926750" y="202510"/>
                  </a:cubicBezTo>
                  <a:cubicBezTo>
                    <a:pt x="928486" y="210034"/>
                    <a:pt x="931210" y="216634"/>
                    <a:pt x="934911" y="222310"/>
                  </a:cubicBezTo>
                  <a:cubicBezTo>
                    <a:pt x="938617" y="227981"/>
                    <a:pt x="943365" y="232441"/>
                    <a:pt x="949152" y="235681"/>
                  </a:cubicBezTo>
                  <a:cubicBezTo>
                    <a:pt x="954940" y="238925"/>
                    <a:pt x="961832" y="240545"/>
                    <a:pt x="969819" y="240545"/>
                  </a:cubicBezTo>
                  <a:cubicBezTo>
                    <a:pt x="977805" y="240545"/>
                    <a:pt x="984293" y="238925"/>
                    <a:pt x="989965" y="235681"/>
                  </a:cubicBezTo>
                  <a:cubicBezTo>
                    <a:pt x="995753" y="232441"/>
                    <a:pt x="1000500" y="227981"/>
                    <a:pt x="1004206" y="222310"/>
                  </a:cubicBezTo>
                  <a:cubicBezTo>
                    <a:pt x="1007912" y="216634"/>
                    <a:pt x="1010631" y="210039"/>
                    <a:pt x="1012367" y="202510"/>
                  </a:cubicBezTo>
                  <a:cubicBezTo>
                    <a:pt x="1014220" y="194985"/>
                    <a:pt x="1015145" y="186994"/>
                    <a:pt x="1015145" y="178541"/>
                  </a:cubicBezTo>
                  <a:lnTo>
                    <a:pt x="1015145" y="174548"/>
                  </a:lnTo>
                  <a:cubicBezTo>
                    <a:pt x="1015145" y="166211"/>
                    <a:pt x="1014220" y="158336"/>
                    <a:pt x="1012367" y="150929"/>
                  </a:cubicBezTo>
                  <a:cubicBezTo>
                    <a:pt x="1010631" y="143405"/>
                    <a:pt x="1007854" y="136746"/>
                    <a:pt x="1004031" y="130958"/>
                  </a:cubicBezTo>
                  <a:cubicBezTo>
                    <a:pt x="1000325" y="125170"/>
                    <a:pt x="995578" y="120652"/>
                    <a:pt x="989790" y="117412"/>
                  </a:cubicBezTo>
                  <a:cubicBezTo>
                    <a:pt x="984118" y="114056"/>
                    <a:pt x="977343" y="112378"/>
                    <a:pt x="969469" y="112378"/>
                  </a:cubicBezTo>
                  <a:cubicBezTo>
                    <a:pt x="961594" y="112378"/>
                    <a:pt x="954765" y="114056"/>
                    <a:pt x="948977" y="117412"/>
                  </a:cubicBezTo>
                  <a:cubicBezTo>
                    <a:pt x="943301" y="120657"/>
                    <a:pt x="938613" y="125170"/>
                    <a:pt x="934911" y="130958"/>
                  </a:cubicBezTo>
                  <a:cubicBezTo>
                    <a:pt x="931205" y="136746"/>
                    <a:pt x="928486" y="143405"/>
                    <a:pt x="926750" y="150929"/>
                  </a:cubicBezTo>
                  <a:cubicBezTo>
                    <a:pt x="925013" y="158341"/>
                    <a:pt x="924143" y="166211"/>
                    <a:pt x="924143" y="174548"/>
                  </a:cubicBezTo>
                  <a:close/>
                  <a:moveTo>
                    <a:pt x="1133598" y="122617"/>
                  </a:moveTo>
                  <a:lnTo>
                    <a:pt x="1133598" y="270418"/>
                  </a:lnTo>
                  <a:lnTo>
                    <a:pt x="1091745" y="270418"/>
                  </a:lnTo>
                  <a:lnTo>
                    <a:pt x="1091745" y="82495"/>
                  </a:lnTo>
                  <a:lnTo>
                    <a:pt x="1131171" y="82495"/>
                  </a:lnTo>
                  <a:lnTo>
                    <a:pt x="1133603" y="122617"/>
                  </a:lnTo>
                  <a:close/>
                  <a:moveTo>
                    <a:pt x="1126132" y="169509"/>
                  </a:moveTo>
                  <a:lnTo>
                    <a:pt x="1112586" y="169334"/>
                  </a:lnTo>
                  <a:cubicBezTo>
                    <a:pt x="1112703" y="156016"/>
                    <a:pt x="1114556" y="143803"/>
                    <a:pt x="1118145" y="132690"/>
                  </a:cubicBezTo>
                  <a:cubicBezTo>
                    <a:pt x="1121852" y="121576"/>
                    <a:pt x="1126944" y="112023"/>
                    <a:pt x="1133428" y="104032"/>
                  </a:cubicBezTo>
                  <a:cubicBezTo>
                    <a:pt x="1140028" y="96041"/>
                    <a:pt x="1147902" y="89908"/>
                    <a:pt x="1157046" y="85623"/>
                  </a:cubicBezTo>
                  <a:cubicBezTo>
                    <a:pt x="1166195" y="81226"/>
                    <a:pt x="1176385" y="79022"/>
                    <a:pt x="1187615" y="79022"/>
                  </a:cubicBezTo>
                  <a:cubicBezTo>
                    <a:pt x="1196647" y="79022"/>
                    <a:pt x="1204809" y="80297"/>
                    <a:pt x="1212105" y="82840"/>
                  </a:cubicBezTo>
                  <a:cubicBezTo>
                    <a:pt x="1219517" y="85272"/>
                    <a:pt x="1225825" y="89265"/>
                    <a:pt x="1231034" y="94825"/>
                  </a:cubicBezTo>
                  <a:cubicBezTo>
                    <a:pt x="1236360" y="100384"/>
                    <a:pt x="1240412" y="107617"/>
                    <a:pt x="1243189" y="116532"/>
                  </a:cubicBezTo>
                  <a:cubicBezTo>
                    <a:pt x="1245966" y="125331"/>
                    <a:pt x="1247357" y="136157"/>
                    <a:pt x="1247357" y="149013"/>
                  </a:cubicBezTo>
                  <a:lnTo>
                    <a:pt x="1247357" y="270413"/>
                  </a:lnTo>
                  <a:lnTo>
                    <a:pt x="1205329" y="270413"/>
                  </a:lnTo>
                  <a:lnTo>
                    <a:pt x="1205329" y="148837"/>
                  </a:lnTo>
                  <a:cubicBezTo>
                    <a:pt x="1205329" y="139805"/>
                    <a:pt x="1203996" y="132685"/>
                    <a:pt x="1201336" y="127476"/>
                  </a:cubicBezTo>
                  <a:cubicBezTo>
                    <a:pt x="1198787" y="122150"/>
                    <a:pt x="1195028" y="118385"/>
                    <a:pt x="1190047" y="116187"/>
                  </a:cubicBezTo>
                  <a:cubicBezTo>
                    <a:pt x="1185183" y="113872"/>
                    <a:pt x="1179104" y="112714"/>
                    <a:pt x="1171813" y="112714"/>
                  </a:cubicBezTo>
                  <a:cubicBezTo>
                    <a:pt x="1164522" y="112714"/>
                    <a:pt x="1158209" y="114217"/>
                    <a:pt x="1152533" y="117228"/>
                  </a:cubicBezTo>
                  <a:cubicBezTo>
                    <a:pt x="1146861" y="120238"/>
                    <a:pt x="1142056" y="124348"/>
                    <a:pt x="1138116" y="129557"/>
                  </a:cubicBezTo>
                  <a:cubicBezTo>
                    <a:pt x="1134293" y="134766"/>
                    <a:pt x="1131341" y="140788"/>
                    <a:pt x="1129259" y="147621"/>
                  </a:cubicBezTo>
                  <a:cubicBezTo>
                    <a:pt x="1127178" y="154450"/>
                    <a:pt x="1126132" y="161746"/>
                    <a:pt x="1126132" y="169504"/>
                  </a:cubicBezTo>
                  <a:close/>
                  <a:moveTo>
                    <a:pt x="1346701" y="270418"/>
                  </a:moveTo>
                  <a:lnTo>
                    <a:pt x="1304843" y="270418"/>
                  </a:lnTo>
                  <a:lnTo>
                    <a:pt x="1304843" y="64436"/>
                  </a:lnTo>
                  <a:cubicBezTo>
                    <a:pt x="1304843" y="50428"/>
                    <a:pt x="1307450" y="38672"/>
                    <a:pt x="1312659" y="29178"/>
                  </a:cubicBezTo>
                  <a:cubicBezTo>
                    <a:pt x="1317985" y="19567"/>
                    <a:pt x="1325567" y="12330"/>
                    <a:pt x="1335412" y="7471"/>
                  </a:cubicBezTo>
                  <a:cubicBezTo>
                    <a:pt x="1345256" y="2490"/>
                    <a:pt x="1356890" y="0"/>
                    <a:pt x="1370319" y="0"/>
                  </a:cubicBezTo>
                  <a:cubicBezTo>
                    <a:pt x="1374488" y="0"/>
                    <a:pt x="1378597" y="292"/>
                    <a:pt x="1382649" y="871"/>
                  </a:cubicBezTo>
                  <a:cubicBezTo>
                    <a:pt x="1386701" y="1333"/>
                    <a:pt x="1390640" y="2087"/>
                    <a:pt x="1394458" y="3127"/>
                  </a:cubicBezTo>
                  <a:lnTo>
                    <a:pt x="1393418" y="35433"/>
                  </a:lnTo>
                  <a:cubicBezTo>
                    <a:pt x="1391102" y="34854"/>
                    <a:pt x="1388554" y="34450"/>
                    <a:pt x="1385776" y="34217"/>
                  </a:cubicBezTo>
                  <a:cubicBezTo>
                    <a:pt x="1383116" y="33983"/>
                    <a:pt x="1380217" y="33872"/>
                    <a:pt x="1377095" y="33872"/>
                  </a:cubicBezTo>
                  <a:cubicBezTo>
                    <a:pt x="1370728" y="33872"/>
                    <a:pt x="1365227" y="35088"/>
                    <a:pt x="1360596" y="37519"/>
                  </a:cubicBezTo>
                  <a:cubicBezTo>
                    <a:pt x="1356083" y="39835"/>
                    <a:pt x="1352605" y="43249"/>
                    <a:pt x="1350178" y="47767"/>
                  </a:cubicBezTo>
                  <a:cubicBezTo>
                    <a:pt x="1347863" y="52286"/>
                    <a:pt x="1346706" y="57840"/>
                    <a:pt x="1346706" y="64441"/>
                  </a:cubicBezTo>
                  <a:lnTo>
                    <a:pt x="1346706" y="270423"/>
                  </a:lnTo>
                  <a:close/>
                  <a:moveTo>
                    <a:pt x="1385431" y="82500"/>
                  </a:moveTo>
                  <a:lnTo>
                    <a:pt x="1385431" y="113069"/>
                  </a:lnTo>
                  <a:lnTo>
                    <a:pt x="1276015" y="113069"/>
                  </a:lnTo>
                  <a:lnTo>
                    <a:pt x="1276015" y="82500"/>
                  </a:lnTo>
                  <a:lnTo>
                    <a:pt x="1385431" y="82500"/>
                  </a:lnTo>
                  <a:close/>
                </a:path>
              </a:pathLst>
            </a:custGeom>
            <a:solidFill>
              <a:srgbClr val="EE3431"/>
            </a:solidFill>
            <a:ln w="48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1" name="Полилиния: фигура 50">
              <a:extLst>
                <a:ext uri="{FF2B5EF4-FFF2-40B4-BE49-F238E27FC236}">
                  <a16:creationId xmlns:a16="http://schemas.microsoft.com/office/drawing/2014/main" id="{C17E94DF-B74B-4939-91AC-C9E5189BB718}"/>
                </a:ext>
              </a:extLst>
            </p:cNvPr>
            <p:cNvSpPr/>
            <p:nvPr/>
          </p:nvSpPr>
          <p:spPr>
            <a:xfrm>
              <a:off x="7406975" y="5855999"/>
              <a:ext cx="1394458" cy="273890"/>
            </a:xfrm>
            <a:custGeom>
              <a:avLst/>
              <a:gdLst>
                <a:gd name="connsiteX0" fmla="*/ 157354 w 1394458"/>
                <a:gd name="connsiteY0" fmla="*/ 188093 h 273890"/>
                <a:gd name="connsiteX1" fmla="*/ 200773 w 1394458"/>
                <a:gd name="connsiteY1" fmla="*/ 188093 h 273890"/>
                <a:gd name="connsiteX2" fmla="*/ 186877 w 1394458"/>
                <a:gd name="connsiteY2" fmla="*/ 232383 h 273890"/>
                <a:gd name="connsiteX3" fmla="*/ 153706 w 1394458"/>
                <a:gd name="connsiteY3" fmla="*/ 262777 h 273890"/>
                <a:gd name="connsiteX4" fmla="*/ 101775 w 1394458"/>
                <a:gd name="connsiteY4" fmla="*/ 273891 h 273890"/>
                <a:gd name="connsiteX5" fmla="*/ 59572 w 1394458"/>
                <a:gd name="connsiteY5" fmla="*/ 265554 h 273890"/>
                <a:gd name="connsiteX6" fmla="*/ 27442 w 1394458"/>
                <a:gd name="connsiteY6" fmla="*/ 241585 h 273890"/>
                <a:gd name="connsiteX7" fmla="*/ 6950 w 1394458"/>
                <a:gd name="connsiteY7" fmla="*/ 203901 h 273890"/>
                <a:gd name="connsiteX8" fmla="*/ 0 w 1394458"/>
                <a:gd name="connsiteY8" fmla="*/ 154572 h 273890"/>
                <a:gd name="connsiteX9" fmla="*/ 0 w 1394458"/>
                <a:gd name="connsiteY9" fmla="*/ 133555 h 273890"/>
                <a:gd name="connsiteX10" fmla="*/ 7121 w 1394458"/>
                <a:gd name="connsiteY10" fmla="*/ 84231 h 273890"/>
                <a:gd name="connsiteX11" fmla="*/ 27962 w 1394458"/>
                <a:gd name="connsiteY11" fmla="*/ 46542 h 273890"/>
                <a:gd name="connsiteX12" fmla="*/ 60438 w 1394458"/>
                <a:gd name="connsiteY12" fmla="*/ 22403 h 273890"/>
                <a:gd name="connsiteX13" fmla="*/ 103336 w 1394458"/>
                <a:gd name="connsiteY13" fmla="*/ 14066 h 273890"/>
                <a:gd name="connsiteX14" fmla="*/ 154397 w 1394458"/>
                <a:gd name="connsiteY14" fmla="*/ 25180 h 273890"/>
                <a:gd name="connsiteX15" fmla="*/ 186702 w 1394458"/>
                <a:gd name="connsiteY15" fmla="*/ 55919 h 273890"/>
                <a:gd name="connsiteX16" fmla="*/ 200943 w 1394458"/>
                <a:gd name="connsiteY16" fmla="*/ 100900 h 273890"/>
                <a:gd name="connsiteX17" fmla="*/ 157524 w 1394458"/>
                <a:gd name="connsiteY17" fmla="*/ 100900 h 273890"/>
                <a:gd name="connsiteX18" fmla="*/ 149883 w 1394458"/>
                <a:gd name="connsiteY18" fmla="*/ 72938 h 273890"/>
                <a:gd name="connsiteX19" fmla="*/ 132865 w 1394458"/>
                <a:gd name="connsiteY19" fmla="*/ 55224 h 273890"/>
                <a:gd name="connsiteX20" fmla="*/ 103341 w 1394458"/>
                <a:gd name="connsiteY20" fmla="*/ 48969 h 273890"/>
                <a:gd name="connsiteX21" fmla="*/ 77291 w 1394458"/>
                <a:gd name="connsiteY21" fmla="*/ 54528 h 273890"/>
                <a:gd name="connsiteX22" fmla="*/ 58706 w 1394458"/>
                <a:gd name="connsiteY22" fmla="*/ 70856 h 273890"/>
                <a:gd name="connsiteX23" fmla="*/ 47417 w 1394458"/>
                <a:gd name="connsiteY23" fmla="*/ 97427 h 273890"/>
                <a:gd name="connsiteX24" fmla="*/ 43769 w 1394458"/>
                <a:gd name="connsiteY24" fmla="*/ 133205 h 273890"/>
                <a:gd name="connsiteX25" fmla="*/ 43769 w 1394458"/>
                <a:gd name="connsiteY25" fmla="*/ 154567 h 273890"/>
                <a:gd name="connsiteX26" fmla="*/ 47067 w 1394458"/>
                <a:gd name="connsiteY26" fmla="*/ 189304 h 273890"/>
                <a:gd name="connsiteX27" fmla="*/ 57490 w 1394458"/>
                <a:gd name="connsiteY27" fmla="*/ 215875 h 273890"/>
                <a:gd name="connsiteX28" fmla="*/ 75550 w 1394458"/>
                <a:gd name="connsiteY28" fmla="*/ 233069 h 273890"/>
                <a:gd name="connsiteX29" fmla="*/ 101775 w 1394458"/>
                <a:gd name="connsiteY29" fmla="*/ 239149 h 273890"/>
                <a:gd name="connsiteX30" fmla="*/ 131824 w 1394458"/>
                <a:gd name="connsiteY30" fmla="*/ 233244 h 273890"/>
                <a:gd name="connsiteX31" fmla="*/ 149363 w 1394458"/>
                <a:gd name="connsiteY31" fmla="*/ 216050 h 273890"/>
                <a:gd name="connsiteX32" fmla="*/ 157354 w 1394458"/>
                <a:gd name="connsiteY32" fmla="*/ 188088 h 273890"/>
                <a:gd name="connsiteX33" fmla="*/ 313837 w 1394458"/>
                <a:gd name="connsiteY33" fmla="*/ 270418 h 273890"/>
                <a:gd name="connsiteX34" fmla="*/ 259825 w 1394458"/>
                <a:gd name="connsiteY34" fmla="*/ 270418 h 273890"/>
                <a:gd name="connsiteX35" fmla="*/ 260170 w 1394458"/>
                <a:gd name="connsiteY35" fmla="*/ 235856 h 273890"/>
                <a:gd name="connsiteX36" fmla="*/ 313837 w 1394458"/>
                <a:gd name="connsiteY36" fmla="*/ 235856 h 273890"/>
                <a:gd name="connsiteX37" fmla="*/ 353088 w 1394458"/>
                <a:gd name="connsiteY37" fmla="*/ 225608 h 273890"/>
                <a:gd name="connsiteX38" fmla="*/ 377057 w 1394458"/>
                <a:gd name="connsiteY38" fmla="*/ 196255 h 273890"/>
                <a:gd name="connsiteX39" fmla="*/ 385218 w 1394458"/>
                <a:gd name="connsiteY39" fmla="*/ 150754 h 273890"/>
                <a:gd name="connsiteX40" fmla="*/ 385218 w 1394458"/>
                <a:gd name="connsiteY40" fmla="*/ 137033 h 273890"/>
                <a:gd name="connsiteX41" fmla="*/ 380530 w 1394458"/>
                <a:gd name="connsiteY41" fmla="*/ 100734 h 273890"/>
                <a:gd name="connsiteX42" fmla="*/ 366984 w 1394458"/>
                <a:gd name="connsiteY42" fmla="*/ 74163 h 273890"/>
                <a:gd name="connsiteX43" fmla="*/ 345102 w 1394458"/>
                <a:gd name="connsiteY43" fmla="*/ 57840 h 273890"/>
                <a:gd name="connsiteX44" fmla="*/ 315403 w 1394458"/>
                <a:gd name="connsiteY44" fmla="*/ 52281 h 273890"/>
                <a:gd name="connsiteX45" fmla="*/ 258784 w 1394458"/>
                <a:gd name="connsiteY45" fmla="*/ 52281 h 273890"/>
                <a:gd name="connsiteX46" fmla="*/ 258784 w 1394458"/>
                <a:gd name="connsiteY46" fmla="*/ 17544 h 273890"/>
                <a:gd name="connsiteX47" fmla="*/ 315403 w 1394458"/>
                <a:gd name="connsiteY47" fmla="*/ 17544 h 273890"/>
                <a:gd name="connsiteX48" fmla="*/ 361429 w 1394458"/>
                <a:gd name="connsiteY48" fmla="*/ 26055 h 273890"/>
                <a:gd name="connsiteX49" fmla="*/ 397383 w 1394458"/>
                <a:gd name="connsiteY49" fmla="*/ 50195 h 273890"/>
                <a:gd name="connsiteX50" fmla="*/ 420826 w 1394458"/>
                <a:gd name="connsiteY50" fmla="*/ 88054 h 273890"/>
                <a:gd name="connsiteX51" fmla="*/ 428988 w 1394458"/>
                <a:gd name="connsiteY51" fmla="*/ 137378 h 273890"/>
                <a:gd name="connsiteX52" fmla="*/ 428988 w 1394458"/>
                <a:gd name="connsiteY52" fmla="*/ 150754 h 273890"/>
                <a:gd name="connsiteX53" fmla="*/ 420826 w 1394458"/>
                <a:gd name="connsiteY53" fmla="*/ 200078 h 273890"/>
                <a:gd name="connsiteX54" fmla="*/ 397383 w 1394458"/>
                <a:gd name="connsiteY54" fmla="*/ 237938 h 273890"/>
                <a:gd name="connsiteX55" fmla="*/ 360909 w 1394458"/>
                <a:gd name="connsiteY55" fmla="*/ 262077 h 273890"/>
                <a:gd name="connsiteX56" fmla="*/ 313842 w 1394458"/>
                <a:gd name="connsiteY56" fmla="*/ 270413 h 273890"/>
                <a:gd name="connsiteX57" fmla="*/ 283964 w 1394458"/>
                <a:gd name="connsiteY57" fmla="*/ 17544 h 273890"/>
                <a:gd name="connsiteX58" fmla="*/ 283964 w 1394458"/>
                <a:gd name="connsiteY58" fmla="*/ 270418 h 273890"/>
                <a:gd name="connsiteX59" fmla="*/ 240369 w 1394458"/>
                <a:gd name="connsiteY59" fmla="*/ 270418 h 273890"/>
                <a:gd name="connsiteX60" fmla="*/ 240369 w 1394458"/>
                <a:gd name="connsiteY60" fmla="*/ 17544 h 273890"/>
                <a:gd name="connsiteX61" fmla="*/ 283964 w 1394458"/>
                <a:gd name="connsiteY61" fmla="*/ 17544 h 273890"/>
                <a:gd name="connsiteX62" fmla="*/ 519299 w 1394458"/>
                <a:gd name="connsiteY62" fmla="*/ 17544 h 273890"/>
                <a:gd name="connsiteX63" fmla="*/ 519299 w 1394458"/>
                <a:gd name="connsiteY63" fmla="*/ 270418 h 273890"/>
                <a:gd name="connsiteX64" fmla="*/ 475705 w 1394458"/>
                <a:gd name="connsiteY64" fmla="*/ 270418 h 273890"/>
                <a:gd name="connsiteX65" fmla="*/ 475705 w 1394458"/>
                <a:gd name="connsiteY65" fmla="*/ 17544 h 273890"/>
                <a:gd name="connsiteX66" fmla="*/ 519299 w 1394458"/>
                <a:gd name="connsiteY66" fmla="*/ 17544 h 273890"/>
                <a:gd name="connsiteX67" fmla="*/ 811424 w 1394458"/>
                <a:gd name="connsiteY67" fmla="*/ 188093 h 273890"/>
                <a:gd name="connsiteX68" fmla="*/ 854843 w 1394458"/>
                <a:gd name="connsiteY68" fmla="*/ 188093 h 273890"/>
                <a:gd name="connsiteX69" fmla="*/ 840947 w 1394458"/>
                <a:gd name="connsiteY69" fmla="*/ 232383 h 273890"/>
                <a:gd name="connsiteX70" fmla="*/ 807776 w 1394458"/>
                <a:gd name="connsiteY70" fmla="*/ 262777 h 273890"/>
                <a:gd name="connsiteX71" fmla="*/ 755845 w 1394458"/>
                <a:gd name="connsiteY71" fmla="*/ 273891 h 273890"/>
                <a:gd name="connsiteX72" fmla="*/ 713642 w 1394458"/>
                <a:gd name="connsiteY72" fmla="*/ 265554 h 273890"/>
                <a:gd name="connsiteX73" fmla="*/ 681512 w 1394458"/>
                <a:gd name="connsiteY73" fmla="*/ 241585 h 273890"/>
                <a:gd name="connsiteX74" fmla="*/ 661021 w 1394458"/>
                <a:gd name="connsiteY74" fmla="*/ 203901 h 273890"/>
                <a:gd name="connsiteX75" fmla="*/ 654075 w 1394458"/>
                <a:gd name="connsiteY75" fmla="*/ 154577 h 273890"/>
                <a:gd name="connsiteX76" fmla="*/ 654075 w 1394458"/>
                <a:gd name="connsiteY76" fmla="*/ 133560 h 273890"/>
                <a:gd name="connsiteX77" fmla="*/ 661196 w 1394458"/>
                <a:gd name="connsiteY77" fmla="*/ 84236 h 273890"/>
                <a:gd name="connsiteX78" fmla="*/ 682037 w 1394458"/>
                <a:gd name="connsiteY78" fmla="*/ 46547 h 273890"/>
                <a:gd name="connsiteX79" fmla="*/ 714513 w 1394458"/>
                <a:gd name="connsiteY79" fmla="*/ 22408 h 273890"/>
                <a:gd name="connsiteX80" fmla="*/ 757411 w 1394458"/>
                <a:gd name="connsiteY80" fmla="*/ 14071 h 273890"/>
                <a:gd name="connsiteX81" fmla="*/ 808472 w 1394458"/>
                <a:gd name="connsiteY81" fmla="*/ 25185 h 273890"/>
                <a:gd name="connsiteX82" fmla="*/ 840777 w 1394458"/>
                <a:gd name="connsiteY82" fmla="*/ 55924 h 273890"/>
                <a:gd name="connsiteX83" fmla="*/ 855018 w 1394458"/>
                <a:gd name="connsiteY83" fmla="*/ 100905 h 273890"/>
                <a:gd name="connsiteX84" fmla="*/ 811599 w 1394458"/>
                <a:gd name="connsiteY84" fmla="*/ 100905 h 273890"/>
                <a:gd name="connsiteX85" fmla="*/ 803958 w 1394458"/>
                <a:gd name="connsiteY85" fmla="*/ 72943 h 273890"/>
                <a:gd name="connsiteX86" fmla="*/ 786940 w 1394458"/>
                <a:gd name="connsiteY86" fmla="*/ 55229 h 273890"/>
                <a:gd name="connsiteX87" fmla="*/ 757416 w 1394458"/>
                <a:gd name="connsiteY87" fmla="*/ 48974 h 273890"/>
                <a:gd name="connsiteX88" fmla="*/ 731366 w 1394458"/>
                <a:gd name="connsiteY88" fmla="*/ 54533 h 273890"/>
                <a:gd name="connsiteX89" fmla="*/ 712781 w 1394458"/>
                <a:gd name="connsiteY89" fmla="*/ 70861 h 273890"/>
                <a:gd name="connsiteX90" fmla="*/ 701492 w 1394458"/>
                <a:gd name="connsiteY90" fmla="*/ 97432 h 273890"/>
                <a:gd name="connsiteX91" fmla="*/ 697844 w 1394458"/>
                <a:gd name="connsiteY91" fmla="*/ 133210 h 273890"/>
                <a:gd name="connsiteX92" fmla="*/ 697844 w 1394458"/>
                <a:gd name="connsiteY92" fmla="*/ 154572 h 273890"/>
                <a:gd name="connsiteX93" fmla="*/ 701142 w 1394458"/>
                <a:gd name="connsiteY93" fmla="*/ 189309 h 273890"/>
                <a:gd name="connsiteX94" fmla="*/ 711565 w 1394458"/>
                <a:gd name="connsiteY94" fmla="*/ 215880 h 273890"/>
                <a:gd name="connsiteX95" fmla="*/ 729629 w 1394458"/>
                <a:gd name="connsiteY95" fmla="*/ 233074 h 273890"/>
                <a:gd name="connsiteX96" fmla="*/ 755855 w 1394458"/>
                <a:gd name="connsiteY96" fmla="*/ 239154 h 273890"/>
                <a:gd name="connsiteX97" fmla="*/ 785904 w 1394458"/>
                <a:gd name="connsiteY97" fmla="*/ 233249 h 273890"/>
                <a:gd name="connsiteX98" fmla="*/ 803443 w 1394458"/>
                <a:gd name="connsiteY98" fmla="*/ 216055 h 273890"/>
                <a:gd name="connsiteX99" fmla="*/ 811434 w 1394458"/>
                <a:gd name="connsiteY99" fmla="*/ 188093 h 273890"/>
                <a:gd name="connsiteX100" fmla="*/ 882285 w 1394458"/>
                <a:gd name="connsiteY100" fmla="*/ 178541 h 273890"/>
                <a:gd name="connsiteX101" fmla="*/ 882285 w 1394458"/>
                <a:gd name="connsiteY101" fmla="*/ 174548 h 273890"/>
                <a:gd name="connsiteX102" fmla="*/ 888190 w 1394458"/>
                <a:gd name="connsiteY102" fmla="*/ 136858 h 273890"/>
                <a:gd name="connsiteX103" fmla="*/ 905208 w 1394458"/>
                <a:gd name="connsiteY103" fmla="*/ 106464 h 273890"/>
                <a:gd name="connsiteX104" fmla="*/ 932650 w 1394458"/>
                <a:gd name="connsiteY104" fmla="*/ 86318 h 273890"/>
                <a:gd name="connsiteX105" fmla="*/ 969469 w 1394458"/>
                <a:gd name="connsiteY105" fmla="*/ 79022 h 273890"/>
                <a:gd name="connsiteX106" fmla="*/ 1006288 w 1394458"/>
                <a:gd name="connsiteY106" fmla="*/ 86318 h 273890"/>
                <a:gd name="connsiteX107" fmla="*/ 1033899 w 1394458"/>
                <a:gd name="connsiteY107" fmla="*/ 106464 h 273890"/>
                <a:gd name="connsiteX108" fmla="*/ 1051093 w 1394458"/>
                <a:gd name="connsiteY108" fmla="*/ 136858 h 273890"/>
                <a:gd name="connsiteX109" fmla="*/ 1056998 w 1394458"/>
                <a:gd name="connsiteY109" fmla="*/ 174548 h 273890"/>
                <a:gd name="connsiteX110" fmla="*/ 1056998 w 1394458"/>
                <a:gd name="connsiteY110" fmla="*/ 178541 h 273890"/>
                <a:gd name="connsiteX111" fmla="*/ 1051093 w 1394458"/>
                <a:gd name="connsiteY111" fmla="*/ 216226 h 273890"/>
                <a:gd name="connsiteX112" fmla="*/ 1033899 w 1394458"/>
                <a:gd name="connsiteY112" fmla="*/ 246619 h 273890"/>
                <a:gd name="connsiteX113" fmla="*/ 1006458 w 1394458"/>
                <a:gd name="connsiteY113" fmla="*/ 266765 h 273890"/>
                <a:gd name="connsiteX114" fmla="*/ 969814 w 1394458"/>
                <a:gd name="connsiteY114" fmla="*/ 273886 h 273890"/>
                <a:gd name="connsiteX115" fmla="*/ 932820 w 1394458"/>
                <a:gd name="connsiteY115" fmla="*/ 266765 h 273890"/>
                <a:gd name="connsiteX116" fmla="*/ 905378 w 1394458"/>
                <a:gd name="connsiteY116" fmla="*/ 246619 h 273890"/>
                <a:gd name="connsiteX117" fmla="*/ 888185 w 1394458"/>
                <a:gd name="connsiteY117" fmla="*/ 216226 h 273890"/>
                <a:gd name="connsiteX118" fmla="*/ 882280 w 1394458"/>
                <a:gd name="connsiteY118" fmla="*/ 178541 h 273890"/>
                <a:gd name="connsiteX119" fmla="*/ 924143 w 1394458"/>
                <a:gd name="connsiteY119" fmla="*/ 174548 h 273890"/>
                <a:gd name="connsiteX120" fmla="*/ 924143 w 1394458"/>
                <a:gd name="connsiteY120" fmla="*/ 178541 h 273890"/>
                <a:gd name="connsiteX121" fmla="*/ 926750 w 1394458"/>
                <a:gd name="connsiteY121" fmla="*/ 202510 h 273890"/>
                <a:gd name="connsiteX122" fmla="*/ 934911 w 1394458"/>
                <a:gd name="connsiteY122" fmla="*/ 222310 h 273890"/>
                <a:gd name="connsiteX123" fmla="*/ 949152 w 1394458"/>
                <a:gd name="connsiteY123" fmla="*/ 235681 h 273890"/>
                <a:gd name="connsiteX124" fmla="*/ 969819 w 1394458"/>
                <a:gd name="connsiteY124" fmla="*/ 240545 h 273890"/>
                <a:gd name="connsiteX125" fmla="*/ 989965 w 1394458"/>
                <a:gd name="connsiteY125" fmla="*/ 235681 h 273890"/>
                <a:gd name="connsiteX126" fmla="*/ 1004206 w 1394458"/>
                <a:gd name="connsiteY126" fmla="*/ 222310 h 273890"/>
                <a:gd name="connsiteX127" fmla="*/ 1012367 w 1394458"/>
                <a:gd name="connsiteY127" fmla="*/ 202510 h 273890"/>
                <a:gd name="connsiteX128" fmla="*/ 1015145 w 1394458"/>
                <a:gd name="connsiteY128" fmla="*/ 178541 h 273890"/>
                <a:gd name="connsiteX129" fmla="*/ 1015145 w 1394458"/>
                <a:gd name="connsiteY129" fmla="*/ 174548 h 273890"/>
                <a:gd name="connsiteX130" fmla="*/ 1012367 w 1394458"/>
                <a:gd name="connsiteY130" fmla="*/ 150929 h 273890"/>
                <a:gd name="connsiteX131" fmla="*/ 1004031 w 1394458"/>
                <a:gd name="connsiteY131" fmla="*/ 130958 h 273890"/>
                <a:gd name="connsiteX132" fmla="*/ 989790 w 1394458"/>
                <a:gd name="connsiteY132" fmla="*/ 117412 h 273890"/>
                <a:gd name="connsiteX133" fmla="*/ 969469 w 1394458"/>
                <a:gd name="connsiteY133" fmla="*/ 112373 h 273890"/>
                <a:gd name="connsiteX134" fmla="*/ 948977 w 1394458"/>
                <a:gd name="connsiteY134" fmla="*/ 117412 h 273890"/>
                <a:gd name="connsiteX135" fmla="*/ 934911 w 1394458"/>
                <a:gd name="connsiteY135" fmla="*/ 130958 h 273890"/>
                <a:gd name="connsiteX136" fmla="*/ 926750 w 1394458"/>
                <a:gd name="connsiteY136" fmla="*/ 150929 h 273890"/>
                <a:gd name="connsiteX137" fmla="*/ 924143 w 1394458"/>
                <a:gd name="connsiteY137" fmla="*/ 174548 h 273890"/>
                <a:gd name="connsiteX138" fmla="*/ 1133598 w 1394458"/>
                <a:gd name="connsiteY138" fmla="*/ 122617 h 273890"/>
                <a:gd name="connsiteX139" fmla="*/ 1133598 w 1394458"/>
                <a:gd name="connsiteY139" fmla="*/ 270418 h 273890"/>
                <a:gd name="connsiteX140" fmla="*/ 1091745 w 1394458"/>
                <a:gd name="connsiteY140" fmla="*/ 270418 h 273890"/>
                <a:gd name="connsiteX141" fmla="*/ 1091745 w 1394458"/>
                <a:gd name="connsiteY141" fmla="*/ 82495 h 273890"/>
                <a:gd name="connsiteX142" fmla="*/ 1131171 w 1394458"/>
                <a:gd name="connsiteY142" fmla="*/ 82495 h 273890"/>
                <a:gd name="connsiteX143" fmla="*/ 1133603 w 1394458"/>
                <a:gd name="connsiteY143" fmla="*/ 122617 h 273890"/>
                <a:gd name="connsiteX144" fmla="*/ 1126132 w 1394458"/>
                <a:gd name="connsiteY144" fmla="*/ 169509 h 273890"/>
                <a:gd name="connsiteX145" fmla="*/ 1112586 w 1394458"/>
                <a:gd name="connsiteY145" fmla="*/ 169334 h 273890"/>
                <a:gd name="connsiteX146" fmla="*/ 1118145 w 1394458"/>
                <a:gd name="connsiteY146" fmla="*/ 132690 h 273890"/>
                <a:gd name="connsiteX147" fmla="*/ 1133428 w 1394458"/>
                <a:gd name="connsiteY147" fmla="*/ 104032 h 273890"/>
                <a:gd name="connsiteX148" fmla="*/ 1157046 w 1394458"/>
                <a:gd name="connsiteY148" fmla="*/ 85623 h 273890"/>
                <a:gd name="connsiteX149" fmla="*/ 1187615 w 1394458"/>
                <a:gd name="connsiteY149" fmla="*/ 79022 h 273890"/>
                <a:gd name="connsiteX150" fmla="*/ 1212105 w 1394458"/>
                <a:gd name="connsiteY150" fmla="*/ 82840 h 273890"/>
                <a:gd name="connsiteX151" fmla="*/ 1231034 w 1394458"/>
                <a:gd name="connsiteY151" fmla="*/ 94825 h 273890"/>
                <a:gd name="connsiteX152" fmla="*/ 1243189 w 1394458"/>
                <a:gd name="connsiteY152" fmla="*/ 116532 h 273890"/>
                <a:gd name="connsiteX153" fmla="*/ 1247357 w 1394458"/>
                <a:gd name="connsiteY153" fmla="*/ 149008 h 273890"/>
                <a:gd name="connsiteX154" fmla="*/ 1247357 w 1394458"/>
                <a:gd name="connsiteY154" fmla="*/ 270408 h 273890"/>
                <a:gd name="connsiteX155" fmla="*/ 1205329 w 1394458"/>
                <a:gd name="connsiteY155" fmla="*/ 270408 h 273890"/>
                <a:gd name="connsiteX156" fmla="*/ 1205329 w 1394458"/>
                <a:gd name="connsiteY156" fmla="*/ 148833 h 273890"/>
                <a:gd name="connsiteX157" fmla="*/ 1201336 w 1394458"/>
                <a:gd name="connsiteY157" fmla="*/ 127471 h 273890"/>
                <a:gd name="connsiteX158" fmla="*/ 1190047 w 1394458"/>
                <a:gd name="connsiteY158" fmla="*/ 116182 h 273890"/>
                <a:gd name="connsiteX159" fmla="*/ 1171813 w 1394458"/>
                <a:gd name="connsiteY159" fmla="*/ 112709 h 273890"/>
                <a:gd name="connsiteX160" fmla="*/ 1152533 w 1394458"/>
                <a:gd name="connsiteY160" fmla="*/ 117223 h 273890"/>
                <a:gd name="connsiteX161" fmla="*/ 1138116 w 1394458"/>
                <a:gd name="connsiteY161" fmla="*/ 129552 h 273890"/>
                <a:gd name="connsiteX162" fmla="*/ 1129259 w 1394458"/>
                <a:gd name="connsiteY162" fmla="*/ 147617 h 273890"/>
                <a:gd name="connsiteX163" fmla="*/ 1126132 w 1394458"/>
                <a:gd name="connsiteY163" fmla="*/ 169499 h 273890"/>
                <a:gd name="connsiteX164" fmla="*/ 1346701 w 1394458"/>
                <a:gd name="connsiteY164" fmla="*/ 270418 h 273890"/>
                <a:gd name="connsiteX165" fmla="*/ 1304843 w 1394458"/>
                <a:gd name="connsiteY165" fmla="*/ 270418 h 273890"/>
                <a:gd name="connsiteX166" fmla="*/ 1304843 w 1394458"/>
                <a:gd name="connsiteY166" fmla="*/ 64436 h 273890"/>
                <a:gd name="connsiteX167" fmla="*/ 1312659 w 1394458"/>
                <a:gd name="connsiteY167" fmla="*/ 29178 h 273890"/>
                <a:gd name="connsiteX168" fmla="*/ 1335412 w 1394458"/>
                <a:gd name="connsiteY168" fmla="*/ 7471 h 273890"/>
                <a:gd name="connsiteX169" fmla="*/ 1370319 w 1394458"/>
                <a:gd name="connsiteY169" fmla="*/ 0 h 273890"/>
                <a:gd name="connsiteX170" fmla="*/ 1382649 w 1394458"/>
                <a:gd name="connsiteY170" fmla="*/ 871 h 273890"/>
                <a:gd name="connsiteX171" fmla="*/ 1394458 w 1394458"/>
                <a:gd name="connsiteY171" fmla="*/ 3127 h 273890"/>
                <a:gd name="connsiteX172" fmla="*/ 1393418 w 1394458"/>
                <a:gd name="connsiteY172" fmla="*/ 35433 h 273890"/>
                <a:gd name="connsiteX173" fmla="*/ 1385776 w 1394458"/>
                <a:gd name="connsiteY173" fmla="*/ 34217 h 273890"/>
                <a:gd name="connsiteX174" fmla="*/ 1377095 w 1394458"/>
                <a:gd name="connsiteY174" fmla="*/ 33867 h 273890"/>
                <a:gd name="connsiteX175" fmla="*/ 1360596 w 1394458"/>
                <a:gd name="connsiteY175" fmla="*/ 37515 h 273890"/>
                <a:gd name="connsiteX176" fmla="*/ 1350178 w 1394458"/>
                <a:gd name="connsiteY176" fmla="*/ 47763 h 273890"/>
                <a:gd name="connsiteX177" fmla="*/ 1346706 w 1394458"/>
                <a:gd name="connsiteY177" fmla="*/ 64436 h 273890"/>
                <a:gd name="connsiteX178" fmla="*/ 1346706 w 1394458"/>
                <a:gd name="connsiteY178" fmla="*/ 270418 h 273890"/>
                <a:gd name="connsiteX179" fmla="*/ 1385431 w 1394458"/>
                <a:gd name="connsiteY179" fmla="*/ 82500 h 273890"/>
                <a:gd name="connsiteX180" fmla="*/ 1385431 w 1394458"/>
                <a:gd name="connsiteY180" fmla="*/ 113069 h 273890"/>
                <a:gd name="connsiteX181" fmla="*/ 1276015 w 1394458"/>
                <a:gd name="connsiteY181" fmla="*/ 113069 h 273890"/>
                <a:gd name="connsiteX182" fmla="*/ 1276015 w 1394458"/>
                <a:gd name="connsiteY182" fmla="*/ 82500 h 273890"/>
                <a:gd name="connsiteX183" fmla="*/ 1385431 w 1394458"/>
                <a:gd name="connsiteY183" fmla="*/ 82500 h 2738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</a:cxnLst>
              <a:rect l="l" t="t" r="r" b="b"/>
              <a:pathLst>
                <a:path w="1394458" h="273890">
                  <a:moveTo>
                    <a:pt x="157354" y="188093"/>
                  </a:moveTo>
                  <a:lnTo>
                    <a:pt x="200773" y="188093"/>
                  </a:lnTo>
                  <a:cubicBezTo>
                    <a:pt x="199382" y="204650"/>
                    <a:pt x="194752" y="219411"/>
                    <a:pt x="186877" y="232383"/>
                  </a:cubicBezTo>
                  <a:cubicBezTo>
                    <a:pt x="179003" y="245233"/>
                    <a:pt x="167947" y="255365"/>
                    <a:pt x="153706" y="262777"/>
                  </a:cubicBezTo>
                  <a:cubicBezTo>
                    <a:pt x="139465" y="270185"/>
                    <a:pt x="122155" y="273891"/>
                    <a:pt x="101775" y="273891"/>
                  </a:cubicBezTo>
                  <a:cubicBezTo>
                    <a:pt x="86143" y="273891"/>
                    <a:pt x="72077" y="271114"/>
                    <a:pt x="59572" y="265554"/>
                  </a:cubicBezTo>
                  <a:cubicBezTo>
                    <a:pt x="47067" y="259878"/>
                    <a:pt x="36357" y="251892"/>
                    <a:pt x="27442" y="241585"/>
                  </a:cubicBezTo>
                  <a:cubicBezTo>
                    <a:pt x="18526" y="231167"/>
                    <a:pt x="11697" y="218604"/>
                    <a:pt x="6950" y="203901"/>
                  </a:cubicBezTo>
                  <a:cubicBezTo>
                    <a:pt x="2315" y="189192"/>
                    <a:pt x="0" y="172753"/>
                    <a:pt x="0" y="154572"/>
                  </a:cubicBezTo>
                  <a:lnTo>
                    <a:pt x="0" y="133555"/>
                  </a:lnTo>
                  <a:cubicBezTo>
                    <a:pt x="0" y="115379"/>
                    <a:pt x="2374" y="98935"/>
                    <a:pt x="7121" y="84231"/>
                  </a:cubicBezTo>
                  <a:cubicBezTo>
                    <a:pt x="11984" y="69528"/>
                    <a:pt x="18930" y="56965"/>
                    <a:pt x="27962" y="46542"/>
                  </a:cubicBezTo>
                  <a:cubicBezTo>
                    <a:pt x="36994" y="36007"/>
                    <a:pt x="47816" y="27957"/>
                    <a:pt x="60438" y="22403"/>
                  </a:cubicBezTo>
                  <a:cubicBezTo>
                    <a:pt x="73171" y="16843"/>
                    <a:pt x="87471" y="14066"/>
                    <a:pt x="103336" y="14066"/>
                  </a:cubicBezTo>
                  <a:cubicBezTo>
                    <a:pt x="123482" y="14066"/>
                    <a:pt x="140506" y="17772"/>
                    <a:pt x="154397" y="25180"/>
                  </a:cubicBezTo>
                  <a:cubicBezTo>
                    <a:pt x="168293" y="32592"/>
                    <a:pt x="179056" y="42836"/>
                    <a:pt x="186702" y="55919"/>
                  </a:cubicBezTo>
                  <a:cubicBezTo>
                    <a:pt x="194460" y="69003"/>
                    <a:pt x="199207" y="83998"/>
                    <a:pt x="200943" y="100900"/>
                  </a:cubicBezTo>
                  <a:lnTo>
                    <a:pt x="157524" y="100900"/>
                  </a:lnTo>
                  <a:cubicBezTo>
                    <a:pt x="156367" y="90015"/>
                    <a:pt x="153818" y="80695"/>
                    <a:pt x="149883" y="72938"/>
                  </a:cubicBezTo>
                  <a:cubicBezTo>
                    <a:pt x="146065" y="65180"/>
                    <a:pt x="140389" y="59275"/>
                    <a:pt x="132865" y="55224"/>
                  </a:cubicBezTo>
                  <a:cubicBezTo>
                    <a:pt x="125340" y="51055"/>
                    <a:pt x="115496" y="48969"/>
                    <a:pt x="103341" y="48969"/>
                  </a:cubicBezTo>
                  <a:cubicBezTo>
                    <a:pt x="93385" y="48969"/>
                    <a:pt x="84698" y="50822"/>
                    <a:pt x="77291" y="54528"/>
                  </a:cubicBezTo>
                  <a:cubicBezTo>
                    <a:pt x="69878" y="58234"/>
                    <a:pt x="63687" y="63677"/>
                    <a:pt x="58706" y="70856"/>
                  </a:cubicBezTo>
                  <a:cubicBezTo>
                    <a:pt x="53730" y="78035"/>
                    <a:pt x="49966" y="86892"/>
                    <a:pt x="47417" y="97427"/>
                  </a:cubicBezTo>
                  <a:cubicBezTo>
                    <a:pt x="44985" y="107845"/>
                    <a:pt x="43769" y="119771"/>
                    <a:pt x="43769" y="133205"/>
                  </a:cubicBezTo>
                  <a:lnTo>
                    <a:pt x="43769" y="154567"/>
                  </a:lnTo>
                  <a:cubicBezTo>
                    <a:pt x="43769" y="167305"/>
                    <a:pt x="44869" y="178881"/>
                    <a:pt x="47067" y="189304"/>
                  </a:cubicBezTo>
                  <a:cubicBezTo>
                    <a:pt x="49382" y="199611"/>
                    <a:pt x="52855" y="208468"/>
                    <a:pt x="57490" y="215875"/>
                  </a:cubicBezTo>
                  <a:cubicBezTo>
                    <a:pt x="62237" y="223288"/>
                    <a:pt x="68259" y="229017"/>
                    <a:pt x="75550" y="233069"/>
                  </a:cubicBezTo>
                  <a:cubicBezTo>
                    <a:pt x="82845" y="237120"/>
                    <a:pt x="91585" y="239149"/>
                    <a:pt x="101775" y="239149"/>
                  </a:cubicBezTo>
                  <a:cubicBezTo>
                    <a:pt x="114163" y="239149"/>
                    <a:pt x="124178" y="237179"/>
                    <a:pt x="131824" y="233244"/>
                  </a:cubicBezTo>
                  <a:cubicBezTo>
                    <a:pt x="139582" y="229304"/>
                    <a:pt x="145428" y="223575"/>
                    <a:pt x="149363" y="216050"/>
                  </a:cubicBezTo>
                  <a:cubicBezTo>
                    <a:pt x="153414" y="208409"/>
                    <a:pt x="156080" y="199090"/>
                    <a:pt x="157354" y="188088"/>
                  </a:cubicBezTo>
                  <a:close/>
                  <a:moveTo>
                    <a:pt x="313837" y="270418"/>
                  </a:moveTo>
                  <a:lnTo>
                    <a:pt x="259825" y="270418"/>
                  </a:lnTo>
                  <a:lnTo>
                    <a:pt x="260170" y="235856"/>
                  </a:lnTo>
                  <a:lnTo>
                    <a:pt x="313837" y="235856"/>
                  </a:lnTo>
                  <a:cubicBezTo>
                    <a:pt x="329469" y="235856"/>
                    <a:pt x="342553" y="232441"/>
                    <a:pt x="353088" y="225608"/>
                  </a:cubicBezTo>
                  <a:cubicBezTo>
                    <a:pt x="363740" y="218779"/>
                    <a:pt x="371731" y="208993"/>
                    <a:pt x="377057" y="196255"/>
                  </a:cubicBezTo>
                  <a:cubicBezTo>
                    <a:pt x="382499" y="183516"/>
                    <a:pt x="385218" y="168351"/>
                    <a:pt x="385218" y="150754"/>
                  </a:cubicBezTo>
                  <a:lnTo>
                    <a:pt x="385218" y="137033"/>
                  </a:lnTo>
                  <a:cubicBezTo>
                    <a:pt x="385218" y="123371"/>
                    <a:pt x="383657" y="111269"/>
                    <a:pt x="380530" y="100734"/>
                  </a:cubicBezTo>
                  <a:cubicBezTo>
                    <a:pt x="377519" y="90199"/>
                    <a:pt x="373005" y="81342"/>
                    <a:pt x="366984" y="74163"/>
                  </a:cubicBezTo>
                  <a:cubicBezTo>
                    <a:pt x="361079" y="66984"/>
                    <a:pt x="353784" y="61542"/>
                    <a:pt x="345102" y="57840"/>
                  </a:cubicBezTo>
                  <a:cubicBezTo>
                    <a:pt x="336532" y="54134"/>
                    <a:pt x="326634" y="52281"/>
                    <a:pt x="315403" y="52281"/>
                  </a:cubicBezTo>
                  <a:lnTo>
                    <a:pt x="258784" y="52281"/>
                  </a:lnTo>
                  <a:lnTo>
                    <a:pt x="258784" y="17544"/>
                  </a:lnTo>
                  <a:lnTo>
                    <a:pt x="315403" y="17544"/>
                  </a:lnTo>
                  <a:cubicBezTo>
                    <a:pt x="332193" y="17544"/>
                    <a:pt x="347534" y="20379"/>
                    <a:pt x="361429" y="26055"/>
                  </a:cubicBezTo>
                  <a:cubicBezTo>
                    <a:pt x="375325" y="31615"/>
                    <a:pt x="387310" y="39660"/>
                    <a:pt x="397383" y="50195"/>
                  </a:cubicBezTo>
                  <a:cubicBezTo>
                    <a:pt x="407572" y="60730"/>
                    <a:pt x="415389" y="73351"/>
                    <a:pt x="420826" y="88054"/>
                  </a:cubicBezTo>
                  <a:cubicBezTo>
                    <a:pt x="426269" y="102758"/>
                    <a:pt x="428988" y="119202"/>
                    <a:pt x="428988" y="137378"/>
                  </a:cubicBezTo>
                  <a:lnTo>
                    <a:pt x="428988" y="150754"/>
                  </a:lnTo>
                  <a:cubicBezTo>
                    <a:pt x="428988" y="168930"/>
                    <a:pt x="426269" y="185374"/>
                    <a:pt x="420826" y="200078"/>
                  </a:cubicBezTo>
                  <a:cubicBezTo>
                    <a:pt x="415384" y="214781"/>
                    <a:pt x="407568" y="227403"/>
                    <a:pt x="397383" y="237938"/>
                  </a:cubicBezTo>
                  <a:cubicBezTo>
                    <a:pt x="387193" y="248356"/>
                    <a:pt x="375038" y="256405"/>
                    <a:pt x="360909" y="262077"/>
                  </a:cubicBezTo>
                  <a:cubicBezTo>
                    <a:pt x="346896" y="267636"/>
                    <a:pt x="331211" y="270413"/>
                    <a:pt x="313842" y="270413"/>
                  </a:cubicBezTo>
                  <a:close/>
                  <a:moveTo>
                    <a:pt x="283964" y="17544"/>
                  </a:moveTo>
                  <a:lnTo>
                    <a:pt x="283964" y="270418"/>
                  </a:lnTo>
                  <a:lnTo>
                    <a:pt x="240369" y="270418"/>
                  </a:lnTo>
                  <a:lnTo>
                    <a:pt x="240369" y="17544"/>
                  </a:lnTo>
                  <a:lnTo>
                    <a:pt x="283964" y="17544"/>
                  </a:lnTo>
                  <a:close/>
                  <a:moveTo>
                    <a:pt x="519299" y="17544"/>
                  </a:moveTo>
                  <a:lnTo>
                    <a:pt x="519299" y="270418"/>
                  </a:lnTo>
                  <a:lnTo>
                    <a:pt x="475705" y="270418"/>
                  </a:lnTo>
                  <a:lnTo>
                    <a:pt x="475705" y="17544"/>
                  </a:lnTo>
                  <a:lnTo>
                    <a:pt x="519299" y="17544"/>
                  </a:lnTo>
                  <a:close/>
                  <a:moveTo>
                    <a:pt x="811424" y="188093"/>
                  </a:moveTo>
                  <a:lnTo>
                    <a:pt x="854843" y="188093"/>
                  </a:lnTo>
                  <a:cubicBezTo>
                    <a:pt x="853452" y="204650"/>
                    <a:pt x="848822" y="219411"/>
                    <a:pt x="840947" y="232383"/>
                  </a:cubicBezTo>
                  <a:cubicBezTo>
                    <a:pt x="833073" y="245233"/>
                    <a:pt x="822017" y="255365"/>
                    <a:pt x="807776" y="262777"/>
                  </a:cubicBezTo>
                  <a:cubicBezTo>
                    <a:pt x="793535" y="270185"/>
                    <a:pt x="776225" y="273891"/>
                    <a:pt x="755845" y="273891"/>
                  </a:cubicBezTo>
                  <a:cubicBezTo>
                    <a:pt x="740213" y="273891"/>
                    <a:pt x="726147" y="271114"/>
                    <a:pt x="713642" y="265554"/>
                  </a:cubicBezTo>
                  <a:cubicBezTo>
                    <a:pt x="701137" y="259878"/>
                    <a:pt x="690427" y="251892"/>
                    <a:pt x="681512" y="241585"/>
                  </a:cubicBezTo>
                  <a:cubicBezTo>
                    <a:pt x="672596" y="231167"/>
                    <a:pt x="665768" y="218604"/>
                    <a:pt x="661021" y="203901"/>
                  </a:cubicBezTo>
                  <a:cubicBezTo>
                    <a:pt x="656390" y="189197"/>
                    <a:pt x="654075" y="172753"/>
                    <a:pt x="654075" y="154577"/>
                  </a:cubicBezTo>
                  <a:lnTo>
                    <a:pt x="654075" y="133560"/>
                  </a:lnTo>
                  <a:cubicBezTo>
                    <a:pt x="654075" y="115384"/>
                    <a:pt x="656449" y="98940"/>
                    <a:pt x="661196" y="84236"/>
                  </a:cubicBezTo>
                  <a:cubicBezTo>
                    <a:pt x="666059" y="69533"/>
                    <a:pt x="673005" y="56970"/>
                    <a:pt x="682037" y="46547"/>
                  </a:cubicBezTo>
                  <a:cubicBezTo>
                    <a:pt x="691069" y="36012"/>
                    <a:pt x="701891" y="27962"/>
                    <a:pt x="714513" y="22408"/>
                  </a:cubicBezTo>
                  <a:cubicBezTo>
                    <a:pt x="727246" y="16848"/>
                    <a:pt x="741546" y="14071"/>
                    <a:pt x="757411" y="14071"/>
                  </a:cubicBezTo>
                  <a:cubicBezTo>
                    <a:pt x="777557" y="14071"/>
                    <a:pt x="794581" y="17777"/>
                    <a:pt x="808472" y="25185"/>
                  </a:cubicBezTo>
                  <a:cubicBezTo>
                    <a:pt x="822368" y="32597"/>
                    <a:pt x="833131" y="42840"/>
                    <a:pt x="840777" y="55924"/>
                  </a:cubicBezTo>
                  <a:cubicBezTo>
                    <a:pt x="848535" y="69008"/>
                    <a:pt x="853282" y="84003"/>
                    <a:pt x="855018" y="100905"/>
                  </a:cubicBezTo>
                  <a:lnTo>
                    <a:pt x="811599" y="100905"/>
                  </a:lnTo>
                  <a:cubicBezTo>
                    <a:pt x="810442" y="90019"/>
                    <a:pt x="807893" y="80700"/>
                    <a:pt x="803958" y="72943"/>
                  </a:cubicBezTo>
                  <a:cubicBezTo>
                    <a:pt x="800140" y="65185"/>
                    <a:pt x="794464" y="59280"/>
                    <a:pt x="786940" y="55229"/>
                  </a:cubicBezTo>
                  <a:cubicBezTo>
                    <a:pt x="779415" y="51060"/>
                    <a:pt x="769571" y="48974"/>
                    <a:pt x="757416" y="48974"/>
                  </a:cubicBezTo>
                  <a:cubicBezTo>
                    <a:pt x="747460" y="48974"/>
                    <a:pt x="738773" y="50827"/>
                    <a:pt x="731366" y="54533"/>
                  </a:cubicBezTo>
                  <a:cubicBezTo>
                    <a:pt x="723953" y="58239"/>
                    <a:pt x="717762" y="63682"/>
                    <a:pt x="712781" y="70861"/>
                  </a:cubicBezTo>
                  <a:cubicBezTo>
                    <a:pt x="707801" y="78040"/>
                    <a:pt x="704041" y="86897"/>
                    <a:pt x="701492" y="97432"/>
                  </a:cubicBezTo>
                  <a:cubicBezTo>
                    <a:pt x="699060" y="107850"/>
                    <a:pt x="697844" y="119776"/>
                    <a:pt x="697844" y="133210"/>
                  </a:cubicBezTo>
                  <a:lnTo>
                    <a:pt x="697844" y="154572"/>
                  </a:lnTo>
                  <a:cubicBezTo>
                    <a:pt x="697844" y="167310"/>
                    <a:pt x="698944" y="178886"/>
                    <a:pt x="701142" y="189309"/>
                  </a:cubicBezTo>
                  <a:cubicBezTo>
                    <a:pt x="703457" y="199616"/>
                    <a:pt x="706930" y="208473"/>
                    <a:pt x="711565" y="215880"/>
                  </a:cubicBezTo>
                  <a:cubicBezTo>
                    <a:pt x="716312" y="223293"/>
                    <a:pt x="722334" y="229022"/>
                    <a:pt x="729629" y="233074"/>
                  </a:cubicBezTo>
                  <a:cubicBezTo>
                    <a:pt x="736925" y="237125"/>
                    <a:pt x="745665" y="239154"/>
                    <a:pt x="755855" y="239154"/>
                  </a:cubicBezTo>
                  <a:cubicBezTo>
                    <a:pt x="768243" y="239154"/>
                    <a:pt x="778258" y="237184"/>
                    <a:pt x="785904" y="233249"/>
                  </a:cubicBezTo>
                  <a:cubicBezTo>
                    <a:pt x="793661" y="229309"/>
                    <a:pt x="799508" y="223580"/>
                    <a:pt x="803443" y="216055"/>
                  </a:cubicBezTo>
                  <a:cubicBezTo>
                    <a:pt x="807494" y="208414"/>
                    <a:pt x="810159" y="199095"/>
                    <a:pt x="811434" y="188093"/>
                  </a:cubicBezTo>
                  <a:close/>
                  <a:moveTo>
                    <a:pt x="882285" y="178541"/>
                  </a:moveTo>
                  <a:lnTo>
                    <a:pt x="882285" y="174548"/>
                  </a:lnTo>
                  <a:cubicBezTo>
                    <a:pt x="882285" y="161002"/>
                    <a:pt x="884255" y="148439"/>
                    <a:pt x="888190" y="136858"/>
                  </a:cubicBezTo>
                  <a:cubicBezTo>
                    <a:pt x="892124" y="125165"/>
                    <a:pt x="897800" y="115034"/>
                    <a:pt x="905208" y="106464"/>
                  </a:cubicBezTo>
                  <a:cubicBezTo>
                    <a:pt x="912732" y="97782"/>
                    <a:pt x="921881" y="91065"/>
                    <a:pt x="932650" y="86318"/>
                  </a:cubicBezTo>
                  <a:cubicBezTo>
                    <a:pt x="943535" y="81454"/>
                    <a:pt x="955806" y="79022"/>
                    <a:pt x="969469" y="79022"/>
                  </a:cubicBezTo>
                  <a:cubicBezTo>
                    <a:pt x="983131" y="79022"/>
                    <a:pt x="995519" y="81454"/>
                    <a:pt x="1006288" y="86318"/>
                  </a:cubicBezTo>
                  <a:cubicBezTo>
                    <a:pt x="1017173" y="91065"/>
                    <a:pt x="1026375" y="97782"/>
                    <a:pt x="1033899" y="106464"/>
                  </a:cubicBezTo>
                  <a:cubicBezTo>
                    <a:pt x="1041424" y="115034"/>
                    <a:pt x="1047158" y="125165"/>
                    <a:pt x="1051093" y="136858"/>
                  </a:cubicBezTo>
                  <a:cubicBezTo>
                    <a:pt x="1055028" y="148434"/>
                    <a:pt x="1056998" y="160997"/>
                    <a:pt x="1056998" y="174548"/>
                  </a:cubicBezTo>
                  <a:lnTo>
                    <a:pt x="1056998" y="178541"/>
                  </a:lnTo>
                  <a:cubicBezTo>
                    <a:pt x="1056998" y="192086"/>
                    <a:pt x="1055028" y="204650"/>
                    <a:pt x="1051093" y="216226"/>
                  </a:cubicBezTo>
                  <a:cubicBezTo>
                    <a:pt x="1047153" y="227806"/>
                    <a:pt x="1041424" y="237938"/>
                    <a:pt x="1033899" y="246619"/>
                  </a:cubicBezTo>
                  <a:cubicBezTo>
                    <a:pt x="1026375" y="255189"/>
                    <a:pt x="1017226" y="261902"/>
                    <a:pt x="1006458" y="266765"/>
                  </a:cubicBezTo>
                  <a:cubicBezTo>
                    <a:pt x="995689" y="271512"/>
                    <a:pt x="983476" y="273886"/>
                    <a:pt x="969814" y="273886"/>
                  </a:cubicBezTo>
                  <a:cubicBezTo>
                    <a:pt x="956151" y="273886"/>
                    <a:pt x="943705" y="271512"/>
                    <a:pt x="932820" y="266765"/>
                  </a:cubicBezTo>
                  <a:cubicBezTo>
                    <a:pt x="922051" y="261902"/>
                    <a:pt x="912907" y="255189"/>
                    <a:pt x="905378" y="246619"/>
                  </a:cubicBezTo>
                  <a:cubicBezTo>
                    <a:pt x="897854" y="237938"/>
                    <a:pt x="892119" y="227806"/>
                    <a:pt x="888185" y="216226"/>
                  </a:cubicBezTo>
                  <a:cubicBezTo>
                    <a:pt x="884245" y="204650"/>
                    <a:pt x="882280" y="192086"/>
                    <a:pt x="882280" y="178541"/>
                  </a:cubicBezTo>
                  <a:close/>
                  <a:moveTo>
                    <a:pt x="924143" y="174548"/>
                  </a:moveTo>
                  <a:lnTo>
                    <a:pt x="924143" y="178541"/>
                  </a:lnTo>
                  <a:cubicBezTo>
                    <a:pt x="924143" y="186994"/>
                    <a:pt x="925013" y="194980"/>
                    <a:pt x="926750" y="202510"/>
                  </a:cubicBezTo>
                  <a:cubicBezTo>
                    <a:pt x="928486" y="210034"/>
                    <a:pt x="931210" y="216634"/>
                    <a:pt x="934911" y="222310"/>
                  </a:cubicBezTo>
                  <a:cubicBezTo>
                    <a:pt x="938617" y="227981"/>
                    <a:pt x="943365" y="232441"/>
                    <a:pt x="949152" y="235681"/>
                  </a:cubicBezTo>
                  <a:cubicBezTo>
                    <a:pt x="954940" y="238925"/>
                    <a:pt x="961832" y="240545"/>
                    <a:pt x="969819" y="240545"/>
                  </a:cubicBezTo>
                  <a:cubicBezTo>
                    <a:pt x="977805" y="240545"/>
                    <a:pt x="984293" y="238925"/>
                    <a:pt x="989965" y="235681"/>
                  </a:cubicBezTo>
                  <a:cubicBezTo>
                    <a:pt x="995753" y="232441"/>
                    <a:pt x="1000500" y="227981"/>
                    <a:pt x="1004206" y="222310"/>
                  </a:cubicBezTo>
                  <a:cubicBezTo>
                    <a:pt x="1007912" y="216634"/>
                    <a:pt x="1010631" y="210039"/>
                    <a:pt x="1012367" y="202510"/>
                  </a:cubicBezTo>
                  <a:cubicBezTo>
                    <a:pt x="1014220" y="194985"/>
                    <a:pt x="1015145" y="186994"/>
                    <a:pt x="1015145" y="178541"/>
                  </a:cubicBezTo>
                  <a:lnTo>
                    <a:pt x="1015145" y="174548"/>
                  </a:lnTo>
                  <a:cubicBezTo>
                    <a:pt x="1015145" y="166211"/>
                    <a:pt x="1014220" y="158336"/>
                    <a:pt x="1012367" y="150929"/>
                  </a:cubicBezTo>
                  <a:cubicBezTo>
                    <a:pt x="1010631" y="143405"/>
                    <a:pt x="1007854" y="136746"/>
                    <a:pt x="1004031" y="130958"/>
                  </a:cubicBezTo>
                  <a:cubicBezTo>
                    <a:pt x="1000325" y="125170"/>
                    <a:pt x="995578" y="120652"/>
                    <a:pt x="989790" y="117412"/>
                  </a:cubicBezTo>
                  <a:cubicBezTo>
                    <a:pt x="984118" y="114056"/>
                    <a:pt x="977343" y="112373"/>
                    <a:pt x="969469" y="112373"/>
                  </a:cubicBezTo>
                  <a:cubicBezTo>
                    <a:pt x="961594" y="112373"/>
                    <a:pt x="954765" y="114051"/>
                    <a:pt x="948977" y="117412"/>
                  </a:cubicBezTo>
                  <a:cubicBezTo>
                    <a:pt x="943301" y="120657"/>
                    <a:pt x="938613" y="125170"/>
                    <a:pt x="934911" y="130958"/>
                  </a:cubicBezTo>
                  <a:cubicBezTo>
                    <a:pt x="931205" y="136746"/>
                    <a:pt x="928486" y="143405"/>
                    <a:pt x="926750" y="150929"/>
                  </a:cubicBezTo>
                  <a:cubicBezTo>
                    <a:pt x="925013" y="158336"/>
                    <a:pt x="924143" y="166211"/>
                    <a:pt x="924143" y="174548"/>
                  </a:cubicBezTo>
                  <a:close/>
                  <a:moveTo>
                    <a:pt x="1133598" y="122617"/>
                  </a:moveTo>
                  <a:lnTo>
                    <a:pt x="1133598" y="270418"/>
                  </a:lnTo>
                  <a:lnTo>
                    <a:pt x="1091745" y="270418"/>
                  </a:lnTo>
                  <a:lnTo>
                    <a:pt x="1091745" y="82495"/>
                  </a:lnTo>
                  <a:lnTo>
                    <a:pt x="1131171" y="82495"/>
                  </a:lnTo>
                  <a:lnTo>
                    <a:pt x="1133603" y="122617"/>
                  </a:lnTo>
                  <a:close/>
                  <a:moveTo>
                    <a:pt x="1126132" y="169509"/>
                  </a:moveTo>
                  <a:lnTo>
                    <a:pt x="1112586" y="169334"/>
                  </a:lnTo>
                  <a:cubicBezTo>
                    <a:pt x="1112703" y="156016"/>
                    <a:pt x="1114556" y="143803"/>
                    <a:pt x="1118145" y="132690"/>
                  </a:cubicBezTo>
                  <a:cubicBezTo>
                    <a:pt x="1121852" y="121576"/>
                    <a:pt x="1126944" y="112023"/>
                    <a:pt x="1133428" y="104032"/>
                  </a:cubicBezTo>
                  <a:cubicBezTo>
                    <a:pt x="1140028" y="96046"/>
                    <a:pt x="1147902" y="89908"/>
                    <a:pt x="1157046" y="85623"/>
                  </a:cubicBezTo>
                  <a:cubicBezTo>
                    <a:pt x="1166195" y="81226"/>
                    <a:pt x="1176385" y="79022"/>
                    <a:pt x="1187615" y="79022"/>
                  </a:cubicBezTo>
                  <a:cubicBezTo>
                    <a:pt x="1196647" y="79022"/>
                    <a:pt x="1204809" y="80297"/>
                    <a:pt x="1212105" y="82840"/>
                  </a:cubicBezTo>
                  <a:cubicBezTo>
                    <a:pt x="1219517" y="85272"/>
                    <a:pt x="1225825" y="89265"/>
                    <a:pt x="1231034" y="94825"/>
                  </a:cubicBezTo>
                  <a:cubicBezTo>
                    <a:pt x="1236360" y="100384"/>
                    <a:pt x="1240412" y="107617"/>
                    <a:pt x="1243189" y="116532"/>
                  </a:cubicBezTo>
                  <a:cubicBezTo>
                    <a:pt x="1245966" y="125331"/>
                    <a:pt x="1247357" y="136157"/>
                    <a:pt x="1247357" y="149008"/>
                  </a:cubicBezTo>
                  <a:lnTo>
                    <a:pt x="1247357" y="270408"/>
                  </a:lnTo>
                  <a:lnTo>
                    <a:pt x="1205329" y="270408"/>
                  </a:lnTo>
                  <a:lnTo>
                    <a:pt x="1205329" y="148833"/>
                  </a:lnTo>
                  <a:cubicBezTo>
                    <a:pt x="1205329" y="139800"/>
                    <a:pt x="1203996" y="132680"/>
                    <a:pt x="1201336" y="127471"/>
                  </a:cubicBezTo>
                  <a:cubicBezTo>
                    <a:pt x="1198787" y="122145"/>
                    <a:pt x="1195028" y="118380"/>
                    <a:pt x="1190047" y="116182"/>
                  </a:cubicBezTo>
                  <a:cubicBezTo>
                    <a:pt x="1185183" y="113867"/>
                    <a:pt x="1179104" y="112709"/>
                    <a:pt x="1171813" y="112709"/>
                  </a:cubicBezTo>
                  <a:cubicBezTo>
                    <a:pt x="1164522" y="112709"/>
                    <a:pt x="1158209" y="114212"/>
                    <a:pt x="1152533" y="117223"/>
                  </a:cubicBezTo>
                  <a:cubicBezTo>
                    <a:pt x="1146861" y="120233"/>
                    <a:pt x="1142056" y="124343"/>
                    <a:pt x="1138116" y="129552"/>
                  </a:cubicBezTo>
                  <a:cubicBezTo>
                    <a:pt x="1134293" y="134762"/>
                    <a:pt x="1131341" y="140783"/>
                    <a:pt x="1129259" y="147617"/>
                  </a:cubicBezTo>
                  <a:cubicBezTo>
                    <a:pt x="1127178" y="154445"/>
                    <a:pt x="1126132" y="161741"/>
                    <a:pt x="1126132" y="169499"/>
                  </a:cubicBezTo>
                  <a:close/>
                  <a:moveTo>
                    <a:pt x="1346701" y="270418"/>
                  </a:moveTo>
                  <a:lnTo>
                    <a:pt x="1304843" y="270418"/>
                  </a:lnTo>
                  <a:lnTo>
                    <a:pt x="1304843" y="64436"/>
                  </a:lnTo>
                  <a:cubicBezTo>
                    <a:pt x="1304843" y="50428"/>
                    <a:pt x="1307450" y="38672"/>
                    <a:pt x="1312659" y="29178"/>
                  </a:cubicBezTo>
                  <a:cubicBezTo>
                    <a:pt x="1317985" y="19567"/>
                    <a:pt x="1325567" y="12330"/>
                    <a:pt x="1335412" y="7471"/>
                  </a:cubicBezTo>
                  <a:cubicBezTo>
                    <a:pt x="1345256" y="2490"/>
                    <a:pt x="1356890" y="0"/>
                    <a:pt x="1370319" y="0"/>
                  </a:cubicBezTo>
                  <a:cubicBezTo>
                    <a:pt x="1374488" y="0"/>
                    <a:pt x="1378597" y="292"/>
                    <a:pt x="1382649" y="871"/>
                  </a:cubicBezTo>
                  <a:cubicBezTo>
                    <a:pt x="1386701" y="1333"/>
                    <a:pt x="1390640" y="2087"/>
                    <a:pt x="1394458" y="3127"/>
                  </a:cubicBezTo>
                  <a:lnTo>
                    <a:pt x="1393418" y="35433"/>
                  </a:lnTo>
                  <a:cubicBezTo>
                    <a:pt x="1391102" y="34854"/>
                    <a:pt x="1388554" y="34450"/>
                    <a:pt x="1385776" y="34217"/>
                  </a:cubicBezTo>
                  <a:cubicBezTo>
                    <a:pt x="1383116" y="33983"/>
                    <a:pt x="1380217" y="33867"/>
                    <a:pt x="1377095" y="33867"/>
                  </a:cubicBezTo>
                  <a:cubicBezTo>
                    <a:pt x="1370728" y="33867"/>
                    <a:pt x="1365227" y="35083"/>
                    <a:pt x="1360596" y="37515"/>
                  </a:cubicBezTo>
                  <a:cubicBezTo>
                    <a:pt x="1356083" y="39830"/>
                    <a:pt x="1352605" y="43244"/>
                    <a:pt x="1350178" y="47763"/>
                  </a:cubicBezTo>
                  <a:cubicBezTo>
                    <a:pt x="1347863" y="52281"/>
                    <a:pt x="1346706" y="57836"/>
                    <a:pt x="1346706" y="64436"/>
                  </a:cubicBezTo>
                  <a:lnTo>
                    <a:pt x="1346706" y="270418"/>
                  </a:lnTo>
                  <a:close/>
                  <a:moveTo>
                    <a:pt x="1385431" y="82500"/>
                  </a:moveTo>
                  <a:lnTo>
                    <a:pt x="1385431" y="113069"/>
                  </a:lnTo>
                  <a:lnTo>
                    <a:pt x="1276015" y="113069"/>
                  </a:lnTo>
                  <a:lnTo>
                    <a:pt x="1276015" y="82500"/>
                  </a:lnTo>
                  <a:lnTo>
                    <a:pt x="1385431" y="82500"/>
                  </a:lnTo>
                  <a:close/>
                </a:path>
              </a:pathLst>
            </a:custGeom>
            <a:solidFill>
              <a:schemeClr val="bg1"/>
            </a:solidFill>
            <a:ln w="48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2" name="Полилиния: фигура 51">
              <a:extLst>
                <a:ext uri="{FF2B5EF4-FFF2-40B4-BE49-F238E27FC236}">
                  <a16:creationId xmlns:a16="http://schemas.microsoft.com/office/drawing/2014/main" id="{C61822EF-6A4E-4DB4-B14F-B5F9207296A5}"/>
                </a:ext>
              </a:extLst>
            </p:cNvPr>
            <p:cNvSpPr/>
            <p:nvPr/>
          </p:nvSpPr>
          <p:spPr>
            <a:xfrm>
              <a:off x="8902858" y="5892336"/>
              <a:ext cx="774600" cy="259834"/>
            </a:xfrm>
            <a:custGeom>
              <a:avLst/>
              <a:gdLst>
                <a:gd name="connsiteX0" fmla="*/ 174372 w 774600"/>
                <a:gd name="connsiteY0" fmla="*/ 223015 h 259834"/>
                <a:gd name="connsiteX1" fmla="*/ 174372 w 774600"/>
                <a:gd name="connsiteY1" fmla="*/ 256362 h 259834"/>
                <a:gd name="connsiteX2" fmla="*/ 4859 w 774600"/>
                <a:gd name="connsiteY2" fmla="*/ 256362 h 259834"/>
                <a:gd name="connsiteX3" fmla="*/ 4859 w 774600"/>
                <a:gd name="connsiteY3" fmla="*/ 227704 h 259834"/>
                <a:gd name="connsiteX4" fmla="*/ 87193 w 774600"/>
                <a:gd name="connsiteY4" fmla="*/ 137913 h 259834"/>
                <a:gd name="connsiteX5" fmla="*/ 108541 w 774600"/>
                <a:gd name="connsiteY5" fmla="*/ 111513 h 259834"/>
                <a:gd name="connsiteX6" fmla="*/ 119499 w 774600"/>
                <a:gd name="connsiteY6" fmla="*/ 91542 h 259834"/>
                <a:gd name="connsiteX7" fmla="*/ 122797 w 774600"/>
                <a:gd name="connsiteY7" fmla="*/ 73998 h 259834"/>
                <a:gd name="connsiteX8" fmla="*/ 118278 w 774600"/>
                <a:gd name="connsiteY8" fmla="*/ 52981 h 259834"/>
                <a:gd name="connsiteX9" fmla="*/ 105413 w 774600"/>
                <a:gd name="connsiteY9" fmla="*/ 38565 h 259834"/>
                <a:gd name="connsiteX10" fmla="*/ 84752 w 774600"/>
                <a:gd name="connsiteY10" fmla="*/ 33181 h 259834"/>
                <a:gd name="connsiteX11" fmla="*/ 61138 w 774600"/>
                <a:gd name="connsiteY11" fmla="*/ 39261 h 259834"/>
                <a:gd name="connsiteX12" fmla="*/ 46712 w 774600"/>
                <a:gd name="connsiteY12" fmla="*/ 56109 h 259834"/>
                <a:gd name="connsiteX13" fmla="*/ 41853 w 774600"/>
                <a:gd name="connsiteY13" fmla="*/ 80423 h 259834"/>
                <a:gd name="connsiteX14" fmla="*/ 0 w 774600"/>
                <a:gd name="connsiteY14" fmla="*/ 80423 h 259834"/>
                <a:gd name="connsiteX15" fmla="*/ 10083 w 774600"/>
                <a:gd name="connsiteY15" fmla="*/ 40131 h 259834"/>
                <a:gd name="connsiteX16" fmla="*/ 39261 w 774600"/>
                <a:gd name="connsiteY16" fmla="*/ 10953 h 259834"/>
                <a:gd name="connsiteX17" fmla="*/ 85272 w 774600"/>
                <a:gd name="connsiteY17" fmla="*/ 10 h 259834"/>
                <a:gd name="connsiteX18" fmla="*/ 128346 w 774600"/>
                <a:gd name="connsiteY18" fmla="*/ 8521 h 259834"/>
                <a:gd name="connsiteX19" fmla="*/ 155277 w 774600"/>
                <a:gd name="connsiteY19" fmla="*/ 32660 h 259834"/>
                <a:gd name="connsiteX20" fmla="*/ 164654 w 774600"/>
                <a:gd name="connsiteY20" fmla="*/ 69655 h 259834"/>
                <a:gd name="connsiteX21" fmla="*/ 160827 w 774600"/>
                <a:gd name="connsiteY21" fmla="*/ 93103 h 259834"/>
                <a:gd name="connsiteX22" fmla="*/ 149888 w 774600"/>
                <a:gd name="connsiteY22" fmla="*/ 116376 h 259834"/>
                <a:gd name="connsiteX23" fmla="*/ 133400 w 774600"/>
                <a:gd name="connsiteY23" fmla="*/ 139475 h 259834"/>
                <a:gd name="connsiteX24" fmla="*/ 112378 w 774600"/>
                <a:gd name="connsiteY24" fmla="*/ 162748 h 259834"/>
                <a:gd name="connsiteX25" fmla="*/ 57675 w 774600"/>
                <a:gd name="connsiteY25" fmla="*/ 223015 h 259834"/>
                <a:gd name="connsiteX26" fmla="*/ 174377 w 774600"/>
                <a:gd name="connsiteY26" fmla="*/ 223015 h 259834"/>
                <a:gd name="connsiteX27" fmla="*/ 371848 w 774600"/>
                <a:gd name="connsiteY27" fmla="*/ 108735 h 259834"/>
                <a:gd name="connsiteX28" fmla="*/ 371848 w 774600"/>
                <a:gd name="connsiteY28" fmla="*/ 150068 h 259834"/>
                <a:gd name="connsiteX29" fmla="*/ 365938 w 774600"/>
                <a:gd name="connsiteY29" fmla="*/ 200783 h 259834"/>
                <a:gd name="connsiteX30" fmla="*/ 349260 w 774600"/>
                <a:gd name="connsiteY30" fmla="*/ 234650 h 259834"/>
                <a:gd name="connsiteX31" fmla="*/ 323035 w 774600"/>
                <a:gd name="connsiteY31" fmla="*/ 253755 h 259834"/>
                <a:gd name="connsiteX32" fmla="*/ 289168 w 774600"/>
                <a:gd name="connsiteY32" fmla="*/ 259834 h 259834"/>
                <a:gd name="connsiteX33" fmla="*/ 261381 w 774600"/>
                <a:gd name="connsiteY33" fmla="*/ 256011 h 259834"/>
                <a:gd name="connsiteX34" fmla="*/ 238468 w 774600"/>
                <a:gd name="connsiteY34" fmla="*/ 244027 h 259834"/>
                <a:gd name="connsiteX35" fmla="*/ 220914 w 774600"/>
                <a:gd name="connsiteY35" fmla="*/ 223011 h 259834"/>
                <a:gd name="connsiteX36" fmla="*/ 209800 w 774600"/>
                <a:gd name="connsiteY36" fmla="*/ 191921 h 259834"/>
                <a:gd name="connsiteX37" fmla="*/ 205972 w 774600"/>
                <a:gd name="connsiteY37" fmla="*/ 150063 h 259834"/>
                <a:gd name="connsiteX38" fmla="*/ 205972 w 774600"/>
                <a:gd name="connsiteY38" fmla="*/ 108730 h 259834"/>
                <a:gd name="connsiteX39" fmla="*/ 211882 w 774600"/>
                <a:gd name="connsiteY39" fmla="*/ 58366 h 259834"/>
                <a:gd name="connsiteX40" fmla="*/ 228730 w 774600"/>
                <a:gd name="connsiteY40" fmla="*/ 24844 h 259834"/>
                <a:gd name="connsiteX41" fmla="*/ 254786 w 774600"/>
                <a:gd name="connsiteY41" fmla="*/ 5914 h 259834"/>
                <a:gd name="connsiteX42" fmla="*/ 288827 w 774600"/>
                <a:gd name="connsiteY42" fmla="*/ 10 h 259834"/>
                <a:gd name="connsiteX43" fmla="*/ 316614 w 774600"/>
                <a:gd name="connsiteY43" fmla="*/ 3833 h 259834"/>
                <a:gd name="connsiteX44" fmla="*/ 339542 w 774600"/>
                <a:gd name="connsiteY44" fmla="*/ 15467 h 259834"/>
                <a:gd name="connsiteX45" fmla="*/ 356906 w 774600"/>
                <a:gd name="connsiteY45" fmla="*/ 36308 h 259834"/>
                <a:gd name="connsiteX46" fmla="*/ 368020 w 774600"/>
                <a:gd name="connsiteY46" fmla="*/ 67048 h 259834"/>
                <a:gd name="connsiteX47" fmla="*/ 371848 w 774600"/>
                <a:gd name="connsiteY47" fmla="*/ 108730 h 259834"/>
                <a:gd name="connsiteX48" fmla="*/ 329995 w 774600"/>
                <a:gd name="connsiteY48" fmla="*/ 155978 h 259834"/>
                <a:gd name="connsiteX49" fmla="*/ 329995 w 774600"/>
                <a:gd name="connsiteY49" fmla="*/ 102485 h 259834"/>
                <a:gd name="connsiteX50" fmla="*/ 328258 w 774600"/>
                <a:gd name="connsiteY50" fmla="*/ 75914 h 259834"/>
                <a:gd name="connsiteX51" fmla="*/ 323039 w 774600"/>
                <a:gd name="connsiteY51" fmla="*/ 56289 h 259834"/>
                <a:gd name="connsiteX52" fmla="*/ 314708 w 774600"/>
                <a:gd name="connsiteY52" fmla="*/ 43088 h 259834"/>
                <a:gd name="connsiteX53" fmla="*/ 303234 w 774600"/>
                <a:gd name="connsiteY53" fmla="*/ 35623 h 259834"/>
                <a:gd name="connsiteX54" fmla="*/ 288823 w 774600"/>
                <a:gd name="connsiteY54" fmla="*/ 33191 h 259834"/>
                <a:gd name="connsiteX55" fmla="*/ 271459 w 774600"/>
                <a:gd name="connsiteY55" fmla="*/ 37014 h 259834"/>
                <a:gd name="connsiteX56" fmla="*/ 258613 w 774600"/>
                <a:gd name="connsiteY56" fmla="*/ 48823 h 259834"/>
                <a:gd name="connsiteX57" fmla="*/ 250608 w 774600"/>
                <a:gd name="connsiteY57" fmla="*/ 70360 h 259834"/>
                <a:gd name="connsiteX58" fmla="*/ 248015 w 774600"/>
                <a:gd name="connsiteY58" fmla="*/ 102490 h 259834"/>
                <a:gd name="connsiteX59" fmla="*/ 248015 w 774600"/>
                <a:gd name="connsiteY59" fmla="*/ 155982 h 259834"/>
                <a:gd name="connsiteX60" fmla="*/ 249752 w 774600"/>
                <a:gd name="connsiteY60" fmla="*/ 182904 h 259834"/>
                <a:gd name="connsiteX61" fmla="*/ 254956 w 774600"/>
                <a:gd name="connsiteY61" fmla="*/ 202874 h 259834"/>
                <a:gd name="connsiteX62" fmla="*/ 263302 w 774600"/>
                <a:gd name="connsiteY62" fmla="*/ 216420 h 259834"/>
                <a:gd name="connsiteX63" fmla="*/ 274756 w 774600"/>
                <a:gd name="connsiteY63" fmla="*/ 224061 h 259834"/>
                <a:gd name="connsiteX64" fmla="*/ 289168 w 774600"/>
                <a:gd name="connsiteY64" fmla="*/ 226493 h 259834"/>
                <a:gd name="connsiteX65" fmla="*/ 306721 w 774600"/>
                <a:gd name="connsiteY65" fmla="*/ 222670 h 259834"/>
                <a:gd name="connsiteX66" fmla="*/ 319567 w 774600"/>
                <a:gd name="connsiteY66" fmla="*/ 210511 h 259834"/>
                <a:gd name="connsiteX67" fmla="*/ 327383 w 774600"/>
                <a:gd name="connsiteY67" fmla="*/ 188453 h 259834"/>
                <a:gd name="connsiteX68" fmla="*/ 329995 w 774600"/>
                <a:gd name="connsiteY68" fmla="*/ 155978 h 259834"/>
                <a:gd name="connsiteX69" fmla="*/ 578701 w 774600"/>
                <a:gd name="connsiteY69" fmla="*/ 223015 h 259834"/>
                <a:gd name="connsiteX70" fmla="*/ 578701 w 774600"/>
                <a:gd name="connsiteY70" fmla="*/ 256362 h 259834"/>
                <a:gd name="connsiteX71" fmla="*/ 409187 w 774600"/>
                <a:gd name="connsiteY71" fmla="*/ 256362 h 259834"/>
                <a:gd name="connsiteX72" fmla="*/ 409187 w 774600"/>
                <a:gd name="connsiteY72" fmla="*/ 227704 h 259834"/>
                <a:gd name="connsiteX73" fmla="*/ 491507 w 774600"/>
                <a:gd name="connsiteY73" fmla="*/ 137913 h 259834"/>
                <a:gd name="connsiteX74" fmla="*/ 512874 w 774600"/>
                <a:gd name="connsiteY74" fmla="*/ 111513 h 259834"/>
                <a:gd name="connsiteX75" fmla="*/ 523813 w 774600"/>
                <a:gd name="connsiteY75" fmla="*/ 91542 h 259834"/>
                <a:gd name="connsiteX76" fmla="*/ 527110 w 774600"/>
                <a:gd name="connsiteY76" fmla="*/ 73998 h 259834"/>
                <a:gd name="connsiteX77" fmla="*/ 522592 w 774600"/>
                <a:gd name="connsiteY77" fmla="*/ 52981 h 259834"/>
                <a:gd name="connsiteX78" fmla="*/ 509746 w 774600"/>
                <a:gd name="connsiteY78" fmla="*/ 38565 h 259834"/>
                <a:gd name="connsiteX79" fmla="*/ 489085 w 774600"/>
                <a:gd name="connsiteY79" fmla="*/ 33181 h 259834"/>
                <a:gd name="connsiteX80" fmla="*/ 465452 w 774600"/>
                <a:gd name="connsiteY80" fmla="*/ 39261 h 259834"/>
                <a:gd name="connsiteX81" fmla="*/ 451040 w 774600"/>
                <a:gd name="connsiteY81" fmla="*/ 56109 h 259834"/>
                <a:gd name="connsiteX82" fmla="*/ 446181 w 774600"/>
                <a:gd name="connsiteY82" fmla="*/ 80423 h 259834"/>
                <a:gd name="connsiteX83" fmla="*/ 404328 w 774600"/>
                <a:gd name="connsiteY83" fmla="*/ 80423 h 259834"/>
                <a:gd name="connsiteX84" fmla="*/ 414391 w 774600"/>
                <a:gd name="connsiteY84" fmla="*/ 40131 h 259834"/>
                <a:gd name="connsiteX85" fmla="*/ 443569 w 774600"/>
                <a:gd name="connsiteY85" fmla="*/ 10953 h 259834"/>
                <a:gd name="connsiteX86" fmla="*/ 489596 w 774600"/>
                <a:gd name="connsiteY86" fmla="*/ 10 h 259834"/>
                <a:gd name="connsiteX87" fmla="*/ 532670 w 774600"/>
                <a:gd name="connsiteY87" fmla="*/ 8521 h 259834"/>
                <a:gd name="connsiteX88" fmla="*/ 559581 w 774600"/>
                <a:gd name="connsiteY88" fmla="*/ 32660 h 259834"/>
                <a:gd name="connsiteX89" fmla="*/ 568958 w 774600"/>
                <a:gd name="connsiteY89" fmla="*/ 69655 h 259834"/>
                <a:gd name="connsiteX90" fmla="*/ 565145 w 774600"/>
                <a:gd name="connsiteY90" fmla="*/ 93103 h 259834"/>
                <a:gd name="connsiteX91" fmla="*/ 554207 w 774600"/>
                <a:gd name="connsiteY91" fmla="*/ 116376 h 259834"/>
                <a:gd name="connsiteX92" fmla="*/ 537704 w 774600"/>
                <a:gd name="connsiteY92" fmla="*/ 139475 h 259834"/>
                <a:gd name="connsiteX93" fmla="*/ 516697 w 774600"/>
                <a:gd name="connsiteY93" fmla="*/ 162748 h 259834"/>
                <a:gd name="connsiteX94" fmla="*/ 461979 w 774600"/>
                <a:gd name="connsiteY94" fmla="*/ 223015 h 259834"/>
                <a:gd name="connsiteX95" fmla="*/ 578701 w 774600"/>
                <a:gd name="connsiteY95" fmla="*/ 223015 h 259834"/>
                <a:gd name="connsiteX96" fmla="*/ 660505 w 774600"/>
                <a:gd name="connsiteY96" fmla="*/ 110992 h 259834"/>
                <a:gd name="connsiteX97" fmla="*/ 685510 w 774600"/>
                <a:gd name="connsiteY97" fmla="*/ 110992 h 259834"/>
                <a:gd name="connsiteX98" fmla="*/ 709639 w 774600"/>
                <a:gd name="connsiteY98" fmla="*/ 105953 h 259834"/>
                <a:gd name="connsiteX99" fmla="*/ 724065 w 774600"/>
                <a:gd name="connsiteY99" fmla="*/ 92057 h 259834"/>
                <a:gd name="connsiteX100" fmla="*/ 728754 w 774600"/>
                <a:gd name="connsiteY100" fmla="*/ 71736 h 259834"/>
                <a:gd name="connsiteX101" fmla="*/ 724411 w 774600"/>
                <a:gd name="connsiteY101" fmla="*/ 51240 h 259834"/>
                <a:gd name="connsiteX102" fmla="*/ 711565 w 774600"/>
                <a:gd name="connsiteY102" fmla="*/ 37865 h 259834"/>
                <a:gd name="connsiteX103" fmla="*/ 689858 w 774600"/>
                <a:gd name="connsiteY103" fmla="*/ 33176 h 259834"/>
                <a:gd name="connsiteX104" fmla="*/ 669712 w 774600"/>
                <a:gd name="connsiteY104" fmla="*/ 37690 h 259834"/>
                <a:gd name="connsiteX105" fmla="*/ 655626 w 774600"/>
                <a:gd name="connsiteY105" fmla="*/ 50195 h 259834"/>
                <a:gd name="connsiteX106" fmla="*/ 650422 w 774600"/>
                <a:gd name="connsiteY106" fmla="*/ 69300 h 259834"/>
                <a:gd name="connsiteX107" fmla="*/ 608394 w 774600"/>
                <a:gd name="connsiteY107" fmla="*/ 69300 h 259834"/>
                <a:gd name="connsiteX108" fmla="*/ 618992 w 774600"/>
                <a:gd name="connsiteY108" fmla="*/ 33521 h 259834"/>
                <a:gd name="connsiteX109" fmla="*/ 647810 w 774600"/>
                <a:gd name="connsiteY109" fmla="*/ 9032 h 259834"/>
                <a:gd name="connsiteX110" fmla="*/ 689148 w 774600"/>
                <a:gd name="connsiteY110" fmla="*/ 0 h 259834"/>
                <a:gd name="connsiteX111" fmla="*/ 731876 w 774600"/>
                <a:gd name="connsiteY111" fmla="*/ 8161 h 259834"/>
                <a:gd name="connsiteX112" fmla="*/ 760524 w 774600"/>
                <a:gd name="connsiteY112" fmla="*/ 32130 h 259834"/>
                <a:gd name="connsiteX113" fmla="*/ 770777 w 774600"/>
                <a:gd name="connsiteY113" fmla="*/ 71731 h 259834"/>
                <a:gd name="connsiteX114" fmla="*/ 765743 w 774600"/>
                <a:gd name="connsiteY114" fmla="*/ 93614 h 259834"/>
                <a:gd name="connsiteX115" fmla="*/ 750802 w 774600"/>
                <a:gd name="connsiteY115" fmla="*/ 113935 h 259834"/>
                <a:gd name="connsiteX116" fmla="*/ 726137 w 774600"/>
                <a:gd name="connsiteY116" fmla="*/ 128696 h 259834"/>
                <a:gd name="connsiteX117" fmla="*/ 691925 w 774600"/>
                <a:gd name="connsiteY117" fmla="*/ 134256 h 259834"/>
                <a:gd name="connsiteX118" fmla="*/ 660495 w 774600"/>
                <a:gd name="connsiteY118" fmla="*/ 134256 h 259834"/>
                <a:gd name="connsiteX119" fmla="*/ 660495 w 774600"/>
                <a:gd name="connsiteY119" fmla="*/ 110982 h 259834"/>
                <a:gd name="connsiteX120" fmla="*/ 660505 w 774600"/>
                <a:gd name="connsiteY120" fmla="*/ 143643 h 259834"/>
                <a:gd name="connsiteX121" fmla="*/ 660505 w 774600"/>
                <a:gd name="connsiteY121" fmla="*/ 120715 h 259834"/>
                <a:gd name="connsiteX122" fmla="*/ 691935 w 774600"/>
                <a:gd name="connsiteY122" fmla="*/ 120715 h 259834"/>
                <a:gd name="connsiteX123" fmla="*/ 729790 w 774600"/>
                <a:gd name="connsiteY123" fmla="*/ 125924 h 259834"/>
                <a:gd name="connsiteX124" fmla="*/ 755500 w 774600"/>
                <a:gd name="connsiteY124" fmla="*/ 140340 h 259834"/>
                <a:gd name="connsiteX125" fmla="*/ 769911 w 774600"/>
                <a:gd name="connsiteY125" fmla="*/ 161007 h 259834"/>
                <a:gd name="connsiteX126" fmla="*/ 774600 w 774600"/>
                <a:gd name="connsiteY126" fmla="*/ 185671 h 259834"/>
                <a:gd name="connsiteX127" fmla="*/ 768175 w 774600"/>
                <a:gd name="connsiteY127" fmla="*/ 217281 h 259834"/>
                <a:gd name="connsiteX128" fmla="*/ 750296 w 774600"/>
                <a:gd name="connsiteY128" fmla="*/ 240554 h 259834"/>
                <a:gd name="connsiteX129" fmla="*/ 723024 w 774600"/>
                <a:gd name="connsiteY129" fmla="*/ 254971 h 259834"/>
                <a:gd name="connsiteX130" fmla="*/ 689328 w 774600"/>
                <a:gd name="connsiteY130" fmla="*/ 259834 h 259834"/>
                <a:gd name="connsiteX131" fmla="*/ 658068 w 774600"/>
                <a:gd name="connsiteY131" fmla="*/ 255316 h 259834"/>
                <a:gd name="connsiteX132" fmla="*/ 631327 w 774600"/>
                <a:gd name="connsiteY132" fmla="*/ 241945 h 259834"/>
                <a:gd name="connsiteX133" fmla="*/ 612572 w 774600"/>
                <a:gd name="connsiteY133" fmla="*/ 219543 h 259834"/>
                <a:gd name="connsiteX134" fmla="*/ 605787 w 774600"/>
                <a:gd name="connsiteY134" fmla="*/ 188283 h 259834"/>
                <a:gd name="connsiteX135" fmla="*/ 647640 w 774600"/>
                <a:gd name="connsiteY135" fmla="*/ 188283 h 259834"/>
                <a:gd name="connsiteX136" fmla="*/ 652859 w 774600"/>
                <a:gd name="connsiteY136" fmla="*/ 208254 h 259834"/>
                <a:gd name="connsiteX137" fmla="*/ 667786 w 774600"/>
                <a:gd name="connsiteY137" fmla="*/ 221624 h 259834"/>
                <a:gd name="connsiteX138" fmla="*/ 690028 w 774600"/>
                <a:gd name="connsiteY138" fmla="*/ 226488 h 259834"/>
                <a:gd name="connsiteX139" fmla="*/ 712767 w 774600"/>
                <a:gd name="connsiteY139" fmla="*/ 221799 h 259834"/>
                <a:gd name="connsiteX140" fmla="*/ 727363 w 774600"/>
                <a:gd name="connsiteY140" fmla="*/ 207904 h 259834"/>
                <a:gd name="connsiteX141" fmla="*/ 732567 w 774600"/>
                <a:gd name="connsiteY141" fmla="*/ 185671 h 259834"/>
                <a:gd name="connsiteX142" fmla="*/ 726847 w 774600"/>
                <a:gd name="connsiteY142" fmla="*/ 161702 h 259834"/>
                <a:gd name="connsiteX143" fmla="*/ 710515 w 774600"/>
                <a:gd name="connsiteY143" fmla="*/ 148157 h 259834"/>
                <a:gd name="connsiteX144" fmla="*/ 685510 w 774600"/>
                <a:gd name="connsiteY144" fmla="*/ 143643 h 259834"/>
                <a:gd name="connsiteX145" fmla="*/ 660505 w 774600"/>
                <a:gd name="connsiteY145" fmla="*/ 143643 h 2598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</a:cxnLst>
              <a:rect l="l" t="t" r="r" b="b"/>
              <a:pathLst>
                <a:path w="774600" h="259834">
                  <a:moveTo>
                    <a:pt x="174372" y="223015"/>
                  </a:moveTo>
                  <a:lnTo>
                    <a:pt x="174372" y="256362"/>
                  </a:lnTo>
                  <a:lnTo>
                    <a:pt x="4859" y="256362"/>
                  </a:lnTo>
                  <a:lnTo>
                    <a:pt x="4859" y="227704"/>
                  </a:lnTo>
                  <a:lnTo>
                    <a:pt x="87193" y="137913"/>
                  </a:lnTo>
                  <a:cubicBezTo>
                    <a:pt x="96211" y="127724"/>
                    <a:pt x="103336" y="118925"/>
                    <a:pt x="108541" y="111513"/>
                  </a:cubicBezTo>
                  <a:cubicBezTo>
                    <a:pt x="113760" y="104100"/>
                    <a:pt x="117403" y="97446"/>
                    <a:pt x="119499" y="91542"/>
                  </a:cubicBezTo>
                  <a:cubicBezTo>
                    <a:pt x="121697" y="85520"/>
                    <a:pt x="122797" y="79674"/>
                    <a:pt x="122797" y="73998"/>
                  </a:cubicBezTo>
                  <a:cubicBezTo>
                    <a:pt x="122797" y="66012"/>
                    <a:pt x="121284" y="59003"/>
                    <a:pt x="118278" y="52981"/>
                  </a:cubicBezTo>
                  <a:cubicBezTo>
                    <a:pt x="115374" y="46843"/>
                    <a:pt x="111099" y="42038"/>
                    <a:pt x="105413" y="38565"/>
                  </a:cubicBezTo>
                  <a:cubicBezTo>
                    <a:pt x="99747" y="34976"/>
                    <a:pt x="92860" y="33181"/>
                    <a:pt x="84752" y="33181"/>
                  </a:cubicBezTo>
                  <a:cubicBezTo>
                    <a:pt x="75374" y="33181"/>
                    <a:pt x="67510" y="35209"/>
                    <a:pt x="61138" y="39261"/>
                  </a:cubicBezTo>
                  <a:cubicBezTo>
                    <a:pt x="54766" y="43312"/>
                    <a:pt x="49956" y="48930"/>
                    <a:pt x="46712" y="56109"/>
                  </a:cubicBezTo>
                  <a:cubicBezTo>
                    <a:pt x="43482" y="63171"/>
                    <a:pt x="41853" y="71279"/>
                    <a:pt x="41853" y="80423"/>
                  </a:cubicBezTo>
                  <a:lnTo>
                    <a:pt x="0" y="80423"/>
                  </a:lnTo>
                  <a:cubicBezTo>
                    <a:pt x="0" y="65720"/>
                    <a:pt x="3366" y="52286"/>
                    <a:pt x="10083" y="40131"/>
                  </a:cubicBezTo>
                  <a:cubicBezTo>
                    <a:pt x="16800" y="27860"/>
                    <a:pt x="26517" y="18132"/>
                    <a:pt x="39261" y="10953"/>
                  </a:cubicBezTo>
                  <a:cubicBezTo>
                    <a:pt x="51989" y="3658"/>
                    <a:pt x="67325" y="10"/>
                    <a:pt x="85272" y="10"/>
                  </a:cubicBezTo>
                  <a:cubicBezTo>
                    <a:pt x="102189" y="10"/>
                    <a:pt x="116546" y="2845"/>
                    <a:pt x="128346" y="8521"/>
                  </a:cubicBezTo>
                  <a:cubicBezTo>
                    <a:pt x="140160" y="14193"/>
                    <a:pt x="149129" y="22242"/>
                    <a:pt x="155277" y="32660"/>
                  </a:cubicBezTo>
                  <a:cubicBezTo>
                    <a:pt x="161527" y="43079"/>
                    <a:pt x="164654" y="55413"/>
                    <a:pt x="164654" y="69655"/>
                  </a:cubicBezTo>
                  <a:cubicBezTo>
                    <a:pt x="164654" y="77529"/>
                    <a:pt x="163385" y="85345"/>
                    <a:pt x="160827" y="93103"/>
                  </a:cubicBezTo>
                  <a:cubicBezTo>
                    <a:pt x="158283" y="100861"/>
                    <a:pt x="154645" y="108619"/>
                    <a:pt x="149888" y="116376"/>
                  </a:cubicBezTo>
                  <a:cubicBezTo>
                    <a:pt x="145267" y="124017"/>
                    <a:pt x="139757" y="131717"/>
                    <a:pt x="133400" y="139475"/>
                  </a:cubicBezTo>
                  <a:cubicBezTo>
                    <a:pt x="127028" y="147116"/>
                    <a:pt x="120019" y="154873"/>
                    <a:pt x="112378" y="162748"/>
                  </a:cubicBezTo>
                  <a:lnTo>
                    <a:pt x="57675" y="223015"/>
                  </a:lnTo>
                  <a:lnTo>
                    <a:pt x="174377" y="223015"/>
                  </a:lnTo>
                  <a:close/>
                  <a:moveTo>
                    <a:pt x="371848" y="108735"/>
                  </a:moveTo>
                  <a:lnTo>
                    <a:pt x="371848" y="150068"/>
                  </a:lnTo>
                  <a:cubicBezTo>
                    <a:pt x="371848" y="169869"/>
                    <a:pt x="369873" y="186770"/>
                    <a:pt x="365938" y="200783"/>
                  </a:cubicBezTo>
                  <a:cubicBezTo>
                    <a:pt x="362125" y="214674"/>
                    <a:pt x="356561" y="225963"/>
                    <a:pt x="349260" y="234650"/>
                  </a:cubicBezTo>
                  <a:cubicBezTo>
                    <a:pt x="341960" y="243332"/>
                    <a:pt x="333219" y="249703"/>
                    <a:pt x="323035" y="253755"/>
                  </a:cubicBezTo>
                  <a:cubicBezTo>
                    <a:pt x="312971" y="257806"/>
                    <a:pt x="301668" y="259834"/>
                    <a:pt x="289168" y="259834"/>
                  </a:cubicBezTo>
                  <a:cubicBezTo>
                    <a:pt x="279221" y="259834"/>
                    <a:pt x="269951" y="258560"/>
                    <a:pt x="261381" y="256011"/>
                  </a:cubicBezTo>
                  <a:cubicBezTo>
                    <a:pt x="252933" y="253463"/>
                    <a:pt x="245287" y="249470"/>
                    <a:pt x="238468" y="244027"/>
                  </a:cubicBezTo>
                  <a:cubicBezTo>
                    <a:pt x="231634" y="238584"/>
                    <a:pt x="225773" y="231581"/>
                    <a:pt x="220914" y="223011"/>
                  </a:cubicBezTo>
                  <a:cubicBezTo>
                    <a:pt x="216172" y="214329"/>
                    <a:pt x="212466" y="203964"/>
                    <a:pt x="209800" y="191921"/>
                  </a:cubicBezTo>
                  <a:cubicBezTo>
                    <a:pt x="207256" y="179878"/>
                    <a:pt x="205972" y="165929"/>
                    <a:pt x="205972" y="150063"/>
                  </a:cubicBezTo>
                  <a:lnTo>
                    <a:pt x="205972" y="108730"/>
                  </a:lnTo>
                  <a:cubicBezTo>
                    <a:pt x="205972" y="88813"/>
                    <a:pt x="207947" y="72028"/>
                    <a:pt x="211882" y="58366"/>
                  </a:cubicBezTo>
                  <a:cubicBezTo>
                    <a:pt x="215831" y="44587"/>
                    <a:pt x="221430" y="33414"/>
                    <a:pt x="228730" y="24844"/>
                  </a:cubicBezTo>
                  <a:cubicBezTo>
                    <a:pt x="236031" y="16162"/>
                    <a:pt x="244722" y="9849"/>
                    <a:pt x="254786" y="5914"/>
                  </a:cubicBezTo>
                  <a:cubicBezTo>
                    <a:pt x="264970" y="1980"/>
                    <a:pt x="276323" y="10"/>
                    <a:pt x="288827" y="10"/>
                  </a:cubicBezTo>
                  <a:cubicBezTo>
                    <a:pt x="298910" y="10"/>
                    <a:pt x="308166" y="1284"/>
                    <a:pt x="316614" y="3833"/>
                  </a:cubicBezTo>
                  <a:cubicBezTo>
                    <a:pt x="325184" y="6265"/>
                    <a:pt x="332825" y="10141"/>
                    <a:pt x="339542" y="15467"/>
                  </a:cubicBezTo>
                  <a:cubicBezTo>
                    <a:pt x="346376" y="20793"/>
                    <a:pt x="352164" y="27743"/>
                    <a:pt x="356906" y="36308"/>
                  </a:cubicBezTo>
                  <a:cubicBezTo>
                    <a:pt x="361765" y="44762"/>
                    <a:pt x="365476" y="55010"/>
                    <a:pt x="368020" y="67048"/>
                  </a:cubicBezTo>
                  <a:cubicBezTo>
                    <a:pt x="370578" y="78974"/>
                    <a:pt x="371848" y="92870"/>
                    <a:pt x="371848" y="108730"/>
                  </a:cubicBezTo>
                  <a:close/>
                  <a:moveTo>
                    <a:pt x="329995" y="155978"/>
                  </a:moveTo>
                  <a:lnTo>
                    <a:pt x="329995" y="102485"/>
                  </a:lnTo>
                  <a:cubicBezTo>
                    <a:pt x="329995" y="92412"/>
                    <a:pt x="329411" y="83555"/>
                    <a:pt x="328258" y="75914"/>
                  </a:cubicBezTo>
                  <a:cubicBezTo>
                    <a:pt x="327091" y="68157"/>
                    <a:pt x="325355" y="61615"/>
                    <a:pt x="323039" y="56289"/>
                  </a:cubicBezTo>
                  <a:cubicBezTo>
                    <a:pt x="320841" y="50846"/>
                    <a:pt x="318059" y="46445"/>
                    <a:pt x="314708" y="43088"/>
                  </a:cubicBezTo>
                  <a:cubicBezTo>
                    <a:pt x="311342" y="39616"/>
                    <a:pt x="307529" y="37125"/>
                    <a:pt x="303234" y="35623"/>
                  </a:cubicBezTo>
                  <a:cubicBezTo>
                    <a:pt x="298959" y="34003"/>
                    <a:pt x="294148" y="33191"/>
                    <a:pt x="288823" y="33191"/>
                  </a:cubicBezTo>
                  <a:cubicBezTo>
                    <a:pt x="282349" y="33191"/>
                    <a:pt x="276542" y="34465"/>
                    <a:pt x="271459" y="37014"/>
                  </a:cubicBezTo>
                  <a:cubicBezTo>
                    <a:pt x="266357" y="39445"/>
                    <a:pt x="262081" y="43380"/>
                    <a:pt x="258613" y="48823"/>
                  </a:cubicBezTo>
                  <a:cubicBezTo>
                    <a:pt x="255126" y="54266"/>
                    <a:pt x="252466" y="61445"/>
                    <a:pt x="250608" y="70360"/>
                  </a:cubicBezTo>
                  <a:cubicBezTo>
                    <a:pt x="248871" y="79159"/>
                    <a:pt x="248015" y="89869"/>
                    <a:pt x="248015" y="102490"/>
                  </a:cubicBezTo>
                  <a:lnTo>
                    <a:pt x="248015" y="155982"/>
                  </a:lnTo>
                  <a:cubicBezTo>
                    <a:pt x="248015" y="166172"/>
                    <a:pt x="248584" y="175146"/>
                    <a:pt x="249752" y="182904"/>
                  </a:cubicBezTo>
                  <a:cubicBezTo>
                    <a:pt x="250904" y="190661"/>
                    <a:pt x="252636" y="197320"/>
                    <a:pt x="254956" y="202874"/>
                  </a:cubicBezTo>
                  <a:cubicBezTo>
                    <a:pt x="257276" y="208317"/>
                    <a:pt x="260058" y="212831"/>
                    <a:pt x="263302" y="216420"/>
                  </a:cubicBezTo>
                  <a:cubicBezTo>
                    <a:pt x="266653" y="219893"/>
                    <a:pt x="270481" y="222441"/>
                    <a:pt x="274756" y="224061"/>
                  </a:cubicBezTo>
                  <a:cubicBezTo>
                    <a:pt x="279153" y="225681"/>
                    <a:pt x="283964" y="226493"/>
                    <a:pt x="289168" y="226493"/>
                  </a:cubicBezTo>
                  <a:cubicBezTo>
                    <a:pt x="295778" y="226493"/>
                    <a:pt x="301619" y="225219"/>
                    <a:pt x="306721" y="222670"/>
                  </a:cubicBezTo>
                  <a:cubicBezTo>
                    <a:pt x="311804" y="220121"/>
                    <a:pt x="316099" y="216070"/>
                    <a:pt x="319567" y="210511"/>
                  </a:cubicBezTo>
                  <a:cubicBezTo>
                    <a:pt x="323035" y="204839"/>
                    <a:pt x="325646" y="197485"/>
                    <a:pt x="327383" y="188453"/>
                  </a:cubicBezTo>
                  <a:cubicBezTo>
                    <a:pt x="329119" y="179421"/>
                    <a:pt x="329995" y="168594"/>
                    <a:pt x="329995" y="155978"/>
                  </a:cubicBezTo>
                  <a:close/>
                  <a:moveTo>
                    <a:pt x="578701" y="223015"/>
                  </a:moveTo>
                  <a:lnTo>
                    <a:pt x="578701" y="256362"/>
                  </a:lnTo>
                  <a:lnTo>
                    <a:pt x="409187" y="256362"/>
                  </a:lnTo>
                  <a:lnTo>
                    <a:pt x="409187" y="227704"/>
                  </a:lnTo>
                  <a:lnTo>
                    <a:pt x="491507" y="137913"/>
                  </a:lnTo>
                  <a:cubicBezTo>
                    <a:pt x="500539" y="127724"/>
                    <a:pt x="507670" y="118925"/>
                    <a:pt x="512874" y="111513"/>
                  </a:cubicBezTo>
                  <a:cubicBezTo>
                    <a:pt x="518078" y="104100"/>
                    <a:pt x="521736" y="97446"/>
                    <a:pt x="523813" y="91542"/>
                  </a:cubicBezTo>
                  <a:cubicBezTo>
                    <a:pt x="526011" y="85520"/>
                    <a:pt x="527110" y="79674"/>
                    <a:pt x="527110" y="73998"/>
                  </a:cubicBezTo>
                  <a:cubicBezTo>
                    <a:pt x="527110" y="66012"/>
                    <a:pt x="525617" y="59003"/>
                    <a:pt x="522592" y="52981"/>
                  </a:cubicBezTo>
                  <a:cubicBezTo>
                    <a:pt x="519708" y="46843"/>
                    <a:pt x="515413" y="42038"/>
                    <a:pt x="509746" y="38565"/>
                  </a:cubicBezTo>
                  <a:cubicBezTo>
                    <a:pt x="504080" y="34976"/>
                    <a:pt x="497193" y="33181"/>
                    <a:pt x="489085" y="33181"/>
                  </a:cubicBezTo>
                  <a:cubicBezTo>
                    <a:pt x="479708" y="33181"/>
                    <a:pt x="471823" y="35209"/>
                    <a:pt x="465452" y="39261"/>
                  </a:cubicBezTo>
                  <a:cubicBezTo>
                    <a:pt x="459095" y="43312"/>
                    <a:pt x="454289" y="48930"/>
                    <a:pt x="451040" y="56109"/>
                  </a:cubicBezTo>
                  <a:cubicBezTo>
                    <a:pt x="447796" y="63171"/>
                    <a:pt x="446181" y="71279"/>
                    <a:pt x="446181" y="80423"/>
                  </a:cubicBezTo>
                  <a:lnTo>
                    <a:pt x="404328" y="80423"/>
                  </a:lnTo>
                  <a:cubicBezTo>
                    <a:pt x="404328" y="65720"/>
                    <a:pt x="407679" y="52286"/>
                    <a:pt x="414391" y="40131"/>
                  </a:cubicBezTo>
                  <a:cubicBezTo>
                    <a:pt x="421108" y="27860"/>
                    <a:pt x="430846" y="18132"/>
                    <a:pt x="443569" y="10953"/>
                  </a:cubicBezTo>
                  <a:cubicBezTo>
                    <a:pt x="456313" y="3658"/>
                    <a:pt x="471648" y="10"/>
                    <a:pt x="489596" y="10"/>
                  </a:cubicBezTo>
                  <a:cubicBezTo>
                    <a:pt x="506497" y="10"/>
                    <a:pt x="520855" y="2845"/>
                    <a:pt x="532670" y="8521"/>
                  </a:cubicBezTo>
                  <a:cubicBezTo>
                    <a:pt x="544484" y="14193"/>
                    <a:pt x="553453" y="22242"/>
                    <a:pt x="559581" y="32660"/>
                  </a:cubicBezTo>
                  <a:cubicBezTo>
                    <a:pt x="565831" y="43079"/>
                    <a:pt x="568958" y="55413"/>
                    <a:pt x="568958" y="69655"/>
                  </a:cubicBezTo>
                  <a:cubicBezTo>
                    <a:pt x="568958" y="77529"/>
                    <a:pt x="567689" y="85345"/>
                    <a:pt x="565145" y="93103"/>
                  </a:cubicBezTo>
                  <a:cubicBezTo>
                    <a:pt x="562601" y="100861"/>
                    <a:pt x="558944" y="108619"/>
                    <a:pt x="554207" y="116376"/>
                  </a:cubicBezTo>
                  <a:cubicBezTo>
                    <a:pt x="549571" y="124017"/>
                    <a:pt x="544075" y="131717"/>
                    <a:pt x="537704" y="139475"/>
                  </a:cubicBezTo>
                  <a:cubicBezTo>
                    <a:pt x="531332" y="147116"/>
                    <a:pt x="524323" y="154873"/>
                    <a:pt x="516697" y="162748"/>
                  </a:cubicBezTo>
                  <a:lnTo>
                    <a:pt x="461979" y="223015"/>
                  </a:lnTo>
                  <a:lnTo>
                    <a:pt x="578701" y="223015"/>
                  </a:lnTo>
                  <a:close/>
                  <a:moveTo>
                    <a:pt x="660505" y="110992"/>
                  </a:moveTo>
                  <a:lnTo>
                    <a:pt x="685510" y="110992"/>
                  </a:lnTo>
                  <a:cubicBezTo>
                    <a:pt x="695233" y="110992"/>
                    <a:pt x="703287" y="109314"/>
                    <a:pt x="709639" y="105953"/>
                  </a:cubicBezTo>
                  <a:cubicBezTo>
                    <a:pt x="716132" y="102597"/>
                    <a:pt x="720943" y="97962"/>
                    <a:pt x="724065" y="92057"/>
                  </a:cubicBezTo>
                  <a:cubicBezTo>
                    <a:pt x="727188" y="86153"/>
                    <a:pt x="728754" y="79377"/>
                    <a:pt x="728754" y="71736"/>
                  </a:cubicBezTo>
                  <a:cubicBezTo>
                    <a:pt x="728754" y="64095"/>
                    <a:pt x="727295" y="56916"/>
                    <a:pt x="724411" y="51240"/>
                  </a:cubicBezTo>
                  <a:cubicBezTo>
                    <a:pt x="721628" y="45452"/>
                    <a:pt x="717353" y="40992"/>
                    <a:pt x="711565" y="37865"/>
                  </a:cubicBezTo>
                  <a:cubicBezTo>
                    <a:pt x="705879" y="34737"/>
                    <a:pt x="698652" y="33176"/>
                    <a:pt x="689858" y="33176"/>
                  </a:cubicBezTo>
                  <a:cubicBezTo>
                    <a:pt x="682441" y="33176"/>
                    <a:pt x="675724" y="34684"/>
                    <a:pt x="669712" y="37690"/>
                  </a:cubicBezTo>
                  <a:cubicBezTo>
                    <a:pt x="663803" y="40584"/>
                    <a:pt x="659114" y="44752"/>
                    <a:pt x="655626" y="50195"/>
                  </a:cubicBezTo>
                  <a:cubicBezTo>
                    <a:pt x="652159" y="55520"/>
                    <a:pt x="650422" y="61887"/>
                    <a:pt x="650422" y="69300"/>
                  </a:cubicBezTo>
                  <a:lnTo>
                    <a:pt x="608394" y="69300"/>
                  </a:lnTo>
                  <a:cubicBezTo>
                    <a:pt x="608394" y="55871"/>
                    <a:pt x="611916" y="43945"/>
                    <a:pt x="618992" y="33521"/>
                  </a:cubicBezTo>
                  <a:cubicBezTo>
                    <a:pt x="626050" y="23103"/>
                    <a:pt x="635670" y="14937"/>
                    <a:pt x="647810" y="9032"/>
                  </a:cubicBezTo>
                  <a:cubicBezTo>
                    <a:pt x="660092" y="3011"/>
                    <a:pt x="673866" y="0"/>
                    <a:pt x="689148" y="0"/>
                  </a:cubicBezTo>
                  <a:cubicBezTo>
                    <a:pt x="705480" y="0"/>
                    <a:pt x="719717" y="2724"/>
                    <a:pt x="731876" y="8161"/>
                  </a:cubicBezTo>
                  <a:cubicBezTo>
                    <a:pt x="744138" y="13487"/>
                    <a:pt x="753705" y="21479"/>
                    <a:pt x="760524" y="32130"/>
                  </a:cubicBezTo>
                  <a:cubicBezTo>
                    <a:pt x="767358" y="42782"/>
                    <a:pt x="770777" y="55982"/>
                    <a:pt x="770777" y="71731"/>
                  </a:cubicBezTo>
                  <a:cubicBezTo>
                    <a:pt x="770777" y="78910"/>
                    <a:pt x="769094" y="86206"/>
                    <a:pt x="765743" y="93614"/>
                  </a:cubicBezTo>
                  <a:cubicBezTo>
                    <a:pt x="762378" y="101026"/>
                    <a:pt x="757397" y="107797"/>
                    <a:pt x="750802" y="113935"/>
                  </a:cubicBezTo>
                  <a:cubicBezTo>
                    <a:pt x="744206" y="119956"/>
                    <a:pt x="735982" y="124873"/>
                    <a:pt x="726137" y="128696"/>
                  </a:cubicBezTo>
                  <a:cubicBezTo>
                    <a:pt x="716298" y="132403"/>
                    <a:pt x="704892" y="134256"/>
                    <a:pt x="691925" y="134256"/>
                  </a:cubicBezTo>
                  <a:lnTo>
                    <a:pt x="660495" y="134256"/>
                  </a:lnTo>
                  <a:lnTo>
                    <a:pt x="660495" y="110982"/>
                  </a:lnTo>
                  <a:close/>
                  <a:moveTo>
                    <a:pt x="660505" y="143643"/>
                  </a:moveTo>
                  <a:lnTo>
                    <a:pt x="660505" y="120715"/>
                  </a:lnTo>
                  <a:lnTo>
                    <a:pt x="691935" y="120715"/>
                  </a:lnTo>
                  <a:cubicBezTo>
                    <a:pt x="706755" y="120715"/>
                    <a:pt x="719381" y="122451"/>
                    <a:pt x="729790" y="125924"/>
                  </a:cubicBezTo>
                  <a:cubicBezTo>
                    <a:pt x="740335" y="129397"/>
                    <a:pt x="748905" y="134202"/>
                    <a:pt x="755500" y="140340"/>
                  </a:cubicBezTo>
                  <a:cubicBezTo>
                    <a:pt x="762095" y="146362"/>
                    <a:pt x="766906" y="153249"/>
                    <a:pt x="769911" y="161007"/>
                  </a:cubicBezTo>
                  <a:cubicBezTo>
                    <a:pt x="773039" y="168764"/>
                    <a:pt x="774600" y="176984"/>
                    <a:pt x="774600" y="185671"/>
                  </a:cubicBezTo>
                  <a:cubicBezTo>
                    <a:pt x="774600" y="197480"/>
                    <a:pt x="772470" y="208015"/>
                    <a:pt x="768175" y="217281"/>
                  </a:cubicBezTo>
                  <a:cubicBezTo>
                    <a:pt x="764016" y="226430"/>
                    <a:pt x="758044" y="234188"/>
                    <a:pt x="750296" y="240554"/>
                  </a:cubicBezTo>
                  <a:cubicBezTo>
                    <a:pt x="742533" y="246921"/>
                    <a:pt x="733447" y="251726"/>
                    <a:pt x="723024" y="254971"/>
                  </a:cubicBezTo>
                  <a:cubicBezTo>
                    <a:pt x="712718" y="258215"/>
                    <a:pt x="701487" y="259834"/>
                    <a:pt x="689328" y="259834"/>
                  </a:cubicBezTo>
                  <a:cubicBezTo>
                    <a:pt x="678457" y="259834"/>
                    <a:pt x="668029" y="258327"/>
                    <a:pt x="658068" y="255316"/>
                  </a:cubicBezTo>
                  <a:cubicBezTo>
                    <a:pt x="648107" y="252305"/>
                    <a:pt x="639192" y="247850"/>
                    <a:pt x="631327" y="241945"/>
                  </a:cubicBezTo>
                  <a:cubicBezTo>
                    <a:pt x="623443" y="235924"/>
                    <a:pt x="617193" y="228458"/>
                    <a:pt x="612572" y="219543"/>
                  </a:cubicBezTo>
                  <a:cubicBezTo>
                    <a:pt x="608054" y="210511"/>
                    <a:pt x="605787" y="200092"/>
                    <a:pt x="605787" y="188283"/>
                  </a:cubicBezTo>
                  <a:lnTo>
                    <a:pt x="647640" y="188283"/>
                  </a:lnTo>
                  <a:cubicBezTo>
                    <a:pt x="647640" y="195807"/>
                    <a:pt x="649377" y="202466"/>
                    <a:pt x="652859" y="208254"/>
                  </a:cubicBezTo>
                  <a:cubicBezTo>
                    <a:pt x="656449" y="213925"/>
                    <a:pt x="661429" y="218385"/>
                    <a:pt x="667786" y="221624"/>
                  </a:cubicBezTo>
                  <a:cubicBezTo>
                    <a:pt x="674279" y="224869"/>
                    <a:pt x="681682" y="226488"/>
                    <a:pt x="690028" y="226488"/>
                  </a:cubicBezTo>
                  <a:cubicBezTo>
                    <a:pt x="698822" y="226488"/>
                    <a:pt x="706415" y="224927"/>
                    <a:pt x="712767" y="221799"/>
                  </a:cubicBezTo>
                  <a:cubicBezTo>
                    <a:pt x="719138" y="218672"/>
                    <a:pt x="723997" y="214042"/>
                    <a:pt x="727363" y="207904"/>
                  </a:cubicBezTo>
                  <a:cubicBezTo>
                    <a:pt x="730831" y="201765"/>
                    <a:pt x="732567" y="194358"/>
                    <a:pt x="732567" y="185671"/>
                  </a:cubicBezTo>
                  <a:cubicBezTo>
                    <a:pt x="732567" y="175827"/>
                    <a:pt x="730660" y="167840"/>
                    <a:pt x="726847" y="161702"/>
                  </a:cubicBezTo>
                  <a:cubicBezTo>
                    <a:pt x="723019" y="155564"/>
                    <a:pt x="717572" y="151050"/>
                    <a:pt x="710515" y="148157"/>
                  </a:cubicBezTo>
                  <a:cubicBezTo>
                    <a:pt x="703457" y="145146"/>
                    <a:pt x="695111" y="143643"/>
                    <a:pt x="685510" y="143643"/>
                  </a:cubicBezTo>
                  <a:lnTo>
                    <a:pt x="660505" y="143643"/>
                  </a:lnTo>
                  <a:close/>
                </a:path>
              </a:pathLst>
            </a:custGeom>
            <a:solidFill>
              <a:srgbClr val="EE3431"/>
            </a:solidFill>
            <a:ln w="48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3" name="Полилиния: фигура 52">
              <a:extLst>
                <a:ext uri="{FF2B5EF4-FFF2-40B4-BE49-F238E27FC236}">
                  <a16:creationId xmlns:a16="http://schemas.microsoft.com/office/drawing/2014/main" id="{EFCAEF89-EF66-4A10-B912-F7436FCEC6AD}"/>
                </a:ext>
              </a:extLst>
            </p:cNvPr>
            <p:cNvSpPr/>
            <p:nvPr/>
          </p:nvSpPr>
          <p:spPr>
            <a:xfrm>
              <a:off x="8902858" y="5870060"/>
              <a:ext cx="774600" cy="259829"/>
            </a:xfrm>
            <a:custGeom>
              <a:avLst/>
              <a:gdLst>
                <a:gd name="connsiteX0" fmla="*/ 174372 w 774600"/>
                <a:gd name="connsiteY0" fmla="*/ 223011 h 259829"/>
                <a:gd name="connsiteX1" fmla="*/ 174372 w 774600"/>
                <a:gd name="connsiteY1" fmla="*/ 256357 h 259829"/>
                <a:gd name="connsiteX2" fmla="*/ 4859 w 774600"/>
                <a:gd name="connsiteY2" fmla="*/ 256357 h 259829"/>
                <a:gd name="connsiteX3" fmla="*/ 4859 w 774600"/>
                <a:gd name="connsiteY3" fmla="*/ 227699 h 259829"/>
                <a:gd name="connsiteX4" fmla="*/ 87193 w 774600"/>
                <a:gd name="connsiteY4" fmla="*/ 137908 h 259829"/>
                <a:gd name="connsiteX5" fmla="*/ 108541 w 774600"/>
                <a:gd name="connsiteY5" fmla="*/ 111508 h 259829"/>
                <a:gd name="connsiteX6" fmla="*/ 119499 w 774600"/>
                <a:gd name="connsiteY6" fmla="*/ 91537 h 259829"/>
                <a:gd name="connsiteX7" fmla="*/ 122797 w 774600"/>
                <a:gd name="connsiteY7" fmla="*/ 73993 h 259829"/>
                <a:gd name="connsiteX8" fmla="*/ 118278 w 774600"/>
                <a:gd name="connsiteY8" fmla="*/ 52977 h 259829"/>
                <a:gd name="connsiteX9" fmla="*/ 105413 w 774600"/>
                <a:gd name="connsiteY9" fmla="*/ 38560 h 259829"/>
                <a:gd name="connsiteX10" fmla="*/ 84752 w 774600"/>
                <a:gd name="connsiteY10" fmla="*/ 33176 h 259829"/>
                <a:gd name="connsiteX11" fmla="*/ 61138 w 774600"/>
                <a:gd name="connsiteY11" fmla="*/ 39256 h 259829"/>
                <a:gd name="connsiteX12" fmla="*/ 46712 w 774600"/>
                <a:gd name="connsiteY12" fmla="*/ 56104 h 259829"/>
                <a:gd name="connsiteX13" fmla="*/ 41853 w 774600"/>
                <a:gd name="connsiteY13" fmla="*/ 80418 h 259829"/>
                <a:gd name="connsiteX14" fmla="*/ 0 w 774600"/>
                <a:gd name="connsiteY14" fmla="*/ 80418 h 259829"/>
                <a:gd name="connsiteX15" fmla="*/ 10083 w 774600"/>
                <a:gd name="connsiteY15" fmla="*/ 40126 h 259829"/>
                <a:gd name="connsiteX16" fmla="*/ 39261 w 774600"/>
                <a:gd name="connsiteY16" fmla="*/ 10948 h 259829"/>
                <a:gd name="connsiteX17" fmla="*/ 85272 w 774600"/>
                <a:gd name="connsiteY17" fmla="*/ 5 h 259829"/>
                <a:gd name="connsiteX18" fmla="*/ 128346 w 774600"/>
                <a:gd name="connsiteY18" fmla="*/ 8517 h 259829"/>
                <a:gd name="connsiteX19" fmla="*/ 155277 w 774600"/>
                <a:gd name="connsiteY19" fmla="*/ 32660 h 259829"/>
                <a:gd name="connsiteX20" fmla="*/ 164654 w 774600"/>
                <a:gd name="connsiteY20" fmla="*/ 69655 h 259829"/>
                <a:gd name="connsiteX21" fmla="*/ 160827 w 774600"/>
                <a:gd name="connsiteY21" fmla="*/ 93103 h 259829"/>
                <a:gd name="connsiteX22" fmla="*/ 149888 w 774600"/>
                <a:gd name="connsiteY22" fmla="*/ 116376 h 259829"/>
                <a:gd name="connsiteX23" fmla="*/ 133400 w 774600"/>
                <a:gd name="connsiteY23" fmla="*/ 139475 h 259829"/>
                <a:gd name="connsiteX24" fmla="*/ 112378 w 774600"/>
                <a:gd name="connsiteY24" fmla="*/ 162748 h 259829"/>
                <a:gd name="connsiteX25" fmla="*/ 57675 w 774600"/>
                <a:gd name="connsiteY25" fmla="*/ 223015 h 259829"/>
                <a:gd name="connsiteX26" fmla="*/ 174377 w 774600"/>
                <a:gd name="connsiteY26" fmla="*/ 223015 h 259829"/>
                <a:gd name="connsiteX27" fmla="*/ 371848 w 774600"/>
                <a:gd name="connsiteY27" fmla="*/ 108730 h 259829"/>
                <a:gd name="connsiteX28" fmla="*/ 371848 w 774600"/>
                <a:gd name="connsiteY28" fmla="*/ 150063 h 259829"/>
                <a:gd name="connsiteX29" fmla="*/ 365938 w 774600"/>
                <a:gd name="connsiteY29" fmla="*/ 200778 h 259829"/>
                <a:gd name="connsiteX30" fmla="*/ 349260 w 774600"/>
                <a:gd name="connsiteY30" fmla="*/ 234645 h 259829"/>
                <a:gd name="connsiteX31" fmla="*/ 323035 w 774600"/>
                <a:gd name="connsiteY31" fmla="*/ 253750 h 259829"/>
                <a:gd name="connsiteX32" fmla="*/ 289168 w 774600"/>
                <a:gd name="connsiteY32" fmla="*/ 259830 h 259829"/>
                <a:gd name="connsiteX33" fmla="*/ 261381 w 774600"/>
                <a:gd name="connsiteY33" fmla="*/ 256011 h 259829"/>
                <a:gd name="connsiteX34" fmla="*/ 238468 w 774600"/>
                <a:gd name="connsiteY34" fmla="*/ 244027 h 259829"/>
                <a:gd name="connsiteX35" fmla="*/ 220914 w 774600"/>
                <a:gd name="connsiteY35" fmla="*/ 223011 h 259829"/>
                <a:gd name="connsiteX36" fmla="*/ 209800 w 774600"/>
                <a:gd name="connsiteY36" fmla="*/ 191921 h 259829"/>
                <a:gd name="connsiteX37" fmla="*/ 205972 w 774600"/>
                <a:gd name="connsiteY37" fmla="*/ 150063 h 259829"/>
                <a:gd name="connsiteX38" fmla="*/ 205972 w 774600"/>
                <a:gd name="connsiteY38" fmla="*/ 108730 h 259829"/>
                <a:gd name="connsiteX39" fmla="*/ 211882 w 774600"/>
                <a:gd name="connsiteY39" fmla="*/ 58366 h 259829"/>
                <a:gd name="connsiteX40" fmla="*/ 228730 w 774600"/>
                <a:gd name="connsiteY40" fmla="*/ 24844 h 259829"/>
                <a:gd name="connsiteX41" fmla="*/ 254786 w 774600"/>
                <a:gd name="connsiteY41" fmla="*/ 5914 h 259829"/>
                <a:gd name="connsiteX42" fmla="*/ 288827 w 774600"/>
                <a:gd name="connsiteY42" fmla="*/ 10 h 259829"/>
                <a:gd name="connsiteX43" fmla="*/ 316614 w 774600"/>
                <a:gd name="connsiteY43" fmla="*/ 3833 h 259829"/>
                <a:gd name="connsiteX44" fmla="*/ 339542 w 774600"/>
                <a:gd name="connsiteY44" fmla="*/ 15467 h 259829"/>
                <a:gd name="connsiteX45" fmla="*/ 356906 w 774600"/>
                <a:gd name="connsiteY45" fmla="*/ 36308 h 259829"/>
                <a:gd name="connsiteX46" fmla="*/ 368020 w 774600"/>
                <a:gd name="connsiteY46" fmla="*/ 67048 h 259829"/>
                <a:gd name="connsiteX47" fmla="*/ 371848 w 774600"/>
                <a:gd name="connsiteY47" fmla="*/ 108730 h 259829"/>
                <a:gd name="connsiteX48" fmla="*/ 329995 w 774600"/>
                <a:gd name="connsiteY48" fmla="*/ 155968 h 259829"/>
                <a:gd name="connsiteX49" fmla="*/ 329995 w 774600"/>
                <a:gd name="connsiteY49" fmla="*/ 102476 h 259829"/>
                <a:gd name="connsiteX50" fmla="*/ 328258 w 774600"/>
                <a:gd name="connsiteY50" fmla="*/ 75905 h 259829"/>
                <a:gd name="connsiteX51" fmla="*/ 323039 w 774600"/>
                <a:gd name="connsiteY51" fmla="*/ 56279 h 259829"/>
                <a:gd name="connsiteX52" fmla="*/ 314708 w 774600"/>
                <a:gd name="connsiteY52" fmla="*/ 43079 h 259829"/>
                <a:gd name="connsiteX53" fmla="*/ 303234 w 774600"/>
                <a:gd name="connsiteY53" fmla="*/ 35613 h 259829"/>
                <a:gd name="connsiteX54" fmla="*/ 288823 w 774600"/>
                <a:gd name="connsiteY54" fmla="*/ 33181 h 259829"/>
                <a:gd name="connsiteX55" fmla="*/ 271459 w 774600"/>
                <a:gd name="connsiteY55" fmla="*/ 37004 h 259829"/>
                <a:gd name="connsiteX56" fmla="*/ 258613 w 774600"/>
                <a:gd name="connsiteY56" fmla="*/ 48813 h 259829"/>
                <a:gd name="connsiteX57" fmla="*/ 250608 w 774600"/>
                <a:gd name="connsiteY57" fmla="*/ 70350 h 259829"/>
                <a:gd name="connsiteX58" fmla="*/ 248015 w 774600"/>
                <a:gd name="connsiteY58" fmla="*/ 102480 h 259829"/>
                <a:gd name="connsiteX59" fmla="*/ 248015 w 774600"/>
                <a:gd name="connsiteY59" fmla="*/ 155973 h 259829"/>
                <a:gd name="connsiteX60" fmla="*/ 249752 w 774600"/>
                <a:gd name="connsiteY60" fmla="*/ 182894 h 259829"/>
                <a:gd name="connsiteX61" fmla="*/ 254956 w 774600"/>
                <a:gd name="connsiteY61" fmla="*/ 202865 h 259829"/>
                <a:gd name="connsiteX62" fmla="*/ 263302 w 774600"/>
                <a:gd name="connsiteY62" fmla="*/ 216410 h 259829"/>
                <a:gd name="connsiteX63" fmla="*/ 274756 w 774600"/>
                <a:gd name="connsiteY63" fmla="*/ 224051 h 259829"/>
                <a:gd name="connsiteX64" fmla="*/ 289168 w 774600"/>
                <a:gd name="connsiteY64" fmla="*/ 226483 h 259829"/>
                <a:gd name="connsiteX65" fmla="*/ 306721 w 774600"/>
                <a:gd name="connsiteY65" fmla="*/ 222660 h 259829"/>
                <a:gd name="connsiteX66" fmla="*/ 319567 w 774600"/>
                <a:gd name="connsiteY66" fmla="*/ 210501 h 259829"/>
                <a:gd name="connsiteX67" fmla="*/ 327383 w 774600"/>
                <a:gd name="connsiteY67" fmla="*/ 188443 h 259829"/>
                <a:gd name="connsiteX68" fmla="*/ 329995 w 774600"/>
                <a:gd name="connsiteY68" fmla="*/ 155963 h 259829"/>
                <a:gd name="connsiteX69" fmla="*/ 578701 w 774600"/>
                <a:gd name="connsiteY69" fmla="*/ 223006 h 259829"/>
                <a:gd name="connsiteX70" fmla="*/ 578701 w 774600"/>
                <a:gd name="connsiteY70" fmla="*/ 256352 h 259829"/>
                <a:gd name="connsiteX71" fmla="*/ 409187 w 774600"/>
                <a:gd name="connsiteY71" fmla="*/ 256352 h 259829"/>
                <a:gd name="connsiteX72" fmla="*/ 409187 w 774600"/>
                <a:gd name="connsiteY72" fmla="*/ 227694 h 259829"/>
                <a:gd name="connsiteX73" fmla="*/ 491507 w 774600"/>
                <a:gd name="connsiteY73" fmla="*/ 137904 h 259829"/>
                <a:gd name="connsiteX74" fmla="*/ 512874 w 774600"/>
                <a:gd name="connsiteY74" fmla="*/ 111503 h 259829"/>
                <a:gd name="connsiteX75" fmla="*/ 523813 w 774600"/>
                <a:gd name="connsiteY75" fmla="*/ 91532 h 259829"/>
                <a:gd name="connsiteX76" fmla="*/ 527110 w 774600"/>
                <a:gd name="connsiteY76" fmla="*/ 73988 h 259829"/>
                <a:gd name="connsiteX77" fmla="*/ 522592 w 774600"/>
                <a:gd name="connsiteY77" fmla="*/ 52972 h 259829"/>
                <a:gd name="connsiteX78" fmla="*/ 509746 w 774600"/>
                <a:gd name="connsiteY78" fmla="*/ 38555 h 259829"/>
                <a:gd name="connsiteX79" fmla="*/ 489085 w 774600"/>
                <a:gd name="connsiteY79" fmla="*/ 33171 h 259829"/>
                <a:gd name="connsiteX80" fmla="*/ 465452 w 774600"/>
                <a:gd name="connsiteY80" fmla="*/ 39251 h 259829"/>
                <a:gd name="connsiteX81" fmla="*/ 451040 w 774600"/>
                <a:gd name="connsiteY81" fmla="*/ 56099 h 259829"/>
                <a:gd name="connsiteX82" fmla="*/ 446181 w 774600"/>
                <a:gd name="connsiteY82" fmla="*/ 80413 h 259829"/>
                <a:gd name="connsiteX83" fmla="*/ 404328 w 774600"/>
                <a:gd name="connsiteY83" fmla="*/ 80413 h 259829"/>
                <a:gd name="connsiteX84" fmla="*/ 414391 w 774600"/>
                <a:gd name="connsiteY84" fmla="*/ 40122 h 259829"/>
                <a:gd name="connsiteX85" fmla="*/ 443569 w 774600"/>
                <a:gd name="connsiteY85" fmla="*/ 10944 h 259829"/>
                <a:gd name="connsiteX86" fmla="*/ 489596 w 774600"/>
                <a:gd name="connsiteY86" fmla="*/ 0 h 259829"/>
                <a:gd name="connsiteX87" fmla="*/ 532670 w 774600"/>
                <a:gd name="connsiteY87" fmla="*/ 8512 h 259829"/>
                <a:gd name="connsiteX88" fmla="*/ 559581 w 774600"/>
                <a:gd name="connsiteY88" fmla="*/ 32656 h 259829"/>
                <a:gd name="connsiteX89" fmla="*/ 568958 w 774600"/>
                <a:gd name="connsiteY89" fmla="*/ 69650 h 259829"/>
                <a:gd name="connsiteX90" fmla="*/ 565145 w 774600"/>
                <a:gd name="connsiteY90" fmla="*/ 93098 h 259829"/>
                <a:gd name="connsiteX91" fmla="*/ 554207 w 774600"/>
                <a:gd name="connsiteY91" fmla="*/ 116372 h 259829"/>
                <a:gd name="connsiteX92" fmla="*/ 537704 w 774600"/>
                <a:gd name="connsiteY92" fmla="*/ 139470 h 259829"/>
                <a:gd name="connsiteX93" fmla="*/ 516697 w 774600"/>
                <a:gd name="connsiteY93" fmla="*/ 162743 h 259829"/>
                <a:gd name="connsiteX94" fmla="*/ 461979 w 774600"/>
                <a:gd name="connsiteY94" fmla="*/ 223011 h 259829"/>
                <a:gd name="connsiteX95" fmla="*/ 578701 w 774600"/>
                <a:gd name="connsiteY95" fmla="*/ 223011 h 259829"/>
                <a:gd name="connsiteX96" fmla="*/ 660505 w 774600"/>
                <a:gd name="connsiteY96" fmla="*/ 110982 h 259829"/>
                <a:gd name="connsiteX97" fmla="*/ 685510 w 774600"/>
                <a:gd name="connsiteY97" fmla="*/ 110982 h 259829"/>
                <a:gd name="connsiteX98" fmla="*/ 709639 w 774600"/>
                <a:gd name="connsiteY98" fmla="*/ 105948 h 259829"/>
                <a:gd name="connsiteX99" fmla="*/ 724065 w 774600"/>
                <a:gd name="connsiteY99" fmla="*/ 92052 h 259829"/>
                <a:gd name="connsiteX100" fmla="*/ 728754 w 774600"/>
                <a:gd name="connsiteY100" fmla="*/ 71731 h 259829"/>
                <a:gd name="connsiteX101" fmla="*/ 724411 w 774600"/>
                <a:gd name="connsiteY101" fmla="*/ 51240 h 259829"/>
                <a:gd name="connsiteX102" fmla="*/ 711565 w 774600"/>
                <a:gd name="connsiteY102" fmla="*/ 37865 h 259829"/>
                <a:gd name="connsiteX103" fmla="*/ 689858 w 774600"/>
                <a:gd name="connsiteY103" fmla="*/ 33176 h 259829"/>
                <a:gd name="connsiteX104" fmla="*/ 669712 w 774600"/>
                <a:gd name="connsiteY104" fmla="*/ 37690 h 259829"/>
                <a:gd name="connsiteX105" fmla="*/ 655626 w 774600"/>
                <a:gd name="connsiteY105" fmla="*/ 50195 h 259829"/>
                <a:gd name="connsiteX106" fmla="*/ 650422 w 774600"/>
                <a:gd name="connsiteY106" fmla="*/ 69300 h 259829"/>
                <a:gd name="connsiteX107" fmla="*/ 608394 w 774600"/>
                <a:gd name="connsiteY107" fmla="*/ 69300 h 259829"/>
                <a:gd name="connsiteX108" fmla="*/ 618992 w 774600"/>
                <a:gd name="connsiteY108" fmla="*/ 33521 h 259829"/>
                <a:gd name="connsiteX109" fmla="*/ 647810 w 774600"/>
                <a:gd name="connsiteY109" fmla="*/ 9032 h 259829"/>
                <a:gd name="connsiteX110" fmla="*/ 689148 w 774600"/>
                <a:gd name="connsiteY110" fmla="*/ 0 h 259829"/>
                <a:gd name="connsiteX111" fmla="*/ 731876 w 774600"/>
                <a:gd name="connsiteY111" fmla="*/ 8161 h 259829"/>
                <a:gd name="connsiteX112" fmla="*/ 760524 w 774600"/>
                <a:gd name="connsiteY112" fmla="*/ 32130 h 259829"/>
                <a:gd name="connsiteX113" fmla="*/ 770777 w 774600"/>
                <a:gd name="connsiteY113" fmla="*/ 71727 h 259829"/>
                <a:gd name="connsiteX114" fmla="*/ 765743 w 774600"/>
                <a:gd name="connsiteY114" fmla="*/ 93609 h 259829"/>
                <a:gd name="connsiteX115" fmla="*/ 750802 w 774600"/>
                <a:gd name="connsiteY115" fmla="*/ 113930 h 259829"/>
                <a:gd name="connsiteX116" fmla="*/ 726137 w 774600"/>
                <a:gd name="connsiteY116" fmla="*/ 128692 h 259829"/>
                <a:gd name="connsiteX117" fmla="*/ 691925 w 774600"/>
                <a:gd name="connsiteY117" fmla="*/ 134251 h 259829"/>
                <a:gd name="connsiteX118" fmla="*/ 660495 w 774600"/>
                <a:gd name="connsiteY118" fmla="*/ 134251 h 259829"/>
                <a:gd name="connsiteX119" fmla="*/ 660495 w 774600"/>
                <a:gd name="connsiteY119" fmla="*/ 110978 h 259829"/>
                <a:gd name="connsiteX120" fmla="*/ 660505 w 774600"/>
                <a:gd name="connsiteY120" fmla="*/ 143633 h 259829"/>
                <a:gd name="connsiteX121" fmla="*/ 660505 w 774600"/>
                <a:gd name="connsiteY121" fmla="*/ 120705 h 259829"/>
                <a:gd name="connsiteX122" fmla="*/ 691935 w 774600"/>
                <a:gd name="connsiteY122" fmla="*/ 120705 h 259829"/>
                <a:gd name="connsiteX123" fmla="*/ 729790 w 774600"/>
                <a:gd name="connsiteY123" fmla="*/ 125914 h 259829"/>
                <a:gd name="connsiteX124" fmla="*/ 755500 w 774600"/>
                <a:gd name="connsiteY124" fmla="*/ 140331 h 259829"/>
                <a:gd name="connsiteX125" fmla="*/ 769911 w 774600"/>
                <a:gd name="connsiteY125" fmla="*/ 160997 h 259829"/>
                <a:gd name="connsiteX126" fmla="*/ 774600 w 774600"/>
                <a:gd name="connsiteY126" fmla="*/ 185661 h 259829"/>
                <a:gd name="connsiteX127" fmla="*/ 768175 w 774600"/>
                <a:gd name="connsiteY127" fmla="*/ 217271 h 259829"/>
                <a:gd name="connsiteX128" fmla="*/ 750296 w 774600"/>
                <a:gd name="connsiteY128" fmla="*/ 240545 h 259829"/>
                <a:gd name="connsiteX129" fmla="*/ 723024 w 774600"/>
                <a:gd name="connsiteY129" fmla="*/ 254961 h 259829"/>
                <a:gd name="connsiteX130" fmla="*/ 689328 w 774600"/>
                <a:gd name="connsiteY130" fmla="*/ 259825 h 259829"/>
                <a:gd name="connsiteX131" fmla="*/ 658068 w 774600"/>
                <a:gd name="connsiteY131" fmla="*/ 255311 h 259829"/>
                <a:gd name="connsiteX132" fmla="*/ 631327 w 774600"/>
                <a:gd name="connsiteY132" fmla="*/ 241940 h 259829"/>
                <a:gd name="connsiteX133" fmla="*/ 612572 w 774600"/>
                <a:gd name="connsiteY133" fmla="*/ 219538 h 259829"/>
                <a:gd name="connsiteX134" fmla="*/ 605787 w 774600"/>
                <a:gd name="connsiteY134" fmla="*/ 188273 h 259829"/>
                <a:gd name="connsiteX135" fmla="*/ 647640 w 774600"/>
                <a:gd name="connsiteY135" fmla="*/ 188273 h 259829"/>
                <a:gd name="connsiteX136" fmla="*/ 652859 w 774600"/>
                <a:gd name="connsiteY136" fmla="*/ 208249 h 259829"/>
                <a:gd name="connsiteX137" fmla="*/ 667786 w 774600"/>
                <a:gd name="connsiteY137" fmla="*/ 221619 h 259829"/>
                <a:gd name="connsiteX138" fmla="*/ 690028 w 774600"/>
                <a:gd name="connsiteY138" fmla="*/ 226483 h 259829"/>
                <a:gd name="connsiteX139" fmla="*/ 712767 w 774600"/>
                <a:gd name="connsiteY139" fmla="*/ 221795 h 259829"/>
                <a:gd name="connsiteX140" fmla="*/ 727363 w 774600"/>
                <a:gd name="connsiteY140" fmla="*/ 207899 h 259829"/>
                <a:gd name="connsiteX141" fmla="*/ 732567 w 774600"/>
                <a:gd name="connsiteY141" fmla="*/ 185671 h 259829"/>
                <a:gd name="connsiteX142" fmla="*/ 726847 w 774600"/>
                <a:gd name="connsiteY142" fmla="*/ 161702 h 259829"/>
                <a:gd name="connsiteX143" fmla="*/ 710515 w 774600"/>
                <a:gd name="connsiteY143" fmla="*/ 148157 h 259829"/>
                <a:gd name="connsiteX144" fmla="*/ 685510 w 774600"/>
                <a:gd name="connsiteY144" fmla="*/ 143643 h 259829"/>
                <a:gd name="connsiteX145" fmla="*/ 660505 w 774600"/>
                <a:gd name="connsiteY145" fmla="*/ 143643 h 2598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</a:cxnLst>
              <a:rect l="l" t="t" r="r" b="b"/>
              <a:pathLst>
                <a:path w="774600" h="259829">
                  <a:moveTo>
                    <a:pt x="174372" y="223011"/>
                  </a:moveTo>
                  <a:lnTo>
                    <a:pt x="174372" y="256357"/>
                  </a:lnTo>
                  <a:lnTo>
                    <a:pt x="4859" y="256357"/>
                  </a:lnTo>
                  <a:lnTo>
                    <a:pt x="4859" y="227699"/>
                  </a:lnTo>
                  <a:lnTo>
                    <a:pt x="87193" y="137908"/>
                  </a:lnTo>
                  <a:cubicBezTo>
                    <a:pt x="96211" y="127719"/>
                    <a:pt x="103336" y="118920"/>
                    <a:pt x="108541" y="111508"/>
                  </a:cubicBezTo>
                  <a:cubicBezTo>
                    <a:pt x="113760" y="104095"/>
                    <a:pt x="117403" y="97442"/>
                    <a:pt x="119499" y="91537"/>
                  </a:cubicBezTo>
                  <a:cubicBezTo>
                    <a:pt x="121697" y="85516"/>
                    <a:pt x="122797" y="79669"/>
                    <a:pt x="122797" y="73993"/>
                  </a:cubicBezTo>
                  <a:cubicBezTo>
                    <a:pt x="122797" y="66002"/>
                    <a:pt x="121284" y="58998"/>
                    <a:pt x="118278" y="52977"/>
                  </a:cubicBezTo>
                  <a:cubicBezTo>
                    <a:pt x="115374" y="46838"/>
                    <a:pt x="111099" y="42033"/>
                    <a:pt x="105413" y="38560"/>
                  </a:cubicBezTo>
                  <a:cubicBezTo>
                    <a:pt x="99747" y="34971"/>
                    <a:pt x="92860" y="33176"/>
                    <a:pt x="84752" y="33176"/>
                  </a:cubicBezTo>
                  <a:cubicBezTo>
                    <a:pt x="75374" y="33176"/>
                    <a:pt x="67510" y="35204"/>
                    <a:pt x="61138" y="39256"/>
                  </a:cubicBezTo>
                  <a:cubicBezTo>
                    <a:pt x="54766" y="43307"/>
                    <a:pt x="49956" y="48925"/>
                    <a:pt x="46712" y="56104"/>
                  </a:cubicBezTo>
                  <a:cubicBezTo>
                    <a:pt x="43482" y="63166"/>
                    <a:pt x="41853" y="71274"/>
                    <a:pt x="41853" y="80418"/>
                  </a:cubicBezTo>
                  <a:lnTo>
                    <a:pt x="0" y="80418"/>
                  </a:lnTo>
                  <a:cubicBezTo>
                    <a:pt x="0" y="65715"/>
                    <a:pt x="3366" y="52281"/>
                    <a:pt x="10083" y="40126"/>
                  </a:cubicBezTo>
                  <a:cubicBezTo>
                    <a:pt x="16800" y="27855"/>
                    <a:pt x="26517" y="18127"/>
                    <a:pt x="39261" y="10948"/>
                  </a:cubicBezTo>
                  <a:cubicBezTo>
                    <a:pt x="51989" y="3653"/>
                    <a:pt x="67325" y="5"/>
                    <a:pt x="85272" y="5"/>
                  </a:cubicBezTo>
                  <a:cubicBezTo>
                    <a:pt x="102189" y="5"/>
                    <a:pt x="116546" y="2840"/>
                    <a:pt x="128346" y="8517"/>
                  </a:cubicBezTo>
                  <a:cubicBezTo>
                    <a:pt x="140160" y="14193"/>
                    <a:pt x="149129" y="22237"/>
                    <a:pt x="155277" y="32660"/>
                  </a:cubicBezTo>
                  <a:cubicBezTo>
                    <a:pt x="161527" y="43079"/>
                    <a:pt x="164654" y="55413"/>
                    <a:pt x="164654" y="69655"/>
                  </a:cubicBezTo>
                  <a:cubicBezTo>
                    <a:pt x="164654" y="77529"/>
                    <a:pt x="163385" y="85345"/>
                    <a:pt x="160827" y="93103"/>
                  </a:cubicBezTo>
                  <a:cubicBezTo>
                    <a:pt x="158283" y="100861"/>
                    <a:pt x="154645" y="108619"/>
                    <a:pt x="149888" y="116376"/>
                  </a:cubicBezTo>
                  <a:cubicBezTo>
                    <a:pt x="145267" y="124017"/>
                    <a:pt x="139757" y="131717"/>
                    <a:pt x="133400" y="139475"/>
                  </a:cubicBezTo>
                  <a:cubicBezTo>
                    <a:pt x="127028" y="147116"/>
                    <a:pt x="120019" y="154873"/>
                    <a:pt x="112378" y="162748"/>
                  </a:cubicBezTo>
                  <a:lnTo>
                    <a:pt x="57675" y="223015"/>
                  </a:lnTo>
                  <a:lnTo>
                    <a:pt x="174377" y="223015"/>
                  </a:lnTo>
                  <a:close/>
                  <a:moveTo>
                    <a:pt x="371848" y="108730"/>
                  </a:moveTo>
                  <a:lnTo>
                    <a:pt x="371848" y="150063"/>
                  </a:lnTo>
                  <a:cubicBezTo>
                    <a:pt x="371848" y="169864"/>
                    <a:pt x="369873" y="186765"/>
                    <a:pt x="365938" y="200778"/>
                  </a:cubicBezTo>
                  <a:cubicBezTo>
                    <a:pt x="362125" y="214674"/>
                    <a:pt x="356561" y="225963"/>
                    <a:pt x="349260" y="234645"/>
                  </a:cubicBezTo>
                  <a:cubicBezTo>
                    <a:pt x="341960" y="243327"/>
                    <a:pt x="333219" y="249698"/>
                    <a:pt x="323035" y="253750"/>
                  </a:cubicBezTo>
                  <a:cubicBezTo>
                    <a:pt x="312971" y="257801"/>
                    <a:pt x="301668" y="259830"/>
                    <a:pt x="289168" y="259830"/>
                  </a:cubicBezTo>
                  <a:cubicBezTo>
                    <a:pt x="279221" y="259830"/>
                    <a:pt x="269951" y="258555"/>
                    <a:pt x="261381" y="256011"/>
                  </a:cubicBezTo>
                  <a:cubicBezTo>
                    <a:pt x="252933" y="253463"/>
                    <a:pt x="245287" y="249470"/>
                    <a:pt x="238468" y="244027"/>
                  </a:cubicBezTo>
                  <a:cubicBezTo>
                    <a:pt x="231634" y="238584"/>
                    <a:pt x="225773" y="231581"/>
                    <a:pt x="220914" y="223011"/>
                  </a:cubicBezTo>
                  <a:cubicBezTo>
                    <a:pt x="216172" y="214329"/>
                    <a:pt x="212466" y="203964"/>
                    <a:pt x="209800" y="191921"/>
                  </a:cubicBezTo>
                  <a:cubicBezTo>
                    <a:pt x="207256" y="179878"/>
                    <a:pt x="205972" y="165929"/>
                    <a:pt x="205972" y="150063"/>
                  </a:cubicBezTo>
                  <a:lnTo>
                    <a:pt x="205972" y="108730"/>
                  </a:lnTo>
                  <a:cubicBezTo>
                    <a:pt x="205972" y="88813"/>
                    <a:pt x="207947" y="72028"/>
                    <a:pt x="211882" y="58366"/>
                  </a:cubicBezTo>
                  <a:cubicBezTo>
                    <a:pt x="215831" y="44587"/>
                    <a:pt x="221430" y="33414"/>
                    <a:pt x="228730" y="24844"/>
                  </a:cubicBezTo>
                  <a:cubicBezTo>
                    <a:pt x="236031" y="16162"/>
                    <a:pt x="244722" y="9849"/>
                    <a:pt x="254786" y="5914"/>
                  </a:cubicBezTo>
                  <a:cubicBezTo>
                    <a:pt x="264970" y="1975"/>
                    <a:pt x="276323" y="10"/>
                    <a:pt x="288827" y="10"/>
                  </a:cubicBezTo>
                  <a:cubicBezTo>
                    <a:pt x="298910" y="10"/>
                    <a:pt x="308166" y="1284"/>
                    <a:pt x="316614" y="3833"/>
                  </a:cubicBezTo>
                  <a:cubicBezTo>
                    <a:pt x="325184" y="6265"/>
                    <a:pt x="332825" y="10141"/>
                    <a:pt x="339542" y="15467"/>
                  </a:cubicBezTo>
                  <a:cubicBezTo>
                    <a:pt x="346376" y="20793"/>
                    <a:pt x="352164" y="27738"/>
                    <a:pt x="356906" y="36308"/>
                  </a:cubicBezTo>
                  <a:cubicBezTo>
                    <a:pt x="361765" y="44762"/>
                    <a:pt x="365476" y="55010"/>
                    <a:pt x="368020" y="67048"/>
                  </a:cubicBezTo>
                  <a:cubicBezTo>
                    <a:pt x="370578" y="78974"/>
                    <a:pt x="371848" y="92870"/>
                    <a:pt x="371848" y="108730"/>
                  </a:cubicBezTo>
                  <a:close/>
                  <a:moveTo>
                    <a:pt x="329995" y="155968"/>
                  </a:moveTo>
                  <a:lnTo>
                    <a:pt x="329995" y="102476"/>
                  </a:lnTo>
                  <a:cubicBezTo>
                    <a:pt x="329995" y="92403"/>
                    <a:pt x="329411" y="83546"/>
                    <a:pt x="328258" y="75905"/>
                  </a:cubicBezTo>
                  <a:cubicBezTo>
                    <a:pt x="327091" y="68147"/>
                    <a:pt x="325355" y="61605"/>
                    <a:pt x="323039" y="56279"/>
                  </a:cubicBezTo>
                  <a:cubicBezTo>
                    <a:pt x="320841" y="50837"/>
                    <a:pt x="318059" y="46440"/>
                    <a:pt x="314708" y="43079"/>
                  </a:cubicBezTo>
                  <a:cubicBezTo>
                    <a:pt x="311342" y="39606"/>
                    <a:pt x="307529" y="37116"/>
                    <a:pt x="303234" y="35613"/>
                  </a:cubicBezTo>
                  <a:cubicBezTo>
                    <a:pt x="298959" y="33993"/>
                    <a:pt x="294148" y="33181"/>
                    <a:pt x="288823" y="33181"/>
                  </a:cubicBezTo>
                  <a:cubicBezTo>
                    <a:pt x="282349" y="33181"/>
                    <a:pt x="276542" y="34455"/>
                    <a:pt x="271459" y="37004"/>
                  </a:cubicBezTo>
                  <a:cubicBezTo>
                    <a:pt x="266357" y="39436"/>
                    <a:pt x="262081" y="43371"/>
                    <a:pt x="258613" y="48813"/>
                  </a:cubicBezTo>
                  <a:cubicBezTo>
                    <a:pt x="255126" y="54256"/>
                    <a:pt x="252466" y="61435"/>
                    <a:pt x="250608" y="70350"/>
                  </a:cubicBezTo>
                  <a:cubicBezTo>
                    <a:pt x="248871" y="79149"/>
                    <a:pt x="248015" y="89859"/>
                    <a:pt x="248015" y="102480"/>
                  </a:cubicBezTo>
                  <a:lnTo>
                    <a:pt x="248015" y="155973"/>
                  </a:lnTo>
                  <a:cubicBezTo>
                    <a:pt x="248015" y="166162"/>
                    <a:pt x="248584" y="175136"/>
                    <a:pt x="249752" y="182894"/>
                  </a:cubicBezTo>
                  <a:cubicBezTo>
                    <a:pt x="250904" y="190652"/>
                    <a:pt x="252636" y="197310"/>
                    <a:pt x="254956" y="202865"/>
                  </a:cubicBezTo>
                  <a:cubicBezTo>
                    <a:pt x="257276" y="208307"/>
                    <a:pt x="260058" y="212821"/>
                    <a:pt x="263302" y="216410"/>
                  </a:cubicBezTo>
                  <a:cubicBezTo>
                    <a:pt x="266653" y="219883"/>
                    <a:pt x="270481" y="222432"/>
                    <a:pt x="274756" y="224051"/>
                  </a:cubicBezTo>
                  <a:cubicBezTo>
                    <a:pt x="279153" y="225671"/>
                    <a:pt x="283964" y="226483"/>
                    <a:pt x="289168" y="226483"/>
                  </a:cubicBezTo>
                  <a:cubicBezTo>
                    <a:pt x="295778" y="226483"/>
                    <a:pt x="301619" y="225209"/>
                    <a:pt x="306721" y="222660"/>
                  </a:cubicBezTo>
                  <a:cubicBezTo>
                    <a:pt x="311804" y="220112"/>
                    <a:pt x="316099" y="216060"/>
                    <a:pt x="319567" y="210501"/>
                  </a:cubicBezTo>
                  <a:cubicBezTo>
                    <a:pt x="323035" y="204830"/>
                    <a:pt x="325646" y="197476"/>
                    <a:pt x="327383" y="188443"/>
                  </a:cubicBezTo>
                  <a:cubicBezTo>
                    <a:pt x="329119" y="179411"/>
                    <a:pt x="329995" y="168585"/>
                    <a:pt x="329995" y="155963"/>
                  </a:cubicBezTo>
                  <a:close/>
                  <a:moveTo>
                    <a:pt x="578701" y="223006"/>
                  </a:moveTo>
                  <a:lnTo>
                    <a:pt x="578701" y="256352"/>
                  </a:lnTo>
                  <a:lnTo>
                    <a:pt x="409187" y="256352"/>
                  </a:lnTo>
                  <a:lnTo>
                    <a:pt x="409187" y="227694"/>
                  </a:lnTo>
                  <a:lnTo>
                    <a:pt x="491507" y="137904"/>
                  </a:lnTo>
                  <a:cubicBezTo>
                    <a:pt x="500539" y="127714"/>
                    <a:pt x="507670" y="118915"/>
                    <a:pt x="512874" y="111503"/>
                  </a:cubicBezTo>
                  <a:cubicBezTo>
                    <a:pt x="518078" y="104090"/>
                    <a:pt x="521736" y="97437"/>
                    <a:pt x="523813" y="91532"/>
                  </a:cubicBezTo>
                  <a:cubicBezTo>
                    <a:pt x="526011" y="85511"/>
                    <a:pt x="527110" y="79664"/>
                    <a:pt x="527110" y="73988"/>
                  </a:cubicBezTo>
                  <a:cubicBezTo>
                    <a:pt x="527110" y="65997"/>
                    <a:pt x="525617" y="58993"/>
                    <a:pt x="522592" y="52972"/>
                  </a:cubicBezTo>
                  <a:cubicBezTo>
                    <a:pt x="519708" y="46834"/>
                    <a:pt x="515413" y="42028"/>
                    <a:pt x="509746" y="38555"/>
                  </a:cubicBezTo>
                  <a:cubicBezTo>
                    <a:pt x="504080" y="34966"/>
                    <a:pt x="497193" y="33171"/>
                    <a:pt x="489085" y="33171"/>
                  </a:cubicBezTo>
                  <a:cubicBezTo>
                    <a:pt x="479708" y="33171"/>
                    <a:pt x="471823" y="35199"/>
                    <a:pt x="465452" y="39251"/>
                  </a:cubicBezTo>
                  <a:cubicBezTo>
                    <a:pt x="459095" y="43302"/>
                    <a:pt x="454289" y="48920"/>
                    <a:pt x="451040" y="56099"/>
                  </a:cubicBezTo>
                  <a:cubicBezTo>
                    <a:pt x="447796" y="63161"/>
                    <a:pt x="446181" y="71269"/>
                    <a:pt x="446181" y="80413"/>
                  </a:cubicBezTo>
                  <a:lnTo>
                    <a:pt x="404328" y="80413"/>
                  </a:lnTo>
                  <a:cubicBezTo>
                    <a:pt x="404328" y="65710"/>
                    <a:pt x="407679" y="52276"/>
                    <a:pt x="414391" y="40122"/>
                  </a:cubicBezTo>
                  <a:cubicBezTo>
                    <a:pt x="421108" y="27850"/>
                    <a:pt x="430846" y="18123"/>
                    <a:pt x="443569" y="10944"/>
                  </a:cubicBezTo>
                  <a:cubicBezTo>
                    <a:pt x="456313" y="3648"/>
                    <a:pt x="471648" y="0"/>
                    <a:pt x="489596" y="0"/>
                  </a:cubicBezTo>
                  <a:cubicBezTo>
                    <a:pt x="506497" y="0"/>
                    <a:pt x="520855" y="2836"/>
                    <a:pt x="532670" y="8512"/>
                  </a:cubicBezTo>
                  <a:cubicBezTo>
                    <a:pt x="544484" y="14188"/>
                    <a:pt x="553453" y="22232"/>
                    <a:pt x="559581" y="32656"/>
                  </a:cubicBezTo>
                  <a:cubicBezTo>
                    <a:pt x="565831" y="43074"/>
                    <a:pt x="568958" y="55409"/>
                    <a:pt x="568958" y="69650"/>
                  </a:cubicBezTo>
                  <a:cubicBezTo>
                    <a:pt x="568958" y="77524"/>
                    <a:pt x="567689" y="85340"/>
                    <a:pt x="565145" y="93098"/>
                  </a:cubicBezTo>
                  <a:cubicBezTo>
                    <a:pt x="562601" y="100856"/>
                    <a:pt x="558944" y="108614"/>
                    <a:pt x="554207" y="116372"/>
                  </a:cubicBezTo>
                  <a:cubicBezTo>
                    <a:pt x="549571" y="124013"/>
                    <a:pt x="544075" y="131712"/>
                    <a:pt x="537704" y="139470"/>
                  </a:cubicBezTo>
                  <a:cubicBezTo>
                    <a:pt x="531332" y="147111"/>
                    <a:pt x="524323" y="154869"/>
                    <a:pt x="516697" y="162743"/>
                  </a:cubicBezTo>
                  <a:lnTo>
                    <a:pt x="461979" y="223011"/>
                  </a:lnTo>
                  <a:lnTo>
                    <a:pt x="578701" y="223011"/>
                  </a:lnTo>
                  <a:close/>
                  <a:moveTo>
                    <a:pt x="660505" y="110982"/>
                  </a:moveTo>
                  <a:lnTo>
                    <a:pt x="685510" y="110982"/>
                  </a:lnTo>
                  <a:cubicBezTo>
                    <a:pt x="695233" y="110982"/>
                    <a:pt x="703287" y="109304"/>
                    <a:pt x="709639" y="105948"/>
                  </a:cubicBezTo>
                  <a:cubicBezTo>
                    <a:pt x="716132" y="102592"/>
                    <a:pt x="720943" y="97957"/>
                    <a:pt x="724065" y="92052"/>
                  </a:cubicBezTo>
                  <a:cubicBezTo>
                    <a:pt x="727193" y="86148"/>
                    <a:pt x="728754" y="79373"/>
                    <a:pt x="728754" y="71731"/>
                  </a:cubicBezTo>
                  <a:cubicBezTo>
                    <a:pt x="728754" y="64090"/>
                    <a:pt x="727295" y="56911"/>
                    <a:pt x="724411" y="51240"/>
                  </a:cubicBezTo>
                  <a:cubicBezTo>
                    <a:pt x="721628" y="45452"/>
                    <a:pt x="717353" y="40992"/>
                    <a:pt x="711565" y="37865"/>
                  </a:cubicBezTo>
                  <a:cubicBezTo>
                    <a:pt x="705879" y="34737"/>
                    <a:pt x="698652" y="33176"/>
                    <a:pt x="689858" y="33176"/>
                  </a:cubicBezTo>
                  <a:cubicBezTo>
                    <a:pt x="682441" y="33176"/>
                    <a:pt x="675724" y="34679"/>
                    <a:pt x="669712" y="37690"/>
                  </a:cubicBezTo>
                  <a:cubicBezTo>
                    <a:pt x="663803" y="40584"/>
                    <a:pt x="659114" y="44752"/>
                    <a:pt x="655626" y="50195"/>
                  </a:cubicBezTo>
                  <a:cubicBezTo>
                    <a:pt x="652159" y="55520"/>
                    <a:pt x="650422" y="61887"/>
                    <a:pt x="650422" y="69300"/>
                  </a:cubicBezTo>
                  <a:lnTo>
                    <a:pt x="608394" y="69300"/>
                  </a:lnTo>
                  <a:cubicBezTo>
                    <a:pt x="608394" y="55866"/>
                    <a:pt x="611916" y="43945"/>
                    <a:pt x="618992" y="33521"/>
                  </a:cubicBezTo>
                  <a:cubicBezTo>
                    <a:pt x="626050" y="23103"/>
                    <a:pt x="635670" y="14937"/>
                    <a:pt x="647810" y="9032"/>
                  </a:cubicBezTo>
                  <a:cubicBezTo>
                    <a:pt x="660092" y="3011"/>
                    <a:pt x="673866" y="0"/>
                    <a:pt x="689148" y="0"/>
                  </a:cubicBezTo>
                  <a:cubicBezTo>
                    <a:pt x="705480" y="0"/>
                    <a:pt x="719717" y="2724"/>
                    <a:pt x="731876" y="8161"/>
                  </a:cubicBezTo>
                  <a:cubicBezTo>
                    <a:pt x="744138" y="13487"/>
                    <a:pt x="753705" y="21479"/>
                    <a:pt x="760524" y="32130"/>
                  </a:cubicBezTo>
                  <a:cubicBezTo>
                    <a:pt x="767358" y="42782"/>
                    <a:pt x="770777" y="55982"/>
                    <a:pt x="770777" y="71727"/>
                  </a:cubicBezTo>
                  <a:cubicBezTo>
                    <a:pt x="770777" y="78906"/>
                    <a:pt x="769094" y="86201"/>
                    <a:pt x="765743" y="93609"/>
                  </a:cubicBezTo>
                  <a:cubicBezTo>
                    <a:pt x="762378" y="101021"/>
                    <a:pt x="757397" y="107792"/>
                    <a:pt x="750802" y="113930"/>
                  </a:cubicBezTo>
                  <a:cubicBezTo>
                    <a:pt x="744206" y="119951"/>
                    <a:pt x="735982" y="124869"/>
                    <a:pt x="726137" y="128692"/>
                  </a:cubicBezTo>
                  <a:cubicBezTo>
                    <a:pt x="716298" y="132398"/>
                    <a:pt x="704892" y="134251"/>
                    <a:pt x="691925" y="134251"/>
                  </a:cubicBezTo>
                  <a:lnTo>
                    <a:pt x="660495" y="134251"/>
                  </a:lnTo>
                  <a:lnTo>
                    <a:pt x="660495" y="110978"/>
                  </a:lnTo>
                  <a:close/>
                  <a:moveTo>
                    <a:pt x="660505" y="143633"/>
                  </a:moveTo>
                  <a:lnTo>
                    <a:pt x="660505" y="120705"/>
                  </a:lnTo>
                  <a:lnTo>
                    <a:pt x="691935" y="120705"/>
                  </a:lnTo>
                  <a:cubicBezTo>
                    <a:pt x="706755" y="120705"/>
                    <a:pt x="719381" y="122442"/>
                    <a:pt x="729790" y="125914"/>
                  </a:cubicBezTo>
                  <a:cubicBezTo>
                    <a:pt x="740335" y="129387"/>
                    <a:pt x="748905" y="134193"/>
                    <a:pt x="755500" y="140331"/>
                  </a:cubicBezTo>
                  <a:cubicBezTo>
                    <a:pt x="762095" y="146352"/>
                    <a:pt x="766906" y="153239"/>
                    <a:pt x="769911" y="160997"/>
                  </a:cubicBezTo>
                  <a:cubicBezTo>
                    <a:pt x="773039" y="168755"/>
                    <a:pt x="774600" y="176975"/>
                    <a:pt x="774600" y="185661"/>
                  </a:cubicBezTo>
                  <a:cubicBezTo>
                    <a:pt x="774600" y="197471"/>
                    <a:pt x="772470" y="208006"/>
                    <a:pt x="768175" y="217271"/>
                  </a:cubicBezTo>
                  <a:cubicBezTo>
                    <a:pt x="764016" y="226420"/>
                    <a:pt x="758044" y="234178"/>
                    <a:pt x="750296" y="240545"/>
                  </a:cubicBezTo>
                  <a:cubicBezTo>
                    <a:pt x="742533" y="246911"/>
                    <a:pt x="733447" y="251717"/>
                    <a:pt x="723024" y="254961"/>
                  </a:cubicBezTo>
                  <a:cubicBezTo>
                    <a:pt x="712718" y="258205"/>
                    <a:pt x="701487" y="259825"/>
                    <a:pt x="689328" y="259825"/>
                  </a:cubicBezTo>
                  <a:cubicBezTo>
                    <a:pt x="678457" y="259825"/>
                    <a:pt x="668029" y="258322"/>
                    <a:pt x="658068" y="255311"/>
                  </a:cubicBezTo>
                  <a:cubicBezTo>
                    <a:pt x="648107" y="252300"/>
                    <a:pt x="639192" y="247845"/>
                    <a:pt x="631327" y="241940"/>
                  </a:cubicBezTo>
                  <a:cubicBezTo>
                    <a:pt x="623443" y="235919"/>
                    <a:pt x="617193" y="228453"/>
                    <a:pt x="612572" y="219538"/>
                  </a:cubicBezTo>
                  <a:cubicBezTo>
                    <a:pt x="608054" y="210506"/>
                    <a:pt x="605787" y="200087"/>
                    <a:pt x="605787" y="188273"/>
                  </a:cubicBezTo>
                  <a:lnTo>
                    <a:pt x="647640" y="188273"/>
                  </a:lnTo>
                  <a:cubicBezTo>
                    <a:pt x="647640" y="195802"/>
                    <a:pt x="649377" y="202456"/>
                    <a:pt x="652859" y="208249"/>
                  </a:cubicBezTo>
                  <a:cubicBezTo>
                    <a:pt x="656449" y="213920"/>
                    <a:pt x="661429" y="218380"/>
                    <a:pt x="667786" y="221619"/>
                  </a:cubicBezTo>
                  <a:cubicBezTo>
                    <a:pt x="674279" y="224864"/>
                    <a:pt x="681682" y="226483"/>
                    <a:pt x="690028" y="226483"/>
                  </a:cubicBezTo>
                  <a:cubicBezTo>
                    <a:pt x="698822" y="226483"/>
                    <a:pt x="706415" y="224922"/>
                    <a:pt x="712767" y="221795"/>
                  </a:cubicBezTo>
                  <a:cubicBezTo>
                    <a:pt x="719138" y="218667"/>
                    <a:pt x="723997" y="214037"/>
                    <a:pt x="727363" y="207899"/>
                  </a:cubicBezTo>
                  <a:cubicBezTo>
                    <a:pt x="730831" y="201761"/>
                    <a:pt x="732567" y="194353"/>
                    <a:pt x="732567" y="185671"/>
                  </a:cubicBezTo>
                  <a:cubicBezTo>
                    <a:pt x="732567" y="175827"/>
                    <a:pt x="730660" y="167840"/>
                    <a:pt x="726847" y="161702"/>
                  </a:cubicBezTo>
                  <a:cubicBezTo>
                    <a:pt x="723019" y="155564"/>
                    <a:pt x="717572" y="151050"/>
                    <a:pt x="710515" y="148157"/>
                  </a:cubicBezTo>
                  <a:cubicBezTo>
                    <a:pt x="703457" y="145146"/>
                    <a:pt x="695111" y="143643"/>
                    <a:pt x="685510" y="143643"/>
                  </a:cubicBezTo>
                  <a:lnTo>
                    <a:pt x="660505" y="143643"/>
                  </a:lnTo>
                  <a:close/>
                </a:path>
              </a:pathLst>
            </a:custGeom>
            <a:solidFill>
              <a:schemeClr val="bg1"/>
            </a:solidFill>
            <a:ln w="48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dirty="0"/>
            </a:p>
          </p:txBody>
        </p:sp>
      </p:grpSp>
      <p:pic>
        <p:nvPicPr>
          <p:cNvPr id="54" name="Рисунок 53">
            <a:extLst>
              <a:ext uri="{FF2B5EF4-FFF2-40B4-BE49-F238E27FC236}">
                <a16:creationId xmlns:a16="http://schemas.microsoft.com/office/drawing/2014/main" id="{E839AC3F-98E2-4BD2-8964-617EEB2F68EB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823295" y="648375"/>
            <a:ext cx="1019658" cy="285320"/>
          </a:xfrm>
          <a:prstGeom prst="rect">
            <a:avLst/>
          </a:prstGeom>
        </p:spPr>
      </p:pic>
    </p:spTree>
    <p:custDataLst>
      <p:tags r:id="rId1"/>
    </p:custData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Rounded Rectangle">
            <a:extLst>
              <a:ext uri="{FF2B5EF4-FFF2-40B4-BE49-F238E27FC236}">
                <a16:creationId xmlns:a16="http://schemas.microsoft.com/office/drawing/2014/main" id="{4A1A861F-77ED-4663-9389-8E9FD44BABD1}"/>
              </a:ext>
            </a:extLst>
          </p:cNvPr>
          <p:cNvSpPr/>
          <p:nvPr/>
        </p:nvSpPr>
        <p:spPr>
          <a:xfrm>
            <a:off x="0" y="2579435"/>
            <a:ext cx="12192000" cy="1785141"/>
          </a:xfrm>
          <a:prstGeom prst="roundRect">
            <a:avLst>
              <a:gd name="adj" fmla="val 0"/>
            </a:avLst>
          </a:prstGeom>
          <a:solidFill>
            <a:schemeClr val="bg1">
              <a:alpha val="96000"/>
            </a:schemeClr>
          </a:solidFill>
          <a:ln w="12700" cap="flat">
            <a:noFill/>
            <a:prstDash val="solid"/>
            <a:miter/>
          </a:ln>
          <a:effectLst>
            <a:outerShdw blurRad="1003300" sx="102000" sy="102000" algn="ctr" rotWithShape="0">
              <a:schemeClr val="tx1">
                <a:alpha val="20000"/>
              </a:schemeClr>
            </a:outerShdw>
          </a:effectLst>
        </p:spPr>
        <p:txBody>
          <a:bodyPr lIns="0" tIns="0" rIns="0" bIns="0" anchor="ctr"/>
          <a:lstStyle/>
          <a:p>
            <a:pPr marL="0" marR="0" lvl="0" indent="0" algn="ctr" defTabSz="309563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" pitchFamily="2" charset="0"/>
              <a:ea typeface="Roboto" pitchFamily="2" charset="0"/>
              <a:cs typeface="Poppins Bold"/>
              <a:sym typeface="Poppins Bold"/>
            </a:endParaRPr>
          </a:p>
        </p:txBody>
      </p:sp>
      <p:sp>
        <p:nvSpPr>
          <p:cNvPr id="41" name="Заголовок">
            <a:extLst>
              <a:ext uri="{FF2B5EF4-FFF2-40B4-BE49-F238E27FC236}">
                <a16:creationId xmlns:a16="http://schemas.microsoft.com/office/drawing/2014/main" id="{C2DC1C9A-4F65-42B1-86E3-6E4D91075984}"/>
              </a:ext>
            </a:extLst>
          </p:cNvPr>
          <p:cNvSpPr txBox="1"/>
          <p:nvPr/>
        </p:nvSpPr>
        <p:spPr>
          <a:xfrm>
            <a:off x="507067" y="376044"/>
            <a:ext cx="7006253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4400" dirty="0" err="1">
                <a:solidFill>
                  <a:srgbClr val="0D0D0D">
                    <a:lumMod val="75000"/>
                    <a:lumOff val="25000"/>
                  </a:srgbClr>
                </a:solidFill>
                <a:latin typeface="SB Sans Text Medium" panose="020B0603040504020204" pitchFamily="34" charset="-52"/>
                <a:ea typeface="Roboto" pitchFamily="2" charset="0"/>
                <a:cs typeface="SB Sans Text Medium" panose="020B0603040504020204" pitchFamily="34" charset="-52"/>
              </a:rPr>
              <a:t>СберСтрахование</a:t>
            </a:r>
            <a:endParaRPr lang="ru-RU" sz="4400" dirty="0">
              <a:solidFill>
                <a:srgbClr val="0D0D0D">
                  <a:lumMod val="75000"/>
                  <a:lumOff val="25000"/>
                </a:srgbClr>
              </a:solidFill>
              <a:latin typeface="SB Sans Text Medium" panose="020B0603040504020204" pitchFamily="34" charset="-52"/>
              <a:ea typeface="Roboto" pitchFamily="2" charset="0"/>
              <a:cs typeface="SB Sans Text Medium" panose="020B0603040504020204" pitchFamily="34" charset="-52"/>
            </a:endParaRPr>
          </a:p>
        </p:txBody>
      </p:sp>
      <p:grpSp>
        <p:nvGrpSpPr>
          <p:cNvPr id="42" name="CDIConf_Black">
            <a:extLst>
              <a:ext uri="{FF2B5EF4-FFF2-40B4-BE49-F238E27FC236}">
                <a16:creationId xmlns:a16="http://schemas.microsoft.com/office/drawing/2014/main" id="{F3F1710A-CB9B-4080-B969-0477C48F22E5}"/>
              </a:ext>
            </a:extLst>
          </p:cNvPr>
          <p:cNvGrpSpPr/>
          <p:nvPr/>
        </p:nvGrpSpPr>
        <p:grpSpPr>
          <a:xfrm>
            <a:off x="9284984" y="6140223"/>
            <a:ext cx="2270483" cy="296171"/>
            <a:chOff x="7406975" y="5855999"/>
            <a:chExt cx="2270483" cy="296171"/>
          </a:xfrm>
        </p:grpSpPr>
        <p:sp>
          <p:nvSpPr>
            <p:cNvPr id="45" name="Полилиния: фигура 44">
              <a:extLst>
                <a:ext uri="{FF2B5EF4-FFF2-40B4-BE49-F238E27FC236}">
                  <a16:creationId xmlns:a16="http://schemas.microsoft.com/office/drawing/2014/main" id="{13A11B35-F320-4F31-908D-85B2D024FD4B}"/>
                </a:ext>
              </a:extLst>
            </p:cNvPr>
            <p:cNvSpPr/>
            <p:nvPr/>
          </p:nvSpPr>
          <p:spPr>
            <a:xfrm>
              <a:off x="7406975" y="5878280"/>
              <a:ext cx="1394458" cy="273890"/>
            </a:xfrm>
            <a:custGeom>
              <a:avLst/>
              <a:gdLst>
                <a:gd name="connsiteX0" fmla="*/ 157354 w 1394458"/>
                <a:gd name="connsiteY0" fmla="*/ 188093 h 273890"/>
                <a:gd name="connsiteX1" fmla="*/ 200773 w 1394458"/>
                <a:gd name="connsiteY1" fmla="*/ 188093 h 273890"/>
                <a:gd name="connsiteX2" fmla="*/ 186877 w 1394458"/>
                <a:gd name="connsiteY2" fmla="*/ 232383 h 273890"/>
                <a:gd name="connsiteX3" fmla="*/ 153706 w 1394458"/>
                <a:gd name="connsiteY3" fmla="*/ 262777 h 273890"/>
                <a:gd name="connsiteX4" fmla="*/ 101775 w 1394458"/>
                <a:gd name="connsiteY4" fmla="*/ 273891 h 273890"/>
                <a:gd name="connsiteX5" fmla="*/ 59572 w 1394458"/>
                <a:gd name="connsiteY5" fmla="*/ 265554 h 273890"/>
                <a:gd name="connsiteX6" fmla="*/ 27442 w 1394458"/>
                <a:gd name="connsiteY6" fmla="*/ 241585 h 273890"/>
                <a:gd name="connsiteX7" fmla="*/ 6950 w 1394458"/>
                <a:gd name="connsiteY7" fmla="*/ 203896 h 273890"/>
                <a:gd name="connsiteX8" fmla="*/ 0 w 1394458"/>
                <a:gd name="connsiteY8" fmla="*/ 154577 h 273890"/>
                <a:gd name="connsiteX9" fmla="*/ 0 w 1394458"/>
                <a:gd name="connsiteY9" fmla="*/ 133560 h 273890"/>
                <a:gd name="connsiteX10" fmla="*/ 7121 w 1394458"/>
                <a:gd name="connsiteY10" fmla="*/ 84236 h 273890"/>
                <a:gd name="connsiteX11" fmla="*/ 27962 w 1394458"/>
                <a:gd name="connsiteY11" fmla="*/ 46552 h 273890"/>
                <a:gd name="connsiteX12" fmla="*/ 60438 w 1394458"/>
                <a:gd name="connsiteY12" fmla="*/ 22408 h 273890"/>
                <a:gd name="connsiteX13" fmla="*/ 103336 w 1394458"/>
                <a:gd name="connsiteY13" fmla="*/ 14071 h 273890"/>
                <a:gd name="connsiteX14" fmla="*/ 154397 w 1394458"/>
                <a:gd name="connsiteY14" fmla="*/ 25185 h 273890"/>
                <a:gd name="connsiteX15" fmla="*/ 186702 w 1394458"/>
                <a:gd name="connsiteY15" fmla="*/ 55924 h 273890"/>
                <a:gd name="connsiteX16" fmla="*/ 200943 w 1394458"/>
                <a:gd name="connsiteY16" fmla="*/ 100905 h 273890"/>
                <a:gd name="connsiteX17" fmla="*/ 157524 w 1394458"/>
                <a:gd name="connsiteY17" fmla="*/ 100905 h 273890"/>
                <a:gd name="connsiteX18" fmla="*/ 149883 w 1394458"/>
                <a:gd name="connsiteY18" fmla="*/ 72943 h 273890"/>
                <a:gd name="connsiteX19" fmla="*/ 132865 w 1394458"/>
                <a:gd name="connsiteY19" fmla="*/ 55229 h 273890"/>
                <a:gd name="connsiteX20" fmla="*/ 103341 w 1394458"/>
                <a:gd name="connsiteY20" fmla="*/ 48974 h 273890"/>
                <a:gd name="connsiteX21" fmla="*/ 77291 w 1394458"/>
                <a:gd name="connsiteY21" fmla="*/ 54533 h 273890"/>
                <a:gd name="connsiteX22" fmla="*/ 58706 w 1394458"/>
                <a:gd name="connsiteY22" fmla="*/ 70861 h 273890"/>
                <a:gd name="connsiteX23" fmla="*/ 47417 w 1394458"/>
                <a:gd name="connsiteY23" fmla="*/ 97432 h 273890"/>
                <a:gd name="connsiteX24" fmla="*/ 43769 w 1394458"/>
                <a:gd name="connsiteY24" fmla="*/ 133210 h 273890"/>
                <a:gd name="connsiteX25" fmla="*/ 43769 w 1394458"/>
                <a:gd name="connsiteY25" fmla="*/ 154572 h 273890"/>
                <a:gd name="connsiteX26" fmla="*/ 47067 w 1394458"/>
                <a:gd name="connsiteY26" fmla="*/ 189304 h 273890"/>
                <a:gd name="connsiteX27" fmla="*/ 57490 w 1394458"/>
                <a:gd name="connsiteY27" fmla="*/ 215875 h 273890"/>
                <a:gd name="connsiteX28" fmla="*/ 75550 w 1394458"/>
                <a:gd name="connsiteY28" fmla="*/ 233069 h 273890"/>
                <a:gd name="connsiteX29" fmla="*/ 101775 w 1394458"/>
                <a:gd name="connsiteY29" fmla="*/ 239149 h 273890"/>
                <a:gd name="connsiteX30" fmla="*/ 131824 w 1394458"/>
                <a:gd name="connsiteY30" fmla="*/ 233244 h 273890"/>
                <a:gd name="connsiteX31" fmla="*/ 149363 w 1394458"/>
                <a:gd name="connsiteY31" fmla="*/ 216050 h 273890"/>
                <a:gd name="connsiteX32" fmla="*/ 157354 w 1394458"/>
                <a:gd name="connsiteY32" fmla="*/ 188088 h 273890"/>
                <a:gd name="connsiteX33" fmla="*/ 313837 w 1394458"/>
                <a:gd name="connsiteY33" fmla="*/ 270418 h 273890"/>
                <a:gd name="connsiteX34" fmla="*/ 259825 w 1394458"/>
                <a:gd name="connsiteY34" fmla="*/ 270418 h 273890"/>
                <a:gd name="connsiteX35" fmla="*/ 260170 w 1394458"/>
                <a:gd name="connsiteY35" fmla="*/ 235856 h 273890"/>
                <a:gd name="connsiteX36" fmla="*/ 313837 w 1394458"/>
                <a:gd name="connsiteY36" fmla="*/ 235856 h 273890"/>
                <a:gd name="connsiteX37" fmla="*/ 353088 w 1394458"/>
                <a:gd name="connsiteY37" fmla="*/ 225608 h 273890"/>
                <a:gd name="connsiteX38" fmla="*/ 377057 w 1394458"/>
                <a:gd name="connsiteY38" fmla="*/ 196255 h 273890"/>
                <a:gd name="connsiteX39" fmla="*/ 385218 w 1394458"/>
                <a:gd name="connsiteY39" fmla="*/ 150754 h 273890"/>
                <a:gd name="connsiteX40" fmla="*/ 385218 w 1394458"/>
                <a:gd name="connsiteY40" fmla="*/ 137033 h 273890"/>
                <a:gd name="connsiteX41" fmla="*/ 380530 w 1394458"/>
                <a:gd name="connsiteY41" fmla="*/ 100734 h 273890"/>
                <a:gd name="connsiteX42" fmla="*/ 366984 w 1394458"/>
                <a:gd name="connsiteY42" fmla="*/ 74163 h 273890"/>
                <a:gd name="connsiteX43" fmla="*/ 345102 w 1394458"/>
                <a:gd name="connsiteY43" fmla="*/ 57840 h 273890"/>
                <a:gd name="connsiteX44" fmla="*/ 315403 w 1394458"/>
                <a:gd name="connsiteY44" fmla="*/ 52281 h 273890"/>
                <a:gd name="connsiteX45" fmla="*/ 258784 w 1394458"/>
                <a:gd name="connsiteY45" fmla="*/ 52281 h 273890"/>
                <a:gd name="connsiteX46" fmla="*/ 258784 w 1394458"/>
                <a:gd name="connsiteY46" fmla="*/ 17544 h 273890"/>
                <a:gd name="connsiteX47" fmla="*/ 315403 w 1394458"/>
                <a:gd name="connsiteY47" fmla="*/ 17544 h 273890"/>
                <a:gd name="connsiteX48" fmla="*/ 361429 w 1394458"/>
                <a:gd name="connsiteY48" fmla="*/ 26055 h 273890"/>
                <a:gd name="connsiteX49" fmla="*/ 397383 w 1394458"/>
                <a:gd name="connsiteY49" fmla="*/ 50195 h 273890"/>
                <a:gd name="connsiteX50" fmla="*/ 420826 w 1394458"/>
                <a:gd name="connsiteY50" fmla="*/ 88054 h 273890"/>
                <a:gd name="connsiteX51" fmla="*/ 428988 w 1394458"/>
                <a:gd name="connsiteY51" fmla="*/ 137378 h 273890"/>
                <a:gd name="connsiteX52" fmla="*/ 428988 w 1394458"/>
                <a:gd name="connsiteY52" fmla="*/ 150754 h 273890"/>
                <a:gd name="connsiteX53" fmla="*/ 420826 w 1394458"/>
                <a:gd name="connsiteY53" fmla="*/ 200078 h 273890"/>
                <a:gd name="connsiteX54" fmla="*/ 397383 w 1394458"/>
                <a:gd name="connsiteY54" fmla="*/ 237938 h 273890"/>
                <a:gd name="connsiteX55" fmla="*/ 360909 w 1394458"/>
                <a:gd name="connsiteY55" fmla="*/ 262077 h 273890"/>
                <a:gd name="connsiteX56" fmla="*/ 313842 w 1394458"/>
                <a:gd name="connsiteY56" fmla="*/ 270413 h 273890"/>
                <a:gd name="connsiteX57" fmla="*/ 283964 w 1394458"/>
                <a:gd name="connsiteY57" fmla="*/ 17544 h 273890"/>
                <a:gd name="connsiteX58" fmla="*/ 283964 w 1394458"/>
                <a:gd name="connsiteY58" fmla="*/ 270418 h 273890"/>
                <a:gd name="connsiteX59" fmla="*/ 240369 w 1394458"/>
                <a:gd name="connsiteY59" fmla="*/ 270418 h 273890"/>
                <a:gd name="connsiteX60" fmla="*/ 240369 w 1394458"/>
                <a:gd name="connsiteY60" fmla="*/ 17544 h 273890"/>
                <a:gd name="connsiteX61" fmla="*/ 283964 w 1394458"/>
                <a:gd name="connsiteY61" fmla="*/ 17544 h 273890"/>
                <a:gd name="connsiteX62" fmla="*/ 519299 w 1394458"/>
                <a:gd name="connsiteY62" fmla="*/ 17544 h 273890"/>
                <a:gd name="connsiteX63" fmla="*/ 519299 w 1394458"/>
                <a:gd name="connsiteY63" fmla="*/ 270418 h 273890"/>
                <a:gd name="connsiteX64" fmla="*/ 475705 w 1394458"/>
                <a:gd name="connsiteY64" fmla="*/ 270418 h 273890"/>
                <a:gd name="connsiteX65" fmla="*/ 475705 w 1394458"/>
                <a:gd name="connsiteY65" fmla="*/ 17544 h 273890"/>
                <a:gd name="connsiteX66" fmla="*/ 519299 w 1394458"/>
                <a:gd name="connsiteY66" fmla="*/ 17544 h 273890"/>
                <a:gd name="connsiteX67" fmla="*/ 811424 w 1394458"/>
                <a:gd name="connsiteY67" fmla="*/ 188093 h 273890"/>
                <a:gd name="connsiteX68" fmla="*/ 854843 w 1394458"/>
                <a:gd name="connsiteY68" fmla="*/ 188093 h 273890"/>
                <a:gd name="connsiteX69" fmla="*/ 840947 w 1394458"/>
                <a:gd name="connsiteY69" fmla="*/ 232383 h 273890"/>
                <a:gd name="connsiteX70" fmla="*/ 807776 w 1394458"/>
                <a:gd name="connsiteY70" fmla="*/ 262777 h 273890"/>
                <a:gd name="connsiteX71" fmla="*/ 755845 w 1394458"/>
                <a:gd name="connsiteY71" fmla="*/ 273891 h 273890"/>
                <a:gd name="connsiteX72" fmla="*/ 713642 w 1394458"/>
                <a:gd name="connsiteY72" fmla="*/ 265554 h 273890"/>
                <a:gd name="connsiteX73" fmla="*/ 681512 w 1394458"/>
                <a:gd name="connsiteY73" fmla="*/ 241585 h 273890"/>
                <a:gd name="connsiteX74" fmla="*/ 661021 w 1394458"/>
                <a:gd name="connsiteY74" fmla="*/ 203896 h 273890"/>
                <a:gd name="connsiteX75" fmla="*/ 654075 w 1394458"/>
                <a:gd name="connsiteY75" fmla="*/ 154572 h 273890"/>
                <a:gd name="connsiteX76" fmla="*/ 654075 w 1394458"/>
                <a:gd name="connsiteY76" fmla="*/ 133555 h 273890"/>
                <a:gd name="connsiteX77" fmla="*/ 661196 w 1394458"/>
                <a:gd name="connsiteY77" fmla="*/ 84231 h 273890"/>
                <a:gd name="connsiteX78" fmla="*/ 682037 w 1394458"/>
                <a:gd name="connsiteY78" fmla="*/ 46547 h 273890"/>
                <a:gd name="connsiteX79" fmla="*/ 714513 w 1394458"/>
                <a:gd name="connsiteY79" fmla="*/ 22403 h 273890"/>
                <a:gd name="connsiteX80" fmla="*/ 757411 w 1394458"/>
                <a:gd name="connsiteY80" fmla="*/ 14066 h 273890"/>
                <a:gd name="connsiteX81" fmla="*/ 808472 w 1394458"/>
                <a:gd name="connsiteY81" fmla="*/ 25180 h 273890"/>
                <a:gd name="connsiteX82" fmla="*/ 840777 w 1394458"/>
                <a:gd name="connsiteY82" fmla="*/ 55919 h 273890"/>
                <a:gd name="connsiteX83" fmla="*/ 855018 w 1394458"/>
                <a:gd name="connsiteY83" fmla="*/ 100900 h 273890"/>
                <a:gd name="connsiteX84" fmla="*/ 811599 w 1394458"/>
                <a:gd name="connsiteY84" fmla="*/ 100900 h 273890"/>
                <a:gd name="connsiteX85" fmla="*/ 803958 w 1394458"/>
                <a:gd name="connsiteY85" fmla="*/ 72938 h 273890"/>
                <a:gd name="connsiteX86" fmla="*/ 786940 w 1394458"/>
                <a:gd name="connsiteY86" fmla="*/ 55224 h 273890"/>
                <a:gd name="connsiteX87" fmla="*/ 757416 w 1394458"/>
                <a:gd name="connsiteY87" fmla="*/ 48969 h 273890"/>
                <a:gd name="connsiteX88" fmla="*/ 731366 w 1394458"/>
                <a:gd name="connsiteY88" fmla="*/ 54528 h 273890"/>
                <a:gd name="connsiteX89" fmla="*/ 712781 w 1394458"/>
                <a:gd name="connsiteY89" fmla="*/ 70856 h 273890"/>
                <a:gd name="connsiteX90" fmla="*/ 701492 w 1394458"/>
                <a:gd name="connsiteY90" fmla="*/ 97427 h 273890"/>
                <a:gd name="connsiteX91" fmla="*/ 697844 w 1394458"/>
                <a:gd name="connsiteY91" fmla="*/ 133205 h 273890"/>
                <a:gd name="connsiteX92" fmla="*/ 697844 w 1394458"/>
                <a:gd name="connsiteY92" fmla="*/ 154567 h 273890"/>
                <a:gd name="connsiteX93" fmla="*/ 701142 w 1394458"/>
                <a:gd name="connsiteY93" fmla="*/ 189299 h 273890"/>
                <a:gd name="connsiteX94" fmla="*/ 711565 w 1394458"/>
                <a:gd name="connsiteY94" fmla="*/ 215870 h 273890"/>
                <a:gd name="connsiteX95" fmla="*/ 729629 w 1394458"/>
                <a:gd name="connsiteY95" fmla="*/ 233064 h 273890"/>
                <a:gd name="connsiteX96" fmla="*/ 755855 w 1394458"/>
                <a:gd name="connsiteY96" fmla="*/ 239144 h 273890"/>
                <a:gd name="connsiteX97" fmla="*/ 785904 w 1394458"/>
                <a:gd name="connsiteY97" fmla="*/ 233239 h 273890"/>
                <a:gd name="connsiteX98" fmla="*/ 803443 w 1394458"/>
                <a:gd name="connsiteY98" fmla="*/ 216046 h 273890"/>
                <a:gd name="connsiteX99" fmla="*/ 811434 w 1394458"/>
                <a:gd name="connsiteY99" fmla="*/ 188084 h 273890"/>
                <a:gd name="connsiteX100" fmla="*/ 882285 w 1394458"/>
                <a:gd name="connsiteY100" fmla="*/ 178541 h 273890"/>
                <a:gd name="connsiteX101" fmla="*/ 882285 w 1394458"/>
                <a:gd name="connsiteY101" fmla="*/ 174548 h 273890"/>
                <a:gd name="connsiteX102" fmla="*/ 888190 w 1394458"/>
                <a:gd name="connsiteY102" fmla="*/ 136858 h 273890"/>
                <a:gd name="connsiteX103" fmla="*/ 905208 w 1394458"/>
                <a:gd name="connsiteY103" fmla="*/ 106464 h 273890"/>
                <a:gd name="connsiteX104" fmla="*/ 932650 w 1394458"/>
                <a:gd name="connsiteY104" fmla="*/ 86318 h 273890"/>
                <a:gd name="connsiteX105" fmla="*/ 969469 w 1394458"/>
                <a:gd name="connsiteY105" fmla="*/ 79022 h 273890"/>
                <a:gd name="connsiteX106" fmla="*/ 1006288 w 1394458"/>
                <a:gd name="connsiteY106" fmla="*/ 86318 h 273890"/>
                <a:gd name="connsiteX107" fmla="*/ 1033899 w 1394458"/>
                <a:gd name="connsiteY107" fmla="*/ 106464 h 273890"/>
                <a:gd name="connsiteX108" fmla="*/ 1051093 w 1394458"/>
                <a:gd name="connsiteY108" fmla="*/ 136858 h 273890"/>
                <a:gd name="connsiteX109" fmla="*/ 1056998 w 1394458"/>
                <a:gd name="connsiteY109" fmla="*/ 174548 h 273890"/>
                <a:gd name="connsiteX110" fmla="*/ 1056998 w 1394458"/>
                <a:gd name="connsiteY110" fmla="*/ 178541 h 273890"/>
                <a:gd name="connsiteX111" fmla="*/ 1051093 w 1394458"/>
                <a:gd name="connsiteY111" fmla="*/ 216230 h 273890"/>
                <a:gd name="connsiteX112" fmla="*/ 1033899 w 1394458"/>
                <a:gd name="connsiteY112" fmla="*/ 246624 h 273890"/>
                <a:gd name="connsiteX113" fmla="*/ 1006458 w 1394458"/>
                <a:gd name="connsiteY113" fmla="*/ 266770 h 273890"/>
                <a:gd name="connsiteX114" fmla="*/ 969814 w 1394458"/>
                <a:gd name="connsiteY114" fmla="*/ 273891 h 273890"/>
                <a:gd name="connsiteX115" fmla="*/ 932820 w 1394458"/>
                <a:gd name="connsiteY115" fmla="*/ 266770 h 273890"/>
                <a:gd name="connsiteX116" fmla="*/ 905378 w 1394458"/>
                <a:gd name="connsiteY116" fmla="*/ 246624 h 273890"/>
                <a:gd name="connsiteX117" fmla="*/ 888185 w 1394458"/>
                <a:gd name="connsiteY117" fmla="*/ 216230 h 273890"/>
                <a:gd name="connsiteX118" fmla="*/ 882280 w 1394458"/>
                <a:gd name="connsiteY118" fmla="*/ 178541 h 273890"/>
                <a:gd name="connsiteX119" fmla="*/ 924143 w 1394458"/>
                <a:gd name="connsiteY119" fmla="*/ 174548 h 273890"/>
                <a:gd name="connsiteX120" fmla="*/ 924143 w 1394458"/>
                <a:gd name="connsiteY120" fmla="*/ 178541 h 273890"/>
                <a:gd name="connsiteX121" fmla="*/ 926750 w 1394458"/>
                <a:gd name="connsiteY121" fmla="*/ 202510 h 273890"/>
                <a:gd name="connsiteX122" fmla="*/ 934911 w 1394458"/>
                <a:gd name="connsiteY122" fmla="*/ 222310 h 273890"/>
                <a:gd name="connsiteX123" fmla="*/ 949152 w 1394458"/>
                <a:gd name="connsiteY123" fmla="*/ 235681 h 273890"/>
                <a:gd name="connsiteX124" fmla="*/ 969819 w 1394458"/>
                <a:gd name="connsiteY124" fmla="*/ 240545 h 273890"/>
                <a:gd name="connsiteX125" fmla="*/ 989965 w 1394458"/>
                <a:gd name="connsiteY125" fmla="*/ 235681 h 273890"/>
                <a:gd name="connsiteX126" fmla="*/ 1004206 w 1394458"/>
                <a:gd name="connsiteY126" fmla="*/ 222310 h 273890"/>
                <a:gd name="connsiteX127" fmla="*/ 1012367 w 1394458"/>
                <a:gd name="connsiteY127" fmla="*/ 202510 h 273890"/>
                <a:gd name="connsiteX128" fmla="*/ 1015145 w 1394458"/>
                <a:gd name="connsiteY128" fmla="*/ 178541 h 273890"/>
                <a:gd name="connsiteX129" fmla="*/ 1015145 w 1394458"/>
                <a:gd name="connsiteY129" fmla="*/ 174548 h 273890"/>
                <a:gd name="connsiteX130" fmla="*/ 1012367 w 1394458"/>
                <a:gd name="connsiteY130" fmla="*/ 150929 h 273890"/>
                <a:gd name="connsiteX131" fmla="*/ 1004031 w 1394458"/>
                <a:gd name="connsiteY131" fmla="*/ 130958 h 273890"/>
                <a:gd name="connsiteX132" fmla="*/ 989790 w 1394458"/>
                <a:gd name="connsiteY132" fmla="*/ 117412 h 273890"/>
                <a:gd name="connsiteX133" fmla="*/ 969469 w 1394458"/>
                <a:gd name="connsiteY133" fmla="*/ 112378 h 273890"/>
                <a:gd name="connsiteX134" fmla="*/ 948977 w 1394458"/>
                <a:gd name="connsiteY134" fmla="*/ 117412 h 273890"/>
                <a:gd name="connsiteX135" fmla="*/ 934911 w 1394458"/>
                <a:gd name="connsiteY135" fmla="*/ 130958 h 273890"/>
                <a:gd name="connsiteX136" fmla="*/ 926750 w 1394458"/>
                <a:gd name="connsiteY136" fmla="*/ 150929 h 273890"/>
                <a:gd name="connsiteX137" fmla="*/ 924143 w 1394458"/>
                <a:gd name="connsiteY137" fmla="*/ 174548 h 273890"/>
                <a:gd name="connsiteX138" fmla="*/ 1133598 w 1394458"/>
                <a:gd name="connsiteY138" fmla="*/ 122617 h 273890"/>
                <a:gd name="connsiteX139" fmla="*/ 1133598 w 1394458"/>
                <a:gd name="connsiteY139" fmla="*/ 270418 h 273890"/>
                <a:gd name="connsiteX140" fmla="*/ 1091745 w 1394458"/>
                <a:gd name="connsiteY140" fmla="*/ 270418 h 273890"/>
                <a:gd name="connsiteX141" fmla="*/ 1091745 w 1394458"/>
                <a:gd name="connsiteY141" fmla="*/ 82495 h 273890"/>
                <a:gd name="connsiteX142" fmla="*/ 1131171 w 1394458"/>
                <a:gd name="connsiteY142" fmla="*/ 82495 h 273890"/>
                <a:gd name="connsiteX143" fmla="*/ 1133603 w 1394458"/>
                <a:gd name="connsiteY143" fmla="*/ 122617 h 273890"/>
                <a:gd name="connsiteX144" fmla="*/ 1126132 w 1394458"/>
                <a:gd name="connsiteY144" fmla="*/ 169509 h 273890"/>
                <a:gd name="connsiteX145" fmla="*/ 1112586 w 1394458"/>
                <a:gd name="connsiteY145" fmla="*/ 169334 h 273890"/>
                <a:gd name="connsiteX146" fmla="*/ 1118145 w 1394458"/>
                <a:gd name="connsiteY146" fmla="*/ 132690 h 273890"/>
                <a:gd name="connsiteX147" fmla="*/ 1133428 w 1394458"/>
                <a:gd name="connsiteY147" fmla="*/ 104032 h 273890"/>
                <a:gd name="connsiteX148" fmla="*/ 1157046 w 1394458"/>
                <a:gd name="connsiteY148" fmla="*/ 85623 h 273890"/>
                <a:gd name="connsiteX149" fmla="*/ 1187615 w 1394458"/>
                <a:gd name="connsiteY149" fmla="*/ 79022 h 273890"/>
                <a:gd name="connsiteX150" fmla="*/ 1212105 w 1394458"/>
                <a:gd name="connsiteY150" fmla="*/ 82840 h 273890"/>
                <a:gd name="connsiteX151" fmla="*/ 1231034 w 1394458"/>
                <a:gd name="connsiteY151" fmla="*/ 94825 h 273890"/>
                <a:gd name="connsiteX152" fmla="*/ 1243189 w 1394458"/>
                <a:gd name="connsiteY152" fmla="*/ 116532 h 273890"/>
                <a:gd name="connsiteX153" fmla="*/ 1247357 w 1394458"/>
                <a:gd name="connsiteY153" fmla="*/ 149013 h 273890"/>
                <a:gd name="connsiteX154" fmla="*/ 1247357 w 1394458"/>
                <a:gd name="connsiteY154" fmla="*/ 270413 h 273890"/>
                <a:gd name="connsiteX155" fmla="*/ 1205329 w 1394458"/>
                <a:gd name="connsiteY155" fmla="*/ 270413 h 273890"/>
                <a:gd name="connsiteX156" fmla="*/ 1205329 w 1394458"/>
                <a:gd name="connsiteY156" fmla="*/ 148837 h 273890"/>
                <a:gd name="connsiteX157" fmla="*/ 1201336 w 1394458"/>
                <a:gd name="connsiteY157" fmla="*/ 127476 h 273890"/>
                <a:gd name="connsiteX158" fmla="*/ 1190047 w 1394458"/>
                <a:gd name="connsiteY158" fmla="*/ 116187 h 273890"/>
                <a:gd name="connsiteX159" fmla="*/ 1171813 w 1394458"/>
                <a:gd name="connsiteY159" fmla="*/ 112714 h 273890"/>
                <a:gd name="connsiteX160" fmla="*/ 1152533 w 1394458"/>
                <a:gd name="connsiteY160" fmla="*/ 117228 h 273890"/>
                <a:gd name="connsiteX161" fmla="*/ 1138116 w 1394458"/>
                <a:gd name="connsiteY161" fmla="*/ 129557 h 273890"/>
                <a:gd name="connsiteX162" fmla="*/ 1129259 w 1394458"/>
                <a:gd name="connsiteY162" fmla="*/ 147621 h 273890"/>
                <a:gd name="connsiteX163" fmla="*/ 1126132 w 1394458"/>
                <a:gd name="connsiteY163" fmla="*/ 169504 h 273890"/>
                <a:gd name="connsiteX164" fmla="*/ 1346701 w 1394458"/>
                <a:gd name="connsiteY164" fmla="*/ 270418 h 273890"/>
                <a:gd name="connsiteX165" fmla="*/ 1304843 w 1394458"/>
                <a:gd name="connsiteY165" fmla="*/ 270418 h 273890"/>
                <a:gd name="connsiteX166" fmla="*/ 1304843 w 1394458"/>
                <a:gd name="connsiteY166" fmla="*/ 64436 h 273890"/>
                <a:gd name="connsiteX167" fmla="*/ 1312659 w 1394458"/>
                <a:gd name="connsiteY167" fmla="*/ 29178 h 273890"/>
                <a:gd name="connsiteX168" fmla="*/ 1335412 w 1394458"/>
                <a:gd name="connsiteY168" fmla="*/ 7471 h 273890"/>
                <a:gd name="connsiteX169" fmla="*/ 1370319 w 1394458"/>
                <a:gd name="connsiteY169" fmla="*/ 0 h 273890"/>
                <a:gd name="connsiteX170" fmla="*/ 1382649 w 1394458"/>
                <a:gd name="connsiteY170" fmla="*/ 871 h 273890"/>
                <a:gd name="connsiteX171" fmla="*/ 1394458 w 1394458"/>
                <a:gd name="connsiteY171" fmla="*/ 3127 h 273890"/>
                <a:gd name="connsiteX172" fmla="*/ 1393418 w 1394458"/>
                <a:gd name="connsiteY172" fmla="*/ 35433 h 273890"/>
                <a:gd name="connsiteX173" fmla="*/ 1385776 w 1394458"/>
                <a:gd name="connsiteY173" fmla="*/ 34217 h 273890"/>
                <a:gd name="connsiteX174" fmla="*/ 1377095 w 1394458"/>
                <a:gd name="connsiteY174" fmla="*/ 33872 h 273890"/>
                <a:gd name="connsiteX175" fmla="*/ 1360596 w 1394458"/>
                <a:gd name="connsiteY175" fmla="*/ 37519 h 273890"/>
                <a:gd name="connsiteX176" fmla="*/ 1350178 w 1394458"/>
                <a:gd name="connsiteY176" fmla="*/ 47767 h 273890"/>
                <a:gd name="connsiteX177" fmla="*/ 1346706 w 1394458"/>
                <a:gd name="connsiteY177" fmla="*/ 64441 h 273890"/>
                <a:gd name="connsiteX178" fmla="*/ 1346706 w 1394458"/>
                <a:gd name="connsiteY178" fmla="*/ 270423 h 273890"/>
                <a:gd name="connsiteX179" fmla="*/ 1385431 w 1394458"/>
                <a:gd name="connsiteY179" fmla="*/ 82500 h 273890"/>
                <a:gd name="connsiteX180" fmla="*/ 1385431 w 1394458"/>
                <a:gd name="connsiteY180" fmla="*/ 113069 h 273890"/>
                <a:gd name="connsiteX181" fmla="*/ 1276015 w 1394458"/>
                <a:gd name="connsiteY181" fmla="*/ 113069 h 273890"/>
                <a:gd name="connsiteX182" fmla="*/ 1276015 w 1394458"/>
                <a:gd name="connsiteY182" fmla="*/ 82500 h 273890"/>
                <a:gd name="connsiteX183" fmla="*/ 1385431 w 1394458"/>
                <a:gd name="connsiteY183" fmla="*/ 82500 h 2738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</a:cxnLst>
              <a:rect l="l" t="t" r="r" b="b"/>
              <a:pathLst>
                <a:path w="1394458" h="273890">
                  <a:moveTo>
                    <a:pt x="157354" y="188093"/>
                  </a:moveTo>
                  <a:lnTo>
                    <a:pt x="200773" y="188093"/>
                  </a:lnTo>
                  <a:cubicBezTo>
                    <a:pt x="199382" y="204650"/>
                    <a:pt x="194752" y="219411"/>
                    <a:pt x="186877" y="232383"/>
                  </a:cubicBezTo>
                  <a:cubicBezTo>
                    <a:pt x="179003" y="245233"/>
                    <a:pt x="167947" y="255365"/>
                    <a:pt x="153706" y="262777"/>
                  </a:cubicBezTo>
                  <a:cubicBezTo>
                    <a:pt x="139465" y="270185"/>
                    <a:pt x="122155" y="273891"/>
                    <a:pt x="101775" y="273891"/>
                  </a:cubicBezTo>
                  <a:cubicBezTo>
                    <a:pt x="86143" y="273891"/>
                    <a:pt x="72077" y="271114"/>
                    <a:pt x="59572" y="265554"/>
                  </a:cubicBezTo>
                  <a:cubicBezTo>
                    <a:pt x="47067" y="259878"/>
                    <a:pt x="36357" y="251892"/>
                    <a:pt x="27442" y="241585"/>
                  </a:cubicBezTo>
                  <a:cubicBezTo>
                    <a:pt x="18526" y="231162"/>
                    <a:pt x="11697" y="218604"/>
                    <a:pt x="6950" y="203896"/>
                  </a:cubicBezTo>
                  <a:cubicBezTo>
                    <a:pt x="2315" y="189192"/>
                    <a:pt x="0" y="172753"/>
                    <a:pt x="0" y="154577"/>
                  </a:cubicBezTo>
                  <a:lnTo>
                    <a:pt x="0" y="133560"/>
                  </a:lnTo>
                  <a:cubicBezTo>
                    <a:pt x="0" y="115379"/>
                    <a:pt x="2374" y="98940"/>
                    <a:pt x="7121" y="84236"/>
                  </a:cubicBezTo>
                  <a:cubicBezTo>
                    <a:pt x="11984" y="69533"/>
                    <a:pt x="18930" y="56970"/>
                    <a:pt x="27962" y="46552"/>
                  </a:cubicBezTo>
                  <a:cubicBezTo>
                    <a:pt x="36994" y="36017"/>
                    <a:pt x="47816" y="27967"/>
                    <a:pt x="60438" y="22408"/>
                  </a:cubicBezTo>
                  <a:cubicBezTo>
                    <a:pt x="73171" y="16848"/>
                    <a:pt x="87471" y="14071"/>
                    <a:pt x="103336" y="14071"/>
                  </a:cubicBezTo>
                  <a:cubicBezTo>
                    <a:pt x="123482" y="14071"/>
                    <a:pt x="140506" y="17777"/>
                    <a:pt x="154397" y="25185"/>
                  </a:cubicBezTo>
                  <a:cubicBezTo>
                    <a:pt x="168293" y="32597"/>
                    <a:pt x="179056" y="42840"/>
                    <a:pt x="186702" y="55924"/>
                  </a:cubicBezTo>
                  <a:cubicBezTo>
                    <a:pt x="194460" y="69008"/>
                    <a:pt x="199207" y="84003"/>
                    <a:pt x="200943" y="100905"/>
                  </a:cubicBezTo>
                  <a:lnTo>
                    <a:pt x="157524" y="100905"/>
                  </a:lnTo>
                  <a:cubicBezTo>
                    <a:pt x="156367" y="90019"/>
                    <a:pt x="153818" y="80700"/>
                    <a:pt x="149883" y="72943"/>
                  </a:cubicBezTo>
                  <a:cubicBezTo>
                    <a:pt x="146065" y="65185"/>
                    <a:pt x="140389" y="59280"/>
                    <a:pt x="132865" y="55229"/>
                  </a:cubicBezTo>
                  <a:cubicBezTo>
                    <a:pt x="125340" y="51060"/>
                    <a:pt x="115496" y="48974"/>
                    <a:pt x="103341" y="48974"/>
                  </a:cubicBezTo>
                  <a:cubicBezTo>
                    <a:pt x="93385" y="48974"/>
                    <a:pt x="84698" y="50827"/>
                    <a:pt x="77291" y="54533"/>
                  </a:cubicBezTo>
                  <a:cubicBezTo>
                    <a:pt x="69878" y="58239"/>
                    <a:pt x="63687" y="63682"/>
                    <a:pt x="58706" y="70861"/>
                  </a:cubicBezTo>
                  <a:cubicBezTo>
                    <a:pt x="53730" y="78040"/>
                    <a:pt x="49966" y="86897"/>
                    <a:pt x="47417" y="97432"/>
                  </a:cubicBezTo>
                  <a:cubicBezTo>
                    <a:pt x="44985" y="107850"/>
                    <a:pt x="43769" y="119776"/>
                    <a:pt x="43769" y="133210"/>
                  </a:cubicBezTo>
                  <a:lnTo>
                    <a:pt x="43769" y="154572"/>
                  </a:lnTo>
                  <a:cubicBezTo>
                    <a:pt x="43769" y="167305"/>
                    <a:pt x="44869" y="178886"/>
                    <a:pt x="47067" y="189304"/>
                  </a:cubicBezTo>
                  <a:cubicBezTo>
                    <a:pt x="49382" y="199611"/>
                    <a:pt x="52855" y="208468"/>
                    <a:pt x="57490" y="215875"/>
                  </a:cubicBezTo>
                  <a:cubicBezTo>
                    <a:pt x="62237" y="223288"/>
                    <a:pt x="68259" y="229017"/>
                    <a:pt x="75550" y="233069"/>
                  </a:cubicBezTo>
                  <a:cubicBezTo>
                    <a:pt x="82845" y="237120"/>
                    <a:pt x="91585" y="239149"/>
                    <a:pt x="101775" y="239149"/>
                  </a:cubicBezTo>
                  <a:cubicBezTo>
                    <a:pt x="114163" y="239149"/>
                    <a:pt x="124178" y="237179"/>
                    <a:pt x="131824" y="233244"/>
                  </a:cubicBezTo>
                  <a:cubicBezTo>
                    <a:pt x="139582" y="229309"/>
                    <a:pt x="145428" y="223575"/>
                    <a:pt x="149363" y="216050"/>
                  </a:cubicBezTo>
                  <a:cubicBezTo>
                    <a:pt x="153414" y="208409"/>
                    <a:pt x="156080" y="199090"/>
                    <a:pt x="157354" y="188088"/>
                  </a:cubicBezTo>
                  <a:close/>
                  <a:moveTo>
                    <a:pt x="313837" y="270418"/>
                  </a:moveTo>
                  <a:lnTo>
                    <a:pt x="259825" y="270418"/>
                  </a:lnTo>
                  <a:lnTo>
                    <a:pt x="260170" y="235856"/>
                  </a:lnTo>
                  <a:lnTo>
                    <a:pt x="313837" y="235856"/>
                  </a:lnTo>
                  <a:cubicBezTo>
                    <a:pt x="329469" y="235856"/>
                    <a:pt x="342553" y="232441"/>
                    <a:pt x="353088" y="225608"/>
                  </a:cubicBezTo>
                  <a:cubicBezTo>
                    <a:pt x="363740" y="218779"/>
                    <a:pt x="371731" y="208993"/>
                    <a:pt x="377057" y="196255"/>
                  </a:cubicBezTo>
                  <a:cubicBezTo>
                    <a:pt x="382499" y="183521"/>
                    <a:pt x="385218" y="168351"/>
                    <a:pt x="385218" y="150754"/>
                  </a:cubicBezTo>
                  <a:lnTo>
                    <a:pt x="385218" y="137033"/>
                  </a:lnTo>
                  <a:cubicBezTo>
                    <a:pt x="385218" y="123371"/>
                    <a:pt x="383657" y="111269"/>
                    <a:pt x="380530" y="100734"/>
                  </a:cubicBezTo>
                  <a:cubicBezTo>
                    <a:pt x="377519" y="90199"/>
                    <a:pt x="373005" y="81342"/>
                    <a:pt x="366984" y="74163"/>
                  </a:cubicBezTo>
                  <a:cubicBezTo>
                    <a:pt x="361079" y="66984"/>
                    <a:pt x="353784" y="61542"/>
                    <a:pt x="345102" y="57840"/>
                  </a:cubicBezTo>
                  <a:cubicBezTo>
                    <a:pt x="336532" y="54134"/>
                    <a:pt x="326634" y="52281"/>
                    <a:pt x="315403" y="52281"/>
                  </a:cubicBezTo>
                  <a:lnTo>
                    <a:pt x="258784" y="52281"/>
                  </a:lnTo>
                  <a:lnTo>
                    <a:pt x="258784" y="17544"/>
                  </a:lnTo>
                  <a:lnTo>
                    <a:pt x="315403" y="17544"/>
                  </a:lnTo>
                  <a:cubicBezTo>
                    <a:pt x="332193" y="17544"/>
                    <a:pt x="347534" y="20379"/>
                    <a:pt x="361429" y="26055"/>
                  </a:cubicBezTo>
                  <a:cubicBezTo>
                    <a:pt x="375325" y="31615"/>
                    <a:pt x="387310" y="39660"/>
                    <a:pt x="397383" y="50195"/>
                  </a:cubicBezTo>
                  <a:cubicBezTo>
                    <a:pt x="407572" y="60730"/>
                    <a:pt x="415389" y="73351"/>
                    <a:pt x="420826" y="88054"/>
                  </a:cubicBezTo>
                  <a:cubicBezTo>
                    <a:pt x="426269" y="102758"/>
                    <a:pt x="428988" y="119202"/>
                    <a:pt x="428988" y="137378"/>
                  </a:cubicBezTo>
                  <a:lnTo>
                    <a:pt x="428988" y="150754"/>
                  </a:lnTo>
                  <a:cubicBezTo>
                    <a:pt x="428988" y="168930"/>
                    <a:pt x="426269" y="185374"/>
                    <a:pt x="420826" y="200078"/>
                  </a:cubicBezTo>
                  <a:cubicBezTo>
                    <a:pt x="415384" y="214781"/>
                    <a:pt x="407568" y="227403"/>
                    <a:pt x="397383" y="237938"/>
                  </a:cubicBezTo>
                  <a:cubicBezTo>
                    <a:pt x="387193" y="248356"/>
                    <a:pt x="375038" y="256405"/>
                    <a:pt x="360909" y="262077"/>
                  </a:cubicBezTo>
                  <a:cubicBezTo>
                    <a:pt x="346896" y="267636"/>
                    <a:pt x="331211" y="270413"/>
                    <a:pt x="313842" y="270413"/>
                  </a:cubicBezTo>
                  <a:close/>
                  <a:moveTo>
                    <a:pt x="283964" y="17544"/>
                  </a:moveTo>
                  <a:lnTo>
                    <a:pt x="283964" y="270418"/>
                  </a:lnTo>
                  <a:lnTo>
                    <a:pt x="240369" y="270418"/>
                  </a:lnTo>
                  <a:lnTo>
                    <a:pt x="240369" y="17544"/>
                  </a:lnTo>
                  <a:lnTo>
                    <a:pt x="283964" y="17544"/>
                  </a:lnTo>
                  <a:close/>
                  <a:moveTo>
                    <a:pt x="519299" y="17544"/>
                  </a:moveTo>
                  <a:lnTo>
                    <a:pt x="519299" y="270418"/>
                  </a:lnTo>
                  <a:lnTo>
                    <a:pt x="475705" y="270418"/>
                  </a:lnTo>
                  <a:lnTo>
                    <a:pt x="475705" y="17544"/>
                  </a:lnTo>
                  <a:lnTo>
                    <a:pt x="519299" y="17544"/>
                  </a:lnTo>
                  <a:close/>
                  <a:moveTo>
                    <a:pt x="811424" y="188093"/>
                  </a:moveTo>
                  <a:lnTo>
                    <a:pt x="854843" y="188093"/>
                  </a:lnTo>
                  <a:cubicBezTo>
                    <a:pt x="853452" y="204650"/>
                    <a:pt x="848822" y="219411"/>
                    <a:pt x="840947" y="232383"/>
                  </a:cubicBezTo>
                  <a:cubicBezTo>
                    <a:pt x="833073" y="245233"/>
                    <a:pt x="822017" y="255365"/>
                    <a:pt x="807776" y="262777"/>
                  </a:cubicBezTo>
                  <a:cubicBezTo>
                    <a:pt x="793535" y="270185"/>
                    <a:pt x="776225" y="273891"/>
                    <a:pt x="755845" y="273891"/>
                  </a:cubicBezTo>
                  <a:cubicBezTo>
                    <a:pt x="740213" y="273891"/>
                    <a:pt x="726147" y="271114"/>
                    <a:pt x="713642" y="265554"/>
                  </a:cubicBezTo>
                  <a:cubicBezTo>
                    <a:pt x="701137" y="259878"/>
                    <a:pt x="690427" y="251892"/>
                    <a:pt x="681512" y="241585"/>
                  </a:cubicBezTo>
                  <a:cubicBezTo>
                    <a:pt x="672596" y="231162"/>
                    <a:pt x="665768" y="218604"/>
                    <a:pt x="661021" y="203896"/>
                  </a:cubicBezTo>
                  <a:cubicBezTo>
                    <a:pt x="656390" y="189192"/>
                    <a:pt x="654075" y="172748"/>
                    <a:pt x="654075" y="154572"/>
                  </a:cubicBezTo>
                  <a:lnTo>
                    <a:pt x="654075" y="133555"/>
                  </a:lnTo>
                  <a:cubicBezTo>
                    <a:pt x="654075" y="115374"/>
                    <a:pt x="656449" y="98935"/>
                    <a:pt x="661196" y="84231"/>
                  </a:cubicBezTo>
                  <a:cubicBezTo>
                    <a:pt x="666059" y="69528"/>
                    <a:pt x="673005" y="56965"/>
                    <a:pt x="682037" y="46547"/>
                  </a:cubicBezTo>
                  <a:cubicBezTo>
                    <a:pt x="691069" y="36012"/>
                    <a:pt x="701891" y="27962"/>
                    <a:pt x="714513" y="22403"/>
                  </a:cubicBezTo>
                  <a:cubicBezTo>
                    <a:pt x="727246" y="16843"/>
                    <a:pt x="741546" y="14066"/>
                    <a:pt x="757411" y="14066"/>
                  </a:cubicBezTo>
                  <a:cubicBezTo>
                    <a:pt x="777557" y="14066"/>
                    <a:pt x="794581" y="17772"/>
                    <a:pt x="808472" y="25180"/>
                  </a:cubicBezTo>
                  <a:cubicBezTo>
                    <a:pt x="822368" y="32592"/>
                    <a:pt x="833131" y="42836"/>
                    <a:pt x="840777" y="55919"/>
                  </a:cubicBezTo>
                  <a:cubicBezTo>
                    <a:pt x="848535" y="69003"/>
                    <a:pt x="853282" y="83998"/>
                    <a:pt x="855018" y="100900"/>
                  </a:cubicBezTo>
                  <a:lnTo>
                    <a:pt x="811599" y="100900"/>
                  </a:lnTo>
                  <a:cubicBezTo>
                    <a:pt x="810442" y="90015"/>
                    <a:pt x="807893" y="80695"/>
                    <a:pt x="803958" y="72938"/>
                  </a:cubicBezTo>
                  <a:cubicBezTo>
                    <a:pt x="800140" y="65180"/>
                    <a:pt x="794464" y="59275"/>
                    <a:pt x="786940" y="55224"/>
                  </a:cubicBezTo>
                  <a:cubicBezTo>
                    <a:pt x="779415" y="51055"/>
                    <a:pt x="769571" y="48969"/>
                    <a:pt x="757416" y="48969"/>
                  </a:cubicBezTo>
                  <a:cubicBezTo>
                    <a:pt x="747460" y="48969"/>
                    <a:pt x="738773" y="50822"/>
                    <a:pt x="731366" y="54528"/>
                  </a:cubicBezTo>
                  <a:cubicBezTo>
                    <a:pt x="723953" y="58234"/>
                    <a:pt x="717762" y="63677"/>
                    <a:pt x="712781" y="70856"/>
                  </a:cubicBezTo>
                  <a:cubicBezTo>
                    <a:pt x="707801" y="78035"/>
                    <a:pt x="704041" y="86892"/>
                    <a:pt x="701492" y="97427"/>
                  </a:cubicBezTo>
                  <a:cubicBezTo>
                    <a:pt x="699060" y="107845"/>
                    <a:pt x="697844" y="119771"/>
                    <a:pt x="697844" y="133205"/>
                  </a:cubicBezTo>
                  <a:lnTo>
                    <a:pt x="697844" y="154567"/>
                  </a:lnTo>
                  <a:cubicBezTo>
                    <a:pt x="697844" y="167300"/>
                    <a:pt x="698944" y="178881"/>
                    <a:pt x="701142" y="189299"/>
                  </a:cubicBezTo>
                  <a:cubicBezTo>
                    <a:pt x="703457" y="199606"/>
                    <a:pt x="706930" y="208463"/>
                    <a:pt x="711565" y="215870"/>
                  </a:cubicBezTo>
                  <a:cubicBezTo>
                    <a:pt x="716312" y="223283"/>
                    <a:pt x="722334" y="229012"/>
                    <a:pt x="729629" y="233064"/>
                  </a:cubicBezTo>
                  <a:cubicBezTo>
                    <a:pt x="736925" y="237116"/>
                    <a:pt x="745665" y="239144"/>
                    <a:pt x="755855" y="239144"/>
                  </a:cubicBezTo>
                  <a:cubicBezTo>
                    <a:pt x="768243" y="239144"/>
                    <a:pt x="778258" y="237174"/>
                    <a:pt x="785904" y="233239"/>
                  </a:cubicBezTo>
                  <a:cubicBezTo>
                    <a:pt x="793661" y="229304"/>
                    <a:pt x="799508" y="223570"/>
                    <a:pt x="803443" y="216046"/>
                  </a:cubicBezTo>
                  <a:cubicBezTo>
                    <a:pt x="807494" y="208405"/>
                    <a:pt x="810159" y="199085"/>
                    <a:pt x="811434" y="188084"/>
                  </a:cubicBezTo>
                  <a:close/>
                  <a:moveTo>
                    <a:pt x="882285" y="178541"/>
                  </a:moveTo>
                  <a:lnTo>
                    <a:pt x="882285" y="174548"/>
                  </a:lnTo>
                  <a:cubicBezTo>
                    <a:pt x="882285" y="161002"/>
                    <a:pt x="884255" y="148439"/>
                    <a:pt x="888190" y="136858"/>
                  </a:cubicBezTo>
                  <a:cubicBezTo>
                    <a:pt x="892124" y="125165"/>
                    <a:pt x="897800" y="115034"/>
                    <a:pt x="905208" y="106464"/>
                  </a:cubicBezTo>
                  <a:cubicBezTo>
                    <a:pt x="912732" y="97782"/>
                    <a:pt x="921881" y="91065"/>
                    <a:pt x="932650" y="86318"/>
                  </a:cubicBezTo>
                  <a:cubicBezTo>
                    <a:pt x="943535" y="81454"/>
                    <a:pt x="955806" y="79022"/>
                    <a:pt x="969469" y="79022"/>
                  </a:cubicBezTo>
                  <a:cubicBezTo>
                    <a:pt x="983131" y="79022"/>
                    <a:pt x="995519" y="81454"/>
                    <a:pt x="1006288" y="86318"/>
                  </a:cubicBezTo>
                  <a:cubicBezTo>
                    <a:pt x="1017173" y="91065"/>
                    <a:pt x="1026375" y="97782"/>
                    <a:pt x="1033899" y="106464"/>
                  </a:cubicBezTo>
                  <a:cubicBezTo>
                    <a:pt x="1041424" y="115034"/>
                    <a:pt x="1047158" y="125165"/>
                    <a:pt x="1051093" y="136858"/>
                  </a:cubicBezTo>
                  <a:cubicBezTo>
                    <a:pt x="1055028" y="148439"/>
                    <a:pt x="1056998" y="160997"/>
                    <a:pt x="1056998" y="174548"/>
                  </a:cubicBezTo>
                  <a:lnTo>
                    <a:pt x="1056998" y="178541"/>
                  </a:lnTo>
                  <a:cubicBezTo>
                    <a:pt x="1056998" y="192086"/>
                    <a:pt x="1055028" y="204650"/>
                    <a:pt x="1051093" y="216230"/>
                  </a:cubicBezTo>
                  <a:cubicBezTo>
                    <a:pt x="1047153" y="227806"/>
                    <a:pt x="1041424" y="237938"/>
                    <a:pt x="1033899" y="246624"/>
                  </a:cubicBezTo>
                  <a:cubicBezTo>
                    <a:pt x="1026375" y="255194"/>
                    <a:pt x="1017226" y="261906"/>
                    <a:pt x="1006458" y="266770"/>
                  </a:cubicBezTo>
                  <a:cubicBezTo>
                    <a:pt x="995689" y="271517"/>
                    <a:pt x="983476" y="273891"/>
                    <a:pt x="969814" y="273891"/>
                  </a:cubicBezTo>
                  <a:cubicBezTo>
                    <a:pt x="956151" y="273891"/>
                    <a:pt x="943705" y="271517"/>
                    <a:pt x="932820" y="266770"/>
                  </a:cubicBezTo>
                  <a:cubicBezTo>
                    <a:pt x="922051" y="261906"/>
                    <a:pt x="912907" y="255189"/>
                    <a:pt x="905378" y="246624"/>
                  </a:cubicBezTo>
                  <a:cubicBezTo>
                    <a:pt x="897854" y="237942"/>
                    <a:pt x="892119" y="227811"/>
                    <a:pt x="888185" y="216230"/>
                  </a:cubicBezTo>
                  <a:cubicBezTo>
                    <a:pt x="884245" y="204650"/>
                    <a:pt x="882280" y="192086"/>
                    <a:pt x="882280" y="178541"/>
                  </a:cubicBezTo>
                  <a:close/>
                  <a:moveTo>
                    <a:pt x="924143" y="174548"/>
                  </a:moveTo>
                  <a:lnTo>
                    <a:pt x="924143" y="178541"/>
                  </a:lnTo>
                  <a:cubicBezTo>
                    <a:pt x="924143" y="186994"/>
                    <a:pt x="925013" y="194980"/>
                    <a:pt x="926750" y="202510"/>
                  </a:cubicBezTo>
                  <a:cubicBezTo>
                    <a:pt x="928486" y="210034"/>
                    <a:pt x="931210" y="216634"/>
                    <a:pt x="934911" y="222310"/>
                  </a:cubicBezTo>
                  <a:cubicBezTo>
                    <a:pt x="938617" y="227981"/>
                    <a:pt x="943365" y="232441"/>
                    <a:pt x="949152" y="235681"/>
                  </a:cubicBezTo>
                  <a:cubicBezTo>
                    <a:pt x="954940" y="238925"/>
                    <a:pt x="961832" y="240545"/>
                    <a:pt x="969819" y="240545"/>
                  </a:cubicBezTo>
                  <a:cubicBezTo>
                    <a:pt x="977805" y="240545"/>
                    <a:pt x="984293" y="238925"/>
                    <a:pt x="989965" y="235681"/>
                  </a:cubicBezTo>
                  <a:cubicBezTo>
                    <a:pt x="995753" y="232441"/>
                    <a:pt x="1000500" y="227981"/>
                    <a:pt x="1004206" y="222310"/>
                  </a:cubicBezTo>
                  <a:cubicBezTo>
                    <a:pt x="1007912" y="216634"/>
                    <a:pt x="1010631" y="210039"/>
                    <a:pt x="1012367" y="202510"/>
                  </a:cubicBezTo>
                  <a:cubicBezTo>
                    <a:pt x="1014220" y="194985"/>
                    <a:pt x="1015145" y="186994"/>
                    <a:pt x="1015145" y="178541"/>
                  </a:cubicBezTo>
                  <a:lnTo>
                    <a:pt x="1015145" y="174548"/>
                  </a:lnTo>
                  <a:cubicBezTo>
                    <a:pt x="1015145" y="166211"/>
                    <a:pt x="1014220" y="158336"/>
                    <a:pt x="1012367" y="150929"/>
                  </a:cubicBezTo>
                  <a:cubicBezTo>
                    <a:pt x="1010631" y="143405"/>
                    <a:pt x="1007854" y="136746"/>
                    <a:pt x="1004031" y="130958"/>
                  </a:cubicBezTo>
                  <a:cubicBezTo>
                    <a:pt x="1000325" y="125170"/>
                    <a:pt x="995578" y="120652"/>
                    <a:pt x="989790" y="117412"/>
                  </a:cubicBezTo>
                  <a:cubicBezTo>
                    <a:pt x="984118" y="114056"/>
                    <a:pt x="977343" y="112378"/>
                    <a:pt x="969469" y="112378"/>
                  </a:cubicBezTo>
                  <a:cubicBezTo>
                    <a:pt x="961594" y="112378"/>
                    <a:pt x="954765" y="114056"/>
                    <a:pt x="948977" y="117412"/>
                  </a:cubicBezTo>
                  <a:cubicBezTo>
                    <a:pt x="943301" y="120657"/>
                    <a:pt x="938613" y="125170"/>
                    <a:pt x="934911" y="130958"/>
                  </a:cubicBezTo>
                  <a:cubicBezTo>
                    <a:pt x="931205" y="136746"/>
                    <a:pt x="928486" y="143405"/>
                    <a:pt x="926750" y="150929"/>
                  </a:cubicBezTo>
                  <a:cubicBezTo>
                    <a:pt x="925013" y="158341"/>
                    <a:pt x="924143" y="166211"/>
                    <a:pt x="924143" y="174548"/>
                  </a:cubicBezTo>
                  <a:close/>
                  <a:moveTo>
                    <a:pt x="1133598" y="122617"/>
                  </a:moveTo>
                  <a:lnTo>
                    <a:pt x="1133598" y="270418"/>
                  </a:lnTo>
                  <a:lnTo>
                    <a:pt x="1091745" y="270418"/>
                  </a:lnTo>
                  <a:lnTo>
                    <a:pt x="1091745" y="82495"/>
                  </a:lnTo>
                  <a:lnTo>
                    <a:pt x="1131171" y="82495"/>
                  </a:lnTo>
                  <a:lnTo>
                    <a:pt x="1133603" y="122617"/>
                  </a:lnTo>
                  <a:close/>
                  <a:moveTo>
                    <a:pt x="1126132" y="169509"/>
                  </a:moveTo>
                  <a:lnTo>
                    <a:pt x="1112586" y="169334"/>
                  </a:lnTo>
                  <a:cubicBezTo>
                    <a:pt x="1112703" y="156016"/>
                    <a:pt x="1114556" y="143803"/>
                    <a:pt x="1118145" y="132690"/>
                  </a:cubicBezTo>
                  <a:cubicBezTo>
                    <a:pt x="1121852" y="121576"/>
                    <a:pt x="1126944" y="112023"/>
                    <a:pt x="1133428" y="104032"/>
                  </a:cubicBezTo>
                  <a:cubicBezTo>
                    <a:pt x="1140028" y="96041"/>
                    <a:pt x="1147902" y="89908"/>
                    <a:pt x="1157046" y="85623"/>
                  </a:cubicBezTo>
                  <a:cubicBezTo>
                    <a:pt x="1166195" y="81226"/>
                    <a:pt x="1176385" y="79022"/>
                    <a:pt x="1187615" y="79022"/>
                  </a:cubicBezTo>
                  <a:cubicBezTo>
                    <a:pt x="1196647" y="79022"/>
                    <a:pt x="1204809" y="80297"/>
                    <a:pt x="1212105" y="82840"/>
                  </a:cubicBezTo>
                  <a:cubicBezTo>
                    <a:pt x="1219517" y="85272"/>
                    <a:pt x="1225825" y="89265"/>
                    <a:pt x="1231034" y="94825"/>
                  </a:cubicBezTo>
                  <a:cubicBezTo>
                    <a:pt x="1236360" y="100384"/>
                    <a:pt x="1240412" y="107617"/>
                    <a:pt x="1243189" y="116532"/>
                  </a:cubicBezTo>
                  <a:cubicBezTo>
                    <a:pt x="1245966" y="125331"/>
                    <a:pt x="1247357" y="136157"/>
                    <a:pt x="1247357" y="149013"/>
                  </a:cubicBezTo>
                  <a:lnTo>
                    <a:pt x="1247357" y="270413"/>
                  </a:lnTo>
                  <a:lnTo>
                    <a:pt x="1205329" y="270413"/>
                  </a:lnTo>
                  <a:lnTo>
                    <a:pt x="1205329" y="148837"/>
                  </a:lnTo>
                  <a:cubicBezTo>
                    <a:pt x="1205329" y="139805"/>
                    <a:pt x="1203996" y="132685"/>
                    <a:pt x="1201336" y="127476"/>
                  </a:cubicBezTo>
                  <a:cubicBezTo>
                    <a:pt x="1198787" y="122150"/>
                    <a:pt x="1195028" y="118385"/>
                    <a:pt x="1190047" y="116187"/>
                  </a:cubicBezTo>
                  <a:cubicBezTo>
                    <a:pt x="1185183" y="113872"/>
                    <a:pt x="1179104" y="112714"/>
                    <a:pt x="1171813" y="112714"/>
                  </a:cubicBezTo>
                  <a:cubicBezTo>
                    <a:pt x="1164522" y="112714"/>
                    <a:pt x="1158209" y="114217"/>
                    <a:pt x="1152533" y="117228"/>
                  </a:cubicBezTo>
                  <a:cubicBezTo>
                    <a:pt x="1146861" y="120238"/>
                    <a:pt x="1142056" y="124348"/>
                    <a:pt x="1138116" y="129557"/>
                  </a:cubicBezTo>
                  <a:cubicBezTo>
                    <a:pt x="1134293" y="134766"/>
                    <a:pt x="1131341" y="140788"/>
                    <a:pt x="1129259" y="147621"/>
                  </a:cubicBezTo>
                  <a:cubicBezTo>
                    <a:pt x="1127178" y="154450"/>
                    <a:pt x="1126132" y="161746"/>
                    <a:pt x="1126132" y="169504"/>
                  </a:cubicBezTo>
                  <a:close/>
                  <a:moveTo>
                    <a:pt x="1346701" y="270418"/>
                  </a:moveTo>
                  <a:lnTo>
                    <a:pt x="1304843" y="270418"/>
                  </a:lnTo>
                  <a:lnTo>
                    <a:pt x="1304843" y="64436"/>
                  </a:lnTo>
                  <a:cubicBezTo>
                    <a:pt x="1304843" y="50428"/>
                    <a:pt x="1307450" y="38672"/>
                    <a:pt x="1312659" y="29178"/>
                  </a:cubicBezTo>
                  <a:cubicBezTo>
                    <a:pt x="1317985" y="19567"/>
                    <a:pt x="1325567" y="12330"/>
                    <a:pt x="1335412" y="7471"/>
                  </a:cubicBezTo>
                  <a:cubicBezTo>
                    <a:pt x="1345256" y="2490"/>
                    <a:pt x="1356890" y="0"/>
                    <a:pt x="1370319" y="0"/>
                  </a:cubicBezTo>
                  <a:cubicBezTo>
                    <a:pt x="1374488" y="0"/>
                    <a:pt x="1378597" y="292"/>
                    <a:pt x="1382649" y="871"/>
                  </a:cubicBezTo>
                  <a:cubicBezTo>
                    <a:pt x="1386701" y="1333"/>
                    <a:pt x="1390640" y="2087"/>
                    <a:pt x="1394458" y="3127"/>
                  </a:cubicBezTo>
                  <a:lnTo>
                    <a:pt x="1393418" y="35433"/>
                  </a:lnTo>
                  <a:cubicBezTo>
                    <a:pt x="1391102" y="34854"/>
                    <a:pt x="1388554" y="34450"/>
                    <a:pt x="1385776" y="34217"/>
                  </a:cubicBezTo>
                  <a:cubicBezTo>
                    <a:pt x="1383116" y="33983"/>
                    <a:pt x="1380217" y="33872"/>
                    <a:pt x="1377095" y="33872"/>
                  </a:cubicBezTo>
                  <a:cubicBezTo>
                    <a:pt x="1370728" y="33872"/>
                    <a:pt x="1365227" y="35088"/>
                    <a:pt x="1360596" y="37519"/>
                  </a:cubicBezTo>
                  <a:cubicBezTo>
                    <a:pt x="1356083" y="39835"/>
                    <a:pt x="1352605" y="43249"/>
                    <a:pt x="1350178" y="47767"/>
                  </a:cubicBezTo>
                  <a:cubicBezTo>
                    <a:pt x="1347863" y="52286"/>
                    <a:pt x="1346706" y="57840"/>
                    <a:pt x="1346706" y="64441"/>
                  </a:cubicBezTo>
                  <a:lnTo>
                    <a:pt x="1346706" y="270423"/>
                  </a:lnTo>
                  <a:close/>
                  <a:moveTo>
                    <a:pt x="1385431" y="82500"/>
                  </a:moveTo>
                  <a:lnTo>
                    <a:pt x="1385431" y="113069"/>
                  </a:lnTo>
                  <a:lnTo>
                    <a:pt x="1276015" y="113069"/>
                  </a:lnTo>
                  <a:lnTo>
                    <a:pt x="1276015" y="82500"/>
                  </a:lnTo>
                  <a:lnTo>
                    <a:pt x="1385431" y="82500"/>
                  </a:lnTo>
                  <a:close/>
                </a:path>
              </a:pathLst>
            </a:custGeom>
            <a:solidFill>
              <a:srgbClr val="EE3431"/>
            </a:solidFill>
            <a:ln w="4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6" name="Полилиния: фигура 45">
              <a:extLst>
                <a:ext uri="{FF2B5EF4-FFF2-40B4-BE49-F238E27FC236}">
                  <a16:creationId xmlns:a16="http://schemas.microsoft.com/office/drawing/2014/main" id="{EB80AEA3-6D76-4813-B83E-E98064CA7762}"/>
                </a:ext>
              </a:extLst>
            </p:cNvPr>
            <p:cNvSpPr/>
            <p:nvPr/>
          </p:nvSpPr>
          <p:spPr>
            <a:xfrm>
              <a:off x="7406975" y="5855999"/>
              <a:ext cx="1394458" cy="273890"/>
            </a:xfrm>
            <a:custGeom>
              <a:avLst/>
              <a:gdLst>
                <a:gd name="connsiteX0" fmla="*/ 157354 w 1394458"/>
                <a:gd name="connsiteY0" fmla="*/ 188093 h 273890"/>
                <a:gd name="connsiteX1" fmla="*/ 200773 w 1394458"/>
                <a:gd name="connsiteY1" fmla="*/ 188093 h 273890"/>
                <a:gd name="connsiteX2" fmla="*/ 186877 w 1394458"/>
                <a:gd name="connsiteY2" fmla="*/ 232383 h 273890"/>
                <a:gd name="connsiteX3" fmla="*/ 153706 w 1394458"/>
                <a:gd name="connsiteY3" fmla="*/ 262777 h 273890"/>
                <a:gd name="connsiteX4" fmla="*/ 101775 w 1394458"/>
                <a:gd name="connsiteY4" fmla="*/ 273891 h 273890"/>
                <a:gd name="connsiteX5" fmla="*/ 59572 w 1394458"/>
                <a:gd name="connsiteY5" fmla="*/ 265554 h 273890"/>
                <a:gd name="connsiteX6" fmla="*/ 27442 w 1394458"/>
                <a:gd name="connsiteY6" fmla="*/ 241585 h 273890"/>
                <a:gd name="connsiteX7" fmla="*/ 6950 w 1394458"/>
                <a:gd name="connsiteY7" fmla="*/ 203901 h 273890"/>
                <a:gd name="connsiteX8" fmla="*/ 0 w 1394458"/>
                <a:gd name="connsiteY8" fmla="*/ 154572 h 273890"/>
                <a:gd name="connsiteX9" fmla="*/ 0 w 1394458"/>
                <a:gd name="connsiteY9" fmla="*/ 133555 h 273890"/>
                <a:gd name="connsiteX10" fmla="*/ 7121 w 1394458"/>
                <a:gd name="connsiteY10" fmla="*/ 84231 h 273890"/>
                <a:gd name="connsiteX11" fmla="*/ 27962 w 1394458"/>
                <a:gd name="connsiteY11" fmla="*/ 46542 h 273890"/>
                <a:gd name="connsiteX12" fmla="*/ 60438 w 1394458"/>
                <a:gd name="connsiteY12" fmla="*/ 22403 h 273890"/>
                <a:gd name="connsiteX13" fmla="*/ 103336 w 1394458"/>
                <a:gd name="connsiteY13" fmla="*/ 14066 h 273890"/>
                <a:gd name="connsiteX14" fmla="*/ 154397 w 1394458"/>
                <a:gd name="connsiteY14" fmla="*/ 25180 h 273890"/>
                <a:gd name="connsiteX15" fmla="*/ 186702 w 1394458"/>
                <a:gd name="connsiteY15" fmla="*/ 55919 h 273890"/>
                <a:gd name="connsiteX16" fmla="*/ 200943 w 1394458"/>
                <a:gd name="connsiteY16" fmla="*/ 100900 h 273890"/>
                <a:gd name="connsiteX17" fmla="*/ 157524 w 1394458"/>
                <a:gd name="connsiteY17" fmla="*/ 100900 h 273890"/>
                <a:gd name="connsiteX18" fmla="*/ 149883 w 1394458"/>
                <a:gd name="connsiteY18" fmla="*/ 72938 h 273890"/>
                <a:gd name="connsiteX19" fmla="*/ 132865 w 1394458"/>
                <a:gd name="connsiteY19" fmla="*/ 55224 h 273890"/>
                <a:gd name="connsiteX20" fmla="*/ 103341 w 1394458"/>
                <a:gd name="connsiteY20" fmla="*/ 48969 h 273890"/>
                <a:gd name="connsiteX21" fmla="*/ 77291 w 1394458"/>
                <a:gd name="connsiteY21" fmla="*/ 54528 h 273890"/>
                <a:gd name="connsiteX22" fmla="*/ 58706 w 1394458"/>
                <a:gd name="connsiteY22" fmla="*/ 70856 h 273890"/>
                <a:gd name="connsiteX23" fmla="*/ 47417 w 1394458"/>
                <a:gd name="connsiteY23" fmla="*/ 97427 h 273890"/>
                <a:gd name="connsiteX24" fmla="*/ 43769 w 1394458"/>
                <a:gd name="connsiteY24" fmla="*/ 133205 h 273890"/>
                <a:gd name="connsiteX25" fmla="*/ 43769 w 1394458"/>
                <a:gd name="connsiteY25" fmla="*/ 154567 h 273890"/>
                <a:gd name="connsiteX26" fmla="*/ 47067 w 1394458"/>
                <a:gd name="connsiteY26" fmla="*/ 189304 h 273890"/>
                <a:gd name="connsiteX27" fmla="*/ 57490 w 1394458"/>
                <a:gd name="connsiteY27" fmla="*/ 215875 h 273890"/>
                <a:gd name="connsiteX28" fmla="*/ 75550 w 1394458"/>
                <a:gd name="connsiteY28" fmla="*/ 233069 h 273890"/>
                <a:gd name="connsiteX29" fmla="*/ 101775 w 1394458"/>
                <a:gd name="connsiteY29" fmla="*/ 239149 h 273890"/>
                <a:gd name="connsiteX30" fmla="*/ 131824 w 1394458"/>
                <a:gd name="connsiteY30" fmla="*/ 233244 h 273890"/>
                <a:gd name="connsiteX31" fmla="*/ 149363 w 1394458"/>
                <a:gd name="connsiteY31" fmla="*/ 216050 h 273890"/>
                <a:gd name="connsiteX32" fmla="*/ 157354 w 1394458"/>
                <a:gd name="connsiteY32" fmla="*/ 188088 h 273890"/>
                <a:gd name="connsiteX33" fmla="*/ 313837 w 1394458"/>
                <a:gd name="connsiteY33" fmla="*/ 270418 h 273890"/>
                <a:gd name="connsiteX34" fmla="*/ 259825 w 1394458"/>
                <a:gd name="connsiteY34" fmla="*/ 270418 h 273890"/>
                <a:gd name="connsiteX35" fmla="*/ 260170 w 1394458"/>
                <a:gd name="connsiteY35" fmla="*/ 235856 h 273890"/>
                <a:gd name="connsiteX36" fmla="*/ 313837 w 1394458"/>
                <a:gd name="connsiteY36" fmla="*/ 235856 h 273890"/>
                <a:gd name="connsiteX37" fmla="*/ 353088 w 1394458"/>
                <a:gd name="connsiteY37" fmla="*/ 225608 h 273890"/>
                <a:gd name="connsiteX38" fmla="*/ 377057 w 1394458"/>
                <a:gd name="connsiteY38" fmla="*/ 196255 h 273890"/>
                <a:gd name="connsiteX39" fmla="*/ 385218 w 1394458"/>
                <a:gd name="connsiteY39" fmla="*/ 150754 h 273890"/>
                <a:gd name="connsiteX40" fmla="*/ 385218 w 1394458"/>
                <a:gd name="connsiteY40" fmla="*/ 137033 h 273890"/>
                <a:gd name="connsiteX41" fmla="*/ 380530 w 1394458"/>
                <a:gd name="connsiteY41" fmla="*/ 100734 h 273890"/>
                <a:gd name="connsiteX42" fmla="*/ 366984 w 1394458"/>
                <a:gd name="connsiteY42" fmla="*/ 74163 h 273890"/>
                <a:gd name="connsiteX43" fmla="*/ 345102 w 1394458"/>
                <a:gd name="connsiteY43" fmla="*/ 57840 h 273890"/>
                <a:gd name="connsiteX44" fmla="*/ 315403 w 1394458"/>
                <a:gd name="connsiteY44" fmla="*/ 52281 h 273890"/>
                <a:gd name="connsiteX45" fmla="*/ 258784 w 1394458"/>
                <a:gd name="connsiteY45" fmla="*/ 52281 h 273890"/>
                <a:gd name="connsiteX46" fmla="*/ 258784 w 1394458"/>
                <a:gd name="connsiteY46" fmla="*/ 17544 h 273890"/>
                <a:gd name="connsiteX47" fmla="*/ 315403 w 1394458"/>
                <a:gd name="connsiteY47" fmla="*/ 17544 h 273890"/>
                <a:gd name="connsiteX48" fmla="*/ 361429 w 1394458"/>
                <a:gd name="connsiteY48" fmla="*/ 26055 h 273890"/>
                <a:gd name="connsiteX49" fmla="*/ 397383 w 1394458"/>
                <a:gd name="connsiteY49" fmla="*/ 50195 h 273890"/>
                <a:gd name="connsiteX50" fmla="*/ 420826 w 1394458"/>
                <a:gd name="connsiteY50" fmla="*/ 88054 h 273890"/>
                <a:gd name="connsiteX51" fmla="*/ 428988 w 1394458"/>
                <a:gd name="connsiteY51" fmla="*/ 137378 h 273890"/>
                <a:gd name="connsiteX52" fmla="*/ 428988 w 1394458"/>
                <a:gd name="connsiteY52" fmla="*/ 150754 h 273890"/>
                <a:gd name="connsiteX53" fmla="*/ 420826 w 1394458"/>
                <a:gd name="connsiteY53" fmla="*/ 200078 h 273890"/>
                <a:gd name="connsiteX54" fmla="*/ 397383 w 1394458"/>
                <a:gd name="connsiteY54" fmla="*/ 237938 h 273890"/>
                <a:gd name="connsiteX55" fmla="*/ 360909 w 1394458"/>
                <a:gd name="connsiteY55" fmla="*/ 262077 h 273890"/>
                <a:gd name="connsiteX56" fmla="*/ 313842 w 1394458"/>
                <a:gd name="connsiteY56" fmla="*/ 270413 h 273890"/>
                <a:gd name="connsiteX57" fmla="*/ 283964 w 1394458"/>
                <a:gd name="connsiteY57" fmla="*/ 17544 h 273890"/>
                <a:gd name="connsiteX58" fmla="*/ 283964 w 1394458"/>
                <a:gd name="connsiteY58" fmla="*/ 270418 h 273890"/>
                <a:gd name="connsiteX59" fmla="*/ 240369 w 1394458"/>
                <a:gd name="connsiteY59" fmla="*/ 270418 h 273890"/>
                <a:gd name="connsiteX60" fmla="*/ 240369 w 1394458"/>
                <a:gd name="connsiteY60" fmla="*/ 17544 h 273890"/>
                <a:gd name="connsiteX61" fmla="*/ 283964 w 1394458"/>
                <a:gd name="connsiteY61" fmla="*/ 17544 h 273890"/>
                <a:gd name="connsiteX62" fmla="*/ 519299 w 1394458"/>
                <a:gd name="connsiteY62" fmla="*/ 17544 h 273890"/>
                <a:gd name="connsiteX63" fmla="*/ 519299 w 1394458"/>
                <a:gd name="connsiteY63" fmla="*/ 270418 h 273890"/>
                <a:gd name="connsiteX64" fmla="*/ 475705 w 1394458"/>
                <a:gd name="connsiteY64" fmla="*/ 270418 h 273890"/>
                <a:gd name="connsiteX65" fmla="*/ 475705 w 1394458"/>
                <a:gd name="connsiteY65" fmla="*/ 17544 h 273890"/>
                <a:gd name="connsiteX66" fmla="*/ 519299 w 1394458"/>
                <a:gd name="connsiteY66" fmla="*/ 17544 h 273890"/>
                <a:gd name="connsiteX67" fmla="*/ 811424 w 1394458"/>
                <a:gd name="connsiteY67" fmla="*/ 188093 h 273890"/>
                <a:gd name="connsiteX68" fmla="*/ 854843 w 1394458"/>
                <a:gd name="connsiteY68" fmla="*/ 188093 h 273890"/>
                <a:gd name="connsiteX69" fmla="*/ 840947 w 1394458"/>
                <a:gd name="connsiteY69" fmla="*/ 232383 h 273890"/>
                <a:gd name="connsiteX70" fmla="*/ 807776 w 1394458"/>
                <a:gd name="connsiteY70" fmla="*/ 262777 h 273890"/>
                <a:gd name="connsiteX71" fmla="*/ 755845 w 1394458"/>
                <a:gd name="connsiteY71" fmla="*/ 273891 h 273890"/>
                <a:gd name="connsiteX72" fmla="*/ 713642 w 1394458"/>
                <a:gd name="connsiteY72" fmla="*/ 265554 h 273890"/>
                <a:gd name="connsiteX73" fmla="*/ 681512 w 1394458"/>
                <a:gd name="connsiteY73" fmla="*/ 241585 h 273890"/>
                <a:gd name="connsiteX74" fmla="*/ 661021 w 1394458"/>
                <a:gd name="connsiteY74" fmla="*/ 203901 h 273890"/>
                <a:gd name="connsiteX75" fmla="*/ 654075 w 1394458"/>
                <a:gd name="connsiteY75" fmla="*/ 154577 h 273890"/>
                <a:gd name="connsiteX76" fmla="*/ 654075 w 1394458"/>
                <a:gd name="connsiteY76" fmla="*/ 133560 h 273890"/>
                <a:gd name="connsiteX77" fmla="*/ 661196 w 1394458"/>
                <a:gd name="connsiteY77" fmla="*/ 84236 h 273890"/>
                <a:gd name="connsiteX78" fmla="*/ 682037 w 1394458"/>
                <a:gd name="connsiteY78" fmla="*/ 46547 h 273890"/>
                <a:gd name="connsiteX79" fmla="*/ 714513 w 1394458"/>
                <a:gd name="connsiteY79" fmla="*/ 22408 h 273890"/>
                <a:gd name="connsiteX80" fmla="*/ 757411 w 1394458"/>
                <a:gd name="connsiteY80" fmla="*/ 14071 h 273890"/>
                <a:gd name="connsiteX81" fmla="*/ 808472 w 1394458"/>
                <a:gd name="connsiteY81" fmla="*/ 25185 h 273890"/>
                <a:gd name="connsiteX82" fmla="*/ 840777 w 1394458"/>
                <a:gd name="connsiteY82" fmla="*/ 55924 h 273890"/>
                <a:gd name="connsiteX83" fmla="*/ 855018 w 1394458"/>
                <a:gd name="connsiteY83" fmla="*/ 100905 h 273890"/>
                <a:gd name="connsiteX84" fmla="*/ 811599 w 1394458"/>
                <a:gd name="connsiteY84" fmla="*/ 100905 h 273890"/>
                <a:gd name="connsiteX85" fmla="*/ 803958 w 1394458"/>
                <a:gd name="connsiteY85" fmla="*/ 72943 h 273890"/>
                <a:gd name="connsiteX86" fmla="*/ 786940 w 1394458"/>
                <a:gd name="connsiteY86" fmla="*/ 55229 h 273890"/>
                <a:gd name="connsiteX87" fmla="*/ 757416 w 1394458"/>
                <a:gd name="connsiteY87" fmla="*/ 48974 h 273890"/>
                <a:gd name="connsiteX88" fmla="*/ 731366 w 1394458"/>
                <a:gd name="connsiteY88" fmla="*/ 54533 h 273890"/>
                <a:gd name="connsiteX89" fmla="*/ 712781 w 1394458"/>
                <a:gd name="connsiteY89" fmla="*/ 70861 h 273890"/>
                <a:gd name="connsiteX90" fmla="*/ 701492 w 1394458"/>
                <a:gd name="connsiteY90" fmla="*/ 97432 h 273890"/>
                <a:gd name="connsiteX91" fmla="*/ 697844 w 1394458"/>
                <a:gd name="connsiteY91" fmla="*/ 133210 h 273890"/>
                <a:gd name="connsiteX92" fmla="*/ 697844 w 1394458"/>
                <a:gd name="connsiteY92" fmla="*/ 154572 h 273890"/>
                <a:gd name="connsiteX93" fmla="*/ 701142 w 1394458"/>
                <a:gd name="connsiteY93" fmla="*/ 189309 h 273890"/>
                <a:gd name="connsiteX94" fmla="*/ 711565 w 1394458"/>
                <a:gd name="connsiteY94" fmla="*/ 215880 h 273890"/>
                <a:gd name="connsiteX95" fmla="*/ 729629 w 1394458"/>
                <a:gd name="connsiteY95" fmla="*/ 233074 h 273890"/>
                <a:gd name="connsiteX96" fmla="*/ 755855 w 1394458"/>
                <a:gd name="connsiteY96" fmla="*/ 239154 h 273890"/>
                <a:gd name="connsiteX97" fmla="*/ 785904 w 1394458"/>
                <a:gd name="connsiteY97" fmla="*/ 233249 h 273890"/>
                <a:gd name="connsiteX98" fmla="*/ 803443 w 1394458"/>
                <a:gd name="connsiteY98" fmla="*/ 216055 h 273890"/>
                <a:gd name="connsiteX99" fmla="*/ 811434 w 1394458"/>
                <a:gd name="connsiteY99" fmla="*/ 188093 h 273890"/>
                <a:gd name="connsiteX100" fmla="*/ 882285 w 1394458"/>
                <a:gd name="connsiteY100" fmla="*/ 178541 h 273890"/>
                <a:gd name="connsiteX101" fmla="*/ 882285 w 1394458"/>
                <a:gd name="connsiteY101" fmla="*/ 174548 h 273890"/>
                <a:gd name="connsiteX102" fmla="*/ 888190 w 1394458"/>
                <a:gd name="connsiteY102" fmla="*/ 136858 h 273890"/>
                <a:gd name="connsiteX103" fmla="*/ 905208 w 1394458"/>
                <a:gd name="connsiteY103" fmla="*/ 106464 h 273890"/>
                <a:gd name="connsiteX104" fmla="*/ 932650 w 1394458"/>
                <a:gd name="connsiteY104" fmla="*/ 86318 h 273890"/>
                <a:gd name="connsiteX105" fmla="*/ 969469 w 1394458"/>
                <a:gd name="connsiteY105" fmla="*/ 79022 h 273890"/>
                <a:gd name="connsiteX106" fmla="*/ 1006288 w 1394458"/>
                <a:gd name="connsiteY106" fmla="*/ 86318 h 273890"/>
                <a:gd name="connsiteX107" fmla="*/ 1033899 w 1394458"/>
                <a:gd name="connsiteY107" fmla="*/ 106464 h 273890"/>
                <a:gd name="connsiteX108" fmla="*/ 1051093 w 1394458"/>
                <a:gd name="connsiteY108" fmla="*/ 136858 h 273890"/>
                <a:gd name="connsiteX109" fmla="*/ 1056998 w 1394458"/>
                <a:gd name="connsiteY109" fmla="*/ 174548 h 273890"/>
                <a:gd name="connsiteX110" fmla="*/ 1056998 w 1394458"/>
                <a:gd name="connsiteY110" fmla="*/ 178541 h 273890"/>
                <a:gd name="connsiteX111" fmla="*/ 1051093 w 1394458"/>
                <a:gd name="connsiteY111" fmla="*/ 216226 h 273890"/>
                <a:gd name="connsiteX112" fmla="*/ 1033899 w 1394458"/>
                <a:gd name="connsiteY112" fmla="*/ 246619 h 273890"/>
                <a:gd name="connsiteX113" fmla="*/ 1006458 w 1394458"/>
                <a:gd name="connsiteY113" fmla="*/ 266765 h 273890"/>
                <a:gd name="connsiteX114" fmla="*/ 969814 w 1394458"/>
                <a:gd name="connsiteY114" fmla="*/ 273886 h 273890"/>
                <a:gd name="connsiteX115" fmla="*/ 932820 w 1394458"/>
                <a:gd name="connsiteY115" fmla="*/ 266765 h 273890"/>
                <a:gd name="connsiteX116" fmla="*/ 905378 w 1394458"/>
                <a:gd name="connsiteY116" fmla="*/ 246619 h 273890"/>
                <a:gd name="connsiteX117" fmla="*/ 888185 w 1394458"/>
                <a:gd name="connsiteY117" fmla="*/ 216226 h 273890"/>
                <a:gd name="connsiteX118" fmla="*/ 882280 w 1394458"/>
                <a:gd name="connsiteY118" fmla="*/ 178541 h 273890"/>
                <a:gd name="connsiteX119" fmla="*/ 924143 w 1394458"/>
                <a:gd name="connsiteY119" fmla="*/ 174548 h 273890"/>
                <a:gd name="connsiteX120" fmla="*/ 924143 w 1394458"/>
                <a:gd name="connsiteY120" fmla="*/ 178541 h 273890"/>
                <a:gd name="connsiteX121" fmla="*/ 926750 w 1394458"/>
                <a:gd name="connsiteY121" fmla="*/ 202510 h 273890"/>
                <a:gd name="connsiteX122" fmla="*/ 934911 w 1394458"/>
                <a:gd name="connsiteY122" fmla="*/ 222310 h 273890"/>
                <a:gd name="connsiteX123" fmla="*/ 949152 w 1394458"/>
                <a:gd name="connsiteY123" fmla="*/ 235681 h 273890"/>
                <a:gd name="connsiteX124" fmla="*/ 969819 w 1394458"/>
                <a:gd name="connsiteY124" fmla="*/ 240545 h 273890"/>
                <a:gd name="connsiteX125" fmla="*/ 989965 w 1394458"/>
                <a:gd name="connsiteY125" fmla="*/ 235681 h 273890"/>
                <a:gd name="connsiteX126" fmla="*/ 1004206 w 1394458"/>
                <a:gd name="connsiteY126" fmla="*/ 222310 h 273890"/>
                <a:gd name="connsiteX127" fmla="*/ 1012367 w 1394458"/>
                <a:gd name="connsiteY127" fmla="*/ 202510 h 273890"/>
                <a:gd name="connsiteX128" fmla="*/ 1015145 w 1394458"/>
                <a:gd name="connsiteY128" fmla="*/ 178541 h 273890"/>
                <a:gd name="connsiteX129" fmla="*/ 1015145 w 1394458"/>
                <a:gd name="connsiteY129" fmla="*/ 174548 h 273890"/>
                <a:gd name="connsiteX130" fmla="*/ 1012367 w 1394458"/>
                <a:gd name="connsiteY130" fmla="*/ 150929 h 273890"/>
                <a:gd name="connsiteX131" fmla="*/ 1004031 w 1394458"/>
                <a:gd name="connsiteY131" fmla="*/ 130958 h 273890"/>
                <a:gd name="connsiteX132" fmla="*/ 989790 w 1394458"/>
                <a:gd name="connsiteY132" fmla="*/ 117412 h 273890"/>
                <a:gd name="connsiteX133" fmla="*/ 969469 w 1394458"/>
                <a:gd name="connsiteY133" fmla="*/ 112373 h 273890"/>
                <a:gd name="connsiteX134" fmla="*/ 948977 w 1394458"/>
                <a:gd name="connsiteY134" fmla="*/ 117412 h 273890"/>
                <a:gd name="connsiteX135" fmla="*/ 934911 w 1394458"/>
                <a:gd name="connsiteY135" fmla="*/ 130958 h 273890"/>
                <a:gd name="connsiteX136" fmla="*/ 926750 w 1394458"/>
                <a:gd name="connsiteY136" fmla="*/ 150929 h 273890"/>
                <a:gd name="connsiteX137" fmla="*/ 924143 w 1394458"/>
                <a:gd name="connsiteY137" fmla="*/ 174548 h 273890"/>
                <a:gd name="connsiteX138" fmla="*/ 1133598 w 1394458"/>
                <a:gd name="connsiteY138" fmla="*/ 122617 h 273890"/>
                <a:gd name="connsiteX139" fmla="*/ 1133598 w 1394458"/>
                <a:gd name="connsiteY139" fmla="*/ 270418 h 273890"/>
                <a:gd name="connsiteX140" fmla="*/ 1091745 w 1394458"/>
                <a:gd name="connsiteY140" fmla="*/ 270418 h 273890"/>
                <a:gd name="connsiteX141" fmla="*/ 1091745 w 1394458"/>
                <a:gd name="connsiteY141" fmla="*/ 82495 h 273890"/>
                <a:gd name="connsiteX142" fmla="*/ 1131171 w 1394458"/>
                <a:gd name="connsiteY142" fmla="*/ 82495 h 273890"/>
                <a:gd name="connsiteX143" fmla="*/ 1133603 w 1394458"/>
                <a:gd name="connsiteY143" fmla="*/ 122617 h 273890"/>
                <a:gd name="connsiteX144" fmla="*/ 1126132 w 1394458"/>
                <a:gd name="connsiteY144" fmla="*/ 169509 h 273890"/>
                <a:gd name="connsiteX145" fmla="*/ 1112586 w 1394458"/>
                <a:gd name="connsiteY145" fmla="*/ 169334 h 273890"/>
                <a:gd name="connsiteX146" fmla="*/ 1118145 w 1394458"/>
                <a:gd name="connsiteY146" fmla="*/ 132690 h 273890"/>
                <a:gd name="connsiteX147" fmla="*/ 1133428 w 1394458"/>
                <a:gd name="connsiteY147" fmla="*/ 104032 h 273890"/>
                <a:gd name="connsiteX148" fmla="*/ 1157046 w 1394458"/>
                <a:gd name="connsiteY148" fmla="*/ 85623 h 273890"/>
                <a:gd name="connsiteX149" fmla="*/ 1187615 w 1394458"/>
                <a:gd name="connsiteY149" fmla="*/ 79022 h 273890"/>
                <a:gd name="connsiteX150" fmla="*/ 1212105 w 1394458"/>
                <a:gd name="connsiteY150" fmla="*/ 82840 h 273890"/>
                <a:gd name="connsiteX151" fmla="*/ 1231034 w 1394458"/>
                <a:gd name="connsiteY151" fmla="*/ 94825 h 273890"/>
                <a:gd name="connsiteX152" fmla="*/ 1243189 w 1394458"/>
                <a:gd name="connsiteY152" fmla="*/ 116532 h 273890"/>
                <a:gd name="connsiteX153" fmla="*/ 1247357 w 1394458"/>
                <a:gd name="connsiteY153" fmla="*/ 149008 h 273890"/>
                <a:gd name="connsiteX154" fmla="*/ 1247357 w 1394458"/>
                <a:gd name="connsiteY154" fmla="*/ 270408 h 273890"/>
                <a:gd name="connsiteX155" fmla="*/ 1205329 w 1394458"/>
                <a:gd name="connsiteY155" fmla="*/ 270408 h 273890"/>
                <a:gd name="connsiteX156" fmla="*/ 1205329 w 1394458"/>
                <a:gd name="connsiteY156" fmla="*/ 148833 h 273890"/>
                <a:gd name="connsiteX157" fmla="*/ 1201336 w 1394458"/>
                <a:gd name="connsiteY157" fmla="*/ 127471 h 273890"/>
                <a:gd name="connsiteX158" fmla="*/ 1190047 w 1394458"/>
                <a:gd name="connsiteY158" fmla="*/ 116182 h 273890"/>
                <a:gd name="connsiteX159" fmla="*/ 1171813 w 1394458"/>
                <a:gd name="connsiteY159" fmla="*/ 112709 h 273890"/>
                <a:gd name="connsiteX160" fmla="*/ 1152533 w 1394458"/>
                <a:gd name="connsiteY160" fmla="*/ 117223 h 273890"/>
                <a:gd name="connsiteX161" fmla="*/ 1138116 w 1394458"/>
                <a:gd name="connsiteY161" fmla="*/ 129552 h 273890"/>
                <a:gd name="connsiteX162" fmla="*/ 1129259 w 1394458"/>
                <a:gd name="connsiteY162" fmla="*/ 147617 h 273890"/>
                <a:gd name="connsiteX163" fmla="*/ 1126132 w 1394458"/>
                <a:gd name="connsiteY163" fmla="*/ 169499 h 273890"/>
                <a:gd name="connsiteX164" fmla="*/ 1346701 w 1394458"/>
                <a:gd name="connsiteY164" fmla="*/ 270418 h 273890"/>
                <a:gd name="connsiteX165" fmla="*/ 1304843 w 1394458"/>
                <a:gd name="connsiteY165" fmla="*/ 270418 h 273890"/>
                <a:gd name="connsiteX166" fmla="*/ 1304843 w 1394458"/>
                <a:gd name="connsiteY166" fmla="*/ 64436 h 273890"/>
                <a:gd name="connsiteX167" fmla="*/ 1312659 w 1394458"/>
                <a:gd name="connsiteY167" fmla="*/ 29178 h 273890"/>
                <a:gd name="connsiteX168" fmla="*/ 1335412 w 1394458"/>
                <a:gd name="connsiteY168" fmla="*/ 7471 h 273890"/>
                <a:gd name="connsiteX169" fmla="*/ 1370319 w 1394458"/>
                <a:gd name="connsiteY169" fmla="*/ 0 h 273890"/>
                <a:gd name="connsiteX170" fmla="*/ 1382649 w 1394458"/>
                <a:gd name="connsiteY170" fmla="*/ 871 h 273890"/>
                <a:gd name="connsiteX171" fmla="*/ 1394458 w 1394458"/>
                <a:gd name="connsiteY171" fmla="*/ 3127 h 273890"/>
                <a:gd name="connsiteX172" fmla="*/ 1393418 w 1394458"/>
                <a:gd name="connsiteY172" fmla="*/ 35433 h 273890"/>
                <a:gd name="connsiteX173" fmla="*/ 1385776 w 1394458"/>
                <a:gd name="connsiteY173" fmla="*/ 34217 h 273890"/>
                <a:gd name="connsiteX174" fmla="*/ 1377095 w 1394458"/>
                <a:gd name="connsiteY174" fmla="*/ 33867 h 273890"/>
                <a:gd name="connsiteX175" fmla="*/ 1360596 w 1394458"/>
                <a:gd name="connsiteY175" fmla="*/ 37515 h 273890"/>
                <a:gd name="connsiteX176" fmla="*/ 1350178 w 1394458"/>
                <a:gd name="connsiteY176" fmla="*/ 47763 h 273890"/>
                <a:gd name="connsiteX177" fmla="*/ 1346706 w 1394458"/>
                <a:gd name="connsiteY177" fmla="*/ 64436 h 273890"/>
                <a:gd name="connsiteX178" fmla="*/ 1346706 w 1394458"/>
                <a:gd name="connsiteY178" fmla="*/ 270418 h 273890"/>
                <a:gd name="connsiteX179" fmla="*/ 1385431 w 1394458"/>
                <a:gd name="connsiteY179" fmla="*/ 82500 h 273890"/>
                <a:gd name="connsiteX180" fmla="*/ 1385431 w 1394458"/>
                <a:gd name="connsiteY180" fmla="*/ 113069 h 273890"/>
                <a:gd name="connsiteX181" fmla="*/ 1276015 w 1394458"/>
                <a:gd name="connsiteY181" fmla="*/ 113069 h 273890"/>
                <a:gd name="connsiteX182" fmla="*/ 1276015 w 1394458"/>
                <a:gd name="connsiteY182" fmla="*/ 82500 h 273890"/>
                <a:gd name="connsiteX183" fmla="*/ 1385431 w 1394458"/>
                <a:gd name="connsiteY183" fmla="*/ 82500 h 2738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</a:cxnLst>
              <a:rect l="l" t="t" r="r" b="b"/>
              <a:pathLst>
                <a:path w="1394458" h="273890">
                  <a:moveTo>
                    <a:pt x="157354" y="188093"/>
                  </a:moveTo>
                  <a:lnTo>
                    <a:pt x="200773" y="188093"/>
                  </a:lnTo>
                  <a:cubicBezTo>
                    <a:pt x="199382" y="204650"/>
                    <a:pt x="194752" y="219411"/>
                    <a:pt x="186877" y="232383"/>
                  </a:cubicBezTo>
                  <a:cubicBezTo>
                    <a:pt x="179003" y="245233"/>
                    <a:pt x="167947" y="255365"/>
                    <a:pt x="153706" y="262777"/>
                  </a:cubicBezTo>
                  <a:cubicBezTo>
                    <a:pt x="139465" y="270185"/>
                    <a:pt x="122155" y="273891"/>
                    <a:pt x="101775" y="273891"/>
                  </a:cubicBezTo>
                  <a:cubicBezTo>
                    <a:pt x="86143" y="273891"/>
                    <a:pt x="72077" y="271114"/>
                    <a:pt x="59572" y="265554"/>
                  </a:cubicBezTo>
                  <a:cubicBezTo>
                    <a:pt x="47067" y="259878"/>
                    <a:pt x="36357" y="251892"/>
                    <a:pt x="27442" y="241585"/>
                  </a:cubicBezTo>
                  <a:cubicBezTo>
                    <a:pt x="18526" y="231167"/>
                    <a:pt x="11697" y="218604"/>
                    <a:pt x="6950" y="203901"/>
                  </a:cubicBezTo>
                  <a:cubicBezTo>
                    <a:pt x="2315" y="189192"/>
                    <a:pt x="0" y="172753"/>
                    <a:pt x="0" y="154572"/>
                  </a:cubicBezTo>
                  <a:lnTo>
                    <a:pt x="0" y="133555"/>
                  </a:lnTo>
                  <a:cubicBezTo>
                    <a:pt x="0" y="115379"/>
                    <a:pt x="2374" y="98935"/>
                    <a:pt x="7121" y="84231"/>
                  </a:cubicBezTo>
                  <a:cubicBezTo>
                    <a:pt x="11984" y="69528"/>
                    <a:pt x="18930" y="56965"/>
                    <a:pt x="27962" y="46542"/>
                  </a:cubicBezTo>
                  <a:cubicBezTo>
                    <a:pt x="36994" y="36007"/>
                    <a:pt x="47816" y="27957"/>
                    <a:pt x="60438" y="22403"/>
                  </a:cubicBezTo>
                  <a:cubicBezTo>
                    <a:pt x="73171" y="16843"/>
                    <a:pt x="87471" y="14066"/>
                    <a:pt x="103336" y="14066"/>
                  </a:cubicBezTo>
                  <a:cubicBezTo>
                    <a:pt x="123482" y="14066"/>
                    <a:pt x="140506" y="17772"/>
                    <a:pt x="154397" y="25180"/>
                  </a:cubicBezTo>
                  <a:cubicBezTo>
                    <a:pt x="168293" y="32592"/>
                    <a:pt x="179056" y="42836"/>
                    <a:pt x="186702" y="55919"/>
                  </a:cubicBezTo>
                  <a:cubicBezTo>
                    <a:pt x="194460" y="69003"/>
                    <a:pt x="199207" y="83998"/>
                    <a:pt x="200943" y="100900"/>
                  </a:cubicBezTo>
                  <a:lnTo>
                    <a:pt x="157524" y="100900"/>
                  </a:lnTo>
                  <a:cubicBezTo>
                    <a:pt x="156367" y="90015"/>
                    <a:pt x="153818" y="80695"/>
                    <a:pt x="149883" y="72938"/>
                  </a:cubicBezTo>
                  <a:cubicBezTo>
                    <a:pt x="146065" y="65180"/>
                    <a:pt x="140389" y="59275"/>
                    <a:pt x="132865" y="55224"/>
                  </a:cubicBezTo>
                  <a:cubicBezTo>
                    <a:pt x="125340" y="51055"/>
                    <a:pt x="115496" y="48969"/>
                    <a:pt x="103341" y="48969"/>
                  </a:cubicBezTo>
                  <a:cubicBezTo>
                    <a:pt x="93385" y="48969"/>
                    <a:pt x="84698" y="50822"/>
                    <a:pt x="77291" y="54528"/>
                  </a:cubicBezTo>
                  <a:cubicBezTo>
                    <a:pt x="69878" y="58234"/>
                    <a:pt x="63687" y="63677"/>
                    <a:pt x="58706" y="70856"/>
                  </a:cubicBezTo>
                  <a:cubicBezTo>
                    <a:pt x="53730" y="78035"/>
                    <a:pt x="49966" y="86892"/>
                    <a:pt x="47417" y="97427"/>
                  </a:cubicBezTo>
                  <a:cubicBezTo>
                    <a:pt x="44985" y="107845"/>
                    <a:pt x="43769" y="119771"/>
                    <a:pt x="43769" y="133205"/>
                  </a:cubicBezTo>
                  <a:lnTo>
                    <a:pt x="43769" y="154567"/>
                  </a:lnTo>
                  <a:cubicBezTo>
                    <a:pt x="43769" y="167305"/>
                    <a:pt x="44869" y="178881"/>
                    <a:pt x="47067" y="189304"/>
                  </a:cubicBezTo>
                  <a:cubicBezTo>
                    <a:pt x="49382" y="199611"/>
                    <a:pt x="52855" y="208468"/>
                    <a:pt x="57490" y="215875"/>
                  </a:cubicBezTo>
                  <a:cubicBezTo>
                    <a:pt x="62237" y="223288"/>
                    <a:pt x="68259" y="229017"/>
                    <a:pt x="75550" y="233069"/>
                  </a:cubicBezTo>
                  <a:cubicBezTo>
                    <a:pt x="82845" y="237120"/>
                    <a:pt x="91585" y="239149"/>
                    <a:pt x="101775" y="239149"/>
                  </a:cubicBezTo>
                  <a:cubicBezTo>
                    <a:pt x="114163" y="239149"/>
                    <a:pt x="124178" y="237179"/>
                    <a:pt x="131824" y="233244"/>
                  </a:cubicBezTo>
                  <a:cubicBezTo>
                    <a:pt x="139582" y="229304"/>
                    <a:pt x="145428" y="223575"/>
                    <a:pt x="149363" y="216050"/>
                  </a:cubicBezTo>
                  <a:cubicBezTo>
                    <a:pt x="153414" y="208409"/>
                    <a:pt x="156080" y="199090"/>
                    <a:pt x="157354" y="188088"/>
                  </a:cubicBezTo>
                  <a:close/>
                  <a:moveTo>
                    <a:pt x="313837" y="270418"/>
                  </a:moveTo>
                  <a:lnTo>
                    <a:pt x="259825" y="270418"/>
                  </a:lnTo>
                  <a:lnTo>
                    <a:pt x="260170" y="235856"/>
                  </a:lnTo>
                  <a:lnTo>
                    <a:pt x="313837" y="235856"/>
                  </a:lnTo>
                  <a:cubicBezTo>
                    <a:pt x="329469" y="235856"/>
                    <a:pt x="342553" y="232441"/>
                    <a:pt x="353088" y="225608"/>
                  </a:cubicBezTo>
                  <a:cubicBezTo>
                    <a:pt x="363740" y="218779"/>
                    <a:pt x="371731" y="208993"/>
                    <a:pt x="377057" y="196255"/>
                  </a:cubicBezTo>
                  <a:cubicBezTo>
                    <a:pt x="382499" y="183516"/>
                    <a:pt x="385218" y="168351"/>
                    <a:pt x="385218" y="150754"/>
                  </a:cubicBezTo>
                  <a:lnTo>
                    <a:pt x="385218" y="137033"/>
                  </a:lnTo>
                  <a:cubicBezTo>
                    <a:pt x="385218" y="123371"/>
                    <a:pt x="383657" y="111269"/>
                    <a:pt x="380530" y="100734"/>
                  </a:cubicBezTo>
                  <a:cubicBezTo>
                    <a:pt x="377519" y="90199"/>
                    <a:pt x="373005" y="81342"/>
                    <a:pt x="366984" y="74163"/>
                  </a:cubicBezTo>
                  <a:cubicBezTo>
                    <a:pt x="361079" y="66984"/>
                    <a:pt x="353784" y="61542"/>
                    <a:pt x="345102" y="57840"/>
                  </a:cubicBezTo>
                  <a:cubicBezTo>
                    <a:pt x="336532" y="54134"/>
                    <a:pt x="326634" y="52281"/>
                    <a:pt x="315403" y="52281"/>
                  </a:cubicBezTo>
                  <a:lnTo>
                    <a:pt x="258784" y="52281"/>
                  </a:lnTo>
                  <a:lnTo>
                    <a:pt x="258784" y="17544"/>
                  </a:lnTo>
                  <a:lnTo>
                    <a:pt x="315403" y="17544"/>
                  </a:lnTo>
                  <a:cubicBezTo>
                    <a:pt x="332193" y="17544"/>
                    <a:pt x="347534" y="20379"/>
                    <a:pt x="361429" y="26055"/>
                  </a:cubicBezTo>
                  <a:cubicBezTo>
                    <a:pt x="375325" y="31615"/>
                    <a:pt x="387310" y="39660"/>
                    <a:pt x="397383" y="50195"/>
                  </a:cubicBezTo>
                  <a:cubicBezTo>
                    <a:pt x="407572" y="60730"/>
                    <a:pt x="415389" y="73351"/>
                    <a:pt x="420826" y="88054"/>
                  </a:cubicBezTo>
                  <a:cubicBezTo>
                    <a:pt x="426269" y="102758"/>
                    <a:pt x="428988" y="119202"/>
                    <a:pt x="428988" y="137378"/>
                  </a:cubicBezTo>
                  <a:lnTo>
                    <a:pt x="428988" y="150754"/>
                  </a:lnTo>
                  <a:cubicBezTo>
                    <a:pt x="428988" y="168930"/>
                    <a:pt x="426269" y="185374"/>
                    <a:pt x="420826" y="200078"/>
                  </a:cubicBezTo>
                  <a:cubicBezTo>
                    <a:pt x="415384" y="214781"/>
                    <a:pt x="407568" y="227403"/>
                    <a:pt x="397383" y="237938"/>
                  </a:cubicBezTo>
                  <a:cubicBezTo>
                    <a:pt x="387193" y="248356"/>
                    <a:pt x="375038" y="256405"/>
                    <a:pt x="360909" y="262077"/>
                  </a:cubicBezTo>
                  <a:cubicBezTo>
                    <a:pt x="346896" y="267636"/>
                    <a:pt x="331211" y="270413"/>
                    <a:pt x="313842" y="270413"/>
                  </a:cubicBezTo>
                  <a:close/>
                  <a:moveTo>
                    <a:pt x="283964" y="17544"/>
                  </a:moveTo>
                  <a:lnTo>
                    <a:pt x="283964" y="270418"/>
                  </a:lnTo>
                  <a:lnTo>
                    <a:pt x="240369" y="270418"/>
                  </a:lnTo>
                  <a:lnTo>
                    <a:pt x="240369" y="17544"/>
                  </a:lnTo>
                  <a:lnTo>
                    <a:pt x="283964" y="17544"/>
                  </a:lnTo>
                  <a:close/>
                  <a:moveTo>
                    <a:pt x="519299" y="17544"/>
                  </a:moveTo>
                  <a:lnTo>
                    <a:pt x="519299" y="270418"/>
                  </a:lnTo>
                  <a:lnTo>
                    <a:pt x="475705" y="270418"/>
                  </a:lnTo>
                  <a:lnTo>
                    <a:pt x="475705" y="17544"/>
                  </a:lnTo>
                  <a:lnTo>
                    <a:pt x="519299" y="17544"/>
                  </a:lnTo>
                  <a:close/>
                  <a:moveTo>
                    <a:pt x="811424" y="188093"/>
                  </a:moveTo>
                  <a:lnTo>
                    <a:pt x="854843" y="188093"/>
                  </a:lnTo>
                  <a:cubicBezTo>
                    <a:pt x="853452" y="204650"/>
                    <a:pt x="848822" y="219411"/>
                    <a:pt x="840947" y="232383"/>
                  </a:cubicBezTo>
                  <a:cubicBezTo>
                    <a:pt x="833073" y="245233"/>
                    <a:pt x="822017" y="255365"/>
                    <a:pt x="807776" y="262777"/>
                  </a:cubicBezTo>
                  <a:cubicBezTo>
                    <a:pt x="793535" y="270185"/>
                    <a:pt x="776225" y="273891"/>
                    <a:pt x="755845" y="273891"/>
                  </a:cubicBezTo>
                  <a:cubicBezTo>
                    <a:pt x="740213" y="273891"/>
                    <a:pt x="726147" y="271114"/>
                    <a:pt x="713642" y="265554"/>
                  </a:cubicBezTo>
                  <a:cubicBezTo>
                    <a:pt x="701137" y="259878"/>
                    <a:pt x="690427" y="251892"/>
                    <a:pt x="681512" y="241585"/>
                  </a:cubicBezTo>
                  <a:cubicBezTo>
                    <a:pt x="672596" y="231167"/>
                    <a:pt x="665768" y="218604"/>
                    <a:pt x="661021" y="203901"/>
                  </a:cubicBezTo>
                  <a:cubicBezTo>
                    <a:pt x="656390" y="189197"/>
                    <a:pt x="654075" y="172753"/>
                    <a:pt x="654075" y="154577"/>
                  </a:cubicBezTo>
                  <a:lnTo>
                    <a:pt x="654075" y="133560"/>
                  </a:lnTo>
                  <a:cubicBezTo>
                    <a:pt x="654075" y="115384"/>
                    <a:pt x="656449" y="98940"/>
                    <a:pt x="661196" y="84236"/>
                  </a:cubicBezTo>
                  <a:cubicBezTo>
                    <a:pt x="666059" y="69533"/>
                    <a:pt x="673005" y="56970"/>
                    <a:pt x="682037" y="46547"/>
                  </a:cubicBezTo>
                  <a:cubicBezTo>
                    <a:pt x="691069" y="36012"/>
                    <a:pt x="701891" y="27962"/>
                    <a:pt x="714513" y="22408"/>
                  </a:cubicBezTo>
                  <a:cubicBezTo>
                    <a:pt x="727246" y="16848"/>
                    <a:pt x="741546" y="14071"/>
                    <a:pt x="757411" y="14071"/>
                  </a:cubicBezTo>
                  <a:cubicBezTo>
                    <a:pt x="777557" y="14071"/>
                    <a:pt x="794581" y="17777"/>
                    <a:pt x="808472" y="25185"/>
                  </a:cubicBezTo>
                  <a:cubicBezTo>
                    <a:pt x="822368" y="32597"/>
                    <a:pt x="833131" y="42840"/>
                    <a:pt x="840777" y="55924"/>
                  </a:cubicBezTo>
                  <a:cubicBezTo>
                    <a:pt x="848535" y="69008"/>
                    <a:pt x="853282" y="84003"/>
                    <a:pt x="855018" y="100905"/>
                  </a:cubicBezTo>
                  <a:lnTo>
                    <a:pt x="811599" y="100905"/>
                  </a:lnTo>
                  <a:cubicBezTo>
                    <a:pt x="810442" y="90019"/>
                    <a:pt x="807893" y="80700"/>
                    <a:pt x="803958" y="72943"/>
                  </a:cubicBezTo>
                  <a:cubicBezTo>
                    <a:pt x="800140" y="65185"/>
                    <a:pt x="794464" y="59280"/>
                    <a:pt x="786940" y="55229"/>
                  </a:cubicBezTo>
                  <a:cubicBezTo>
                    <a:pt x="779415" y="51060"/>
                    <a:pt x="769571" y="48974"/>
                    <a:pt x="757416" y="48974"/>
                  </a:cubicBezTo>
                  <a:cubicBezTo>
                    <a:pt x="747460" y="48974"/>
                    <a:pt x="738773" y="50827"/>
                    <a:pt x="731366" y="54533"/>
                  </a:cubicBezTo>
                  <a:cubicBezTo>
                    <a:pt x="723953" y="58239"/>
                    <a:pt x="717762" y="63682"/>
                    <a:pt x="712781" y="70861"/>
                  </a:cubicBezTo>
                  <a:cubicBezTo>
                    <a:pt x="707801" y="78040"/>
                    <a:pt x="704041" y="86897"/>
                    <a:pt x="701492" y="97432"/>
                  </a:cubicBezTo>
                  <a:cubicBezTo>
                    <a:pt x="699060" y="107850"/>
                    <a:pt x="697844" y="119776"/>
                    <a:pt x="697844" y="133210"/>
                  </a:cubicBezTo>
                  <a:lnTo>
                    <a:pt x="697844" y="154572"/>
                  </a:lnTo>
                  <a:cubicBezTo>
                    <a:pt x="697844" y="167310"/>
                    <a:pt x="698944" y="178886"/>
                    <a:pt x="701142" y="189309"/>
                  </a:cubicBezTo>
                  <a:cubicBezTo>
                    <a:pt x="703457" y="199616"/>
                    <a:pt x="706930" y="208473"/>
                    <a:pt x="711565" y="215880"/>
                  </a:cubicBezTo>
                  <a:cubicBezTo>
                    <a:pt x="716312" y="223293"/>
                    <a:pt x="722334" y="229022"/>
                    <a:pt x="729629" y="233074"/>
                  </a:cubicBezTo>
                  <a:cubicBezTo>
                    <a:pt x="736925" y="237125"/>
                    <a:pt x="745665" y="239154"/>
                    <a:pt x="755855" y="239154"/>
                  </a:cubicBezTo>
                  <a:cubicBezTo>
                    <a:pt x="768243" y="239154"/>
                    <a:pt x="778258" y="237184"/>
                    <a:pt x="785904" y="233249"/>
                  </a:cubicBezTo>
                  <a:cubicBezTo>
                    <a:pt x="793661" y="229309"/>
                    <a:pt x="799508" y="223580"/>
                    <a:pt x="803443" y="216055"/>
                  </a:cubicBezTo>
                  <a:cubicBezTo>
                    <a:pt x="807494" y="208414"/>
                    <a:pt x="810159" y="199095"/>
                    <a:pt x="811434" y="188093"/>
                  </a:cubicBezTo>
                  <a:close/>
                  <a:moveTo>
                    <a:pt x="882285" y="178541"/>
                  </a:moveTo>
                  <a:lnTo>
                    <a:pt x="882285" y="174548"/>
                  </a:lnTo>
                  <a:cubicBezTo>
                    <a:pt x="882285" y="161002"/>
                    <a:pt x="884255" y="148439"/>
                    <a:pt x="888190" y="136858"/>
                  </a:cubicBezTo>
                  <a:cubicBezTo>
                    <a:pt x="892124" y="125165"/>
                    <a:pt x="897800" y="115034"/>
                    <a:pt x="905208" y="106464"/>
                  </a:cubicBezTo>
                  <a:cubicBezTo>
                    <a:pt x="912732" y="97782"/>
                    <a:pt x="921881" y="91065"/>
                    <a:pt x="932650" y="86318"/>
                  </a:cubicBezTo>
                  <a:cubicBezTo>
                    <a:pt x="943535" y="81454"/>
                    <a:pt x="955806" y="79022"/>
                    <a:pt x="969469" y="79022"/>
                  </a:cubicBezTo>
                  <a:cubicBezTo>
                    <a:pt x="983131" y="79022"/>
                    <a:pt x="995519" y="81454"/>
                    <a:pt x="1006288" y="86318"/>
                  </a:cubicBezTo>
                  <a:cubicBezTo>
                    <a:pt x="1017173" y="91065"/>
                    <a:pt x="1026375" y="97782"/>
                    <a:pt x="1033899" y="106464"/>
                  </a:cubicBezTo>
                  <a:cubicBezTo>
                    <a:pt x="1041424" y="115034"/>
                    <a:pt x="1047158" y="125165"/>
                    <a:pt x="1051093" y="136858"/>
                  </a:cubicBezTo>
                  <a:cubicBezTo>
                    <a:pt x="1055028" y="148434"/>
                    <a:pt x="1056998" y="160997"/>
                    <a:pt x="1056998" y="174548"/>
                  </a:cubicBezTo>
                  <a:lnTo>
                    <a:pt x="1056998" y="178541"/>
                  </a:lnTo>
                  <a:cubicBezTo>
                    <a:pt x="1056998" y="192086"/>
                    <a:pt x="1055028" y="204650"/>
                    <a:pt x="1051093" y="216226"/>
                  </a:cubicBezTo>
                  <a:cubicBezTo>
                    <a:pt x="1047153" y="227806"/>
                    <a:pt x="1041424" y="237938"/>
                    <a:pt x="1033899" y="246619"/>
                  </a:cubicBezTo>
                  <a:cubicBezTo>
                    <a:pt x="1026375" y="255189"/>
                    <a:pt x="1017226" y="261902"/>
                    <a:pt x="1006458" y="266765"/>
                  </a:cubicBezTo>
                  <a:cubicBezTo>
                    <a:pt x="995689" y="271512"/>
                    <a:pt x="983476" y="273886"/>
                    <a:pt x="969814" y="273886"/>
                  </a:cubicBezTo>
                  <a:cubicBezTo>
                    <a:pt x="956151" y="273886"/>
                    <a:pt x="943705" y="271512"/>
                    <a:pt x="932820" y="266765"/>
                  </a:cubicBezTo>
                  <a:cubicBezTo>
                    <a:pt x="922051" y="261902"/>
                    <a:pt x="912907" y="255189"/>
                    <a:pt x="905378" y="246619"/>
                  </a:cubicBezTo>
                  <a:cubicBezTo>
                    <a:pt x="897854" y="237938"/>
                    <a:pt x="892119" y="227806"/>
                    <a:pt x="888185" y="216226"/>
                  </a:cubicBezTo>
                  <a:cubicBezTo>
                    <a:pt x="884245" y="204650"/>
                    <a:pt x="882280" y="192086"/>
                    <a:pt x="882280" y="178541"/>
                  </a:cubicBezTo>
                  <a:close/>
                  <a:moveTo>
                    <a:pt x="924143" y="174548"/>
                  </a:moveTo>
                  <a:lnTo>
                    <a:pt x="924143" y="178541"/>
                  </a:lnTo>
                  <a:cubicBezTo>
                    <a:pt x="924143" y="186994"/>
                    <a:pt x="925013" y="194980"/>
                    <a:pt x="926750" y="202510"/>
                  </a:cubicBezTo>
                  <a:cubicBezTo>
                    <a:pt x="928486" y="210034"/>
                    <a:pt x="931210" y="216634"/>
                    <a:pt x="934911" y="222310"/>
                  </a:cubicBezTo>
                  <a:cubicBezTo>
                    <a:pt x="938617" y="227981"/>
                    <a:pt x="943365" y="232441"/>
                    <a:pt x="949152" y="235681"/>
                  </a:cubicBezTo>
                  <a:cubicBezTo>
                    <a:pt x="954940" y="238925"/>
                    <a:pt x="961832" y="240545"/>
                    <a:pt x="969819" y="240545"/>
                  </a:cubicBezTo>
                  <a:cubicBezTo>
                    <a:pt x="977805" y="240545"/>
                    <a:pt x="984293" y="238925"/>
                    <a:pt x="989965" y="235681"/>
                  </a:cubicBezTo>
                  <a:cubicBezTo>
                    <a:pt x="995753" y="232441"/>
                    <a:pt x="1000500" y="227981"/>
                    <a:pt x="1004206" y="222310"/>
                  </a:cubicBezTo>
                  <a:cubicBezTo>
                    <a:pt x="1007912" y="216634"/>
                    <a:pt x="1010631" y="210039"/>
                    <a:pt x="1012367" y="202510"/>
                  </a:cubicBezTo>
                  <a:cubicBezTo>
                    <a:pt x="1014220" y="194985"/>
                    <a:pt x="1015145" y="186994"/>
                    <a:pt x="1015145" y="178541"/>
                  </a:cubicBezTo>
                  <a:lnTo>
                    <a:pt x="1015145" y="174548"/>
                  </a:lnTo>
                  <a:cubicBezTo>
                    <a:pt x="1015145" y="166211"/>
                    <a:pt x="1014220" y="158336"/>
                    <a:pt x="1012367" y="150929"/>
                  </a:cubicBezTo>
                  <a:cubicBezTo>
                    <a:pt x="1010631" y="143405"/>
                    <a:pt x="1007854" y="136746"/>
                    <a:pt x="1004031" y="130958"/>
                  </a:cubicBezTo>
                  <a:cubicBezTo>
                    <a:pt x="1000325" y="125170"/>
                    <a:pt x="995578" y="120652"/>
                    <a:pt x="989790" y="117412"/>
                  </a:cubicBezTo>
                  <a:cubicBezTo>
                    <a:pt x="984118" y="114056"/>
                    <a:pt x="977343" y="112373"/>
                    <a:pt x="969469" y="112373"/>
                  </a:cubicBezTo>
                  <a:cubicBezTo>
                    <a:pt x="961594" y="112373"/>
                    <a:pt x="954765" y="114051"/>
                    <a:pt x="948977" y="117412"/>
                  </a:cubicBezTo>
                  <a:cubicBezTo>
                    <a:pt x="943301" y="120657"/>
                    <a:pt x="938613" y="125170"/>
                    <a:pt x="934911" y="130958"/>
                  </a:cubicBezTo>
                  <a:cubicBezTo>
                    <a:pt x="931205" y="136746"/>
                    <a:pt x="928486" y="143405"/>
                    <a:pt x="926750" y="150929"/>
                  </a:cubicBezTo>
                  <a:cubicBezTo>
                    <a:pt x="925013" y="158336"/>
                    <a:pt x="924143" y="166211"/>
                    <a:pt x="924143" y="174548"/>
                  </a:cubicBezTo>
                  <a:close/>
                  <a:moveTo>
                    <a:pt x="1133598" y="122617"/>
                  </a:moveTo>
                  <a:lnTo>
                    <a:pt x="1133598" y="270418"/>
                  </a:lnTo>
                  <a:lnTo>
                    <a:pt x="1091745" y="270418"/>
                  </a:lnTo>
                  <a:lnTo>
                    <a:pt x="1091745" y="82495"/>
                  </a:lnTo>
                  <a:lnTo>
                    <a:pt x="1131171" y="82495"/>
                  </a:lnTo>
                  <a:lnTo>
                    <a:pt x="1133603" y="122617"/>
                  </a:lnTo>
                  <a:close/>
                  <a:moveTo>
                    <a:pt x="1126132" y="169509"/>
                  </a:moveTo>
                  <a:lnTo>
                    <a:pt x="1112586" y="169334"/>
                  </a:lnTo>
                  <a:cubicBezTo>
                    <a:pt x="1112703" y="156016"/>
                    <a:pt x="1114556" y="143803"/>
                    <a:pt x="1118145" y="132690"/>
                  </a:cubicBezTo>
                  <a:cubicBezTo>
                    <a:pt x="1121852" y="121576"/>
                    <a:pt x="1126944" y="112023"/>
                    <a:pt x="1133428" y="104032"/>
                  </a:cubicBezTo>
                  <a:cubicBezTo>
                    <a:pt x="1140028" y="96046"/>
                    <a:pt x="1147902" y="89908"/>
                    <a:pt x="1157046" y="85623"/>
                  </a:cubicBezTo>
                  <a:cubicBezTo>
                    <a:pt x="1166195" y="81226"/>
                    <a:pt x="1176385" y="79022"/>
                    <a:pt x="1187615" y="79022"/>
                  </a:cubicBezTo>
                  <a:cubicBezTo>
                    <a:pt x="1196647" y="79022"/>
                    <a:pt x="1204809" y="80297"/>
                    <a:pt x="1212105" y="82840"/>
                  </a:cubicBezTo>
                  <a:cubicBezTo>
                    <a:pt x="1219517" y="85272"/>
                    <a:pt x="1225825" y="89265"/>
                    <a:pt x="1231034" y="94825"/>
                  </a:cubicBezTo>
                  <a:cubicBezTo>
                    <a:pt x="1236360" y="100384"/>
                    <a:pt x="1240412" y="107617"/>
                    <a:pt x="1243189" y="116532"/>
                  </a:cubicBezTo>
                  <a:cubicBezTo>
                    <a:pt x="1245966" y="125331"/>
                    <a:pt x="1247357" y="136157"/>
                    <a:pt x="1247357" y="149008"/>
                  </a:cubicBezTo>
                  <a:lnTo>
                    <a:pt x="1247357" y="270408"/>
                  </a:lnTo>
                  <a:lnTo>
                    <a:pt x="1205329" y="270408"/>
                  </a:lnTo>
                  <a:lnTo>
                    <a:pt x="1205329" y="148833"/>
                  </a:lnTo>
                  <a:cubicBezTo>
                    <a:pt x="1205329" y="139800"/>
                    <a:pt x="1203996" y="132680"/>
                    <a:pt x="1201336" y="127471"/>
                  </a:cubicBezTo>
                  <a:cubicBezTo>
                    <a:pt x="1198787" y="122145"/>
                    <a:pt x="1195028" y="118380"/>
                    <a:pt x="1190047" y="116182"/>
                  </a:cubicBezTo>
                  <a:cubicBezTo>
                    <a:pt x="1185183" y="113867"/>
                    <a:pt x="1179104" y="112709"/>
                    <a:pt x="1171813" y="112709"/>
                  </a:cubicBezTo>
                  <a:cubicBezTo>
                    <a:pt x="1164522" y="112709"/>
                    <a:pt x="1158209" y="114212"/>
                    <a:pt x="1152533" y="117223"/>
                  </a:cubicBezTo>
                  <a:cubicBezTo>
                    <a:pt x="1146861" y="120233"/>
                    <a:pt x="1142056" y="124343"/>
                    <a:pt x="1138116" y="129552"/>
                  </a:cubicBezTo>
                  <a:cubicBezTo>
                    <a:pt x="1134293" y="134762"/>
                    <a:pt x="1131341" y="140783"/>
                    <a:pt x="1129259" y="147617"/>
                  </a:cubicBezTo>
                  <a:cubicBezTo>
                    <a:pt x="1127178" y="154445"/>
                    <a:pt x="1126132" y="161741"/>
                    <a:pt x="1126132" y="169499"/>
                  </a:cubicBezTo>
                  <a:close/>
                  <a:moveTo>
                    <a:pt x="1346701" y="270418"/>
                  </a:moveTo>
                  <a:lnTo>
                    <a:pt x="1304843" y="270418"/>
                  </a:lnTo>
                  <a:lnTo>
                    <a:pt x="1304843" y="64436"/>
                  </a:lnTo>
                  <a:cubicBezTo>
                    <a:pt x="1304843" y="50428"/>
                    <a:pt x="1307450" y="38672"/>
                    <a:pt x="1312659" y="29178"/>
                  </a:cubicBezTo>
                  <a:cubicBezTo>
                    <a:pt x="1317985" y="19567"/>
                    <a:pt x="1325567" y="12330"/>
                    <a:pt x="1335412" y="7471"/>
                  </a:cubicBezTo>
                  <a:cubicBezTo>
                    <a:pt x="1345256" y="2490"/>
                    <a:pt x="1356890" y="0"/>
                    <a:pt x="1370319" y="0"/>
                  </a:cubicBezTo>
                  <a:cubicBezTo>
                    <a:pt x="1374488" y="0"/>
                    <a:pt x="1378597" y="292"/>
                    <a:pt x="1382649" y="871"/>
                  </a:cubicBezTo>
                  <a:cubicBezTo>
                    <a:pt x="1386701" y="1333"/>
                    <a:pt x="1390640" y="2087"/>
                    <a:pt x="1394458" y="3127"/>
                  </a:cubicBezTo>
                  <a:lnTo>
                    <a:pt x="1393418" y="35433"/>
                  </a:lnTo>
                  <a:cubicBezTo>
                    <a:pt x="1391102" y="34854"/>
                    <a:pt x="1388554" y="34450"/>
                    <a:pt x="1385776" y="34217"/>
                  </a:cubicBezTo>
                  <a:cubicBezTo>
                    <a:pt x="1383116" y="33983"/>
                    <a:pt x="1380217" y="33867"/>
                    <a:pt x="1377095" y="33867"/>
                  </a:cubicBezTo>
                  <a:cubicBezTo>
                    <a:pt x="1370728" y="33867"/>
                    <a:pt x="1365227" y="35083"/>
                    <a:pt x="1360596" y="37515"/>
                  </a:cubicBezTo>
                  <a:cubicBezTo>
                    <a:pt x="1356083" y="39830"/>
                    <a:pt x="1352605" y="43244"/>
                    <a:pt x="1350178" y="47763"/>
                  </a:cubicBezTo>
                  <a:cubicBezTo>
                    <a:pt x="1347863" y="52281"/>
                    <a:pt x="1346706" y="57836"/>
                    <a:pt x="1346706" y="64436"/>
                  </a:cubicBezTo>
                  <a:lnTo>
                    <a:pt x="1346706" y="270418"/>
                  </a:lnTo>
                  <a:close/>
                  <a:moveTo>
                    <a:pt x="1385431" y="82500"/>
                  </a:moveTo>
                  <a:lnTo>
                    <a:pt x="1385431" y="113069"/>
                  </a:lnTo>
                  <a:lnTo>
                    <a:pt x="1276015" y="113069"/>
                  </a:lnTo>
                  <a:lnTo>
                    <a:pt x="1276015" y="82500"/>
                  </a:lnTo>
                  <a:lnTo>
                    <a:pt x="1385431" y="82500"/>
                  </a:lnTo>
                  <a:close/>
                </a:path>
              </a:pathLst>
            </a:custGeom>
            <a:solidFill>
              <a:schemeClr val="tx1"/>
            </a:solidFill>
            <a:ln w="4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7" name="Полилиния: фигура 46">
              <a:extLst>
                <a:ext uri="{FF2B5EF4-FFF2-40B4-BE49-F238E27FC236}">
                  <a16:creationId xmlns:a16="http://schemas.microsoft.com/office/drawing/2014/main" id="{0E6F0FB0-99D0-4190-B058-29B8184B7C5F}"/>
                </a:ext>
              </a:extLst>
            </p:cNvPr>
            <p:cNvSpPr/>
            <p:nvPr/>
          </p:nvSpPr>
          <p:spPr>
            <a:xfrm>
              <a:off x="8902858" y="5892336"/>
              <a:ext cx="774600" cy="259834"/>
            </a:xfrm>
            <a:custGeom>
              <a:avLst/>
              <a:gdLst>
                <a:gd name="connsiteX0" fmla="*/ 174372 w 774600"/>
                <a:gd name="connsiteY0" fmla="*/ 223015 h 259834"/>
                <a:gd name="connsiteX1" fmla="*/ 174372 w 774600"/>
                <a:gd name="connsiteY1" fmla="*/ 256362 h 259834"/>
                <a:gd name="connsiteX2" fmla="*/ 4859 w 774600"/>
                <a:gd name="connsiteY2" fmla="*/ 256362 h 259834"/>
                <a:gd name="connsiteX3" fmla="*/ 4859 w 774600"/>
                <a:gd name="connsiteY3" fmla="*/ 227704 h 259834"/>
                <a:gd name="connsiteX4" fmla="*/ 87193 w 774600"/>
                <a:gd name="connsiteY4" fmla="*/ 137913 h 259834"/>
                <a:gd name="connsiteX5" fmla="*/ 108541 w 774600"/>
                <a:gd name="connsiteY5" fmla="*/ 111513 h 259834"/>
                <a:gd name="connsiteX6" fmla="*/ 119499 w 774600"/>
                <a:gd name="connsiteY6" fmla="*/ 91542 h 259834"/>
                <a:gd name="connsiteX7" fmla="*/ 122797 w 774600"/>
                <a:gd name="connsiteY7" fmla="*/ 73998 h 259834"/>
                <a:gd name="connsiteX8" fmla="*/ 118278 w 774600"/>
                <a:gd name="connsiteY8" fmla="*/ 52981 h 259834"/>
                <a:gd name="connsiteX9" fmla="*/ 105413 w 774600"/>
                <a:gd name="connsiteY9" fmla="*/ 38565 h 259834"/>
                <a:gd name="connsiteX10" fmla="*/ 84752 w 774600"/>
                <a:gd name="connsiteY10" fmla="*/ 33181 h 259834"/>
                <a:gd name="connsiteX11" fmla="*/ 61138 w 774600"/>
                <a:gd name="connsiteY11" fmla="*/ 39261 h 259834"/>
                <a:gd name="connsiteX12" fmla="*/ 46712 w 774600"/>
                <a:gd name="connsiteY12" fmla="*/ 56109 h 259834"/>
                <a:gd name="connsiteX13" fmla="*/ 41853 w 774600"/>
                <a:gd name="connsiteY13" fmla="*/ 80423 h 259834"/>
                <a:gd name="connsiteX14" fmla="*/ 0 w 774600"/>
                <a:gd name="connsiteY14" fmla="*/ 80423 h 259834"/>
                <a:gd name="connsiteX15" fmla="*/ 10083 w 774600"/>
                <a:gd name="connsiteY15" fmla="*/ 40131 h 259834"/>
                <a:gd name="connsiteX16" fmla="*/ 39261 w 774600"/>
                <a:gd name="connsiteY16" fmla="*/ 10953 h 259834"/>
                <a:gd name="connsiteX17" fmla="*/ 85272 w 774600"/>
                <a:gd name="connsiteY17" fmla="*/ 10 h 259834"/>
                <a:gd name="connsiteX18" fmla="*/ 128346 w 774600"/>
                <a:gd name="connsiteY18" fmla="*/ 8521 h 259834"/>
                <a:gd name="connsiteX19" fmla="*/ 155277 w 774600"/>
                <a:gd name="connsiteY19" fmla="*/ 32660 h 259834"/>
                <a:gd name="connsiteX20" fmla="*/ 164654 w 774600"/>
                <a:gd name="connsiteY20" fmla="*/ 69655 h 259834"/>
                <a:gd name="connsiteX21" fmla="*/ 160827 w 774600"/>
                <a:gd name="connsiteY21" fmla="*/ 93103 h 259834"/>
                <a:gd name="connsiteX22" fmla="*/ 149888 w 774600"/>
                <a:gd name="connsiteY22" fmla="*/ 116376 h 259834"/>
                <a:gd name="connsiteX23" fmla="*/ 133400 w 774600"/>
                <a:gd name="connsiteY23" fmla="*/ 139475 h 259834"/>
                <a:gd name="connsiteX24" fmla="*/ 112378 w 774600"/>
                <a:gd name="connsiteY24" fmla="*/ 162748 h 259834"/>
                <a:gd name="connsiteX25" fmla="*/ 57675 w 774600"/>
                <a:gd name="connsiteY25" fmla="*/ 223015 h 259834"/>
                <a:gd name="connsiteX26" fmla="*/ 174377 w 774600"/>
                <a:gd name="connsiteY26" fmla="*/ 223015 h 259834"/>
                <a:gd name="connsiteX27" fmla="*/ 371848 w 774600"/>
                <a:gd name="connsiteY27" fmla="*/ 108735 h 259834"/>
                <a:gd name="connsiteX28" fmla="*/ 371848 w 774600"/>
                <a:gd name="connsiteY28" fmla="*/ 150068 h 259834"/>
                <a:gd name="connsiteX29" fmla="*/ 365938 w 774600"/>
                <a:gd name="connsiteY29" fmla="*/ 200783 h 259834"/>
                <a:gd name="connsiteX30" fmla="*/ 349260 w 774600"/>
                <a:gd name="connsiteY30" fmla="*/ 234650 h 259834"/>
                <a:gd name="connsiteX31" fmla="*/ 323035 w 774600"/>
                <a:gd name="connsiteY31" fmla="*/ 253755 h 259834"/>
                <a:gd name="connsiteX32" fmla="*/ 289168 w 774600"/>
                <a:gd name="connsiteY32" fmla="*/ 259834 h 259834"/>
                <a:gd name="connsiteX33" fmla="*/ 261381 w 774600"/>
                <a:gd name="connsiteY33" fmla="*/ 256011 h 259834"/>
                <a:gd name="connsiteX34" fmla="*/ 238468 w 774600"/>
                <a:gd name="connsiteY34" fmla="*/ 244027 h 259834"/>
                <a:gd name="connsiteX35" fmla="*/ 220914 w 774600"/>
                <a:gd name="connsiteY35" fmla="*/ 223011 h 259834"/>
                <a:gd name="connsiteX36" fmla="*/ 209800 w 774600"/>
                <a:gd name="connsiteY36" fmla="*/ 191921 h 259834"/>
                <a:gd name="connsiteX37" fmla="*/ 205972 w 774600"/>
                <a:gd name="connsiteY37" fmla="*/ 150063 h 259834"/>
                <a:gd name="connsiteX38" fmla="*/ 205972 w 774600"/>
                <a:gd name="connsiteY38" fmla="*/ 108730 h 259834"/>
                <a:gd name="connsiteX39" fmla="*/ 211882 w 774600"/>
                <a:gd name="connsiteY39" fmla="*/ 58366 h 259834"/>
                <a:gd name="connsiteX40" fmla="*/ 228730 w 774600"/>
                <a:gd name="connsiteY40" fmla="*/ 24844 h 259834"/>
                <a:gd name="connsiteX41" fmla="*/ 254786 w 774600"/>
                <a:gd name="connsiteY41" fmla="*/ 5914 h 259834"/>
                <a:gd name="connsiteX42" fmla="*/ 288827 w 774600"/>
                <a:gd name="connsiteY42" fmla="*/ 10 h 259834"/>
                <a:gd name="connsiteX43" fmla="*/ 316614 w 774600"/>
                <a:gd name="connsiteY43" fmla="*/ 3833 h 259834"/>
                <a:gd name="connsiteX44" fmla="*/ 339542 w 774600"/>
                <a:gd name="connsiteY44" fmla="*/ 15467 h 259834"/>
                <a:gd name="connsiteX45" fmla="*/ 356906 w 774600"/>
                <a:gd name="connsiteY45" fmla="*/ 36308 h 259834"/>
                <a:gd name="connsiteX46" fmla="*/ 368020 w 774600"/>
                <a:gd name="connsiteY46" fmla="*/ 67048 h 259834"/>
                <a:gd name="connsiteX47" fmla="*/ 371848 w 774600"/>
                <a:gd name="connsiteY47" fmla="*/ 108730 h 259834"/>
                <a:gd name="connsiteX48" fmla="*/ 329995 w 774600"/>
                <a:gd name="connsiteY48" fmla="*/ 155978 h 259834"/>
                <a:gd name="connsiteX49" fmla="*/ 329995 w 774600"/>
                <a:gd name="connsiteY49" fmla="*/ 102485 h 259834"/>
                <a:gd name="connsiteX50" fmla="*/ 328258 w 774600"/>
                <a:gd name="connsiteY50" fmla="*/ 75914 h 259834"/>
                <a:gd name="connsiteX51" fmla="*/ 323039 w 774600"/>
                <a:gd name="connsiteY51" fmla="*/ 56289 h 259834"/>
                <a:gd name="connsiteX52" fmla="*/ 314708 w 774600"/>
                <a:gd name="connsiteY52" fmla="*/ 43088 h 259834"/>
                <a:gd name="connsiteX53" fmla="*/ 303234 w 774600"/>
                <a:gd name="connsiteY53" fmla="*/ 35623 h 259834"/>
                <a:gd name="connsiteX54" fmla="*/ 288823 w 774600"/>
                <a:gd name="connsiteY54" fmla="*/ 33191 h 259834"/>
                <a:gd name="connsiteX55" fmla="*/ 271459 w 774600"/>
                <a:gd name="connsiteY55" fmla="*/ 37014 h 259834"/>
                <a:gd name="connsiteX56" fmla="*/ 258613 w 774600"/>
                <a:gd name="connsiteY56" fmla="*/ 48823 h 259834"/>
                <a:gd name="connsiteX57" fmla="*/ 250608 w 774600"/>
                <a:gd name="connsiteY57" fmla="*/ 70360 h 259834"/>
                <a:gd name="connsiteX58" fmla="*/ 248015 w 774600"/>
                <a:gd name="connsiteY58" fmla="*/ 102490 h 259834"/>
                <a:gd name="connsiteX59" fmla="*/ 248015 w 774600"/>
                <a:gd name="connsiteY59" fmla="*/ 155982 h 259834"/>
                <a:gd name="connsiteX60" fmla="*/ 249752 w 774600"/>
                <a:gd name="connsiteY60" fmla="*/ 182904 h 259834"/>
                <a:gd name="connsiteX61" fmla="*/ 254956 w 774600"/>
                <a:gd name="connsiteY61" fmla="*/ 202874 h 259834"/>
                <a:gd name="connsiteX62" fmla="*/ 263302 w 774600"/>
                <a:gd name="connsiteY62" fmla="*/ 216420 h 259834"/>
                <a:gd name="connsiteX63" fmla="*/ 274756 w 774600"/>
                <a:gd name="connsiteY63" fmla="*/ 224061 h 259834"/>
                <a:gd name="connsiteX64" fmla="*/ 289168 w 774600"/>
                <a:gd name="connsiteY64" fmla="*/ 226493 h 259834"/>
                <a:gd name="connsiteX65" fmla="*/ 306721 w 774600"/>
                <a:gd name="connsiteY65" fmla="*/ 222670 h 259834"/>
                <a:gd name="connsiteX66" fmla="*/ 319567 w 774600"/>
                <a:gd name="connsiteY66" fmla="*/ 210511 h 259834"/>
                <a:gd name="connsiteX67" fmla="*/ 327383 w 774600"/>
                <a:gd name="connsiteY67" fmla="*/ 188453 h 259834"/>
                <a:gd name="connsiteX68" fmla="*/ 329995 w 774600"/>
                <a:gd name="connsiteY68" fmla="*/ 155978 h 259834"/>
                <a:gd name="connsiteX69" fmla="*/ 578701 w 774600"/>
                <a:gd name="connsiteY69" fmla="*/ 223015 h 259834"/>
                <a:gd name="connsiteX70" fmla="*/ 578701 w 774600"/>
                <a:gd name="connsiteY70" fmla="*/ 256362 h 259834"/>
                <a:gd name="connsiteX71" fmla="*/ 409187 w 774600"/>
                <a:gd name="connsiteY71" fmla="*/ 256362 h 259834"/>
                <a:gd name="connsiteX72" fmla="*/ 409187 w 774600"/>
                <a:gd name="connsiteY72" fmla="*/ 227704 h 259834"/>
                <a:gd name="connsiteX73" fmla="*/ 491507 w 774600"/>
                <a:gd name="connsiteY73" fmla="*/ 137913 h 259834"/>
                <a:gd name="connsiteX74" fmla="*/ 512874 w 774600"/>
                <a:gd name="connsiteY74" fmla="*/ 111513 h 259834"/>
                <a:gd name="connsiteX75" fmla="*/ 523813 w 774600"/>
                <a:gd name="connsiteY75" fmla="*/ 91542 h 259834"/>
                <a:gd name="connsiteX76" fmla="*/ 527110 w 774600"/>
                <a:gd name="connsiteY76" fmla="*/ 73998 h 259834"/>
                <a:gd name="connsiteX77" fmla="*/ 522592 w 774600"/>
                <a:gd name="connsiteY77" fmla="*/ 52981 h 259834"/>
                <a:gd name="connsiteX78" fmla="*/ 509746 w 774600"/>
                <a:gd name="connsiteY78" fmla="*/ 38565 h 259834"/>
                <a:gd name="connsiteX79" fmla="*/ 489085 w 774600"/>
                <a:gd name="connsiteY79" fmla="*/ 33181 h 259834"/>
                <a:gd name="connsiteX80" fmla="*/ 465452 w 774600"/>
                <a:gd name="connsiteY80" fmla="*/ 39261 h 259834"/>
                <a:gd name="connsiteX81" fmla="*/ 451040 w 774600"/>
                <a:gd name="connsiteY81" fmla="*/ 56109 h 259834"/>
                <a:gd name="connsiteX82" fmla="*/ 446181 w 774600"/>
                <a:gd name="connsiteY82" fmla="*/ 80423 h 259834"/>
                <a:gd name="connsiteX83" fmla="*/ 404328 w 774600"/>
                <a:gd name="connsiteY83" fmla="*/ 80423 h 259834"/>
                <a:gd name="connsiteX84" fmla="*/ 414391 w 774600"/>
                <a:gd name="connsiteY84" fmla="*/ 40131 h 259834"/>
                <a:gd name="connsiteX85" fmla="*/ 443569 w 774600"/>
                <a:gd name="connsiteY85" fmla="*/ 10953 h 259834"/>
                <a:gd name="connsiteX86" fmla="*/ 489596 w 774600"/>
                <a:gd name="connsiteY86" fmla="*/ 10 h 259834"/>
                <a:gd name="connsiteX87" fmla="*/ 532670 w 774600"/>
                <a:gd name="connsiteY87" fmla="*/ 8521 h 259834"/>
                <a:gd name="connsiteX88" fmla="*/ 559581 w 774600"/>
                <a:gd name="connsiteY88" fmla="*/ 32660 h 259834"/>
                <a:gd name="connsiteX89" fmla="*/ 568958 w 774600"/>
                <a:gd name="connsiteY89" fmla="*/ 69655 h 259834"/>
                <a:gd name="connsiteX90" fmla="*/ 565145 w 774600"/>
                <a:gd name="connsiteY90" fmla="*/ 93103 h 259834"/>
                <a:gd name="connsiteX91" fmla="*/ 554207 w 774600"/>
                <a:gd name="connsiteY91" fmla="*/ 116376 h 259834"/>
                <a:gd name="connsiteX92" fmla="*/ 537704 w 774600"/>
                <a:gd name="connsiteY92" fmla="*/ 139475 h 259834"/>
                <a:gd name="connsiteX93" fmla="*/ 516697 w 774600"/>
                <a:gd name="connsiteY93" fmla="*/ 162748 h 259834"/>
                <a:gd name="connsiteX94" fmla="*/ 461979 w 774600"/>
                <a:gd name="connsiteY94" fmla="*/ 223015 h 259834"/>
                <a:gd name="connsiteX95" fmla="*/ 578701 w 774600"/>
                <a:gd name="connsiteY95" fmla="*/ 223015 h 259834"/>
                <a:gd name="connsiteX96" fmla="*/ 660505 w 774600"/>
                <a:gd name="connsiteY96" fmla="*/ 110992 h 259834"/>
                <a:gd name="connsiteX97" fmla="*/ 685510 w 774600"/>
                <a:gd name="connsiteY97" fmla="*/ 110992 h 259834"/>
                <a:gd name="connsiteX98" fmla="*/ 709639 w 774600"/>
                <a:gd name="connsiteY98" fmla="*/ 105953 h 259834"/>
                <a:gd name="connsiteX99" fmla="*/ 724065 w 774600"/>
                <a:gd name="connsiteY99" fmla="*/ 92057 h 259834"/>
                <a:gd name="connsiteX100" fmla="*/ 728754 w 774600"/>
                <a:gd name="connsiteY100" fmla="*/ 71736 h 259834"/>
                <a:gd name="connsiteX101" fmla="*/ 724411 w 774600"/>
                <a:gd name="connsiteY101" fmla="*/ 51240 h 259834"/>
                <a:gd name="connsiteX102" fmla="*/ 711565 w 774600"/>
                <a:gd name="connsiteY102" fmla="*/ 37865 h 259834"/>
                <a:gd name="connsiteX103" fmla="*/ 689858 w 774600"/>
                <a:gd name="connsiteY103" fmla="*/ 33176 h 259834"/>
                <a:gd name="connsiteX104" fmla="*/ 669712 w 774600"/>
                <a:gd name="connsiteY104" fmla="*/ 37690 h 259834"/>
                <a:gd name="connsiteX105" fmla="*/ 655626 w 774600"/>
                <a:gd name="connsiteY105" fmla="*/ 50195 h 259834"/>
                <a:gd name="connsiteX106" fmla="*/ 650422 w 774600"/>
                <a:gd name="connsiteY106" fmla="*/ 69300 h 259834"/>
                <a:gd name="connsiteX107" fmla="*/ 608394 w 774600"/>
                <a:gd name="connsiteY107" fmla="*/ 69300 h 259834"/>
                <a:gd name="connsiteX108" fmla="*/ 618992 w 774600"/>
                <a:gd name="connsiteY108" fmla="*/ 33521 h 259834"/>
                <a:gd name="connsiteX109" fmla="*/ 647810 w 774600"/>
                <a:gd name="connsiteY109" fmla="*/ 9032 h 259834"/>
                <a:gd name="connsiteX110" fmla="*/ 689148 w 774600"/>
                <a:gd name="connsiteY110" fmla="*/ 0 h 259834"/>
                <a:gd name="connsiteX111" fmla="*/ 731876 w 774600"/>
                <a:gd name="connsiteY111" fmla="*/ 8161 h 259834"/>
                <a:gd name="connsiteX112" fmla="*/ 760524 w 774600"/>
                <a:gd name="connsiteY112" fmla="*/ 32130 h 259834"/>
                <a:gd name="connsiteX113" fmla="*/ 770777 w 774600"/>
                <a:gd name="connsiteY113" fmla="*/ 71731 h 259834"/>
                <a:gd name="connsiteX114" fmla="*/ 765743 w 774600"/>
                <a:gd name="connsiteY114" fmla="*/ 93614 h 259834"/>
                <a:gd name="connsiteX115" fmla="*/ 750802 w 774600"/>
                <a:gd name="connsiteY115" fmla="*/ 113935 h 259834"/>
                <a:gd name="connsiteX116" fmla="*/ 726137 w 774600"/>
                <a:gd name="connsiteY116" fmla="*/ 128696 h 259834"/>
                <a:gd name="connsiteX117" fmla="*/ 691925 w 774600"/>
                <a:gd name="connsiteY117" fmla="*/ 134256 h 259834"/>
                <a:gd name="connsiteX118" fmla="*/ 660495 w 774600"/>
                <a:gd name="connsiteY118" fmla="*/ 134256 h 259834"/>
                <a:gd name="connsiteX119" fmla="*/ 660495 w 774600"/>
                <a:gd name="connsiteY119" fmla="*/ 110982 h 259834"/>
                <a:gd name="connsiteX120" fmla="*/ 660505 w 774600"/>
                <a:gd name="connsiteY120" fmla="*/ 143643 h 259834"/>
                <a:gd name="connsiteX121" fmla="*/ 660505 w 774600"/>
                <a:gd name="connsiteY121" fmla="*/ 120715 h 259834"/>
                <a:gd name="connsiteX122" fmla="*/ 691935 w 774600"/>
                <a:gd name="connsiteY122" fmla="*/ 120715 h 259834"/>
                <a:gd name="connsiteX123" fmla="*/ 729790 w 774600"/>
                <a:gd name="connsiteY123" fmla="*/ 125924 h 259834"/>
                <a:gd name="connsiteX124" fmla="*/ 755500 w 774600"/>
                <a:gd name="connsiteY124" fmla="*/ 140340 h 259834"/>
                <a:gd name="connsiteX125" fmla="*/ 769911 w 774600"/>
                <a:gd name="connsiteY125" fmla="*/ 161007 h 259834"/>
                <a:gd name="connsiteX126" fmla="*/ 774600 w 774600"/>
                <a:gd name="connsiteY126" fmla="*/ 185671 h 259834"/>
                <a:gd name="connsiteX127" fmla="*/ 768175 w 774600"/>
                <a:gd name="connsiteY127" fmla="*/ 217281 h 259834"/>
                <a:gd name="connsiteX128" fmla="*/ 750296 w 774600"/>
                <a:gd name="connsiteY128" fmla="*/ 240554 h 259834"/>
                <a:gd name="connsiteX129" fmla="*/ 723024 w 774600"/>
                <a:gd name="connsiteY129" fmla="*/ 254971 h 259834"/>
                <a:gd name="connsiteX130" fmla="*/ 689328 w 774600"/>
                <a:gd name="connsiteY130" fmla="*/ 259834 h 259834"/>
                <a:gd name="connsiteX131" fmla="*/ 658068 w 774600"/>
                <a:gd name="connsiteY131" fmla="*/ 255316 h 259834"/>
                <a:gd name="connsiteX132" fmla="*/ 631327 w 774600"/>
                <a:gd name="connsiteY132" fmla="*/ 241945 h 259834"/>
                <a:gd name="connsiteX133" fmla="*/ 612572 w 774600"/>
                <a:gd name="connsiteY133" fmla="*/ 219543 h 259834"/>
                <a:gd name="connsiteX134" fmla="*/ 605787 w 774600"/>
                <a:gd name="connsiteY134" fmla="*/ 188283 h 259834"/>
                <a:gd name="connsiteX135" fmla="*/ 647640 w 774600"/>
                <a:gd name="connsiteY135" fmla="*/ 188283 h 259834"/>
                <a:gd name="connsiteX136" fmla="*/ 652859 w 774600"/>
                <a:gd name="connsiteY136" fmla="*/ 208254 h 259834"/>
                <a:gd name="connsiteX137" fmla="*/ 667786 w 774600"/>
                <a:gd name="connsiteY137" fmla="*/ 221624 h 259834"/>
                <a:gd name="connsiteX138" fmla="*/ 690028 w 774600"/>
                <a:gd name="connsiteY138" fmla="*/ 226488 h 259834"/>
                <a:gd name="connsiteX139" fmla="*/ 712767 w 774600"/>
                <a:gd name="connsiteY139" fmla="*/ 221799 h 259834"/>
                <a:gd name="connsiteX140" fmla="*/ 727363 w 774600"/>
                <a:gd name="connsiteY140" fmla="*/ 207904 h 259834"/>
                <a:gd name="connsiteX141" fmla="*/ 732567 w 774600"/>
                <a:gd name="connsiteY141" fmla="*/ 185671 h 259834"/>
                <a:gd name="connsiteX142" fmla="*/ 726847 w 774600"/>
                <a:gd name="connsiteY142" fmla="*/ 161702 h 259834"/>
                <a:gd name="connsiteX143" fmla="*/ 710515 w 774600"/>
                <a:gd name="connsiteY143" fmla="*/ 148157 h 259834"/>
                <a:gd name="connsiteX144" fmla="*/ 685510 w 774600"/>
                <a:gd name="connsiteY144" fmla="*/ 143643 h 259834"/>
                <a:gd name="connsiteX145" fmla="*/ 660505 w 774600"/>
                <a:gd name="connsiteY145" fmla="*/ 143643 h 2598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</a:cxnLst>
              <a:rect l="l" t="t" r="r" b="b"/>
              <a:pathLst>
                <a:path w="774600" h="259834">
                  <a:moveTo>
                    <a:pt x="174372" y="223015"/>
                  </a:moveTo>
                  <a:lnTo>
                    <a:pt x="174372" y="256362"/>
                  </a:lnTo>
                  <a:lnTo>
                    <a:pt x="4859" y="256362"/>
                  </a:lnTo>
                  <a:lnTo>
                    <a:pt x="4859" y="227704"/>
                  </a:lnTo>
                  <a:lnTo>
                    <a:pt x="87193" y="137913"/>
                  </a:lnTo>
                  <a:cubicBezTo>
                    <a:pt x="96211" y="127724"/>
                    <a:pt x="103336" y="118925"/>
                    <a:pt x="108541" y="111513"/>
                  </a:cubicBezTo>
                  <a:cubicBezTo>
                    <a:pt x="113760" y="104100"/>
                    <a:pt x="117403" y="97446"/>
                    <a:pt x="119499" y="91542"/>
                  </a:cubicBezTo>
                  <a:cubicBezTo>
                    <a:pt x="121697" y="85520"/>
                    <a:pt x="122797" y="79674"/>
                    <a:pt x="122797" y="73998"/>
                  </a:cubicBezTo>
                  <a:cubicBezTo>
                    <a:pt x="122797" y="66012"/>
                    <a:pt x="121284" y="59003"/>
                    <a:pt x="118278" y="52981"/>
                  </a:cubicBezTo>
                  <a:cubicBezTo>
                    <a:pt x="115374" y="46843"/>
                    <a:pt x="111099" y="42038"/>
                    <a:pt x="105413" y="38565"/>
                  </a:cubicBezTo>
                  <a:cubicBezTo>
                    <a:pt x="99747" y="34976"/>
                    <a:pt x="92860" y="33181"/>
                    <a:pt x="84752" y="33181"/>
                  </a:cubicBezTo>
                  <a:cubicBezTo>
                    <a:pt x="75374" y="33181"/>
                    <a:pt x="67510" y="35209"/>
                    <a:pt x="61138" y="39261"/>
                  </a:cubicBezTo>
                  <a:cubicBezTo>
                    <a:pt x="54766" y="43312"/>
                    <a:pt x="49956" y="48930"/>
                    <a:pt x="46712" y="56109"/>
                  </a:cubicBezTo>
                  <a:cubicBezTo>
                    <a:pt x="43482" y="63171"/>
                    <a:pt x="41853" y="71279"/>
                    <a:pt x="41853" y="80423"/>
                  </a:cubicBezTo>
                  <a:lnTo>
                    <a:pt x="0" y="80423"/>
                  </a:lnTo>
                  <a:cubicBezTo>
                    <a:pt x="0" y="65720"/>
                    <a:pt x="3366" y="52286"/>
                    <a:pt x="10083" y="40131"/>
                  </a:cubicBezTo>
                  <a:cubicBezTo>
                    <a:pt x="16800" y="27860"/>
                    <a:pt x="26517" y="18132"/>
                    <a:pt x="39261" y="10953"/>
                  </a:cubicBezTo>
                  <a:cubicBezTo>
                    <a:pt x="51989" y="3658"/>
                    <a:pt x="67325" y="10"/>
                    <a:pt x="85272" y="10"/>
                  </a:cubicBezTo>
                  <a:cubicBezTo>
                    <a:pt x="102189" y="10"/>
                    <a:pt x="116546" y="2845"/>
                    <a:pt x="128346" y="8521"/>
                  </a:cubicBezTo>
                  <a:cubicBezTo>
                    <a:pt x="140160" y="14193"/>
                    <a:pt x="149129" y="22242"/>
                    <a:pt x="155277" y="32660"/>
                  </a:cubicBezTo>
                  <a:cubicBezTo>
                    <a:pt x="161527" y="43079"/>
                    <a:pt x="164654" y="55413"/>
                    <a:pt x="164654" y="69655"/>
                  </a:cubicBezTo>
                  <a:cubicBezTo>
                    <a:pt x="164654" y="77529"/>
                    <a:pt x="163385" y="85345"/>
                    <a:pt x="160827" y="93103"/>
                  </a:cubicBezTo>
                  <a:cubicBezTo>
                    <a:pt x="158283" y="100861"/>
                    <a:pt x="154645" y="108619"/>
                    <a:pt x="149888" y="116376"/>
                  </a:cubicBezTo>
                  <a:cubicBezTo>
                    <a:pt x="145267" y="124017"/>
                    <a:pt x="139757" y="131717"/>
                    <a:pt x="133400" y="139475"/>
                  </a:cubicBezTo>
                  <a:cubicBezTo>
                    <a:pt x="127028" y="147116"/>
                    <a:pt x="120019" y="154873"/>
                    <a:pt x="112378" y="162748"/>
                  </a:cubicBezTo>
                  <a:lnTo>
                    <a:pt x="57675" y="223015"/>
                  </a:lnTo>
                  <a:lnTo>
                    <a:pt x="174377" y="223015"/>
                  </a:lnTo>
                  <a:close/>
                  <a:moveTo>
                    <a:pt x="371848" y="108735"/>
                  </a:moveTo>
                  <a:lnTo>
                    <a:pt x="371848" y="150068"/>
                  </a:lnTo>
                  <a:cubicBezTo>
                    <a:pt x="371848" y="169869"/>
                    <a:pt x="369873" y="186770"/>
                    <a:pt x="365938" y="200783"/>
                  </a:cubicBezTo>
                  <a:cubicBezTo>
                    <a:pt x="362125" y="214674"/>
                    <a:pt x="356561" y="225963"/>
                    <a:pt x="349260" y="234650"/>
                  </a:cubicBezTo>
                  <a:cubicBezTo>
                    <a:pt x="341960" y="243332"/>
                    <a:pt x="333219" y="249703"/>
                    <a:pt x="323035" y="253755"/>
                  </a:cubicBezTo>
                  <a:cubicBezTo>
                    <a:pt x="312971" y="257806"/>
                    <a:pt x="301668" y="259834"/>
                    <a:pt x="289168" y="259834"/>
                  </a:cubicBezTo>
                  <a:cubicBezTo>
                    <a:pt x="279221" y="259834"/>
                    <a:pt x="269951" y="258560"/>
                    <a:pt x="261381" y="256011"/>
                  </a:cubicBezTo>
                  <a:cubicBezTo>
                    <a:pt x="252933" y="253463"/>
                    <a:pt x="245287" y="249470"/>
                    <a:pt x="238468" y="244027"/>
                  </a:cubicBezTo>
                  <a:cubicBezTo>
                    <a:pt x="231634" y="238584"/>
                    <a:pt x="225773" y="231581"/>
                    <a:pt x="220914" y="223011"/>
                  </a:cubicBezTo>
                  <a:cubicBezTo>
                    <a:pt x="216172" y="214329"/>
                    <a:pt x="212466" y="203964"/>
                    <a:pt x="209800" y="191921"/>
                  </a:cubicBezTo>
                  <a:cubicBezTo>
                    <a:pt x="207256" y="179878"/>
                    <a:pt x="205972" y="165929"/>
                    <a:pt x="205972" y="150063"/>
                  </a:cubicBezTo>
                  <a:lnTo>
                    <a:pt x="205972" y="108730"/>
                  </a:lnTo>
                  <a:cubicBezTo>
                    <a:pt x="205972" y="88813"/>
                    <a:pt x="207947" y="72028"/>
                    <a:pt x="211882" y="58366"/>
                  </a:cubicBezTo>
                  <a:cubicBezTo>
                    <a:pt x="215831" y="44587"/>
                    <a:pt x="221430" y="33414"/>
                    <a:pt x="228730" y="24844"/>
                  </a:cubicBezTo>
                  <a:cubicBezTo>
                    <a:pt x="236031" y="16162"/>
                    <a:pt x="244722" y="9849"/>
                    <a:pt x="254786" y="5914"/>
                  </a:cubicBezTo>
                  <a:cubicBezTo>
                    <a:pt x="264970" y="1980"/>
                    <a:pt x="276323" y="10"/>
                    <a:pt x="288827" y="10"/>
                  </a:cubicBezTo>
                  <a:cubicBezTo>
                    <a:pt x="298910" y="10"/>
                    <a:pt x="308166" y="1284"/>
                    <a:pt x="316614" y="3833"/>
                  </a:cubicBezTo>
                  <a:cubicBezTo>
                    <a:pt x="325184" y="6265"/>
                    <a:pt x="332825" y="10141"/>
                    <a:pt x="339542" y="15467"/>
                  </a:cubicBezTo>
                  <a:cubicBezTo>
                    <a:pt x="346376" y="20793"/>
                    <a:pt x="352164" y="27743"/>
                    <a:pt x="356906" y="36308"/>
                  </a:cubicBezTo>
                  <a:cubicBezTo>
                    <a:pt x="361765" y="44762"/>
                    <a:pt x="365476" y="55010"/>
                    <a:pt x="368020" y="67048"/>
                  </a:cubicBezTo>
                  <a:cubicBezTo>
                    <a:pt x="370578" y="78974"/>
                    <a:pt x="371848" y="92870"/>
                    <a:pt x="371848" y="108730"/>
                  </a:cubicBezTo>
                  <a:close/>
                  <a:moveTo>
                    <a:pt x="329995" y="155978"/>
                  </a:moveTo>
                  <a:lnTo>
                    <a:pt x="329995" y="102485"/>
                  </a:lnTo>
                  <a:cubicBezTo>
                    <a:pt x="329995" y="92412"/>
                    <a:pt x="329411" y="83555"/>
                    <a:pt x="328258" y="75914"/>
                  </a:cubicBezTo>
                  <a:cubicBezTo>
                    <a:pt x="327091" y="68157"/>
                    <a:pt x="325355" y="61615"/>
                    <a:pt x="323039" y="56289"/>
                  </a:cubicBezTo>
                  <a:cubicBezTo>
                    <a:pt x="320841" y="50846"/>
                    <a:pt x="318059" y="46445"/>
                    <a:pt x="314708" y="43088"/>
                  </a:cubicBezTo>
                  <a:cubicBezTo>
                    <a:pt x="311342" y="39616"/>
                    <a:pt x="307529" y="37125"/>
                    <a:pt x="303234" y="35623"/>
                  </a:cubicBezTo>
                  <a:cubicBezTo>
                    <a:pt x="298959" y="34003"/>
                    <a:pt x="294148" y="33191"/>
                    <a:pt x="288823" y="33191"/>
                  </a:cubicBezTo>
                  <a:cubicBezTo>
                    <a:pt x="282349" y="33191"/>
                    <a:pt x="276542" y="34465"/>
                    <a:pt x="271459" y="37014"/>
                  </a:cubicBezTo>
                  <a:cubicBezTo>
                    <a:pt x="266357" y="39445"/>
                    <a:pt x="262081" y="43380"/>
                    <a:pt x="258613" y="48823"/>
                  </a:cubicBezTo>
                  <a:cubicBezTo>
                    <a:pt x="255126" y="54266"/>
                    <a:pt x="252466" y="61445"/>
                    <a:pt x="250608" y="70360"/>
                  </a:cubicBezTo>
                  <a:cubicBezTo>
                    <a:pt x="248871" y="79159"/>
                    <a:pt x="248015" y="89869"/>
                    <a:pt x="248015" y="102490"/>
                  </a:cubicBezTo>
                  <a:lnTo>
                    <a:pt x="248015" y="155982"/>
                  </a:lnTo>
                  <a:cubicBezTo>
                    <a:pt x="248015" y="166172"/>
                    <a:pt x="248584" y="175146"/>
                    <a:pt x="249752" y="182904"/>
                  </a:cubicBezTo>
                  <a:cubicBezTo>
                    <a:pt x="250904" y="190661"/>
                    <a:pt x="252636" y="197320"/>
                    <a:pt x="254956" y="202874"/>
                  </a:cubicBezTo>
                  <a:cubicBezTo>
                    <a:pt x="257276" y="208317"/>
                    <a:pt x="260058" y="212831"/>
                    <a:pt x="263302" y="216420"/>
                  </a:cubicBezTo>
                  <a:cubicBezTo>
                    <a:pt x="266653" y="219893"/>
                    <a:pt x="270481" y="222441"/>
                    <a:pt x="274756" y="224061"/>
                  </a:cubicBezTo>
                  <a:cubicBezTo>
                    <a:pt x="279153" y="225681"/>
                    <a:pt x="283964" y="226493"/>
                    <a:pt x="289168" y="226493"/>
                  </a:cubicBezTo>
                  <a:cubicBezTo>
                    <a:pt x="295778" y="226493"/>
                    <a:pt x="301619" y="225219"/>
                    <a:pt x="306721" y="222670"/>
                  </a:cubicBezTo>
                  <a:cubicBezTo>
                    <a:pt x="311804" y="220121"/>
                    <a:pt x="316099" y="216070"/>
                    <a:pt x="319567" y="210511"/>
                  </a:cubicBezTo>
                  <a:cubicBezTo>
                    <a:pt x="323035" y="204839"/>
                    <a:pt x="325646" y="197485"/>
                    <a:pt x="327383" y="188453"/>
                  </a:cubicBezTo>
                  <a:cubicBezTo>
                    <a:pt x="329119" y="179421"/>
                    <a:pt x="329995" y="168594"/>
                    <a:pt x="329995" y="155978"/>
                  </a:cubicBezTo>
                  <a:close/>
                  <a:moveTo>
                    <a:pt x="578701" y="223015"/>
                  </a:moveTo>
                  <a:lnTo>
                    <a:pt x="578701" y="256362"/>
                  </a:lnTo>
                  <a:lnTo>
                    <a:pt x="409187" y="256362"/>
                  </a:lnTo>
                  <a:lnTo>
                    <a:pt x="409187" y="227704"/>
                  </a:lnTo>
                  <a:lnTo>
                    <a:pt x="491507" y="137913"/>
                  </a:lnTo>
                  <a:cubicBezTo>
                    <a:pt x="500539" y="127724"/>
                    <a:pt x="507670" y="118925"/>
                    <a:pt x="512874" y="111513"/>
                  </a:cubicBezTo>
                  <a:cubicBezTo>
                    <a:pt x="518078" y="104100"/>
                    <a:pt x="521736" y="97446"/>
                    <a:pt x="523813" y="91542"/>
                  </a:cubicBezTo>
                  <a:cubicBezTo>
                    <a:pt x="526011" y="85520"/>
                    <a:pt x="527110" y="79674"/>
                    <a:pt x="527110" y="73998"/>
                  </a:cubicBezTo>
                  <a:cubicBezTo>
                    <a:pt x="527110" y="66012"/>
                    <a:pt x="525617" y="59003"/>
                    <a:pt x="522592" y="52981"/>
                  </a:cubicBezTo>
                  <a:cubicBezTo>
                    <a:pt x="519708" y="46843"/>
                    <a:pt x="515413" y="42038"/>
                    <a:pt x="509746" y="38565"/>
                  </a:cubicBezTo>
                  <a:cubicBezTo>
                    <a:pt x="504080" y="34976"/>
                    <a:pt x="497193" y="33181"/>
                    <a:pt x="489085" y="33181"/>
                  </a:cubicBezTo>
                  <a:cubicBezTo>
                    <a:pt x="479708" y="33181"/>
                    <a:pt x="471823" y="35209"/>
                    <a:pt x="465452" y="39261"/>
                  </a:cubicBezTo>
                  <a:cubicBezTo>
                    <a:pt x="459095" y="43312"/>
                    <a:pt x="454289" y="48930"/>
                    <a:pt x="451040" y="56109"/>
                  </a:cubicBezTo>
                  <a:cubicBezTo>
                    <a:pt x="447796" y="63171"/>
                    <a:pt x="446181" y="71279"/>
                    <a:pt x="446181" y="80423"/>
                  </a:cubicBezTo>
                  <a:lnTo>
                    <a:pt x="404328" y="80423"/>
                  </a:lnTo>
                  <a:cubicBezTo>
                    <a:pt x="404328" y="65720"/>
                    <a:pt x="407679" y="52286"/>
                    <a:pt x="414391" y="40131"/>
                  </a:cubicBezTo>
                  <a:cubicBezTo>
                    <a:pt x="421108" y="27860"/>
                    <a:pt x="430846" y="18132"/>
                    <a:pt x="443569" y="10953"/>
                  </a:cubicBezTo>
                  <a:cubicBezTo>
                    <a:pt x="456313" y="3658"/>
                    <a:pt x="471648" y="10"/>
                    <a:pt x="489596" y="10"/>
                  </a:cubicBezTo>
                  <a:cubicBezTo>
                    <a:pt x="506497" y="10"/>
                    <a:pt x="520855" y="2845"/>
                    <a:pt x="532670" y="8521"/>
                  </a:cubicBezTo>
                  <a:cubicBezTo>
                    <a:pt x="544484" y="14193"/>
                    <a:pt x="553453" y="22242"/>
                    <a:pt x="559581" y="32660"/>
                  </a:cubicBezTo>
                  <a:cubicBezTo>
                    <a:pt x="565831" y="43079"/>
                    <a:pt x="568958" y="55413"/>
                    <a:pt x="568958" y="69655"/>
                  </a:cubicBezTo>
                  <a:cubicBezTo>
                    <a:pt x="568958" y="77529"/>
                    <a:pt x="567689" y="85345"/>
                    <a:pt x="565145" y="93103"/>
                  </a:cubicBezTo>
                  <a:cubicBezTo>
                    <a:pt x="562601" y="100861"/>
                    <a:pt x="558944" y="108619"/>
                    <a:pt x="554207" y="116376"/>
                  </a:cubicBezTo>
                  <a:cubicBezTo>
                    <a:pt x="549571" y="124017"/>
                    <a:pt x="544075" y="131717"/>
                    <a:pt x="537704" y="139475"/>
                  </a:cubicBezTo>
                  <a:cubicBezTo>
                    <a:pt x="531332" y="147116"/>
                    <a:pt x="524323" y="154873"/>
                    <a:pt x="516697" y="162748"/>
                  </a:cubicBezTo>
                  <a:lnTo>
                    <a:pt x="461979" y="223015"/>
                  </a:lnTo>
                  <a:lnTo>
                    <a:pt x="578701" y="223015"/>
                  </a:lnTo>
                  <a:close/>
                  <a:moveTo>
                    <a:pt x="660505" y="110992"/>
                  </a:moveTo>
                  <a:lnTo>
                    <a:pt x="685510" y="110992"/>
                  </a:lnTo>
                  <a:cubicBezTo>
                    <a:pt x="695233" y="110992"/>
                    <a:pt x="703287" y="109314"/>
                    <a:pt x="709639" y="105953"/>
                  </a:cubicBezTo>
                  <a:cubicBezTo>
                    <a:pt x="716132" y="102597"/>
                    <a:pt x="720943" y="97962"/>
                    <a:pt x="724065" y="92057"/>
                  </a:cubicBezTo>
                  <a:cubicBezTo>
                    <a:pt x="727188" y="86153"/>
                    <a:pt x="728754" y="79377"/>
                    <a:pt x="728754" y="71736"/>
                  </a:cubicBezTo>
                  <a:cubicBezTo>
                    <a:pt x="728754" y="64095"/>
                    <a:pt x="727295" y="56916"/>
                    <a:pt x="724411" y="51240"/>
                  </a:cubicBezTo>
                  <a:cubicBezTo>
                    <a:pt x="721628" y="45452"/>
                    <a:pt x="717353" y="40992"/>
                    <a:pt x="711565" y="37865"/>
                  </a:cubicBezTo>
                  <a:cubicBezTo>
                    <a:pt x="705879" y="34737"/>
                    <a:pt x="698652" y="33176"/>
                    <a:pt x="689858" y="33176"/>
                  </a:cubicBezTo>
                  <a:cubicBezTo>
                    <a:pt x="682441" y="33176"/>
                    <a:pt x="675724" y="34684"/>
                    <a:pt x="669712" y="37690"/>
                  </a:cubicBezTo>
                  <a:cubicBezTo>
                    <a:pt x="663803" y="40584"/>
                    <a:pt x="659114" y="44752"/>
                    <a:pt x="655626" y="50195"/>
                  </a:cubicBezTo>
                  <a:cubicBezTo>
                    <a:pt x="652159" y="55520"/>
                    <a:pt x="650422" y="61887"/>
                    <a:pt x="650422" y="69300"/>
                  </a:cubicBezTo>
                  <a:lnTo>
                    <a:pt x="608394" y="69300"/>
                  </a:lnTo>
                  <a:cubicBezTo>
                    <a:pt x="608394" y="55871"/>
                    <a:pt x="611916" y="43945"/>
                    <a:pt x="618992" y="33521"/>
                  </a:cubicBezTo>
                  <a:cubicBezTo>
                    <a:pt x="626050" y="23103"/>
                    <a:pt x="635670" y="14937"/>
                    <a:pt x="647810" y="9032"/>
                  </a:cubicBezTo>
                  <a:cubicBezTo>
                    <a:pt x="660092" y="3011"/>
                    <a:pt x="673866" y="0"/>
                    <a:pt x="689148" y="0"/>
                  </a:cubicBezTo>
                  <a:cubicBezTo>
                    <a:pt x="705480" y="0"/>
                    <a:pt x="719717" y="2724"/>
                    <a:pt x="731876" y="8161"/>
                  </a:cubicBezTo>
                  <a:cubicBezTo>
                    <a:pt x="744138" y="13487"/>
                    <a:pt x="753705" y="21479"/>
                    <a:pt x="760524" y="32130"/>
                  </a:cubicBezTo>
                  <a:cubicBezTo>
                    <a:pt x="767358" y="42782"/>
                    <a:pt x="770777" y="55982"/>
                    <a:pt x="770777" y="71731"/>
                  </a:cubicBezTo>
                  <a:cubicBezTo>
                    <a:pt x="770777" y="78910"/>
                    <a:pt x="769094" y="86206"/>
                    <a:pt x="765743" y="93614"/>
                  </a:cubicBezTo>
                  <a:cubicBezTo>
                    <a:pt x="762378" y="101026"/>
                    <a:pt x="757397" y="107797"/>
                    <a:pt x="750802" y="113935"/>
                  </a:cubicBezTo>
                  <a:cubicBezTo>
                    <a:pt x="744206" y="119956"/>
                    <a:pt x="735982" y="124873"/>
                    <a:pt x="726137" y="128696"/>
                  </a:cubicBezTo>
                  <a:cubicBezTo>
                    <a:pt x="716298" y="132403"/>
                    <a:pt x="704892" y="134256"/>
                    <a:pt x="691925" y="134256"/>
                  </a:cubicBezTo>
                  <a:lnTo>
                    <a:pt x="660495" y="134256"/>
                  </a:lnTo>
                  <a:lnTo>
                    <a:pt x="660495" y="110982"/>
                  </a:lnTo>
                  <a:close/>
                  <a:moveTo>
                    <a:pt x="660505" y="143643"/>
                  </a:moveTo>
                  <a:lnTo>
                    <a:pt x="660505" y="120715"/>
                  </a:lnTo>
                  <a:lnTo>
                    <a:pt x="691935" y="120715"/>
                  </a:lnTo>
                  <a:cubicBezTo>
                    <a:pt x="706755" y="120715"/>
                    <a:pt x="719381" y="122451"/>
                    <a:pt x="729790" y="125924"/>
                  </a:cubicBezTo>
                  <a:cubicBezTo>
                    <a:pt x="740335" y="129397"/>
                    <a:pt x="748905" y="134202"/>
                    <a:pt x="755500" y="140340"/>
                  </a:cubicBezTo>
                  <a:cubicBezTo>
                    <a:pt x="762095" y="146362"/>
                    <a:pt x="766906" y="153249"/>
                    <a:pt x="769911" y="161007"/>
                  </a:cubicBezTo>
                  <a:cubicBezTo>
                    <a:pt x="773039" y="168764"/>
                    <a:pt x="774600" y="176984"/>
                    <a:pt x="774600" y="185671"/>
                  </a:cubicBezTo>
                  <a:cubicBezTo>
                    <a:pt x="774600" y="197480"/>
                    <a:pt x="772470" y="208015"/>
                    <a:pt x="768175" y="217281"/>
                  </a:cubicBezTo>
                  <a:cubicBezTo>
                    <a:pt x="764016" y="226430"/>
                    <a:pt x="758044" y="234188"/>
                    <a:pt x="750296" y="240554"/>
                  </a:cubicBezTo>
                  <a:cubicBezTo>
                    <a:pt x="742533" y="246921"/>
                    <a:pt x="733447" y="251726"/>
                    <a:pt x="723024" y="254971"/>
                  </a:cubicBezTo>
                  <a:cubicBezTo>
                    <a:pt x="712718" y="258215"/>
                    <a:pt x="701487" y="259834"/>
                    <a:pt x="689328" y="259834"/>
                  </a:cubicBezTo>
                  <a:cubicBezTo>
                    <a:pt x="678457" y="259834"/>
                    <a:pt x="668029" y="258327"/>
                    <a:pt x="658068" y="255316"/>
                  </a:cubicBezTo>
                  <a:cubicBezTo>
                    <a:pt x="648107" y="252305"/>
                    <a:pt x="639192" y="247850"/>
                    <a:pt x="631327" y="241945"/>
                  </a:cubicBezTo>
                  <a:cubicBezTo>
                    <a:pt x="623443" y="235924"/>
                    <a:pt x="617193" y="228458"/>
                    <a:pt x="612572" y="219543"/>
                  </a:cubicBezTo>
                  <a:cubicBezTo>
                    <a:pt x="608054" y="210511"/>
                    <a:pt x="605787" y="200092"/>
                    <a:pt x="605787" y="188283"/>
                  </a:cubicBezTo>
                  <a:lnTo>
                    <a:pt x="647640" y="188283"/>
                  </a:lnTo>
                  <a:cubicBezTo>
                    <a:pt x="647640" y="195807"/>
                    <a:pt x="649377" y="202466"/>
                    <a:pt x="652859" y="208254"/>
                  </a:cubicBezTo>
                  <a:cubicBezTo>
                    <a:pt x="656449" y="213925"/>
                    <a:pt x="661429" y="218385"/>
                    <a:pt x="667786" y="221624"/>
                  </a:cubicBezTo>
                  <a:cubicBezTo>
                    <a:pt x="674279" y="224869"/>
                    <a:pt x="681682" y="226488"/>
                    <a:pt x="690028" y="226488"/>
                  </a:cubicBezTo>
                  <a:cubicBezTo>
                    <a:pt x="698822" y="226488"/>
                    <a:pt x="706415" y="224927"/>
                    <a:pt x="712767" y="221799"/>
                  </a:cubicBezTo>
                  <a:cubicBezTo>
                    <a:pt x="719138" y="218672"/>
                    <a:pt x="723997" y="214042"/>
                    <a:pt x="727363" y="207904"/>
                  </a:cubicBezTo>
                  <a:cubicBezTo>
                    <a:pt x="730831" y="201765"/>
                    <a:pt x="732567" y="194358"/>
                    <a:pt x="732567" y="185671"/>
                  </a:cubicBezTo>
                  <a:cubicBezTo>
                    <a:pt x="732567" y="175827"/>
                    <a:pt x="730660" y="167840"/>
                    <a:pt x="726847" y="161702"/>
                  </a:cubicBezTo>
                  <a:cubicBezTo>
                    <a:pt x="723019" y="155564"/>
                    <a:pt x="717572" y="151050"/>
                    <a:pt x="710515" y="148157"/>
                  </a:cubicBezTo>
                  <a:cubicBezTo>
                    <a:pt x="703457" y="145146"/>
                    <a:pt x="695111" y="143643"/>
                    <a:pt x="685510" y="143643"/>
                  </a:cubicBezTo>
                  <a:lnTo>
                    <a:pt x="660505" y="143643"/>
                  </a:lnTo>
                  <a:close/>
                </a:path>
              </a:pathLst>
            </a:custGeom>
            <a:solidFill>
              <a:srgbClr val="EE3431"/>
            </a:solidFill>
            <a:ln w="4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8" name="Полилиния: фигура 47">
              <a:extLst>
                <a:ext uri="{FF2B5EF4-FFF2-40B4-BE49-F238E27FC236}">
                  <a16:creationId xmlns:a16="http://schemas.microsoft.com/office/drawing/2014/main" id="{C3ADAD60-17B9-4A06-AE0E-BCB35AB4E7E8}"/>
                </a:ext>
              </a:extLst>
            </p:cNvPr>
            <p:cNvSpPr/>
            <p:nvPr/>
          </p:nvSpPr>
          <p:spPr>
            <a:xfrm>
              <a:off x="8902858" y="5870060"/>
              <a:ext cx="774600" cy="259829"/>
            </a:xfrm>
            <a:custGeom>
              <a:avLst/>
              <a:gdLst>
                <a:gd name="connsiteX0" fmla="*/ 174372 w 774600"/>
                <a:gd name="connsiteY0" fmla="*/ 223011 h 259829"/>
                <a:gd name="connsiteX1" fmla="*/ 174372 w 774600"/>
                <a:gd name="connsiteY1" fmla="*/ 256357 h 259829"/>
                <a:gd name="connsiteX2" fmla="*/ 4859 w 774600"/>
                <a:gd name="connsiteY2" fmla="*/ 256357 h 259829"/>
                <a:gd name="connsiteX3" fmla="*/ 4859 w 774600"/>
                <a:gd name="connsiteY3" fmla="*/ 227699 h 259829"/>
                <a:gd name="connsiteX4" fmla="*/ 87193 w 774600"/>
                <a:gd name="connsiteY4" fmla="*/ 137908 h 259829"/>
                <a:gd name="connsiteX5" fmla="*/ 108541 w 774600"/>
                <a:gd name="connsiteY5" fmla="*/ 111508 h 259829"/>
                <a:gd name="connsiteX6" fmla="*/ 119499 w 774600"/>
                <a:gd name="connsiteY6" fmla="*/ 91537 h 259829"/>
                <a:gd name="connsiteX7" fmla="*/ 122797 w 774600"/>
                <a:gd name="connsiteY7" fmla="*/ 73993 h 259829"/>
                <a:gd name="connsiteX8" fmla="*/ 118278 w 774600"/>
                <a:gd name="connsiteY8" fmla="*/ 52977 h 259829"/>
                <a:gd name="connsiteX9" fmla="*/ 105413 w 774600"/>
                <a:gd name="connsiteY9" fmla="*/ 38560 h 259829"/>
                <a:gd name="connsiteX10" fmla="*/ 84752 w 774600"/>
                <a:gd name="connsiteY10" fmla="*/ 33176 h 259829"/>
                <a:gd name="connsiteX11" fmla="*/ 61138 w 774600"/>
                <a:gd name="connsiteY11" fmla="*/ 39256 h 259829"/>
                <a:gd name="connsiteX12" fmla="*/ 46712 w 774600"/>
                <a:gd name="connsiteY12" fmla="*/ 56104 h 259829"/>
                <a:gd name="connsiteX13" fmla="*/ 41853 w 774600"/>
                <a:gd name="connsiteY13" fmla="*/ 80418 h 259829"/>
                <a:gd name="connsiteX14" fmla="*/ 0 w 774600"/>
                <a:gd name="connsiteY14" fmla="*/ 80418 h 259829"/>
                <a:gd name="connsiteX15" fmla="*/ 10083 w 774600"/>
                <a:gd name="connsiteY15" fmla="*/ 40126 h 259829"/>
                <a:gd name="connsiteX16" fmla="*/ 39261 w 774600"/>
                <a:gd name="connsiteY16" fmla="*/ 10948 h 259829"/>
                <a:gd name="connsiteX17" fmla="*/ 85272 w 774600"/>
                <a:gd name="connsiteY17" fmla="*/ 5 h 259829"/>
                <a:gd name="connsiteX18" fmla="*/ 128346 w 774600"/>
                <a:gd name="connsiteY18" fmla="*/ 8517 h 259829"/>
                <a:gd name="connsiteX19" fmla="*/ 155277 w 774600"/>
                <a:gd name="connsiteY19" fmla="*/ 32660 h 259829"/>
                <a:gd name="connsiteX20" fmla="*/ 164654 w 774600"/>
                <a:gd name="connsiteY20" fmla="*/ 69655 h 259829"/>
                <a:gd name="connsiteX21" fmla="*/ 160827 w 774600"/>
                <a:gd name="connsiteY21" fmla="*/ 93103 h 259829"/>
                <a:gd name="connsiteX22" fmla="*/ 149888 w 774600"/>
                <a:gd name="connsiteY22" fmla="*/ 116376 h 259829"/>
                <a:gd name="connsiteX23" fmla="*/ 133400 w 774600"/>
                <a:gd name="connsiteY23" fmla="*/ 139475 h 259829"/>
                <a:gd name="connsiteX24" fmla="*/ 112378 w 774600"/>
                <a:gd name="connsiteY24" fmla="*/ 162748 h 259829"/>
                <a:gd name="connsiteX25" fmla="*/ 57675 w 774600"/>
                <a:gd name="connsiteY25" fmla="*/ 223015 h 259829"/>
                <a:gd name="connsiteX26" fmla="*/ 174377 w 774600"/>
                <a:gd name="connsiteY26" fmla="*/ 223015 h 259829"/>
                <a:gd name="connsiteX27" fmla="*/ 371848 w 774600"/>
                <a:gd name="connsiteY27" fmla="*/ 108730 h 259829"/>
                <a:gd name="connsiteX28" fmla="*/ 371848 w 774600"/>
                <a:gd name="connsiteY28" fmla="*/ 150063 h 259829"/>
                <a:gd name="connsiteX29" fmla="*/ 365938 w 774600"/>
                <a:gd name="connsiteY29" fmla="*/ 200778 h 259829"/>
                <a:gd name="connsiteX30" fmla="*/ 349260 w 774600"/>
                <a:gd name="connsiteY30" fmla="*/ 234645 h 259829"/>
                <a:gd name="connsiteX31" fmla="*/ 323035 w 774600"/>
                <a:gd name="connsiteY31" fmla="*/ 253750 h 259829"/>
                <a:gd name="connsiteX32" fmla="*/ 289168 w 774600"/>
                <a:gd name="connsiteY32" fmla="*/ 259830 h 259829"/>
                <a:gd name="connsiteX33" fmla="*/ 261381 w 774600"/>
                <a:gd name="connsiteY33" fmla="*/ 256011 h 259829"/>
                <a:gd name="connsiteX34" fmla="*/ 238468 w 774600"/>
                <a:gd name="connsiteY34" fmla="*/ 244027 h 259829"/>
                <a:gd name="connsiteX35" fmla="*/ 220914 w 774600"/>
                <a:gd name="connsiteY35" fmla="*/ 223011 h 259829"/>
                <a:gd name="connsiteX36" fmla="*/ 209800 w 774600"/>
                <a:gd name="connsiteY36" fmla="*/ 191921 h 259829"/>
                <a:gd name="connsiteX37" fmla="*/ 205972 w 774600"/>
                <a:gd name="connsiteY37" fmla="*/ 150063 h 259829"/>
                <a:gd name="connsiteX38" fmla="*/ 205972 w 774600"/>
                <a:gd name="connsiteY38" fmla="*/ 108730 h 259829"/>
                <a:gd name="connsiteX39" fmla="*/ 211882 w 774600"/>
                <a:gd name="connsiteY39" fmla="*/ 58366 h 259829"/>
                <a:gd name="connsiteX40" fmla="*/ 228730 w 774600"/>
                <a:gd name="connsiteY40" fmla="*/ 24844 h 259829"/>
                <a:gd name="connsiteX41" fmla="*/ 254786 w 774600"/>
                <a:gd name="connsiteY41" fmla="*/ 5914 h 259829"/>
                <a:gd name="connsiteX42" fmla="*/ 288827 w 774600"/>
                <a:gd name="connsiteY42" fmla="*/ 10 h 259829"/>
                <a:gd name="connsiteX43" fmla="*/ 316614 w 774600"/>
                <a:gd name="connsiteY43" fmla="*/ 3833 h 259829"/>
                <a:gd name="connsiteX44" fmla="*/ 339542 w 774600"/>
                <a:gd name="connsiteY44" fmla="*/ 15467 h 259829"/>
                <a:gd name="connsiteX45" fmla="*/ 356906 w 774600"/>
                <a:gd name="connsiteY45" fmla="*/ 36308 h 259829"/>
                <a:gd name="connsiteX46" fmla="*/ 368020 w 774600"/>
                <a:gd name="connsiteY46" fmla="*/ 67048 h 259829"/>
                <a:gd name="connsiteX47" fmla="*/ 371848 w 774600"/>
                <a:gd name="connsiteY47" fmla="*/ 108730 h 259829"/>
                <a:gd name="connsiteX48" fmla="*/ 329995 w 774600"/>
                <a:gd name="connsiteY48" fmla="*/ 155968 h 259829"/>
                <a:gd name="connsiteX49" fmla="*/ 329995 w 774600"/>
                <a:gd name="connsiteY49" fmla="*/ 102476 h 259829"/>
                <a:gd name="connsiteX50" fmla="*/ 328258 w 774600"/>
                <a:gd name="connsiteY50" fmla="*/ 75905 h 259829"/>
                <a:gd name="connsiteX51" fmla="*/ 323039 w 774600"/>
                <a:gd name="connsiteY51" fmla="*/ 56279 h 259829"/>
                <a:gd name="connsiteX52" fmla="*/ 314708 w 774600"/>
                <a:gd name="connsiteY52" fmla="*/ 43079 h 259829"/>
                <a:gd name="connsiteX53" fmla="*/ 303234 w 774600"/>
                <a:gd name="connsiteY53" fmla="*/ 35613 h 259829"/>
                <a:gd name="connsiteX54" fmla="*/ 288823 w 774600"/>
                <a:gd name="connsiteY54" fmla="*/ 33181 h 259829"/>
                <a:gd name="connsiteX55" fmla="*/ 271459 w 774600"/>
                <a:gd name="connsiteY55" fmla="*/ 37004 h 259829"/>
                <a:gd name="connsiteX56" fmla="*/ 258613 w 774600"/>
                <a:gd name="connsiteY56" fmla="*/ 48813 h 259829"/>
                <a:gd name="connsiteX57" fmla="*/ 250608 w 774600"/>
                <a:gd name="connsiteY57" fmla="*/ 70350 h 259829"/>
                <a:gd name="connsiteX58" fmla="*/ 248015 w 774600"/>
                <a:gd name="connsiteY58" fmla="*/ 102480 h 259829"/>
                <a:gd name="connsiteX59" fmla="*/ 248015 w 774600"/>
                <a:gd name="connsiteY59" fmla="*/ 155973 h 259829"/>
                <a:gd name="connsiteX60" fmla="*/ 249752 w 774600"/>
                <a:gd name="connsiteY60" fmla="*/ 182894 h 259829"/>
                <a:gd name="connsiteX61" fmla="*/ 254956 w 774600"/>
                <a:gd name="connsiteY61" fmla="*/ 202865 h 259829"/>
                <a:gd name="connsiteX62" fmla="*/ 263302 w 774600"/>
                <a:gd name="connsiteY62" fmla="*/ 216410 h 259829"/>
                <a:gd name="connsiteX63" fmla="*/ 274756 w 774600"/>
                <a:gd name="connsiteY63" fmla="*/ 224051 h 259829"/>
                <a:gd name="connsiteX64" fmla="*/ 289168 w 774600"/>
                <a:gd name="connsiteY64" fmla="*/ 226483 h 259829"/>
                <a:gd name="connsiteX65" fmla="*/ 306721 w 774600"/>
                <a:gd name="connsiteY65" fmla="*/ 222660 h 259829"/>
                <a:gd name="connsiteX66" fmla="*/ 319567 w 774600"/>
                <a:gd name="connsiteY66" fmla="*/ 210501 h 259829"/>
                <a:gd name="connsiteX67" fmla="*/ 327383 w 774600"/>
                <a:gd name="connsiteY67" fmla="*/ 188443 h 259829"/>
                <a:gd name="connsiteX68" fmla="*/ 329995 w 774600"/>
                <a:gd name="connsiteY68" fmla="*/ 155963 h 259829"/>
                <a:gd name="connsiteX69" fmla="*/ 578701 w 774600"/>
                <a:gd name="connsiteY69" fmla="*/ 223006 h 259829"/>
                <a:gd name="connsiteX70" fmla="*/ 578701 w 774600"/>
                <a:gd name="connsiteY70" fmla="*/ 256352 h 259829"/>
                <a:gd name="connsiteX71" fmla="*/ 409187 w 774600"/>
                <a:gd name="connsiteY71" fmla="*/ 256352 h 259829"/>
                <a:gd name="connsiteX72" fmla="*/ 409187 w 774600"/>
                <a:gd name="connsiteY72" fmla="*/ 227694 h 259829"/>
                <a:gd name="connsiteX73" fmla="*/ 491507 w 774600"/>
                <a:gd name="connsiteY73" fmla="*/ 137904 h 259829"/>
                <a:gd name="connsiteX74" fmla="*/ 512874 w 774600"/>
                <a:gd name="connsiteY74" fmla="*/ 111503 h 259829"/>
                <a:gd name="connsiteX75" fmla="*/ 523813 w 774600"/>
                <a:gd name="connsiteY75" fmla="*/ 91532 h 259829"/>
                <a:gd name="connsiteX76" fmla="*/ 527110 w 774600"/>
                <a:gd name="connsiteY76" fmla="*/ 73988 h 259829"/>
                <a:gd name="connsiteX77" fmla="*/ 522592 w 774600"/>
                <a:gd name="connsiteY77" fmla="*/ 52972 h 259829"/>
                <a:gd name="connsiteX78" fmla="*/ 509746 w 774600"/>
                <a:gd name="connsiteY78" fmla="*/ 38555 h 259829"/>
                <a:gd name="connsiteX79" fmla="*/ 489085 w 774600"/>
                <a:gd name="connsiteY79" fmla="*/ 33171 h 259829"/>
                <a:gd name="connsiteX80" fmla="*/ 465452 w 774600"/>
                <a:gd name="connsiteY80" fmla="*/ 39251 h 259829"/>
                <a:gd name="connsiteX81" fmla="*/ 451040 w 774600"/>
                <a:gd name="connsiteY81" fmla="*/ 56099 h 259829"/>
                <a:gd name="connsiteX82" fmla="*/ 446181 w 774600"/>
                <a:gd name="connsiteY82" fmla="*/ 80413 h 259829"/>
                <a:gd name="connsiteX83" fmla="*/ 404328 w 774600"/>
                <a:gd name="connsiteY83" fmla="*/ 80413 h 259829"/>
                <a:gd name="connsiteX84" fmla="*/ 414391 w 774600"/>
                <a:gd name="connsiteY84" fmla="*/ 40122 h 259829"/>
                <a:gd name="connsiteX85" fmla="*/ 443569 w 774600"/>
                <a:gd name="connsiteY85" fmla="*/ 10944 h 259829"/>
                <a:gd name="connsiteX86" fmla="*/ 489596 w 774600"/>
                <a:gd name="connsiteY86" fmla="*/ 0 h 259829"/>
                <a:gd name="connsiteX87" fmla="*/ 532670 w 774600"/>
                <a:gd name="connsiteY87" fmla="*/ 8512 h 259829"/>
                <a:gd name="connsiteX88" fmla="*/ 559581 w 774600"/>
                <a:gd name="connsiteY88" fmla="*/ 32656 h 259829"/>
                <a:gd name="connsiteX89" fmla="*/ 568958 w 774600"/>
                <a:gd name="connsiteY89" fmla="*/ 69650 h 259829"/>
                <a:gd name="connsiteX90" fmla="*/ 565145 w 774600"/>
                <a:gd name="connsiteY90" fmla="*/ 93098 h 259829"/>
                <a:gd name="connsiteX91" fmla="*/ 554207 w 774600"/>
                <a:gd name="connsiteY91" fmla="*/ 116372 h 259829"/>
                <a:gd name="connsiteX92" fmla="*/ 537704 w 774600"/>
                <a:gd name="connsiteY92" fmla="*/ 139470 h 259829"/>
                <a:gd name="connsiteX93" fmla="*/ 516697 w 774600"/>
                <a:gd name="connsiteY93" fmla="*/ 162743 h 259829"/>
                <a:gd name="connsiteX94" fmla="*/ 461979 w 774600"/>
                <a:gd name="connsiteY94" fmla="*/ 223011 h 259829"/>
                <a:gd name="connsiteX95" fmla="*/ 578701 w 774600"/>
                <a:gd name="connsiteY95" fmla="*/ 223011 h 259829"/>
                <a:gd name="connsiteX96" fmla="*/ 660505 w 774600"/>
                <a:gd name="connsiteY96" fmla="*/ 110982 h 259829"/>
                <a:gd name="connsiteX97" fmla="*/ 685510 w 774600"/>
                <a:gd name="connsiteY97" fmla="*/ 110982 h 259829"/>
                <a:gd name="connsiteX98" fmla="*/ 709639 w 774600"/>
                <a:gd name="connsiteY98" fmla="*/ 105948 h 259829"/>
                <a:gd name="connsiteX99" fmla="*/ 724065 w 774600"/>
                <a:gd name="connsiteY99" fmla="*/ 92052 h 259829"/>
                <a:gd name="connsiteX100" fmla="*/ 728754 w 774600"/>
                <a:gd name="connsiteY100" fmla="*/ 71731 h 259829"/>
                <a:gd name="connsiteX101" fmla="*/ 724411 w 774600"/>
                <a:gd name="connsiteY101" fmla="*/ 51240 h 259829"/>
                <a:gd name="connsiteX102" fmla="*/ 711565 w 774600"/>
                <a:gd name="connsiteY102" fmla="*/ 37865 h 259829"/>
                <a:gd name="connsiteX103" fmla="*/ 689858 w 774600"/>
                <a:gd name="connsiteY103" fmla="*/ 33176 h 259829"/>
                <a:gd name="connsiteX104" fmla="*/ 669712 w 774600"/>
                <a:gd name="connsiteY104" fmla="*/ 37690 h 259829"/>
                <a:gd name="connsiteX105" fmla="*/ 655626 w 774600"/>
                <a:gd name="connsiteY105" fmla="*/ 50195 h 259829"/>
                <a:gd name="connsiteX106" fmla="*/ 650422 w 774600"/>
                <a:gd name="connsiteY106" fmla="*/ 69300 h 259829"/>
                <a:gd name="connsiteX107" fmla="*/ 608394 w 774600"/>
                <a:gd name="connsiteY107" fmla="*/ 69300 h 259829"/>
                <a:gd name="connsiteX108" fmla="*/ 618992 w 774600"/>
                <a:gd name="connsiteY108" fmla="*/ 33521 h 259829"/>
                <a:gd name="connsiteX109" fmla="*/ 647810 w 774600"/>
                <a:gd name="connsiteY109" fmla="*/ 9032 h 259829"/>
                <a:gd name="connsiteX110" fmla="*/ 689148 w 774600"/>
                <a:gd name="connsiteY110" fmla="*/ 0 h 259829"/>
                <a:gd name="connsiteX111" fmla="*/ 731876 w 774600"/>
                <a:gd name="connsiteY111" fmla="*/ 8161 h 259829"/>
                <a:gd name="connsiteX112" fmla="*/ 760524 w 774600"/>
                <a:gd name="connsiteY112" fmla="*/ 32130 h 259829"/>
                <a:gd name="connsiteX113" fmla="*/ 770777 w 774600"/>
                <a:gd name="connsiteY113" fmla="*/ 71727 h 259829"/>
                <a:gd name="connsiteX114" fmla="*/ 765743 w 774600"/>
                <a:gd name="connsiteY114" fmla="*/ 93609 h 259829"/>
                <a:gd name="connsiteX115" fmla="*/ 750802 w 774600"/>
                <a:gd name="connsiteY115" fmla="*/ 113930 h 259829"/>
                <a:gd name="connsiteX116" fmla="*/ 726137 w 774600"/>
                <a:gd name="connsiteY116" fmla="*/ 128692 h 259829"/>
                <a:gd name="connsiteX117" fmla="*/ 691925 w 774600"/>
                <a:gd name="connsiteY117" fmla="*/ 134251 h 259829"/>
                <a:gd name="connsiteX118" fmla="*/ 660495 w 774600"/>
                <a:gd name="connsiteY118" fmla="*/ 134251 h 259829"/>
                <a:gd name="connsiteX119" fmla="*/ 660495 w 774600"/>
                <a:gd name="connsiteY119" fmla="*/ 110978 h 259829"/>
                <a:gd name="connsiteX120" fmla="*/ 660505 w 774600"/>
                <a:gd name="connsiteY120" fmla="*/ 143633 h 259829"/>
                <a:gd name="connsiteX121" fmla="*/ 660505 w 774600"/>
                <a:gd name="connsiteY121" fmla="*/ 120705 h 259829"/>
                <a:gd name="connsiteX122" fmla="*/ 691935 w 774600"/>
                <a:gd name="connsiteY122" fmla="*/ 120705 h 259829"/>
                <a:gd name="connsiteX123" fmla="*/ 729790 w 774600"/>
                <a:gd name="connsiteY123" fmla="*/ 125914 h 259829"/>
                <a:gd name="connsiteX124" fmla="*/ 755500 w 774600"/>
                <a:gd name="connsiteY124" fmla="*/ 140331 h 259829"/>
                <a:gd name="connsiteX125" fmla="*/ 769911 w 774600"/>
                <a:gd name="connsiteY125" fmla="*/ 160997 h 259829"/>
                <a:gd name="connsiteX126" fmla="*/ 774600 w 774600"/>
                <a:gd name="connsiteY126" fmla="*/ 185661 h 259829"/>
                <a:gd name="connsiteX127" fmla="*/ 768175 w 774600"/>
                <a:gd name="connsiteY127" fmla="*/ 217271 h 259829"/>
                <a:gd name="connsiteX128" fmla="*/ 750296 w 774600"/>
                <a:gd name="connsiteY128" fmla="*/ 240545 h 259829"/>
                <a:gd name="connsiteX129" fmla="*/ 723024 w 774600"/>
                <a:gd name="connsiteY129" fmla="*/ 254961 h 259829"/>
                <a:gd name="connsiteX130" fmla="*/ 689328 w 774600"/>
                <a:gd name="connsiteY130" fmla="*/ 259825 h 259829"/>
                <a:gd name="connsiteX131" fmla="*/ 658068 w 774600"/>
                <a:gd name="connsiteY131" fmla="*/ 255311 h 259829"/>
                <a:gd name="connsiteX132" fmla="*/ 631327 w 774600"/>
                <a:gd name="connsiteY132" fmla="*/ 241940 h 259829"/>
                <a:gd name="connsiteX133" fmla="*/ 612572 w 774600"/>
                <a:gd name="connsiteY133" fmla="*/ 219538 h 259829"/>
                <a:gd name="connsiteX134" fmla="*/ 605787 w 774600"/>
                <a:gd name="connsiteY134" fmla="*/ 188273 h 259829"/>
                <a:gd name="connsiteX135" fmla="*/ 647640 w 774600"/>
                <a:gd name="connsiteY135" fmla="*/ 188273 h 259829"/>
                <a:gd name="connsiteX136" fmla="*/ 652859 w 774600"/>
                <a:gd name="connsiteY136" fmla="*/ 208249 h 259829"/>
                <a:gd name="connsiteX137" fmla="*/ 667786 w 774600"/>
                <a:gd name="connsiteY137" fmla="*/ 221619 h 259829"/>
                <a:gd name="connsiteX138" fmla="*/ 690028 w 774600"/>
                <a:gd name="connsiteY138" fmla="*/ 226483 h 259829"/>
                <a:gd name="connsiteX139" fmla="*/ 712767 w 774600"/>
                <a:gd name="connsiteY139" fmla="*/ 221795 h 259829"/>
                <a:gd name="connsiteX140" fmla="*/ 727363 w 774600"/>
                <a:gd name="connsiteY140" fmla="*/ 207899 h 259829"/>
                <a:gd name="connsiteX141" fmla="*/ 732567 w 774600"/>
                <a:gd name="connsiteY141" fmla="*/ 185671 h 259829"/>
                <a:gd name="connsiteX142" fmla="*/ 726847 w 774600"/>
                <a:gd name="connsiteY142" fmla="*/ 161702 h 259829"/>
                <a:gd name="connsiteX143" fmla="*/ 710515 w 774600"/>
                <a:gd name="connsiteY143" fmla="*/ 148157 h 259829"/>
                <a:gd name="connsiteX144" fmla="*/ 685510 w 774600"/>
                <a:gd name="connsiteY144" fmla="*/ 143643 h 259829"/>
                <a:gd name="connsiteX145" fmla="*/ 660505 w 774600"/>
                <a:gd name="connsiteY145" fmla="*/ 143643 h 2598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</a:cxnLst>
              <a:rect l="l" t="t" r="r" b="b"/>
              <a:pathLst>
                <a:path w="774600" h="259829">
                  <a:moveTo>
                    <a:pt x="174372" y="223011"/>
                  </a:moveTo>
                  <a:lnTo>
                    <a:pt x="174372" y="256357"/>
                  </a:lnTo>
                  <a:lnTo>
                    <a:pt x="4859" y="256357"/>
                  </a:lnTo>
                  <a:lnTo>
                    <a:pt x="4859" y="227699"/>
                  </a:lnTo>
                  <a:lnTo>
                    <a:pt x="87193" y="137908"/>
                  </a:lnTo>
                  <a:cubicBezTo>
                    <a:pt x="96211" y="127719"/>
                    <a:pt x="103336" y="118920"/>
                    <a:pt x="108541" y="111508"/>
                  </a:cubicBezTo>
                  <a:cubicBezTo>
                    <a:pt x="113760" y="104095"/>
                    <a:pt x="117403" y="97442"/>
                    <a:pt x="119499" y="91537"/>
                  </a:cubicBezTo>
                  <a:cubicBezTo>
                    <a:pt x="121697" y="85516"/>
                    <a:pt x="122797" y="79669"/>
                    <a:pt x="122797" y="73993"/>
                  </a:cubicBezTo>
                  <a:cubicBezTo>
                    <a:pt x="122797" y="66002"/>
                    <a:pt x="121284" y="58998"/>
                    <a:pt x="118278" y="52977"/>
                  </a:cubicBezTo>
                  <a:cubicBezTo>
                    <a:pt x="115374" y="46838"/>
                    <a:pt x="111099" y="42033"/>
                    <a:pt x="105413" y="38560"/>
                  </a:cubicBezTo>
                  <a:cubicBezTo>
                    <a:pt x="99747" y="34971"/>
                    <a:pt x="92860" y="33176"/>
                    <a:pt x="84752" y="33176"/>
                  </a:cubicBezTo>
                  <a:cubicBezTo>
                    <a:pt x="75374" y="33176"/>
                    <a:pt x="67510" y="35204"/>
                    <a:pt x="61138" y="39256"/>
                  </a:cubicBezTo>
                  <a:cubicBezTo>
                    <a:pt x="54766" y="43307"/>
                    <a:pt x="49956" y="48925"/>
                    <a:pt x="46712" y="56104"/>
                  </a:cubicBezTo>
                  <a:cubicBezTo>
                    <a:pt x="43482" y="63166"/>
                    <a:pt x="41853" y="71274"/>
                    <a:pt x="41853" y="80418"/>
                  </a:cubicBezTo>
                  <a:lnTo>
                    <a:pt x="0" y="80418"/>
                  </a:lnTo>
                  <a:cubicBezTo>
                    <a:pt x="0" y="65715"/>
                    <a:pt x="3366" y="52281"/>
                    <a:pt x="10083" y="40126"/>
                  </a:cubicBezTo>
                  <a:cubicBezTo>
                    <a:pt x="16800" y="27855"/>
                    <a:pt x="26517" y="18127"/>
                    <a:pt x="39261" y="10948"/>
                  </a:cubicBezTo>
                  <a:cubicBezTo>
                    <a:pt x="51989" y="3653"/>
                    <a:pt x="67325" y="5"/>
                    <a:pt x="85272" y="5"/>
                  </a:cubicBezTo>
                  <a:cubicBezTo>
                    <a:pt x="102189" y="5"/>
                    <a:pt x="116546" y="2840"/>
                    <a:pt x="128346" y="8517"/>
                  </a:cubicBezTo>
                  <a:cubicBezTo>
                    <a:pt x="140160" y="14193"/>
                    <a:pt x="149129" y="22237"/>
                    <a:pt x="155277" y="32660"/>
                  </a:cubicBezTo>
                  <a:cubicBezTo>
                    <a:pt x="161527" y="43079"/>
                    <a:pt x="164654" y="55413"/>
                    <a:pt x="164654" y="69655"/>
                  </a:cubicBezTo>
                  <a:cubicBezTo>
                    <a:pt x="164654" y="77529"/>
                    <a:pt x="163385" y="85345"/>
                    <a:pt x="160827" y="93103"/>
                  </a:cubicBezTo>
                  <a:cubicBezTo>
                    <a:pt x="158283" y="100861"/>
                    <a:pt x="154645" y="108619"/>
                    <a:pt x="149888" y="116376"/>
                  </a:cubicBezTo>
                  <a:cubicBezTo>
                    <a:pt x="145267" y="124017"/>
                    <a:pt x="139757" y="131717"/>
                    <a:pt x="133400" y="139475"/>
                  </a:cubicBezTo>
                  <a:cubicBezTo>
                    <a:pt x="127028" y="147116"/>
                    <a:pt x="120019" y="154873"/>
                    <a:pt x="112378" y="162748"/>
                  </a:cubicBezTo>
                  <a:lnTo>
                    <a:pt x="57675" y="223015"/>
                  </a:lnTo>
                  <a:lnTo>
                    <a:pt x="174377" y="223015"/>
                  </a:lnTo>
                  <a:close/>
                  <a:moveTo>
                    <a:pt x="371848" y="108730"/>
                  </a:moveTo>
                  <a:lnTo>
                    <a:pt x="371848" y="150063"/>
                  </a:lnTo>
                  <a:cubicBezTo>
                    <a:pt x="371848" y="169864"/>
                    <a:pt x="369873" y="186765"/>
                    <a:pt x="365938" y="200778"/>
                  </a:cubicBezTo>
                  <a:cubicBezTo>
                    <a:pt x="362125" y="214674"/>
                    <a:pt x="356561" y="225963"/>
                    <a:pt x="349260" y="234645"/>
                  </a:cubicBezTo>
                  <a:cubicBezTo>
                    <a:pt x="341960" y="243327"/>
                    <a:pt x="333219" y="249698"/>
                    <a:pt x="323035" y="253750"/>
                  </a:cubicBezTo>
                  <a:cubicBezTo>
                    <a:pt x="312971" y="257801"/>
                    <a:pt x="301668" y="259830"/>
                    <a:pt x="289168" y="259830"/>
                  </a:cubicBezTo>
                  <a:cubicBezTo>
                    <a:pt x="279221" y="259830"/>
                    <a:pt x="269951" y="258555"/>
                    <a:pt x="261381" y="256011"/>
                  </a:cubicBezTo>
                  <a:cubicBezTo>
                    <a:pt x="252933" y="253463"/>
                    <a:pt x="245287" y="249470"/>
                    <a:pt x="238468" y="244027"/>
                  </a:cubicBezTo>
                  <a:cubicBezTo>
                    <a:pt x="231634" y="238584"/>
                    <a:pt x="225773" y="231581"/>
                    <a:pt x="220914" y="223011"/>
                  </a:cubicBezTo>
                  <a:cubicBezTo>
                    <a:pt x="216172" y="214329"/>
                    <a:pt x="212466" y="203964"/>
                    <a:pt x="209800" y="191921"/>
                  </a:cubicBezTo>
                  <a:cubicBezTo>
                    <a:pt x="207256" y="179878"/>
                    <a:pt x="205972" y="165929"/>
                    <a:pt x="205972" y="150063"/>
                  </a:cubicBezTo>
                  <a:lnTo>
                    <a:pt x="205972" y="108730"/>
                  </a:lnTo>
                  <a:cubicBezTo>
                    <a:pt x="205972" y="88813"/>
                    <a:pt x="207947" y="72028"/>
                    <a:pt x="211882" y="58366"/>
                  </a:cubicBezTo>
                  <a:cubicBezTo>
                    <a:pt x="215831" y="44587"/>
                    <a:pt x="221430" y="33414"/>
                    <a:pt x="228730" y="24844"/>
                  </a:cubicBezTo>
                  <a:cubicBezTo>
                    <a:pt x="236031" y="16162"/>
                    <a:pt x="244722" y="9849"/>
                    <a:pt x="254786" y="5914"/>
                  </a:cubicBezTo>
                  <a:cubicBezTo>
                    <a:pt x="264970" y="1975"/>
                    <a:pt x="276323" y="10"/>
                    <a:pt x="288827" y="10"/>
                  </a:cubicBezTo>
                  <a:cubicBezTo>
                    <a:pt x="298910" y="10"/>
                    <a:pt x="308166" y="1284"/>
                    <a:pt x="316614" y="3833"/>
                  </a:cubicBezTo>
                  <a:cubicBezTo>
                    <a:pt x="325184" y="6265"/>
                    <a:pt x="332825" y="10141"/>
                    <a:pt x="339542" y="15467"/>
                  </a:cubicBezTo>
                  <a:cubicBezTo>
                    <a:pt x="346376" y="20793"/>
                    <a:pt x="352164" y="27738"/>
                    <a:pt x="356906" y="36308"/>
                  </a:cubicBezTo>
                  <a:cubicBezTo>
                    <a:pt x="361765" y="44762"/>
                    <a:pt x="365476" y="55010"/>
                    <a:pt x="368020" y="67048"/>
                  </a:cubicBezTo>
                  <a:cubicBezTo>
                    <a:pt x="370578" y="78974"/>
                    <a:pt x="371848" y="92870"/>
                    <a:pt x="371848" y="108730"/>
                  </a:cubicBezTo>
                  <a:close/>
                  <a:moveTo>
                    <a:pt x="329995" y="155968"/>
                  </a:moveTo>
                  <a:lnTo>
                    <a:pt x="329995" y="102476"/>
                  </a:lnTo>
                  <a:cubicBezTo>
                    <a:pt x="329995" y="92403"/>
                    <a:pt x="329411" y="83546"/>
                    <a:pt x="328258" y="75905"/>
                  </a:cubicBezTo>
                  <a:cubicBezTo>
                    <a:pt x="327091" y="68147"/>
                    <a:pt x="325355" y="61605"/>
                    <a:pt x="323039" y="56279"/>
                  </a:cubicBezTo>
                  <a:cubicBezTo>
                    <a:pt x="320841" y="50837"/>
                    <a:pt x="318059" y="46440"/>
                    <a:pt x="314708" y="43079"/>
                  </a:cubicBezTo>
                  <a:cubicBezTo>
                    <a:pt x="311342" y="39606"/>
                    <a:pt x="307529" y="37116"/>
                    <a:pt x="303234" y="35613"/>
                  </a:cubicBezTo>
                  <a:cubicBezTo>
                    <a:pt x="298959" y="33993"/>
                    <a:pt x="294148" y="33181"/>
                    <a:pt x="288823" y="33181"/>
                  </a:cubicBezTo>
                  <a:cubicBezTo>
                    <a:pt x="282349" y="33181"/>
                    <a:pt x="276542" y="34455"/>
                    <a:pt x="271459" y="37004"/>
                  </a:cubicBezTo>
                  <a:cubicBezTo>
                    <a:pt x="266357" y="39436"/>
                    <a:pt x="262081" y="43371"/>
                    <a:pt x="258613" y="48813"/>
                  </a:cubicBezTo>
                  <a:cubicBezTo>
                    <a:pt x="255126" y="54256"/>
                    <a:pt x="252466" y="61435"/>
                    <a:pt x="250608" y="70350"/>
                  </a:cubicBezTo>
                  <a:cubicBezTo>
                    <a:pt x="248871" y="79149"/>
                    <a:pt x="248015" y="89859"/>
                    <a:pt x="248015" y="102480"/>
                  </a:cubicBezTo>
                  <a:lnTo>
                    <a:pt x="248015" y="155973"/>
                  </a:lnTo>
                  <a:cubicBezTo>
                    <a:pt x="248015" y="166162"/>
                    <a:pt x="248584" y="175136"/>
                    <a:pt x="249752" y="182894"/>
                  </a:cubicBezTo>
                  <a:cubicBezTo>
                    <a:pt x="250904" y="190652"/>
                    <a:pt x="252636" y="197310"/>
                    <a:pt x="254956" y="202865"/>
                  </a:cubicBezTo>
                  <a:cubicBezTo>
                    <a:pt x="257276" y="208307"/>
                    <a:pt x="260058" y="212821"/>
                    <a:pt x="263302" y="216410"/>
                  </a:cubicBezTo>
                  <a:cubicBezTo>
                    <a:pt x="266653" y="219883"/>
                    <a:pt x="270481" y="222432"/>
                    <a:pt x="274756" y="224051"/>
                  </a:cubicBezTo>
                  <a:cubicBezTo>
                    <a:pt x="279153" y="225671"/>
                    <a:pt x="283964" y="226483"/>
                    <a:pt x="289168" y="226483"/>
                  </a:cubicBezTo>
                  <a:cubicBezTo>
                    <a:pt x="295778" y="226483"/>
                    <a:pt x="301619" y="225209"/>
                    <a:pt x="306721" y="222660"/>
                  </a:cubicBezTo>
                  <a:cubicBezTo>
                    <a:pt x="311804" y="220112"/>
                    <a:pt x="316099" y="216060"/>
                    <a:pt x="319567" y="210501"/>
                  </a:cubicBezTo>
                  <a:cubicBezTo>
                    <a:pt x="323035" y="204830"/>
                    <a:pt x="325646" y="197476"/>
                    <a:pt x="327383" y="188443"/>
                  </a:cubicBezTo>
                  <a:cubicBezTo>
                    <a:pt x="329119" y="179411"/>
                    <a:pt x="329995" y="168585"/>
                    <a:pt x="329995" y="155963"/>
                  </a:cubicBezTo>
                  <a:close/>
                  <a:moveTo>
                    <a:pt x="578701" y="223006"/>
                  </a:moveTo>
                  <a:lnTo>
                    <a:pt x="578701" y="256352"/>
                  </a:lnTo>
                  <a:lnTo>
                    <a:pt x="409187" y="256352"/>
                  </a:lnTo>
                  <a:lnTo>
                    <a:pt x="409187" y="227694"/>
                  </a:lnTo>
                  <a:lnTo>
                    <a:pt x="491507" y="137904"/>
                  </a:lnTo>
                  <a:cubicBezTo>
                    <a:pt x="500539" y="127714"/>
                    <a:pt x="507670" y="118915"/>
                    <a:pt x="512874" y="111503"/>
                  </a:cubicBezTo>
                  <a:cubicBezTo>
                    <a:pt x="518078" y="104090"/>
                    <a:pt x="521736" y="97437"/>
                    <a:pt x="523813" y="91532"/>
                  </a:cubicBezTo>
                  <a:cubicBezTo>
                    <a:pt x="526011" y="85511"/>
                    <a:pt x="527110" y="79664"/>
                    <a:pt x="527110" y="73988"/>
                  </a:cubicBezTo>
                  <a:cubicBezTo>
                    <a:pt x="527110" y="65997"/>
                    <a:pt x="525617" y="58993"/>
                    <a:pt x="522592" y="52972"/>
                  </a:cubicBezTo>
                  <a:cubicBezTo>
                    <a:pt x="519708" y="46834"/>
                    <a:pt x="515413" y="42028"/>
                    <a:pt x="509746" y="38555"/>
                  </a:cubicBezTo>
                  <a:cubicBezTo>
                    <a:pt x="504080" y="34966"/>
                    <a:pt x="497193" y="33171"/>
                    <a:pt x="489085" y="33171"/>
                  </a:cubicBezTo>
                  <a:cubicBezTo>
                    <a:pt x="479708" y="33171"/>
                    <a:pt x="471823" y="35199"/>
                    <a:pt x="465452" y="39251"/>
                  </a:cubicBezTo>
                  <a:cubicBezTo>
                    <a:pt x="459095" y="43302"/>
                    <a:pt x="454289" y="48920"/>
                    <a:pt x="451040" y="56099"/>
                  </a:cubicBezTo>
                  <a:cubicBezTo>
                    <a:pt x="447796" y="63161"/>
                    <a:pt x="446181" y="71269"/>
                    <a:pt x="446181" y="80413"/>
                  </a:cubicBezTo>
                  <a:lnTo>
                    <a:pt x="404328" y="80413"/>
                  </a:lnTo>
                  <a:cubicBezTo>
                    <a:pt x="404328" y="65710"/>
                    <a:pt x="407679" y="52276"/>
                    <a:pt x="414391" y="40122"/>
                  </a:cubicBezTo>
                  <a:cubicBezTo>
                    <a:pt x="421108" y="27850"/>
                    <a:pt x="430846" y="18123"/>
                    <a:pt x="443569" y="10944"/>
                  </a:cubicBezTo>
                  <a:cubicBezTo>
                    <a:pt x="456313" y="3648"/>
                    <a:pt x="471648" y="0"/>
                    <a:pt x="489596" y="0"/>
                  </a:cubicBezTo>
                  <a:cubicBezTo>
                    <a:pt x="506497" y="0"/>
                    <a:pt x="520855" y="2836"/>
                    <a:pt x="532670" y="8512"/>
                  </a:cubicBezTo>
                  <a:cubicBezTo>
                    <a:pt x="544484" y="14188"/>
                    <a:pt x="553453" y="22232"/>
                    <a:pt x="559581" y="32656"/>
                  </a:cubicBezTo>
                  <a:cubicBezTo>
                    <a:pt x="565831" y="43074"/>
                    <a:pt x="568958" y="55409"/>
                    <a:pt x="568958" y="69650"/>
                  </a:cubicBezTo>
                  <a:cubicBezTo>
                    <a:pt x="568958" y="77524"/>
                    <a:pt x="567689" y="85340"/>
                    <a:pt x="565145" y="93098"/>
                  </a:cubicBezTo>
                  <a:cubicBezTo>
                    <a:pt x="562601" y="100856"/>
                    <a:pt x="558944" y="108614"/>
                    <a:pt x="554207" y="116372"/>
                  </a:cubicBezTo>
                  <a:cubicBezTo>
                    <a:pt x="549571" y="124013"/>
                    <a:pt x="544075" y="131712"/>
                    <a:pt x="537704" y="139470"/>
                  </a:cubicBezTo>
                  <a:cubicBezTo>
                    <a:pt x="531332" y="147111"/>
                    <a:pt x="524323" y="154869"/>
                    <a:pt x="516697" y="162743"/>
                  </a:cubicBezTo>
                  <a:lnTo>
                    <a:pt x="461979" y="223011"/>
                  </a:lnTo>
                  <a:lnTo>
                    <a:pt x="578701" y="223011"/>
                  </a:lnTo>
                  <a:close/>
                  <a:moveTo>
                    <a:pt x="660505" y="110982"/>
                  </a:moveTo>
                  <a:lnTo>
                    <a:pt x="685510" y="110982"/>
                  </a:lnTo>
                  <a:cubicBezTo>
                    <a:pt x="695233" y="110982"/>
                    <a:pt x="703287" y="109304"/>
                    <a:pt x="709639" y="105948"/>
                  </a:cubicBezTo>
                  <a:cubicBezTo>
                    <a:pt x="716132" y="102592"/>
                    <a:pt x="720943" y="97957"/>
                    <a:pt x="724065" y="92052"/>
                  </a:cubicBezTo>
                  <a:cubicBezTo>
                    <a:pt x="727193" y="86148"/>
                    <a:pt x="728754" y="79373"/>
                    <a:pt x="728754" y="71731"/>
                  </a:cubicBezTo>
                  <a:cubicBezTo>
                    <a:pt x="728754" y="64090"/>
                    <a:pt x="727295" y="56911"/>
                    <a:pt x="724411" y="51240"/>
                  </a:cubicBezTo>
                  <a:cubicBezTo>
                    <a:pt x="721628" y="45452"/>
                    <a:pt x="717353" y="40992"/>
                    <a:pt x="711565" y="37865"/>
                  </a:cubicBezTo>
                  <a:cubicBezTo>
                    <a:pt x="705879" y="34737"/>
                    <a:pt x="698652" y="33176"/>
                    <a:pt x="689858" y="33176"/>
                  </a:cubicBezTo>
                  <a:cubicBezTo>
                    <a:pt x="682441" y="33176"/>
                    <a:pt x="675724" y="34679"/>
                    <a:pt x="669712" y="37690"/>
                  </a:cubicBezTo>
                  <a:cubicBezTo>
                    <a:pt x="663803" y="40584"/>
                    <a:pt x="659114" y="44752"/>
                    <a:pt x="655626" y="50195"/>
                  </a:cubicBezTo>
                  <a:cubicBezTo>
                    <a:pt x="652159" y="55520"/>
                    <a:pt x="650422" y="61887"/>
                    <a:pt x="650422" y="69300"/>
                  </a:cubicBezTo>
                  <a:lnTo>
                    <a:pt x="608394" y="69300"/>
                  </a:lnTo>
                  <a:cubicBezTo>
                    <a:pt x="608394" y="55866"/>
                    <a:pt x="611916" y="43945"/>
                    <a:pt x="618992" y="33521"/>
                  </a:cubicBezTo>
                  <a:cubicBezTo>
                    <a:pt x="626050" y="23103"/>
                    <a:pt x="635670" y="14937"/>
                    <a:pt x="647810" y="9032"/>
                  </a:cubicBezTo>
                  <a:cubicBezTo>
                    <a:pt x="660092" y="3011"/>
                    <a:pt x="673866" y="0"/>
                    <a:pt x="689148" y="0"/>
                  </a:cubicBezTo>
                  <a:cubicBezTo>
                    <a:pt x="705480" y="0"/>
                    <a:pt x="719717" y="2724"/>
                    <a:pt x="731876" y="8161"/>
                  </a:cubicBezTo>
                  <a:cubicBezTo>
                    <a:pt x="744138" y="13487"/>
                    <a:pt x="753705" y="21479"/>
                    <a:pt x="760524" y="32130"/>
                  </a:cubicBezTo>
                  <a:cubicBezTo>
                    <a:pt x="767358" y="42782"/>
                    <a:pt x="770777" y="55982"/>
                    <a:pt x="770777" y="71727"/>
                  </a:cubicBezTo>
                  <a:cubicBezTo>
                    <a:pt x="770777" y="78906"/>
                    <a:pt x="769094" y="86201"/>
                    <a:pt x="765743" y="93609"/>
                  </a:cubicBezTo>
                  <a:cubicBezTo>
                    <a:pt x="762378" y="101021"/>
                    <a:pt x="757397" y="107792"/>
                    <a:pt x="750802" y="113930"/>
                  </a:cubicBezTo>
                  <a:cubicBezTo>
                    <a:pt x="744206" y="119951"/>
                    <a:pt x="735982" y="124869"/>
                    <a:pt x="726137" y="128692"/>
                  </a:cubicBezTo>
                  <a:cubicBezTo>
                    <a:pt x="716298" y="132398"/>
                    <a:pt x="704892" y="134251"/>
                    <a:pt x="691925" y="134251"/>
                  </a:cubicBezTo>
                  <a:lnTo>
                    <a:pt x="660495" y="134251"/>
                  </a:lnTo>
                  <a:lnTo>
                    <a:pt x="660495" y="110978"/>
                  </a:lnTo>
                  <a:close/>
                  <a:moveTo>
                    <a:pt x="660505" y="143633"/>
                  </a:moveTo>
                  <a:lnTo>
                    <a:pt x="660505" y="120705"/>
                  </a:lnTo>
                  <a:lnTo>
                    <a:pt x="691935" y="120705"/>
                  </a:lnTo>
                  <a:cubicBezTo>
                    <a:pt x="706755" y="120705"/>
                    <a:pt x="719381" y="122442"/>
                    <a:pt x="729790" y="125914"/>
                  </a:cubicBezTo>
                  <a:cubicBezTo>
                    <a:pt x="740335" y="129387"/>
                    <a:pt x="748905" y="134193"/>
                    <a:pt x="755500" y="140331"/>
                  </a:cubicBezTo>
                  <a:cubicBezTo>
                    <a:pt x="762095" y="146352"/>
                    <a:pt x="766906" y="153239"/>
                    <a:pt x="769911" y="160997"/>
                  </a:cubicBezTo>
                  <a:cubicBezTo>
                    <a:pt x="773039" y="168755"/>
                    <a:pt x="774600" y="176975"/>
                    <a:pt x="774600" y="185661"/>
                  </a:cubicBezTo>
                  <a:cubicBezTo>
                    <a:pt x="774600" y="197471"/>
                    <a:pt x="772470" y="208006"/>
                    <a:pt x="768175" y="217271"/>
                  </a:cubicBezTo>
                  <a:cubicBezTo>
                    <a:pt x="764016" y="226420"/>
                    <a:pt x="758044" y="234178"/>
                    <a:pt x="750296" y="240545"/>
                  </a:cubicBezTo>
                  <a:cubicBezTo>
                    <a:pt x="742533" y="246911"/>
                    <a:pt x="733447" y="251717"/>
                    <a:pt x="723024" y="254961"/>
                  </a:cubicBezTo>
                  <a:cubicBezTo>
                    <a:pt x="712718" y="258205"/>
                    <a:pt x="701487" y="259825"/>
                    <a:pt x="689328" y="259825"/>
                  </a:cubicBezTo>
                  <a:cubicBezTo>
                    <a:pt x="678457" y="259825"/>
                    <a:pt x="668029" y="258322"/>
                    <a:pt x="658068" y="255311"/>
                  </a:cubicBezTo>
                  <a:cubicBezTo>
                    <a:pt x="648107" y="252300"/>
                    <a:pt x="639192" y="247845"/>
                    <a:pt x="631327" y="241940"/>
                  </a:cubicBezTo>
                  <a:cubicBezTo>
                    <a:pt x="623443" y="235919"/>
                    <a:pt x="617193" y="228453"/>
                    <a:pt x="612572" y="219538"/>
                  </a:cubicBezTo>
                  <a:cubicBezTo>
                    <a:pt x="608054" y="210506"/>
                    <a:pt x="605787" y="200087"/>
                    <a:pt x="605787" y="188273"/>
                  </a:cubicBezTo>
                  <a:lnTo>
                    <a:pt x="647640" y="188273"/>
                  </a:lnTo>
                  <a:cubicBezTo>
                    <a:pt x="647640" y="195802"/>
                    <a:pt x="649377" y="202456"/>
                    <a:pt x="652859" y="208249"/>
                  </a:cubicBezTo>
                  <a:cubicBezTo>
                    <a:pt x="656449" y="213920"/>
                    <a:pt x="661429" y="218380"/>
                    <a:pt x="667786" y="221619"/>
                  </a:cubicBezTo>
                  <a:cubicBezTo>
                    <a:pt x="674279" y="224864"/>
                    <a:pt x="681682" y="226483"/>
                    <a:pt x="690028" y="226483"/>
                  </a:cubicBezTo>
                  <a:cubicBezTo>
                    <a:pt x="698822" y="226483"/>
                    <a:pt x="706415" y="224922"/>
                    <a:pt x="712767" y="221795"/>
                  </a:cubicBezTo>
                  <a:cubicBezTo>
                    <a:pt x="719138" y="218667"/>
                    <a:pt x="723997" y="214037"/>
                    <a:pt x="727363" y="207899"/>
                  </a:cubicBezTo>
                  <a:cubicBezTo>
                    <a:pt x="730831" y="201761"/>
                    <a:pt x="732567" y="194353"/>
                    <a:pt x="732567" y="185671"/>
                  </a:cubicBezTo>
                  <a:cubicBezTo>
                    <a:pt x="732567" y="175827"/>
                    <a:pt x="730660" y="167840"/>
                    <a:pt x="726847" y="161702"/>
                  </a:cubicBezTo>
                  <a:cubicBezTo>
                    <a:pt x="723019" y="155564"/>
                    <a:pt x="717572" y="151050"/>
                    <a:pt x="710515" y="148157"/>
                  </a:cubicBezTo>
                  <a:cubicBezTo>
                    <a:pt x="703457" y="145146"/>
                    <a:pt x="695111" y="143643"/>
                    <a:pt x="685510" y="143643"/>
                  </a:cubicBezTo>
                  <a:lnTo>
                    <a:pt x="660505" y="143643"/>
                  </a:lnTo>
                  <a:close/>
                </a:path>
              </a:pathLst>
            </a:custGeom>
            <a:solidFill>
              <a:schemeClr val="tx1"/>
            </a:solidFill>
            <a:ln w="4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pic>
        <p:nvPicPr>
          <p:cNvPr id="389" name="Рисунок 388">
            <a:extLst>
              <a:ext uri="{FF2B5EF4-FFF2-40B4-BE49-F238E27FC236}">
                <a16:creationId xmlns:a16="http://schemas.microsoft.com/office/drawing/2014/main" id="{B78B384F-F3A2-4E10-8405-6E2FAB593BD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03721" y="6049020"/>
            <a:ext cx="1688608" cy="472507"/>
          </a:xfrm>
          <a:prstGeom prst="rect">
            <a:avLst/>
          </a:prstGeom>
        </p:spPr>
      </p:pic>
      <p:grpSp>
        <p:nvGrpSpPr>
          <p:cNvPr id="15" name="Группа 14">
            <a:extLst>
              <a:ext uri="{FF2B5EF4-FFF2-40B4-BE49-F238E27FC236}">
                <a16:creationId xmlns:a16="http://schemas.microsoft.com/office/drawing/2014/main" id="{A5EEE52A-6C20-4B09-9716-EF6B27E1D77D}"/>
              </a:ext>
            </a:extLst>
          </p:cNvPr>
          <p:cNvGrpSpPr/>
          <p:nvPr/>
        </p:nvGrpSpPr>
        <p:grpSpPr>
          <a:xfrm>
            <a:off x="654740" y="1543202"/>
            <a:ext cx="6197473" cy="1865439"/>
            <a:chOff x="654740" y="1543202"/>
            <a:chExt cx="6197473" cy="1865439"/>
          </a:xfrm>
        </p:grpSpPr>
        <p:sp>
          <p:nvSpPr>
            <p:cNvPr id="49" name="Shape_фон">
              <a:extLst>
                <a:ext uri="{FF2B5EF4-FFF2-40B4-BE49-F238E27FC236}">
                  <a16:creationId xmlns:a16="http://schemas.microsoft.com/office/drawing/2014/main" id="{CDC90171-EDEF-4C56-8C0E-FA2F98A77B21}"/>
                </a:ext>
              </a:extLst>
            </p:cNvPr>
            <p:cNvSpPr/>
            <p:nvPr/>
          </p:nvSpPr>
          <p:spPr>
            <a:xfrm>
              <a:off x="2192329" y="1767579"/>
              <a:ext cx="4659884" cy="1496984"/>
            </a:xfrm>
            <a:prstGeom prst="roundRect">
              <a:avLst>
                <a:gd name="adj" fmla="val 8571"/>
              </a:avLst>
            </a:prstGeom>
            <a:solidFill>
              <a:schemeClr val="bg1"/>
            </a:solidFill>
            <a:ln w="12700" cap="flat">
              <a:noFill/>
              <a:prstDash val="solid"/>
              <a:miter/>
            </a:ln>
            <a:effectLst>
              <a:outerShdw blurRad="1003300" sx="102000" sy="102000" algn="ctr" rotWithShape="0">
                <a:schemeClr val="tx1">
                  <a:alpha val="20000"/>
                </a:schemeClr>
              </a:outerShdw>
            </a:effectLst>
          </p:spPr>
          <p:txBody>
            <a:bodyPr lIns="0" tIns="0" rIns="0" bIns="0" anchor="ctr"/>
            <a:lstStyle/>
            <a:p>
              <a:pPr marL="0" marR="0" lvl="0" indent="0" algn="ctr" defTabSz="309563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itchFamily="2" charset="0"/>
                <a:ea typeface="Roboto" pitchFamily="2" charset="0"/>
                <a:cs typeface="Poppins Bold"/>
                <a:sym typeface="Poppins Bold"/>
              </a:endParaRPr>
            </a:p>
          </p:txBody>
        </p:sp>
        <p:grpSp>
          <p:nvGrpSpPr>
            <p:cNvPr id="22" name="Группа 21">
              <a:extLst>
                <a:ext uri="{FF2B5EF4-FFF2-40B4-BE49-F238E27FC236}">
                  <a16:creationId xmlns:a16="http://schemas.microsoft.com/office/drawing/2014/main" id="{B0EA3A29-E704-4F37-A27C-A69523438320}"/>
                </a:ext>
              </a:extLst>
            </p:cNvPr>
            <p:cNvGrpSpPr/>
            <p:nvPr/>
          </p:nvGrpSpPr>
          <p:grpSpPr>
            <a:xfrm>
              <a:off x="654740" y="1543202"/>
              <a:ext cx="1858478" cy="1865439"/>
              <a:chOff x="8757491" y="1749491"/>
              <a:chExt cx="2788657" cy="2799101"/>
            </a:xfrm>
          </p:grpSpPr>
          <p:sp>
            <p:nvSpPr>
              <p:cNvPr id="23" name="Shape_фон">
                <a:extLst>
                  <a:ext uri="{FF2B5EF4-FFF2-40B4-BE49-F238E27FC236}">
                    <a16:creationId xmlns:a16="http://schemas.microsoft.com/office/drawing/2014/main" id="{BDB9C9D3-1F91-41ED-9551-D00AF3E0C567}"/>
                  </a:ext>
                </a:extLst>
              </p:cNvPr>
              <p:cNvSpPr/>
              <p:nvPr/>
            </p:nvSpPr>
            <p:spPr>
              <a:xfrm>
                <a:off x="8757491" y="1749491"/>
                <a:ext cx="2788657" cy="2799101"/>
              </a:xfrm>
              <a:prstGeom prst="roundRect">
                <a:avLst>
                  <a:gd name="adj" fmla="val 8571"/>
                </a:avLst>
              </a:prstGeom>
              <a:solidFill>
                <a:schemeClr val="bg1"/>
              </a:solidFill>
              <a:ln w="12700" cap="flat">
                <a:noFill/>
                <a:prstDash val="solid"/>
                <a:miter/>
              </a:ln>
              <a:effectLst>
                <a:outerShdw blurRad="1003300" sx="102000" sy="102000" algn="ctr" rotWithShape="0">
                  <a:schemeClr val="tx1">
                    <a:alpha val="20000"/>
                  </a:schemeClr>
                </a:outerShdw>
              </a:effectLst>
            </p:spPr>
            <p:txBody>
              <a:bodyPr lIns="0" tIns="0" rIns="0" bIns="0" anchor="ctr"/>
              <a:lstStyle/>
              <a:p>
                <a:pPr marL="0" marR="0" lvl="0" indent="0" algn="ctr" defTabSz="309563" rtl="0" eaLnBrk="1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Roboto" pitchFamily="2" charset="0"/>
                  <a:ea typeface="Roboto" pitchFamily="2" charset="0"/>
                  <a:cs typeface="Poppins Bold"/>
                  <a:sym typeface="Poppins Bold"/>
                </a:endParaRPr>
              </a:p>
            </p:txBody>
          </p:sp>
          <p:sp>
            <p:nvSpPr>
              <p:cNvPr id="24" name="Описание">
                <a:extLst>
                  <a:ext uri="{FF2B5EF4-FFF2-40B4-BE49-F238E27FC236}">
                    <a16:creationId xmlns:a16="http://schemas.microsoft.com/office/drawing/2014/main" id="{8F2F2703-83BB-432A-B389-E8186CD83E8F}"/>
                  </a:ext>
                </a:extLst>
              </p:cNvPr>
              <p:cNvSpPr txBox="1"/>
              <p:nvPr/>
            </p:nvSpPr>
            <p:spPr>
              <a:xfrm>
                <a:off x="8826877" y="1955305"/>
                <a:ext cx="2649887" cy="46182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40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D0D0D">
                        <a:lumMod val="75000"/>
                        <a:lumOff val="25000"/>
                      </a:srgbClr>
                    </a:solidFill>
                    <a:effectLst/>
                    <a:uLnTx/>
                    <a:uFillTx/>
                    <a:latin typeface="SB Sans Text" panose="020B0503040504020204" pitchFamily="34" charset="-52"/>
                    <a:ea typeface="Roboto Light" panose="02000000000000000000" pitchFamily="2" charset="0"/>
                    <a:cs typeface="SB Sans Text" panose="020B0503040504020204" pitchFamily="34" charset="-52"/>
                  </a:rPr>
                  <a:t>«Единый клиент»</a:t>
                </a:r>
              </a:p>
            </p:txBody>
          </p:sp>
          <p:grpSp>
            <p:nvGrpSpPr>
              <p:cNvPr id="25" name="ЕК_Лого">
                <a:extLst>
                  <a:ext uri="{FF2B5EF4-FFF2-40B4-BE49-F238E27FC236}">
                    <a16:creationId xmlns:a16="http://schemas.microsoft.com/office/drawing/2014/main" id="{1FD023CC-95D4-4285-83D4-A35BF192E878}"/>
                  </a:ext>
                </a:extLst>
              </p:cNvPr>
              <p:cNvGrpSpPr/>
              <p:nvPr/>
            </p:nvGrpSpPr>
            <p:grpSpPr>
              <a:xfrm>
                <a:off x="9252369" y="2484399"/>
                <a:ext cx="1798900" cy="1785141"/>
                <a:chOff x="9141588" y="2080803"/>
                <a:chExt cx="2020578" cy="2005124"/>
              </a:xfrm>
            </p:grpSpPr>
            <p:sp>
              <p:nvSpPr>
                <p:cNvPr id="26" name="Полилиния: фигура 25">
                  <a:extLst>
                    <a:ext uri="{FF2B5EF4-FFF2-40B4-BE49-F238E27FC236}">
                      <a16:creationId xmlns:a16="http://schemas.microsoft.com/office/drawing/2014/main" id="{DD589AD8-C06A-420C-B608-FFF4FE94BFCC}"/>
                    </a:ext>
                  </a:extLst>
                </p:cNvPr>
                <p:cNvSpPr/>
                <p:nvPr/>
              </p:nvSpPr>
              <p:spPr>
                <a:xfrm>
                  <a:off x="10289981" y="2794439"/>
                  <a:ext cx="184663" cy="294906"/>
                </a:xfrm>
                <a:custGeom>
                  <a:avLst/>
                  <a:gdLst>
                    <a:gd name="connsiteX0" fmla="*/ 15893 w 184663"/>
                    <a:gd name="connsiteY0" fmla="*/ 4498 h 294906"/>
                    <a:gd name="connsiteX1" fmla="*/ 6956 w 184663"/>
                    <a:gd name="connsiteY1" fmla="*/ 9719 h 294906"/>
                    <a:gd name="connsiteX2" fmla="*/ 2856 w 184663"/>
                    <a:gd name="connsiteY2" fmla="*/ 19246 h 294906"/>
                    <a:gd name="connsiteX3" fmla="*/ 18902 w 184663"/>
                    <a:gd name="connsiteY3" fmla="*/ 271287 h 294906"/>
                    <a:gd name="connsiteX4" fmla="*/ 23680 w 184663"/>
                    <a:gd name="connsiteY4" fmla="*/ 278986 h 294906"/>
                    <a:gd name="connsiteX5" fmla="*/ 31143 w 184663"/>
                    <a:gd name="connsiteY5" fmla="*/ 284118 h 294906"/>
                    <a:gd name="connsiteX6" fmla="*/ 122137 w 184663"/>
                    <a:gd name="connsiteY6" fmla="*/ 294736 h 294906"/>
                    <a:gd name="connsiteX7" fmla="*/ 165525 w 184663"/>
                    <a:gd name="connsiteY7" fmla="*/ 291138 h 294906"/>
                    <a:gd name="connsiteX8" fmla="*/ 171897 w 184663"/>
                    <a:gd name="connsiteY8" fmla="*/ 286684 h 294906"/>
                    <a:gd name="connsiteX9" fmla="*/ 175554 w 184663"/>
                    <a:gd name="connsiteY9" fmla="*/ 279811 h 294906"/>
                    <a:gd name="connsiteX10" fmla="*/ 184373 w 184663"/>
                    <a:gd name="connsiteY10" fmla="*/ 163805 h 294906"/>
                    <a:gd name="connsiteX11" fmla="*/ 137062 w 184663"/>
                    <a:gd name="connsiteY11" fmla="*/ 23434 h 294906"/>
                    <a:gd name="connsiteX12" fmla="*/ 15923 w 184663"/>
                    <a:gd name="connsiteY12" fmla="*/ 4498 h 294906"/>
                    <a:gd name="connsiteX13" fmla="*/ 151456 w 184663"/>
                    <a:gd name="connsiteY13" fmla="*/ 162389 h 294906"/>
                    <a:gd name="connsiteX14" fmla="*/ 145350 w 184663"/>
                    <a:gd name="connsiteY14" fmla="*/ 261229 h 294906"/>
                    <a:gd name="connsiteX15" fmla="*/ 48958 w 184663"/>
                    <a:gd name="connsiteY15" fmla="*/ 255507 h 294906"/>
                    <a:gd name="connsiteX16" fmla="*/ 34918 w 184663"/>
                    <a:gd name="connsiteY16" fmla="*/ 34937 h 294906"/>
                    <a:gd name="connsiteX17" fmla="*/ 115088 w 184663"/>
                    <a:gd name="connsiteY17" fmla="*/ 48063 h 294906"/>
                    <a:gd name="connsiteX18" fmla="*/ 151456 w 184663"/>
                    <a:gd name="connsiteY18" fmla="*/ 162359 h 29490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</a:cxnLst>
                  <a:rect l="l" t="t" r="r" b="b"/>
                  <a:pathLst>
                    <a:path w="184663" h="294906">
                      <a:moveTo>
                        <a:pt x="15893" y="4498"/>
                      </a:moveTo>
                      <a:cubicBezTo>
                        <a:pt x="12442" y="5235"/>
                        <a:pt x="9286" y="7064"/>
                        <a:pt x="6956" y="9719"/>
                      </a:cubicBezTo>
                      <a:cubicBezTo>
                        <a:pt x="4626" y="12373"/>
                        <a:pt x="3181" y="15706"/>
                        <a:pt x="2856" y="19246"/>
                      </a:cubicBezTo>
                      <a:cubicBezTo>
                        <a:pt x="-7172" y="130828"/>
                        <a:pt x="11882" y="250345"/>
                        <a:pt x="18902" y="271287"/>
                      </a:cubicBezTo>
                      <a:cubicBezTo>
                        <a:pt x="19934" y="274148"/>
                        <a:pt x="21557" y="276773"/>
                        <a:pt x="23680" y="278986"/>
                      </a:cubicBezTo>
                      <a:cubicBezTo>
                        <a:pt x="25774" y="281198"/>
                        <a:pt x="28311" y="282938"/>
                        <a:pt x="31143" y="284118"/>
                      </a:cubicBezTo>
                      <a:cubicBezTo>
                        <a:pt x="46185" y="291344"/>
                        <a:pt x="88453" y="294736"/>
                        <a:pt x="122137" y="294736"/>
                      </a:cubicBezTo>
                      <a:cubicBezTo>
                        <a:pt x="136708" y="295385"/>
                        <a:pt x="151279" y="294176"/>
                        <a:pt x="165525" y="291138"/>
                      </a:cubicBezTo>
                      <a:cubicBezTo>
                        <a:pt x="167974" y="290165"/>
                        <a:pt x="170156" y="288660"/>
                        <a:pt x="171897" y="286684"/>
                      </a:cubicBezTo>
                      <a:cubicBezTo>
                        <a:pt x="173637" y="284708"/>
                        <a:pt x="174876" y="282348"/>
                        <a:pt x="175554" y="279811"/>
                      </a:cubicBezTo>
                      <a:cubicBezTo>
                        <a:pt x="178858" y="267187"/>
                        <a:pt x="180657" y="239697"/>
                        <a:pt x="184373" y="163805"/>
                      </a:cubicBezTo>
                      <a:cubicBezTo>
                        <a:pt x="187175" y="106258"/>
                        <a:pt x="169537" y="53520"/>
                        <a:pt x="137062" y="23434"/>
                      </a:cubicBezTo>
                      <a:cubicBezTo>
                        <a:pt x="98776" y="-11843"/>
                        <a:pt x="24034" y="2669"/>
                        <a:pt x="15923" y="4498"/>
                      </a:cubicBezTo>
                      <a:close/>
                      <a:moveTo>
                        <a:pt x="151456" y="162389"/>
                      </a:moveTo>
                      <a:cubicBezTo>
                        <a:pt x="149244" y="207901"/>
                        <a:pt x="147444" y="243296"/>
                        <a:pt x="145350" y="261229"/>
                      </a:cubicBezTo>
                      <a:cubicBezTo>
                        <a:pt x="113111" y="262792"/>
                        <a:pt x="80784" y="260875"/>
                        <a:pt x="48958" y="255507"/>
                      </a:cubicBezTo>
                      <a:cubicBezTo>
                        <a:pt x="35302" y="182829"/>
                        <a:pt x="30582" y="108765"/>
                        <a:pt x="34918" y="34937"/>
                      </a:cubicBezTo>
                      <a:cubicBezTo>
                        <a:pt x="57571" y="32017"/>
                        <a:pt x="96535" y="31132"/>
                        <a:pt x="115088" y="48063"/>
                      </a:cubicBezTo>
                      <a:cubicBezTo>
                        <a:pt x="140041" y="71719"/>
                        <a:pt x="154258" y="114429"/>
                        <a:pt x="151456" y="162359"/>
                      </a:cubicBezTo>
                      <a:close/>
                    </a:path>
                  </a:pathLst>
                </a:custGeom>
                <a:solidFill>
                  <a:srgbClr val="000000"/>
                </a:solidFill>
                <a:ln w="2948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D0D0D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7" name="Полилиния: фигура 26">
                  <a:extLst>
                    <a:ext uri="{FF2B5EF4-FFF2-40B4-BE49-F238E27FC236}">
                      <a16:creationId xmlns:a16="http://schemas.microsoft.com/office/drawing/2014/main" id="{CA414586-E66B-43FC-98F2-9A2A2AC62ECF}"/>
                    </a:ext>
                  </a:extLst>
                </p:cNvPr>
                <p:cNvSpPr/>
                <p:nvPr/>
              </p:nvSpPr>
              <p:spPr>
                <a:xfrm>
                  <a:off x="9768388" y="2275873"/>
                  <a:ext cx="369594" cy="581022"/>
                </a:xfrm>
                <a:custGeom>
                  <a:avLst/>
                  <a:gdLst>
                    <a:gd name="connsiteX0" fmla="*/ 293084 w 369594"/>
                    <a:gd name="connsiteY0" fmla="*/ 253885 h 581022"/>
                    <a:gd name="connsiteX1" fmla="*/ 285061 w 369594"/>
                    <a:gd name="connsiteY1" fmla="*/ 253885 h 581022"/>
                    <a:gd name="connsiteX2" fmla="*/ 234152 w 369594"/>
                    <a:gd name="connsiteY2" fmla="*/ 243856 h 581022"/>
                    <a:gd name="connsiteX3" fmla="*/ 229137 w 369594"/>
                    <a:gd name="connsiteY3" fmla="*/ 230318 h 581022"/>
                    <a:gd name="connsiteX4" fmla="*/ 230730 w 369594"/>
                    <a:gd name="connsiteY4" fmla="*/ 215983 h 581022"/>
                    <a:gd name="connsiteX5" fmla="*/ 241467 w 369594"/>
                    <a:gd name="connsiteY5" fmla="*/ 199849 h 581022"/>
                    <a:gd name="connsiteX6" fmla="*/ 257512 w 369594"/>
                    <a:gd name="connsiteY6" fmla="*/ 174689 h 581022"/>
                    <a:gd name="connsiteX7" fmla="*/ 270431 w 369594"/>
                    <a:gd name="connsiteY7" fmla="*/ 118234 h 581022"/>
                    <a:gd name="connsiteX8" fmla="*/ 266774 w 369594"/>
                    <a:gd name="connsiteY8" fmla="*/ 72309 h 581022"/>
                    <a:gd name="connsiteX9" fmla="*/ 244977 w 369594"/>
                    <a:gd name="connsiteY9" fmla="*/ 31723 h 581022"/>
                    <a:gd name="connsiteX10" fmla="*/ 215038 w 369594"/>
                    <a:gd name="connsiteY10" fmla="*/ 9217 h 581022"/>
                    <a:gd name="connsiteX11" fmla="*/ 178699 w 369594"/>
                    <a:gd name="connsiteY11" fmla="*/ 103 h 581022"/>
                    <a:gd name="connsiteX12" fmla="*/ 141682 w 369594"/>
                    <a:gd name="connsiteY12" fmla="*/ 5825 h 581022"/>
                    <a:gd name="connsiteX13" fmla="*/ 109797 w 369594"/>
                    <a:gd name="connsiteY13" fmla="*/ 25499 h 581022"/>
                    <a:gd name="connsiteX14" fmla="*/ 79741 w 369594"/>
                    <a:gd name="connsiteY14" fmla="*/ 111125 h 581022"/>
                    <a:gd name="connsiteX15" fmla="*/ 90950 w 369594"/>
                    <a:gd name="connsiteY15" fmla="*/ 172388 h 581022"/>
                    <a:gd name="connsiteX16" fmla="*/ 119619 w 369594"/>
                    <a:gd name="connsiteY16" fmla="*/ 212502 h 581022"/>
                    <a:gd name="connsiteX17" fmla="*/ 126934 w 369594"/>
                    <a:gd name="connsiteY17" fmla="*/ 220407 h 581022"/>
                    <a:gd name="connsiteX18" fmla="*/ 125637 w 369594"/>
                    <a:gd name="connsiteY18" fmla="*/ 246776 h 581022"/>
                    <a:gd name="connsiteX19" fmla="*/ 90478 w 369594"/>
                    <a:gd name="connsiteY19" fmla="*/ 256805 h 581022"/>
                    <a:gd name="connsiteX20" fmla="*/ 82750 w 369594"/>
                    <a:gd name="connsiteY20" fmla="*/ 256805 h 581022"/>
                    <a:gd name="connsiteX21" fmla="*/ 10308 w 369594"/>
                    <a:gd name="connsiteY21" fmla="*/ 290283 h 581022"/>
                    <a:gd name="connsiteX22" fmla="*/ 50393 w 369594"/>
                    <a:gd name="connsiteY22" fmla="*/ 560966 h 581022"/>
                    <a:gd name="connsiteX23" fmla="*/ 75140 w 369594"/>
                    <a:gd name="connsiteY23" fmla="*/ 581023 h 581022"/>
                    <a:gd name="connsiteX24" fmla="*/ 252409 w 369594"/>
                    <a:gd name="connsiteY24" fmla="*/ 581023 h 581022"/>
                    <a:gd name="connsiteX25" fmla="*/ 311843 w 369594"/>
                    <a:gd name="connsiteY25" fmla="*/ 580521 h 581022"/>
                    <a:gd name="connsiteX26" fmla="*/ 323671 w 369594"/>
                    <a:gd name="connsiteY26" fmla="*/ 576244 h 581022"/>
                    <a:gd name="connsiteX27" fmla="*/ 331871 w 369594"/>
                    <a:gd name="connsiteY27" fmla="*/ 566688 h 581022"/>
                    <a:gd name="connsiteX28" fmla="*/ 365231 w 369594"/>
                    <a:gd name="connsiteY28" fmla="*/ 297598 h 581022"/>
                    <a:gd name="connsiteX29" fmla="*/ 335765 w 369594"/>
                    <a:gd name="connsiteY29" fmla="*/ 264828 h 581022"/>
                    <a:gd name="connsiteX30" fmla="*/ 293084 w 369594"/>
                    <a:gd name="connsiteY30" fmla="*/ 253885 h 581022"/>
                    <a:gd name="connsiteX31" fmla="*/ 304499 w 369594"/>
                    <a:gd name="connsiteY31" fmla="*/ 548046 h 581022"/>
                    <a:gd name="connsiteX32" fmla="*/ 134751 w 369594"/>
                    <a:gd name="connsiteY32" fmla="*/ 548046 h 581022"/>
                    <a:gd name="connsiteX33" fmla="*/ 81127 w 369594"/>
                    <a:gd name="connsiteY33" fmla="*/ 548046 h 581022"/>
                    <a:gd name="connsiteX34" fmla="*/ 38447 w 369594"/>
                    <a:gd name="connsiteY34" fmla="*/ 308128 h 581022"/>
                    <a:gd name="connsiteX35" fmla="*/ 83251 w 369594"/>
                    <a:gd name="connsiteY35" fmla="*/ 289693 h 581022"/>
                    <a:gd name="connsiteX36" fmla="*/ 92159 w 369594"/>
                    <a:gd name="connsiteY36" fmla="*/ 289693 h 581022"/>
                    <a:gd name="connsiteX37" fmla="*/ 153776 w 369594"/>
                    <a:gd name="connsiteY37" fmla="*/ 265123 h 581022"/>
                    <a:gd name="connsiteX38" fmla="*/ 155073 w 369594"/>
                    <a:gd name="connsiteY38" fmla="*/ 201854 h 581022"/>
                    <a:gd name="connsiteX39" fmla="*/ 144248 w 369594"/>
                    <a:gd name="connsiteY39" fmla="*/ 189938 h 581022"/>
                    <a:gd name="connsiteX40" fmla="*/ 122097 w 369594"/>
                    <a:gd name="connsiteY40" fmla="*/ 159852 h 581022"/>
                    <a:gd name="connsiteX41" fmla="*/ 113278 w 369594"/>
                    <a:gd name="connsiteY41" fmla="*/ 110417 h 581022"/>
                    <a:gd name="connsiteX42" fmla="*/ 133306 w 369594"/>
                    <a:gd name="connsiteY42" fmla="*/ 48653 h 581022"/>
                    <a:gd name="connsiteX43" fmla="*/ 152448 w 369594"/>
                    <a:gd name="connsiteY43" fmla="*/ 36648 h 581022"/>
                    <a:gd name="connsiteX44" fmla="*/ 174777 w 369594"/>
                    <a:gd name="connsiteY44" fmla="*/ 33197 h 581022"/>
                    <a:gd name="connsiteX45" fmla="*/ 199553 w 369594"/>
                    <a:gd name="connsiteY45" fmla="*/ 38094 h 581022"/>
                    <a:gd name="connsiteX46" fmla="*/ 219758 w 369594"/>
                    <a:gd name="connsiteY46" fmla="*/ 53255 h 581022"/>
                    <a:gd name="connsiteX47" fmla="*/ 234594 w 369594"/>
                    <a:gd name="connsiteY47" fmla="*/ 81276 h 581022"/>
                    <a:gd name="connsiteX48" fmla="*/ 237190 w 369594"/>
                    <a:gd name="connsiteY48" fmla="*/ 112895 h 581022"/>
                    <a:gd name="connsiteX49" fmla="*/ 225981 w 369594"/>
                    <a:gd name="connsiteY49" fmla="*/ 163038 h 581022"/>
                    <a:gd name="connsiteX50" fmla="*/ 215363 w 369594"/>
                    <a:gd name="connsiteY50" fmla="*/ 178789 h 581022"/>
                    <a:gd name="connsiteX51" fmla="*/ 199022 w 369594"/>
                    <a:gd name="connsiteY51" fmla="*/ 204863 h 581022"/>
                    <a:gd name="connsiteX52" fmla="*/ 195925 w 369594"/>
                    <a:gd name="connsiteY52" fmla="*/ 234506 h 581022"/>
                    <a:gd name="connsiteX53" fmla="*/ 206455 w 369594"/>
                    <a:gd name="connsiteY53" fmla="*/ 262409 h 581022"/>
                    <a:gd name="connsiteX54" fmla="*/ 285209 w 369594"/>
                    <a:gd name="connsiteY54" fmla="*/ 287481 h 581022"/>
                    <a:gd name="connsiteX55" fmla="*/ 292435 w 369594"/>
                    <a:gd name="connsiteY55" fmla="*/ 287481 h 581022"/>
                    <a:gd name="connsiteX56" fmla="*/ 317477 w 369594"/>
                    <a:gd name="connsiteY56" fmla="*/ 292878 h 581022"/>
                    <a:gd name="connsiteX57" fmla="*/ 335116 w 369594"/>
                    <a:gd name="connsiteY57" fmla="*/ 311431 h 581022"/>
                    <a:gd name="connsiteX58" fmla="*/ 304440 w 369594"/>
                    <a:gd name="connsiteY58" fmla="*/ 548046 h 5810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</a:cxnLst>
                  <a:rect l="l" t="t" r="r" b="b"/>
                  <a:pathLst>
                    <a:path w="369594" h="581022">
                      <a:moveTo>
                        <a:pt x="293084" y="253885"/>
                      </a:moveTo>
                      <a:lnTo>
                        <a:pt x="285061" y="253885"/>
                      </a:lnTo>
                      <a:cubicBezTo>
                        <a:pt x="268839" y="253885"/>
                        <a:pt x="241467" y="253885"/>
                        <a:pt x="234152" y="243856"/>
                      </a:cubicBezTo>
                      <a:cubicBezTo>
                        <a:pt x="231438" y="239786"/>
                        <a:pt x="229727" y="235155"/>
                        <a:pt x="229137" y="230318"/>
                      </a:cubicBezTo>
                      <a:cubicBezTo>
                        <a:pt x="228547" y="225480"/>
                        <a:pt x="229078" y="220555"/>
                        <a:pt x="230730" y="215983"/>
                      </a:cubicBezTo>
                      <a:cubicBezTo>
                        <a:pt x="233385" y="210054"/>
                        <a:pt x="237013" y="204597"/>
                        <a:pt x="241467" y="199849"/>
                      </a:cubicBezTo>
                      <a:cubicBezTo>
                        <a:pt x="248192" y="192416"/>
                        <a:pt x="253619" y="183921"/>
                        <a:pt x="257512" y="174689"/>
                      </a:cubicBezTo>
                      <a:cubicBezTo>
                        <a:pt x="263765" y="156372"/>
                        <a:pt x="268101" y="137465"/>
                        <a:pt x="270431" y="118234"/>
                      </a:cubicBezTo>
                      <a:cubicBezTo>
                        <a:pt x="272408" y="102837"/>
                        <a:pt x="271169" y="87204"/>
                        <a:pt x="266774" y="72309"/>
                      </a:cubicBezTo>
                      <a:cubicBezTo>
                        <a:pt x="262409" y="57413"/>
                        <a:pt x="254976" y="43609"/>
                        <a:pt x="244977" y="31723"/>
                      </a:cubicBezTo>
                      <a:cubicBezTo>
                        <a:pt x="236600" y="22284"/>
                        <a:pt x="226424" y="14645"/>
                        <a:pt x="215038" y="9217"/>
                      </a:cubicBezTo>
                      <a:cubicBezTo>
                        <a:pt x="203653" y="3790"/>
                        <a:pt x="191294" y="693"/>
                        <a:pt x="178699" y="103"/>
                      </a:cubicBezTo>
                      <a:cubicBezTo>
                        <a:pt x="166105" y="-487"/>
                        <a:pt x="153510" y="1460"/>
                        <a:pt x="141682" y="5825"/>
                      </a:cubicBezTo>
                      <a:cubicBezTo>
                        <a:pt x="129854" y="10191"/>
                        <a:pt x="119000" y="16886"/>
                        <a:pt x="109797" y="25499"/>
                      </a:cubicBezTo>
                      <a:cubicBezTo>
                        <a:pt x="88826" y="48919"/>
                        <a:pt x="78030" y="79712"/>
                        <a:pt x="79741" y="111125"/>
                      </a:cubicBezTo>
                      <a:cubicBezTo>
                        <a:pt x="79653" y="132067"/>
                        <a:pt x="83458" y="152832"/>
                        <a:pt x="90950" y="172388"/>
                      </a:cubicBezTo>
                      <a:cubicBezTo>
                        <a:pt x="97940" y="187431"/>
                        <a:pt x="107644" y="201028"/>
                        <a:pt x="119619" y="212502"/>
                      </a:cubicBezTo>
                      <a:lnTo>
                        <a:pt x="126934" y="220407"/>
                      </a:lnTo>
                      <a:cubicBezTo>
                        <a:pt x="127937" y="229197"/>
                        <a:pt x="127495" y="238105"/>
                        <a:pt x="125637" y="246776"/>
                      </a:cubicBezTo>
                      <a:cubicBezTo>
                        <a:pt x="119413" y="255183"/>
                        <a:pt x="97675" y="256097"/>
                        <a:pt x="90478" y="256805"/>
                      </a:cubicBezTo>
                      <a:lnTo>
                        <a:pt x="82750" y="256805"/>
                      </a:lnTo>
                      <a:cubicBezTo>
                        <a:pt x="63695" y="256805"/>
                        <a:pt x="31928" y="256805"/>
                        <a:pt x="10308" y="290283"/>
                      </a:cubicBezTo>
                      <a:cubicBezTo>
                        <a:pt x="-21046" y="338508"/>
                        <a:pt x="26944" y="518167"/>
                        <a:pt x="50393" y="560966"/>
                      </a:cubicBezTo>
                      <a:cubicBezTo>
                        <a:pt x="53608" y="566983"/>
                        <a:pt x="61218" y="581023"/>
                        <a:pt x="75140" y="581023"/>
                      </a:cubicBezTo>
                      <a:lnTo>
                        <a:pt x="252409" y="581023"/>
                      </a:lnTo>
                      <a:cubicBezTo>
                        <a:pt x="283881" y="581023"/>
                        <a:pt x="305620" y="581023"/>
                        <a:pt x="311843" y="580521"/>
                      </a:cubicBezTo>
                      <a:cubicBezTo>
                        <a:pt x="316091" y="580138"/>
                        <a:pt x="320161" y="578663"/>
                        <a:pt x="323671" y="576244"/>
                      </a:cubicBezTo>
                      <a:cubicBezTo>
                        <a:pt x="327181" y="573826"/>
                        <a:pt x="330013" y="570522"/>
                        <a:pt x="331871" y="566688"/>
                      </a:cubicBezTo>
                      <a:cubicBezTo>
                        <a:pt x="355232" y="527989"/>
                        <a:pt x="379772" y="328893"/>
                        <a:pt x="365231" y="297598"/>
                      </a:cubicBezTo>
                      <a:cubicBezTo>
                        <a:pt x="358860" y="284000"/>
                        <a:pt x="348595" y="272585"/>
                        <a:pt x="335765" y="264828"/>
                      </a:cubicBezTo>
                      <a:cubicBezTo>
                        <a:pt x="322934" y="257041"/>
                        <a:pt x="308068" y="253236"/>
                        <a:pt x="293084" y="253885"/>
                      </a:cubicBezTo>
                      <a:close/>
                      <a:moveTo>
                        <a:pt x="304499" y="548046"/>
                      </a:moveTo>
                      <a:cubicBezTo>
                        <a:pt x="279841" y="548548"/>
                        <a:pt x="193565" y="548046"/>
                        <a:pt x="134751" y="548046"/>
                      </a:cubicBezTo>
                      <a:lnTo>
                        <a:pt x="81127" y="548046"/>
                      </a:lnTo>
                      <a:cubicBezTo>
                        <a:pt x="59979" y="516781"/>
                        <a:pt x="18301" y="339128"/>
                        <a:pt x="38447" y="308128"/>
                      </a:cubicBezTo>
                      <a:cubicBezTo>
                        <a:pt x="50363" y="289781"/>
                        <a:pt x="65613" y="289781"/>
                        <a:pt x="83251" y="289693"/>
                      </a:cubicBezTo>
                      <a:lnTo>
                        <a:pt x="92159" y="289693"/>
                      </a:lnTo>
                      <a:cubicBezTo>
                        <a:pt x="105992" y="289103"/>
                        <a:pt x="138467" y="287776"/>
                        <a:pt x="153776" y="265123"/>
                      </a:cubicBezTo>
                      <a:cubicBezTo>
                        <a:pt x="162683" y="251879"/>
                        <a:pt x="163804" y="211676"/>
                        <a:pt x="155073" y="201854"/>
                      </a:cubicBezTo>
                      <a:cubicBezTo>
                        <a:pt x="151563" y="197754"/>
                        <a:pt x="147847" y="193743"/>
                        <a:pt x="144248" y="189938"/>
                      </a:cubicBezTo>
                      <a:cubicBezTo>
                        <a:pt x="135134" y="181325"/>
                        <a:pt x="127642" y="171120"/>
                        <a:pt x="122097" y="159852"/>
                      </a:cubicBezTo>
                      <a:cubicBezTo>
                        <a:pt x="116168" y="144072"/>
                        <a:pt x="113160" y="127318"/>
                        <a:pt x="113278" y="110417"/>
                      </a:cubicBezTo>
                      <a:cubicBezTo>
                        <a:pt x="111626" y="88001"/>
                        <a:pt x="118823" y="65820"/>
                        <a:pt x="133306" y="48653"/>
                      </a:cubicBezTo>
                      <a:cubicBezTo>
                        <a:pt x="138821" y="43403"/>
                        <a:pt x="145340" y="39303"/>
                        <a:pt x="152448" y="36648"/>
                      </a:cubicBezTo>
                      <a:cubicBezTo>
                        <a:pt x="159586" y="33994"/>
                        <a:pt x="167167" y="32814"/>
                        <a:pt x="174777" y="33197"/>
                      </a:cubicBezTo>
                      <a:cubicBezTo>
                        <a:pt x="183301" y="32961"/>
                        <a:pt x="191766" y="34613"/>
                        <a:pt x="199553" y="38094"/>
                      </a:cubicBezTo>
                      <a:cubicBezTo>
                        <a:pt x="207340" y="41574"/>
                        <a:pt x="214242" y="46736"/>
                        <a:pt x="219758" y="53255"/>
                      </a:cubicBezTo>
                      <a:cubicBezTo>
                        <a:pt x="226542" y="61484"/>
                        <a:pt x="231615" y="71040"/>
                        <a:pt x="234594" y="81276"/>
                      </a:cubicBezTo>
                      <a:cubicBezTo>
                        <a:pt x="237603" y="91540"/>
                        <a:pt x="238458" y="102277"/>
                        <a:pt x="237190" y="112895"/>
                      </a:cubicBezTo>
                      <a:cubicBezTo>
                        <a:pt x="235213" y="129944"/>
                        <a:pt x="231438" y="146756"/>
                        <a:pt x="225981" y="163038"/>
                      </a:cubicBezTo>
                      <a:cubicBezTo>
                        <a:pt x="223297" y="168819"/>
                        <a:pt x="219699" y="174128"/>
                        <a:pt x="215363" y="178789"/>
                      </a:cubicBezTo>
                      <a:cubicBezTo>
                        <a:pt x="208402" y="186428"/>
                        <a:pt x="202886" y="195247"/>
                        <a:pt x="199022" y="204863"/>
                      </a:cubicBezTo>
                      <a:cubicBezTo>
                        <a:pt x="195689" y="214361"/>
                        <a:pt x="194627" y="224537"/>
                        <a:pt x="195925" y="234506"/>
                      </a:cubicBezTo>
                      <a:cubicBezTo>
                        <a:pt x="197223" y="244505"/>
                        <a:pt x="200821" y="254062"/>
                        <a:pt x="206455" y="262409"/>
                      </a:cubicBezTo>
                      <a:cubicBezTo>
                        <a:pt x="223799" y="288189"/>
                        <a:pt x="260757" y="287687"/>
                        <a:pt x="285209" y="287481"/>
                      </a:cubicBezTo>
                      <a:lnTo>
                        <a:pt x="292435" y="287481"/>
                      </a:lnTo>
                      <a:cubicBezTo>
                        <a:pt x="301137" y="286714"/>
                        <a:pt x="309867" y="288601"/>
                        <a:pt x="317477" y="292878"/>
                      </a:cubicBezTo>
                      <a:cubicBezTo>
                        <a:pt x="325087" y="297155"/>
                        <a:pt x="331252" y="303615"/>
                        <a:pt x="335116" y="311431"/>
                      </a:cubicBezTo>
                      <a:cubicBezTo>
                        <a:pt x="345144" y="337299"/>
                        <a:pt x="320987" y="516751"/>
                        <a:pt x="304440" y="548046"/>
                      </a:cubicBezTo>
                      <a:close/>
                    </a:path>
                  </a:pathLst>
                </a:custGeom>
                <a:solidFill>
                  <a:srgbClr val="000000"/>
                </a:solidFill>
                <a:ln w="2948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D0D0D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8" name="Полилиния: фигура 27">
                  <a:extLst>
                    <a:ext uri="{FF2B5EF4-FFF2-40B4-BE49-F238E27FC236}">
                      <a16:creationId xmlns:a16="http://schemas.microsoft.com/office/drawing/2014/main" id="{C54B7D57-B30D-4395-B266-D12335B785EB}"/>
                    </a:ext>
                  </a:extLst>
                </p:cNvPr>
                <p:cNvSpPr/>
                <p:nvPr/>
              </p:nvSpPr>
              <p:spPr>
                <a:xfrm>
                  <a:off x="10491629" y="2418533"/>
                  <a:ext cx="389206" cy="1132074"/>
                </a:xfrm>
                <a:custGeom>
                  <a:avLst/>
                  <a:gdLst>
                    <a:gd name="connsiteX0" fmla="*/ 389148 w 389206"/>
                    <a:gd name="connsiteY0" fmla="*/ 396833 h 1132074"/>
                    <a:gd name="connsiteX1" fmla="*/ 387850 w 389206"/>
                    <a:gd name="connsiteY1" fmla="*/ 389695 h 1132074"/>
                    <a:gd name="connsiteX2" fmla="*/ 383662 w 389206"/>
                    <a:gd name="connsiteY2" fmla="*/ 383796 h 1132074"/>
                    <a:gd name="connsiteX3" fmla="*/ 377350 w 389206"/>
                    <a:gd name="connsiteY3" fmla="*/ 380227 h 1132074"/>
                    <a:gd name="connsiteX4" fmla="*/ 370123 w 389206"/>
                    <a:gd name="connsiteY4" fmla="*/ 379696 h 1132074"/>
                    <a:gd name="connsiteX5" fmla="*/ 328446 w 389206"/>
                    <a:gd name="connsiteY5" fmla="*/ 371378 h 1132074"/>
                    <a:gd name="connsiteX6" fmla="*/ 290956 w 389206"/>
                    <a:gd name="connsiteY6" fmla="*/ 323742 h 1132074"/>
                    <a:gd name="connsiteX7" fmla="*/ 290160 w 389206"/>
                    <a:gd name="connsiteY7" fmla="*/ 299969 h 1132074"/>
                    <a:gd name="connsiteX8" fmla="*/ 283730 w 389206"/>
                    <a:gd name="connsiteY8" fmla="*/ 260769 h 1132074"/>
                    <a:gd name="connsiteX9" fmla="*/ 273436 w 389206"/>
                    <a:gd name="connsiteY9" fmla="*/ 253867 h 1132074"/>
                    <a:gd name="connsiteX10" fmla="*/ 261077 w 389206"/>
                    <a:gd name="connsiteY10" fmla="*/ 252834 h 1132074"/>
                    <a:gd name="connsiteX11" fmla="*/ 238041 w 389206"/>
                    <a:gd name="connsiteY11" fmla="*/ 246021 h 1132074"/>
                    <a:gd name="connsiteX12" fmla="*/ 236242 w 389206"/>
                    <a:gd name="connsiteY12" fmla="*/ 229680 h 1132074"/>
                    <a:gd name="connsiteX13" fmla="*/ 287446 w 389206"/>
                    <a:gd name="connsiteY13" fmla="*/ 98748 h 1132074"/>
                    <a:gd name="connsiteX14" fmla="*/ 272993 w 389206"/>
                    <a:gd name="connsiteY14" fmla="*/ 52941 h 1132074"/>
                    <a:gd name="connsiteX15" fmla="*/ 241757 w 389206"/>
                    <a:gd name="connsiteY15" fmla="*/ 16455 h 1132074"/>
                    <a:gd name="connsiteX16" fmla="*/ 141560 w 389206"/>
                    <a:gd name="connsiteY16" fmla="*/ 6426 h 1132074"/>
                    <a:gd name="connsiteX17" fmla="*/ 131738 w 389206"/>
                    <a:gd name="connsiteY17" fmla="*/ 14125 h 1132074"/>
                    <a:gd name="connsiteX18" fmla="*/ 130027 w 389206"/>
                    <a:gd name="connsiteY18" fmla="*/ 26484 h 1132074"/>
                    <a:gd name="connsiteX19" fmla="*/ 131945 w 389206"/>
                    <a:gd name="connsiteY19" fmla="*/ 106683 h 1132074"/>
                    <a:gd name="connsiteX20" fmla="*/ 98467 w 389206"/>
                    <a:gd name="connsiteY20" fmla="*/ 159215 h 1132074"/>
                    <a:gd name="connsiteX21" fmla="*/ 94101 w 389206"/>
                    <a:gd name="connsiteY21" fmla="*/ 167179 h 1132074"/>
                    <a:gd name="connsiteX22" fmla="*/ 94573 w 389206"/>
                    <a:gd name="connsiteY22" fmla="*/ 176263 h 1132074"/>
                    <a:gd name="connsiteX23" fmla="*/ 129349 w 389206"/>
                    <a:gd name="connsiteY23" fmla="*/ 230506 h 1132074"/>
                    <a:gd name="connsiteX24" fmla="*/ 128051 w 389206"/>
                    <a:gd name="connsiteY24" fmla="*/ 244841 h 1132074"/>
                    <a:gd name="connsiteX25" fmla="*/ 82156 w 389206"/>
                    <a:gd name="connsiteY25" fmla="*/ 260267 h 1132074"/>
                    <a:gd name="connsiteX26" fmla="*/ 6706 w 389206"/>
                    <a:gd name="connsiteY26" fmla="*/ 295574 h 1132074"/>
                    <a:gd name="connsiteX27" fmla="*/ 187 w 389206"/>
                    <a:gd name="connsiteY27" fmla="*/ 342590 h 1132074"/>
                    <a:gd name="connsiteX28" fmla="*/ 187 w 389206"/>
                    <a:gd name="connsiteY28" fmla="*/ 354034 h 1132074"/>
                    <a:gd name="connsiteX29" fmla="*/ 2488 w 389206"/>
                    <a:gd name="connsiteY29" fmla="*/ 395624 h 1132074"/>
                    <a:gd name="connsiteX30" fmla="*/ 6676 w 389206"/>
                    <a:gd name="connsiteY30" fmla="*/ 405741 h 1132074"/>
                    <a:gd name="connsiteX31" fmla="*/ 16233 w 389206"/>
                    <a:gd name="connsiteY31" fmla="*/ 411079 h 1132074"/>
                    <a:gd name="connsiteX32" fmla="*/ 55728 w 389206"/>
                    <a:gd name="connsiteY32" fmla="*/ 414088 h 1132074"/>
                    <a:gd name="connsiteX33" fmla="*/ 153123 w 389206"/>
                    <a:gd name="connsiteY33" fmla="*/ 432434 h 1132074"/>
                    <a:gd name="connsiteX34" fmla="*/ 234383 w 389206"/>
                    <a:gd name="connsiteY34" fmla="*/ 731286 h 1132074"/>
                    <a:gd name="connsiteX35" fmla="*/ 235150 w 389206"/>
                    <a:gd name="connsiteY35" fmla="*/ 738129 h 1132074"/>
                    <a:gd name="connsiteX36" fmla="*/ 238631 w 389206"/>
                    <a:gd name="connsiteY36" fmla="*/ 744057 h 1132074"/>
                    <a:gd name="connsiteX37" fmla="*/ 244206 w 389206"/>
                    <a:gd name="connsiteY37" fmla="*/ 748098 h 1132074"/>
                    <a:gd name="connsiteX38" fmla="*/ 250931 w 389206"/>
                    <a:gd name="connsiteY38" fmla="*/ 749514 h 1132074"/>
                    <a:gd name="connsiteX39" fmla="*/ 251727 w 389206"/>
                    <a:gd name="connsiteY39" fmla="*/ 749514 h 1132074"/>
                    <a:gd name="connsiteX40" fmla="*/ 328386 w 389206"/>
                    <a:gd name="connsiteY40" fmla="*/ 734766 h 1132074"/>
                    <a:gd name="connsiteX41" fmla="*/ 271342 w 389206"/>
                    <a:gd name="connsiteY41" fmla="*/ 911475 h 1132074"/>
                    <a:gd name="connsiteX42" fmla="*/ 145808 w 389206"/>
                    <a:gd name="connsiteY42" fmla="*/ 1048277 h 1132074"/>
                    <a:gd name="connsiteX43" fmla="*/ 112330 w 389206"/>
                    <a:gd name="connsiteY43" fmla="*/ 990819 h 1132074"/>
                    <a:gd name="connsiteX44" fmla="*/ 82982 w 389206"/>
                    <a:gd name="connsiteY44" fmla="*/ 1101989 h 1132074"/>
                    <a:gd name="connsiteX45" fmla="*/ 193915 w 389206"/>
                    <a:gd name="connsiteY45" fmla="*/ 1132075 h 1132074"/>
                    <a:gd name="connsiteX46" fmla="*/ 162060 w 389206"/>
                    <a:gd name="connsiteY46" fmla="*/ 1077242 h 1132074"/>
                    <a:gd name="connsiteX47" fmla="*/ 361658 w 389206"/>
                    <a:gd name="connsiteY47" fmla="*/ 678518 h 1132074"/>
                    <a:gd name="connsiteX48" fmla="*/ 366967 w 389206"/>
                    <a:gd name="connsiteY48" fmla="*/ 647754 h 1132074"/>
                    <a:gd name="connsiteX49" fmla="*/ 389207 w 389206"/>
                    <a:gd name="connsiteY49" fmla="*/ 396803 h 1132074"/>
                    <a:gd name="connsiteX50" fmla="*/ 334433 w 389206"/>
                    <a:gd name="connsiteY50" fmla="*/ 642975 h 1132074"/>
                    <a:gd name="connsiteX51" fmla="*/ 330628 w 389206"/>
                    <a:gd name="connsiteY51" fmla="*/ 667634 h 1132074"/>
                    <a:gd name="connsiteX52" fmla="*/ 328711 w 389206"/>
                    <a:gd name="connsiteY52" fmla="*/ 676541 h 1132074"/>
                    <a:gd name="connsiteX53" fmla="*/ 328711 w 389206"/>
                    <a:gd name="connsiteY53" fmla="*/ 677043 h 1132074"/>
                    <a:gd name="connsiteX54" fmla="*/ 268599 w 389206"/>
                    <a:gd name="connsiteY54" fmla="*/ 715240 h 1132074"/>
                    <a:gd name="connsiteX55" fmla="*/ 167104 w 389206"/>
                    <a:gd name="connsiteY55" fmla="*/ 402437 h 1132074"/>
                    <a:gd name="connsiteX56" fmla="*/ 56258 w 389206"/>
                    <a:gd name="connsiteY56" fmla="*/ 379991 h 1132074"/>
                    <a:gd name="connsiteX57" fmla="*/ 34314 w 389206"/>
                    <a:gd name="connsiteY57" fmla="*/ 378988 h 1132074"/>
                    <a:gd name="connsiteX58" fmla="*/ 32809 w 389206"/>
                    <a:gd name="connsiteY58" fmla="*/ 352029 h 1132074"/>
                    <a:gd name="connsiteX59" fmla="*/ 32809 w 389206"/>
                    <a:gd name="connsiteY59" fmla="*/ 340997 h 1132074"/>
                    <a:gd name="connsiteX60" fmla="*/ 35021 w 389206"/>
                    <a:gd name="connsiteY60" fmla="*/ 310912 h 1132074"/>
                    <a:gd name="connsiteX61" fmla="*/ 85135 w 389206"/>
                    <a:gd name="connsiteY61" fmla="*/ 292270 h 1132074"/>
                    <a:gd name="connsiteX62" fmla="*/ 156780 w 389206"/>
                    <a:gd name="connsiteY62" fmla="*/ 259589 h 1132074"/>
                    <a:gd name="connsiteX63" fmla="*/ 152179 w 389206"/>
                    <a:gd name="connsiteY63" fmla="*/ 205553 h 1132074"/>
                    <a:gd name="connsiteX64" fmla="*/ 128936 w 389206"/>
                    <a:gd name="connsiteY64" fmla="*/ 173461 h 1132074"/>
                    <a:gd name="connsiteX65" fmla="*/ 162414 w 389206"/>
                    <a:gd name="connsiteY65" fmla="*/ 117331 h 1132074"/>
                    <a:gd name="connsiteX66" fmla="*/ 164921 w 389206"/>
                    <a:gd name="connsiteY66" fmla="*/ 34418 h 1132074"/>
                    <a:gd name="connsiteX67" fmla="*/ 221051 w 389206"/>
                    <a:gd name="connsiteY67" fmla="*/ 42234 h 1132074"/>
                    <a:gd name="connsiteX68" fmla="*/ 243468 w 389206"/>
                    <a:gd name="connsiteY68" fmla="*/ 68279 h 1132074"/>
                    <a:gd name="connsiteX69" fmla="*/ 254116 w 389206"/>
                    <a:gd name="connsiteY69" fmla="*/ 100961 h 1132074"/>
                    <a:gd name="connsiteX70" fmla="*/ 212439 w 389206"/>
                    <a:gd name="connsiteY70" fmla="*/ 205641 h 1132074"/>
                    <a:gd name="connsiteX71" fmla="*/ 205330 w 389206"/>
                    <a:gd name="connsiteY71" fmla="*/ 252067 h 1132074"/>
                    <a:gd name="connsiteX72" fmla="*/ 256948 w 389206"/>
                    <a:gd name="connsiteY72" fmla="*/ 285663 h 1132074"/>
                    <a:gd name="connsiteX73" fmla="*/ 256948 w 389206"/>
                    <a:gd name="connsiteY73" fmla="*/ 298494 h 1132074"/>
                    <a:gd name="connsiteX74" fmla="*/ 258659 w 389206"/>
                    <a:gd name="connsiteY74" fmla="*/ 330969 h 1132074"/>
                    <a:gd name="connsiteX75" fmla="*/ 314789 w 389206"/>
                    <a:gd name="connsiteY75" fmla="*/ 401139 h 1132074"/>
                    <a:gd name="connsiteX76" fmla="*/ 354874 w 389206"/>
                    <a:gd name="connsiteY76" fmla="*/ 412761 h 1132074"/>
                    <a:gd name="connsiteX77" fmla="*/ 334522 w 389206"/>
                    <a:gd name="connsiteY77" fmla="*/ 642946 h 11320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</a:cxnLst>
                  <a:rect l="l" t="t" r="r" b="b"/>
                  <a:pathLst>
                    <a:path w="389206" h="1132074">
                      <a:moveTo>
                        <a:pt x="389148" y="396833"/>
                      </a:moveTo>
                      <a:cubicBezTo>
                        <a:pt x="389236" y="394385"/>
                        <a:pt x="388794" y="391966"/>
                        <a:pt x="387850" y="389695"/>
                      </a:cubicBezTo>
                      <a:cubicBezTo>
                        <a:pt x="386906" y="387453"/>
                        <a:pt x="385461" y="385418"/>
                        <a:pt x="383662" y="383796"/>
                      </a:cubicBezTo>
                      <a:cubicBezTo>
                        <a:pt x="381833" y="382144"/>
                        <a:pt x="379680" y="380935"/>
                        <a:pt x="377350" y="380227"/>
                      </a:cubicBezTo>
                      <a:cubicBezTo>
                        <a:pt x="375019" y="379519"/>
                        <a:pt x="372542" y="379342"/>
                        <a:pt x="370123" y="379696"/>
                      </a:cubicBezTo>
                      <a:cubicBezTo>
                        <a:pt x="355700" y="381230"/>
                        <a:pt x="341158" y="378309"/>
                        <a:pt x="328446" y="371378"/>
                      </a:cubicBezTo>
                      <a:cubicBezTo>
                        <a:pt x="302991" y="359845"/>
                        <a:pt x="297268" y="350436"/>
                        <a:pt x="290956" y="323742"/>
                      </a:cubicBezTo>
                      <a:cubicBezTo>
                        <a:pt x="289777" y="315867"/>
                        <a:pt x="289511" y="307903"/>
                        <a:pt x="290160" y="299969"/>
                      </a:cubicBezTo>
                      <a:cubicBezTo>
                        <a:pt x="290661" y="285132"/>
                        <a:pt x="291163" y="271092"/>
                        <a:pt x="283730" y="260769"/>
                      </a:cubicBezTo>
                      <a:cubicBezTo>
                        <a:pt x="280928" y="257642"/>
                        <a:pt x="277388" y="255253"/>
                        <a:pt x="273436" y="253867"/>
                      </a:cubicBezTo>
                      <a:cubicBezTo>
                        <a:pt x="269483" y="252480"/>
                        <a:pt x="265236" y="252126"/>
                        <a:pt x="261077" y="252834"/>
                      </a:cubicBezTo>
                      <a:cubicBezTo>
                        <a:pt x="242642" y="252834"/>
                        <a:pt x="238926" y="250534"/>
                        <a:pt x="238041" y="246021"/>
                      </a:cubicBezTo>
                      <a:cubicBezTo>
                        <a:pt x="236979" y="240623"/>
                        <a:pt x="236389" y="235166"/>
                        <a:pt x="236242" y="229680"/>
                      </a:cubicBezTo>
                      <a:cubicBezTo>
                        <a:pt x="276327" y="198297"/>
                        <a:pt x="290750" y="141960"/>
                        <a:pt x="287446" y="98748"/>
                      </a:cubicBezTo>
                      <a:cubicBezTo>
                        <a:pt x="285765" y="82644"/>
                        <a:pt x="280839" y="67070"/>
                        <a:pt x="272993" y="52941"/>
                      </a:cubicBezTo>
                      <a:cubicBezTo>
                        <a:pt x="265148" y="38783"/>
                        <a:pt x="254529" y="26395"/>
                        <a:pt x="241757" y="16455"/>
                      </a:cubicBezTo>
                      <a:cubicBezTo>
                        <a:pt x="205891" y="-11507"/>
                        <a:pt x="147754" y="4126"/>
                        <a:pt x="141560" y="6426"/>
                      </a:cubicBezTo>
                      <a:cubicBezTo>
                        <a:pt x="137431" y="7636"/>
                        <a:pt x="133891" y="10379"/>
                        <a:pt x="131738" y="14125"/>
                      </a:cubicBezTo>
                      <a:cubicBezTo>
                        <a:pt x="129585" y="17871"/>
                        <a:pt x="128966" y="22295"/>
                        <a:pt x="130027" y="26484"/>
                      </a:cubicBezTo>
                      <a:cubicBezTo>
                        <a:pt x="135248" y="47426"/>
                        <a:pt x="138935" y="87953"/>
                        <a:pt x="131945" y="106683"/>
                      </a:cubicBezTo>
                      <a:cubicBezTo>
                        <a:pt x="124630" y="126356"/>
                        <a:pt x="113215" y="144260"/>
                        <a:pt x="98467" y="159215"/>
                      </a:cubicBezTo>
                      <a:cubicBezTo>
                        <a:pt x="96314" y="161427"/>
                        <a:pt x="94780" y="164170"/>
                        <a:pt x="94101" y="167179"/>
                      </a:cubicBezTo>
                      <a:cubicBezTo>
                        <a:pt x="93423" y="170187"/>
                        <a:pt x="93571" y="173343"/>
                        <a:pt x="94573" y="176263"/>
                      </a:cubicBezTo>
                      <a:cubicBezTo>
                        <a:pt x="101063" y="197146"/>
                        <a:pt x="113067" y="215876"/>
                        <a:pt x="129349" y="230506"/>
                      </a:cubicBezTo>
                      <a:cubicBezTo>
                        <a:pt x="129555" y="235314"/>
                        <a:pt x="129113" y="240151"/>
                        <a:pt x="128051" y="244841"/>
                      </a:cubicBezTo>
                      <a:cubicBezTo>
                        <a:pt x="121326" y="255459"/>
                        <a:pt x="106106" y="257878"/>
                        <a:pt x="82156" y="260267"/>
                      </a:cubicBezTo>
                      <a:cubicBezTo>
                        <a:pt x="55905" y="262981"/>
                        <a:pt x="23223" y="266373"/>
                        <a:pt x="6706" y="295574"/>
                      </a:cubicBezTo>
                      <a:cubicBezTo>
                        <a:pt x="-609" y="308493"/>
                        <a:pt x="-226" y="327341"/>
                        <a:pt x="187" y="342590"/>
                      </a:cubicBezTo>
                      <a:lnTo>
                        <a:pt x="187" y="354034"/>
                      </a:lnTo>
                      <a:lnTo>
                        <a:pt x="2488" y="395624"/>
                      </a:lnTo>
                      <a:cubicBezTo>
                        <a:pt x="2694" y="399369"/>
                        <a:pt x="4169" y="402938"/>
                        <a:pt x="6676" y="405741"/>
                      </a:cubicBezTo>
                      <a:cubicBezTo>
                        <a:pt x="9183" y="408543"/>
                        <a:pt x="12546" y="410430"/>
                        <a:pt x="16233" y="411079"/>
                      </a:cubicBezTo>
                      <a:cubicBezTo>
                        <a:pt x="29299" y="412967"/>
                        <a:pt x="42513" y="413970"/>
                        <a:pt x="55728" y="414088"/>
                      </a:cubicBezTo>
                      <a:cubicBezTo>
                        <a:pt x="89146" y="412908"/>
                        <a:pt x="122417" y="419191"/>
                        <a:pt x="153123" y="432434"/>
                      </a:cubicBezTo>
                      <a:cubicBezTo>
                        <a:pt x="240312" y="474436"/>
                        <a:pt x="245415" y="618199"/>
                        <a:pt x="234383" y="731286"/>
                      </a:cubicBezTo>
                      <a:cubicBezTo>
                        <a:pt x="234148" y="733586"/>
                        <a:pt x="234413" y="735917"/>
                        <a:pt x="235150" y="738129"/>
                      </a:cubicBezTo>
                      <a:cubicBezTo>
                        <a:pt x="235888" y="740341"/>
                        <a:pt x="237068" y="742347"/>
                        <a:pt x="238631" y="744057"/>
                      </a:cubicBezTo>
                      <a:cubicBezTo>
                        <a:pt x="240194" y="745768"/>
                        <a:pt x="242082" y="747154"/>
                        <a:pt x="244206" y="748098"/>
                      </a:cubicBezTo>
                      <a:cubicBezTo>
                        <a:pt x="246329" y="749042"/>
                        <a:pt x="248600" y="749514"/>
                        <a:pt x="250931" y="749514"/>
                      </a:cubicBezTo>
                      <a:lnTo>
                        <a:pt x="251727" y="749514"/>
                      </a:lnTo>
                      <a:cubicBezTo>
                        <a:pt x="287712" y="747803"/>
                        <a:pt x="311839" y="744205"/>
                        <a:pt x="328386" y="734766"/>
                      </a:cubicBezTo>
                      <a:cubicBezTo>
                        <a:pt x="322310" y="797091"/>
                        <a:pt x="302843" y="857380"/>
                        <a:pt x="271342" y="911475"/>
                      </a:cubicBezTo>
                      <a:cubicBezTo>
                        <a:pt x="239840" y="965571"/>
                        <a:pt x="197012" y="1012233"/>
                        <a:pt x="145808" y="1048277"/>
                      </a:cubicBezTo>
                      <a:lnTo>
                        <a:pt x="112330" y="990819"/>
                      </a:lnTo>
                      <a:lnTo>
                        <a:pt x="82982" y="1101989"/>
                      </a:lnTo>
                      <a:lnTo>
                        <a:pt x="193915" y="1132075"/>
                      </a:lnTo>
                      <a:lnTo>
                        <a:pt x="162060" y="1077242"/>
                      </a:lnTo>
                      <a:cubicBezTo>
                        <a:pt x="291723" y="987811"/>
                        <a:pt x="370801" y="831099"/>
                        <a:pt x="361658" y="678518"/>
                      </a:cubicBezTo>
                      <a:cubicBezTo>
                        <a:pt x="363663" y="669492"/>
                        <a:pt x="365374" y="659257"/>
                        <a:pt x="366967" y="647754"/>
                      </a:cubicBezTo>
                      <a:cubicBezTo>
                        <a:pt x="378205" y="568941"/>
                        <a:pt x="385520" y="484347"/>
                        <a:pt x="389207" y="396803"/>
                      </a:cubicBezTo>
                      <a:close/>
                      <a:moveTo>
                        <a:pt x="334433" y="642975"/>
                      </a:moveTo>
                      <a:cubicBezTo>
                        <a:pt x="333135" y="652502"/>
                        <a:pt x="331926" y="660525"/>
                        <a:pt x="330628" y="667634"/>
                      </a:cubicBezTo>
                      <a:cubicBezTo>
                        <a:pt x="329153" y="670377"/>
                        <a:pt x="328505" y="673474"/>
                        <a:pt x="328711" y="676541"/>
                      </a:cubicBezTo>
                      <a:lnTo>
                        <a:pt x="328711" y="677043"/>
                      </a:lnTo>
                      <a:cubicBezTo>
                        <a:pt x="321809" y="707129"/>
                        <a:pt x="310276" y="712644"/>
                        <a:pt x="268599" y="715240"/>
                      </a:cubicBezTo>
                      <a:cubicBezTo>
                        <a:pt x="281931" y="546613"/>
                        <a:pt x="247863" y="441430"/>
                        <a:pt x="167104" y="402437"/>
                      </a:cubicBezTo>
                      <a:cubicBezTo>
                        <a:pt x="132269" y="386804"/>
                        <a:pt x="94426" y="379135"/>
                        <a:pt x="56258" y="379991"/>
                      </a:cubicBezTo>
                      <a:cubicBezTo>
                        <a:pt x="48649" y="379991"/>
                        <a:pt x="41216" y="379991"/>
                        <a:pt x="34314" y="378988"/>
                      </a:cubicBezTo>
                      <a:lnTo>
                        <a:pt x="32809" y="352029"/>
                      </a:lnTo>
                      <a:lnTo>
                        <a:pt x="32809" y="340997"/>
                      </a:lnTo>
                      <a:cubicBezTo>
                        <a:pt x="31865" y="330910"/>
                        <a:pt x="32603" y="320763"/>
                        <a:pt x="35021" y="310912"/>
                      </a:cubicBezTo>
                      <a:cubicBezTo>
                        <a:pt x="42543" y="297579"/>
                        <a:pt x="58972" y="294984"/>
                        <a:pt x="85135" y="292270"/>
                      </a:cubicBezTo>
                      <a:cubicBezTo>
                        <a:pt x="111298" y="289557"/>
                        <a:pt x="141354" y="286460"/>
                        <a:pt x="156780" y="259589"/>
                      </a:cubicBezTo>
                      <a:cubicBezTo>
                        <a:pt x="160673" y="252864"/>
                        <a:pt x="168814" y="218177"/>
                        <a:pt x="152179" y="205553"/>
                      </a:cubicBezTo>
                      <a:cubicBezTo>
                        <a:pt x="141855" y="196969"/>
                        <a:pt x="133862" y="185938"/>
                        <a:pt x="128936" y="173461"/>
                      </a:cubicBezTo>
                      <a:cubicBezTo>
                        <a:pt x="143389" y="156914"/>
                        <a:pt x="154715" y="137889"/>
                        <a:pt x="162414" y="117331"/>
                      </a:cubicBezTo>
                      <a:cubicBezTo>
                        <a:pt x="171440" y="93469"/>
                        <a:pt x="168519" y="57189"/>
                        <a:pt x="164921" y="34418"/>
                      </a:cubicBezTo>
                      <a:cubicBezTo>
                        <a:pt x="182147" y="31822"/>
                        <a:pt x="206923" y="31203"/>
                        <a:pt x="221051" y="42234"/>
                      </a:cubicBezTo>
                      <a:cubicBezTo>
                        <a:pt x="230166" y="49343"/>
                        <a:pt x="237805" y="58192"/>
                        <a:pt x="243468" y="68279"/>
                      </a:cubicBezTo>
                      <a:cubicBezTo>
                        <a:pt x="249131" y="78367"/>
                        <a:pt x="252759" y="89487"/>
                        <a:pt x="254116" y="100961"/>
                      </a:cubicBezTo>
                      <a:cubicBezTo>
                        <a:pt x="256712" y="135235"/>
                        <a:pt x="244796" y="182664"/>
                        <a:pt x="212439" y="205641"/>
                      </a:cubicBezTo>
                      <a:cubicBezTo>
                        <a:pt x="208221" y="208650"/>
                        <a:pt x="198222" y="215670"/>
                        <a:pt x="205330" y="252067"/>
                      </a:cubicBezTo>
                      <a:cubicBezTo>
                        <a:pt x="211347" y="282832"/>
                        <a:pt x="241403" y="285545"/>
                        <a:pt x="256948" y="285663"/>
                      </a:cubicBezTo>
                      <a:lnTo>
                        <a:pt x="256948" y="298494"/>
                      </a:lnTo>
                      <a:cubicBezTo>
                        <a:pt x="256122" y="309348"/>
                        <a:pt x="256682" y="320262"/>
                        <a:pt x="258659" y="330969"/>
                      </a:cubicBezTo>
                      <a:cubicBezTo>
                        <a:pt x="266563" y="364358"/>
                        <a:pt x="277388" y="384297"/>
                        <a:pt x="314789" y="401139"/>
                      </a:cubicBezTo>
                      <a:cubicBezTo>
                        <a:pt x="327384" y="407304"/>
                        <a:pt x="340952" y="411227"/>
                        <a:pt x="354874" y="412761"/>
                      </a:cubicBezTo>
                      <a:cubicBezTo>
                        <a:pt x="351452" y="493668"/>
                        <a:pt x="344462" y="570858"/>
                        <a:pt x="334522" y="642946"/>
                      </a:cubicBezTo>
                      <a:close/>
                    </a:path>
                  </a:pathLst>
                </a:custGeom>
                <a:solidFill>
                  <a:srgbClr val="000000"/>
                </a:solidFill>
                <a:ln w="2948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D0D0D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9" name="Полилиния: фигура 28">
                  <a:extLst>
                    <a:ext uri="{FF2B5EF4-FFF2-40B4-BE49-F238E27FC236}">
                      <a16:creationId xmlns:a16="http://schemas.microsoft.com/office/drawing/2014/main" id="{D94331C9-7600-42D5-80C5-48B59AB53436}"/>
                    </a:ext>
                  </a:extLst>
                </p:cNvPr>
                <p:cNvSpPr/>
                <p:nvPr/>
              </p:nvSpPr>
              <p:spPr>
                <a:xfrm>
                  <a:off x="9410517" y="2575586"/>
                  <a:ext cx="369442" cy="1013749"/>
                </a:xfrm>
                <a:custGeom>
                  <a:avLst/>
                  <a:gdLst>
                    <a:gd name="connsiteX0" fmla="*/ 292935 w 369442"/>
                    <a:gd name="connsiteY0" fmla="*/ 253525 h 1013749"/>
                    <a:gd name="connsiteX1" fmla="*/ 285207 w 369442"/>
                    <a:gd name="connsiteY1" fmla="*/ 253525 h 1013749"/>
                    <a:gd name="connsiteX2" fmla="*/ 234298 w 369442"/>
                    <a:gd name="connsiteY2" fmla="*/ 243497 h 1013749"/>
                    <a:gd name="connsiteX3" fmla="*/ 229136 w 369442"/>
                    <a:gd name="connsiteY3" fmla="*/ 229988 h 1013749"/>
                    <a:gd name="connsiteX4" fmla="*/ 230581 w 369442"/>
                    <a:gd name="connsiteY4" fmla="*/ 215623 h 1013749"/>
                    <a:gd name="connsiteX5" fmla="*/ 241288 w 369442"/>
                    <a:gd name="connsiteY5" fmla="*/ 199489 h 1013749"/>
                    <a:gd name="connsiteX6" fmla="*/ 257334 w 369442"/>
                    <a:gd name="connsiteY6" fmla="*/ 174329 h 1013749"/>
                    <a:gd name="connsiteX7" fmla="*/ 270253 w 369442"/>
                    <a:gd name="connsiteY7" fmla="*/ 117874 h 1013749"/>
                    <a:gd name="connsiteX8" fmla="*/ 266655 w 369442"/>
                    <a:gd name="connsiteY8" fmla="*/ 72185 h 1013749"/>
                    <a:gd name="connsiteX9" fmla="*/ 245093 w 369442"/>
                    <a:gd name="connsiteY9" fmla="*/ 31746 h 1013749"/>
                    <a:gd name="connsiteX10" fmla="*/ 213562 w 369442"/>
                    <a:gd name="connsiteY10" fmla="*/ 8032 h 1013749"/>
                    <a:gd name="connsiteX11" fmla="*/ 174952 w 369442"/>
                    <a:gd name="connsiteY11" fmla="*/ 38 h 1013749"/>
                    <a:gd name="connsiteX12" fmla="*/ 139646 w 369442"/>
                    <a:gd name="connsiteY12" fmla="*/ 6203 h 1013749"/>
                    <a:gd name="connsiteX13" fmla="*/ 109619 w 369442"/>
                    <a:gd name="connsiteY13" fmla="*/ 25788 h 1013749"/>
                    <a:gd name="connsiteX14" fmla="*/ 79563 w 369442"/>
                    <a:gd name="connsiteY14" fmla="*/ 111415 h 1013749"/>
                    <a:gd name="connsiteX15" fmla="*/ 90801 w 369442"/>
                    <a:gd name="connsiteY15" fmla="*/ 172677 h 1013749"/>
                    <a:gd name="connsiteX16" fmla="*/ 119471 w 369442"/>
                    <a:gd name="connsiteY16" fmla="*/ 212792 h 1013749"/>
                    <a:gd name="connsiteX17" fmla="*/ 126786 w 369442"/>
                    <a:gd name="connsiteY17" fmla="*/ 220726 h 1013749"/>
                    <a:gd name="connsiteX18" fmla="*/ 125488 w 369442"/>
                    <a:gd name="connsiteY18" fmla="*/ 247095 h 1013749"/>
                    <a:gd name="connsiteX19" fmla="*/ 90329 w 369442"/>
                    <a:gd name="connsiteY19" fmla="*/ 257124 h 1013749"/>
                    <a:gd name="connsiteX20" fmla="*/ 82601 w 369442"/>
                    <a:gd name="connsiteY20" fmla="*/ 257124 h 1013749"/>
                    <a:gd name="connsiteX21" fmla="*/ 10159 w 369442"/>
                    <a:gd name="connsiteY21" fmla="*/ 290601 h 1013749"/>
                    <a:gd name="connsiteX22" fmla="*/ 48032 w 369442"/>
                    <a:gd name="connsiteY22" fmla="*/ 557391 h 1013749"/>
                    <a:gd name="connsiteX23" fmla="*/ 247836 w 369442"/>
                    <a:gd name="connsiteY23" fmla="*/ 958917 h 1013749"/>
                    <a:gd name="connsiteX24" fmla="*/ 215981 w 369442"/>
                    <a:gd name="connsiteY24" fmla="*/ 1013750 h 1013749"/>
                    <a:gd name="connsiteX25" fmla="*/ 326914 w 369442"/>
                    <a:gd name="connsiteY25" fmla="*/ 983664 h 1013749"/>
                    <a:gd name="connsiteX26" fmla="*/ 298068 w 369442"/>
                    <a:gd name="connsiteY26" fmla="*/ 872495 h 1013749"/>
                    <a:gd name="connsiteX27" fmla="*/ 264590 w 369442"/>
                    <a:gd name="connsiteY27" fmla="*/ 929952 h 1013749"/>
                    <a:gd name="connsiteX28" fmla="*/ 80713 w 369442"/>
                    <a:gd name="connsiteY28" fmla="*/ 580752 h 1013749"/>
                    <a:gd name="connsiteX29" fmla="*/ 252674 w 369442"/>
                    <a:gd name="connsiteY29" fmla="*/ 580752 h 1013749"/>
                    <a:gd name="connsiteX30" fmla="*/ 312108 w 369442"/>
                    <a:gd name="connsiteY30" fmla="*/ 580250 h 1013749"/>
                    <a:gd name="connsiteX31" fmla="*/ 323935 w 369442"/>
                    <a:gd name="connsiteY31" fmla="*/ 575973 h 1013749"/>
                    <a:gd name="connsiteX32" fmla="*/ 332135 w 369442"/>
                    <a:gd name="connsiteY32" fmla="*/ 566417 h 1013749"/>
                    <a:gd name="connsiteX33" fmla="*/ 365112 w 369442"/>
                    <a:gd name="connsiteY33" fmla="*/ 297238 h 1013749"/>
                    <a:gd name="connsiteX34" fmla="*/ 335645 w 369442"/>
                    <a:gd name="connsiteY34" fmla="*/ 264468 h 1013749"/>
                    <a:gd name="connsiteX35" fmla="*/ 292965 w 369442"/>
                    <a:gd name="connsiteY35" fmla="*/ 253525 h 1013749"/>
                    <a:gd name="connsiteX36" fmla="*/ 304350 w 369442"/>
                    <a:gd name="connsiteY36" fmla="*/ 547864 h 1013749"/>
                    <a:gd name="connsiteX37" fmla="*/ 134602 w 369442"/>
                    <a:gd name="connsiteY37" fmla="*/ 547864 h 1013749"/>
                    <a:gd name="connsiteX38" fmla="*/ 80979 w 369442"/>
                    <a:gd name="connsiteY38" fmla="*/ 547864 h 1013749"/>
                    <a:gd name="connsiteX39" fmla="*/ 38298 w 369442"/>
                    <a:gd name="connsiteY39" fmla="*/ 308152 h 1013749"/>
                    <a:gd name="connsiteX40" fmla="*/ 83102 w 369442"/>
                    <a:gd name="connsiteY40" fmla="*/ 289717 h 1013749"/>
                    <a:gd name="connsiteX41" fmla="*/ 91833 w 369442"/>
                    <a:gd name="connsiteY41" fmla="*/ 289717 h 1013749"/>
                    <a:gd name="connsiteX42" fmla="*/ 153450 w 369442"/>
                    <a:gd name="connsiteY42" fmla="*/ 265147 h 1013749"/>
                    <a:gd name="connsiteX43" fmla="*/ 154748 w 369442"/>
                    <a:gd name="connsiteY43" fmla="*/ 201878 h 1013749"/>
                    <a:gd name="connsiteX44" fmla="*/ 143923 w 369442"/>
                    <a:gd name="connsiteY44" fmla="*/ 189932 h 1013749"/>
                    <a:gd name="connsiteX45" fmla="*/ 121771 w 369442"/>
                    <a:gd name="connsiteY45" fmla="*/ 159847 h 1013749"/>
                    <a:gd name="connsiteX46" fmla="*/ 112952 w 369442"/>
                    <a:gd name="connsiteY46" fmla="*/ 110412 h 1013749"/>
                    <a:gd name="connsiteX47" fmla="*/ 132980 w 369442"/>
                    <a:gd name="connsiteY47" fmla="*/ 48648 h 1013749"/>
                    <a:gd name="connsiteX48" fmla="*/ 152181 w 369442"/>
                    <a:gd name="connsiteY48" fmla="*/ 36377 h 1013749"/>
                    <a:gd name="connsiteX49" fmla="*/ 174657 w 369442"/>
                    <a:gd name="connsiteY49" fmla="*/ 32808 h 1013749"/>
                    <a:gd name="connsiteX50" fmla="*/ 199434 w 369442"/>
                    <a:gd name="connsiteY50" fmla="*/ 37705 h 1013749"/>
                    <a:gd name="connsiteX51" fmla="*/ 219638 w 369442"/>
                    <a:gd name="connsiteY51" fmla="*/ 52865 h 1013749"/>
                    <a:gd name="connsiteX52" fmla="*/ 234475 w 369442"/>
                    <a:gd name="connsiteY52" fmla="*/ 80857 h 1013749"/>
                    <a:gd name="connsiteX53" fmla="*/ 237070 w 369442"/>
                    <a:gd name="connsiteY53" fmla="*/ 112417 h 1013749"/>
                    <a:gd name="connsiteX54" fmla="*/ 225862 w 369442"/>
                    <a:gd name="connsiteY54" fmla="*/ 162531 h 1013749"/>
                    <a:gd name="connsiteX55" fmla="*/ 215243 w 369442"/>
                    <a:gd name="connsiteY55" fmla="*/ 178282 h 1013749"/>
                    <a:gd name="connsiteX56" fmla="*/ 198903 w 369442"/>
                    <a:gd name="connsiteY56" fmla="*/ 204356 h 1013749"/>
                    <a:gd name="connsiteX57" fmla="*/ 195806 w 369442"/>
                    <a:gd name="connsiteY57" fmla="*/ 233999 h 1013749"/>
                    <a:gd name="connsiteX58" fmla="*/ 206336 w 369442"/>
                    <a:gd name="connsiteY58" fmla="*/ 261902 h 1013749"/>
                    <a:gd name="connsiteX59" fmla="*/ 285591 w 369442"/>
                    <a:gd name="connsiteY59" fmla="*/ 287180 h 1013749"/>
                    <a:gd name="connsiteX60" fmla="*/ 292817 w 369442"/>
                    <a:gd name="connsiteY60" fmla="*/ 287180 h 1013749"/>
                    <a:gd name="connsiteX61" fmla="*/ 317594 w 369442"/>
                    <a:gd name="connsiteY61" fmla="*/ 292932 h 1013749"/>
                    <a:gd name="connsiteX62" fmla="*/ 334908 w 369442"/>
                    <a:gd name="connsiteY62" fmla="*/ 311544 h 1013749"/>
                    <a:gd name="connsiteX63" fmla="*/ 304350 w 369442"/>
                    <a:gd name="connsiteY63" fmla="*/ 547834 h 101374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</a:cxnLst>
                  <a:rect l="l" t="t" r="r" b="b"/>
                  <a:pathLst>
                    <a:path w="369442" h="1013749">
                      <a:moveTo>
                        <a:pt x="292935" y="253525"/>
                      </a:moveTo>
                      <a:lnTo>
                        <a:pt x="285207" y="253525"/>
                      </a:lnTo>
                      <a:cubicBezTo>
                        <a:pt x="268867" y="253525"/>
                        <a:pt x="241613" y="253525"/>
                        <a:pt x="234298" y="243497"/>
                      </a:cubicBezTo>
                      <a:cubicBezTo>
                        <a:pt x="231555" y="239456"/>
                        <a:pt x="229785" y="234825"/>
                        <a:pt x="229136" y="229988"/>
                      </a:cubicBezTo>
                      <a:cubicBezTo>
                        <a:pt x="228487" y="225150"/>
                        <a:pt x="228988" y="220225"/>
                        <a:pt x="230581" y="215623"/>
                      </a:cubicBezTo>
                      <a:cubicBezTo>
                        <a:pt x="233236" y="209695"/>
                        <a:pt x="236864" y="204238"/>
                        <a:pt x="241288" y="199489"/>
                      </a:cubicBezTo>
                      <a:cubicBezTo>
                        <a:pt x="248013" y="192086"/>
                        <a:pt x="253440" y="183561"/>
                        <a:pt x="257334" y="174329"/>
                      </a:cubicBezTo>
                      <a:cubicBezTo>
                        <a:pt x="263617" y="156012"/>
                        <a:pt x="267952" y="137105"/>
                        <a:pt x="270253" y="117874"/>
                      </a:cubicBezTo>
                      <a:cubicBezTo>
                        <a:pt x="272200" y="102566"/>
                        <a:pt x="270990" y="86992"/>
                        <a:pt x="266655" y="72185"/>
                      </a:cubicBezTo>
                      <a:cubicBezTo>
                        <a:pt x="262319" y="57378"/>
                        <a:pt x="254974" y="43604"/>
                        <a:pt x="245093" y="31746"/>
                      </a:cubicBezTo>
                      <a:cubicBezTo>
                        <a:pt x="236451" y="21629"/>
                        <a:pt x="225685" y="13518"/>
                        <a:pt x="213562" y="8032"/>
                      </a:cubicBezTo>
                      <a:cubicBezTo>
                        <a:pt x="201439" y="2546"/>
                        <a:pt x="188255" y="-168"/>
                        <a:pt x="174952" y="38"/>
                      </a:cubicBezTo>
                      <a:cubicBezTo>
                        <a:pt x="162888" y="-316"/>
                        <a:pt x="150884" y="1779"/>
                        <a:pt x="139646" y="6203"/>
                      </a:cubicBezTo>
                      <a:cubicBezTo>
                        <a:pt x="128408" y="10627"/>
                        <a:pt x="118202" y="17293"/>
                        <a:pt x="109619" y="25788"/>
                      </a:cubicBezTo>
                      <a:cubicBezTo>
                        <a:pt x="88648" y="49208"/>
                        <a:pt x="77852" y="80002"/>
                        <a:pt x="79563" y="111415"/>
                      </a:cubicBezTo>
                      <a:cubicBezTo>
                        <a:pt x="79504" y="132357"/>
                        <a:pt x="83309" y="153122"/>
                        <a:pt x="90801" y="172677"/>
                      </a:cubicBezTo>
                      <a:cubicBezTo>
                        <a:pt x="97791" y="187720"/>
                        <a:pt x="107495" y="201318"/>
                        <a:pt x="119471" y="212792"/>
                      </a:cubicBezTo>
                      <a:lnTo>
                        <a:pt x="126786" y="220726"/>
                      </a:lnTo>
                      <a:cubicBezTo>
                        <a:pt x="127788" y="229516"/>
                        <a:pt x="127346" y="238423"/>
                        <a:pt x="125488" y="247095"/>
                      </a:cubicBezTo>
                      <a:cubicBezTo>
                        <a:pt x="119382" y="255531"/>
                        <a:pt x="97526" y="256416"/>
                        <a:pt x="90329" y="257124"/>
                      </a:cubicBezTo>
                      <a:lnTo>
                        <a:pt x="82601" y="257124"/>
                      </a:lnTo>
                      <a:cubicBezTo>
                        <a:pt x="63547" y="257124"/>
                        <a:pt x="31809" y="257124"/>
                        <a:pt x="10159" y="290601"/>
                      </a:cubicBezTo>
                      <a:cubicBezTo>
                        <a:pt x="-19897" y="337323"/>
                        <a:pt x="23993" y="507750"/>
                        <a:pt x="48032" y="557391"/>
                      </a:cubicBezTo>
                      <a:cubicBezTo>
                        <a:pt x="37797" y="710091"/>
                        <a:pt x="117288" y="868690"/>
                        <a:pt x="247836" y="958917"/>
                      </a:cubicBezTo>
                      <a:lnTo>
                        <a:pt x="215981" y="1013750"/>
                      </a:lnTo>
                      <a:lnTo>
                        <a:pt x="326914" y="983664"/>
                      </a:lnTo>
                      <a:lnTo>
                        <a:pt x="298068" y="872495"/>
                      </a:lnTo>
                      <a:lnTo>
                        <a:pt x="264590" y="929952"/>
                      </a:lnTo>
                      <a:cubicBezTo>
                        <a:pt x="150766" y="850461"/>
                        <a:pt x="79504" y="715105"/>
                        <a:pt x="80713" y="580752"/>
                      </a:cubicBezTo>
                      <a:lnTo>
                        <a:pt x="252674" y="580752"/>
                      </a:lnTo>
                      <a:cubicBezTo>
                        <a:pt x="284146" y="580752"/>
                        <a:pt x="305884" y="580752"/>
                        <a:pt x="312108" y="580250"/>
                      </a:cubicBezTo>
                      <a:cubicBezTo>
                        <a:pt x="316355" y="579867"/>
                        <a:pt x="320425" y="578392"/>
                        <a:pt x="323935" y="575973"/>
                      </a:cubicBezTo>
                      <a:cubicBezTo>
                        <a:pt x="327445" y="573555"/>
                        <a:pt x="330277" y="570251"/>
                        <a:pt x="332135" y="566417"/>
                      </a:cubicBezTo>
                      <a:cubicBezTo>
                        <a:pt x="354876" y="527807"/>
                        <a:pt x="379623" y="328622"/>
                        <a:pt x="365112" y="297238"/>
                      </a:cubicBezTo>
                      <a:cubicBezTo>
                        <a:pt x="358740" y="283641"/>
                        <a:pt x="348476" y="272226"/>
                        <a:pt x="335645" y="264468"/>
                      </a:cubicBezTo>
                      <a:cubicBezTo>
                        <a:pt x="322815" y="256681"/>
                        <a:pt x="307949" y="252876"/>
                        <a:pt x="292965" y="253525"/>
                      </a:cubicBezTo>
                      <a:close/>
                      <a:moveTo>
                        <a:pt x="304350" y="547864"/>
                      </a:moveTo>
                      <a:cubicBezTo>
                        <a:pt x="279692" y="548365"/>
                        <a:pt x="193417" y="547864"/>
                        <a:pt x="134602" y="547864"/>
                      </a:cubicBezTo>
                      <a:lnTo>
                        <a:pt x="80979" y="547864"/>
                      </a:lnTo>
                      <a:cubicBezTo>
                        <a:pt x="59830" y="516893"/>
                        <a:pt x="18153" y="339122"/>
                        <a:pt x="38298" y="308152"/>
                      </a:cubicBezTo>
                      <a:cubicBezTo>
                        <a:pt x="50215" y="289894"/>
                        <a:pt x="65464" y="289805"/>
                        <a:pt x="83102" y="289717"/>
                      </a:cubicBezTo>
                      <a:lnTo>
                        <a:pt x="91833" y="289717"/>
                      </a:lnTo>
                      <a:cubicBezTo>
                        <a:pt x="105667" y="289127"/>
                        <a:pt x="138141" y="287799"/>
                        <a:pt x="153450" y="265147"/>
                      </a:cubicBezTo>
                      <a:cubicBezTo>
                        <a:pt x="162358" y="251903"/>
                        <a:pt x="163478" y="211700"/>
                        <a:pt x="154748" y="201878"/>
                      </a:cubicBezTo>
                      <a:cubicBezTo>
                        <a:pt x="151238" y="197778"/>
                        <a:pt x="147521" y="193767"/>
                        <a:pt x="143923" y="189932"/>
                      </a:cubicBezTo>
                      <a:cubicBezTo>
                        <a:pt x="134808" y="181320"/>
                        <a:pt x="127317" y="171114"/>
                        <a:pt x="121771" y="159847"/>
                      </a:cubicBezTo>
                      <a:cubicBezTo>
                        <a:pt x="115843" y="144066"/>
                        <a:pt x="112834" y="127283"/>
                        <a:pt x="112952" y="110412"/>
                      </a:cubicBezTo>
                      <a:cubicBezTo>
                        <a:pt x="111300" y="87995"/>
                        <a:pt x="118497" y="65814"/>
                        <a:pt x="132980" y="48648"/>
                      </a:cubicBezTo>
                      <a:cubicBezTo>
                        <a:pt x="138466" y="43279"/>
                        <a:pt x="145014" y="39120"/>
                        <a:pt x="152181" y="36377"/>
                      </a:cubicBezTo>
                      <a:cubicBezTo>
                        <a:pt x="159349" y="33664"/>
                        <a:pt x="167018" y="32425"/>
                        <a:pt x="174657" y="32808"/>
                      </a:cubicBezTo>
                      <a:cubicBezTo>
                        <a:pt x="183182" y="32572"/>
                        <a:pt x="191647" y="34224"/>
                        <a:pt x="199434" y="37705"/>
                      </a:cubicBezTo>
                      <a:cubicBezTo>
                        <a:pt x="207221" y="41185"/>
                        <a:pt x="214123" y="46347"/>
                        <a:pt x="219638" y="52865"/>
                      </a:cubicBezTo>
                      <a:cubicBezTo>
                        <a:pt x="226422" y="61095"/>
                        <a:pt x="231466" y="70622"/>
                        <a:pt x="234475" y="80857"/>
                      </a:cubicBezTo>
                      <a:cubicBezTo>
                        <a:pt x="237483" y="91092"/>
                        <a:pt x="238368" y="101828"/>
                        <a:pt x="237070" y="112417"/>
                      </a:cubicBezTo>
                      <a:cubicBezTo>
                        <a:pt x="235094" y="129466"/>
                        <a:pt x="231348" y="146279"/>
                        <a:pt x="225862" y="162531"/>
                      </a:cubicBezTo>
                      <a:cubicBezTo>
                        <a:pt x="223178" y="168312"/>
                        <a:pt x="219579" y="173621"/>
                        <a:pt x="215243" y="178282"/>
                      </a:cubicBezTo>
                      <a:cubicBezTo>
                        <a:pt x="208282" y="185921"/>
                        <a:pt x="202767" y="194740"/>
                        <a:pt x="198903" y="204356"/>
                      </a:cubicBezTo>
                      <a:cubicBezTo>
                        <a:pt x="195570" y="213853"/>
                        <a:pt x="194508" y="224029"/>
                        <a:pt x="195806" y="233999"/>
                      </a:cubicBezTo>
                      <a:cubicBezTo>
                        <a:pt x="197104" y="243998"/>
                        <a:pt x="200702" y="253555"/>
                        <a:pt x="206336" y="261902"/>
                      </a:cubicBezTo>
                      <a:cubicBezTo>
                        <a:pt x="224181" y="287180"/>
                        <a:pt x="261139" y="287180"/>
                        <a:pt x="285591" y="287180"/>
                      </a:cubicBezTo>
                      <a:lnTo>
                        <a:pt x="292817" y="287180"/>
                      </a:lnTo>
                      <a:cubicBezTo>
                        <a:pt x="301460" y="286590"/>
                        <a:pt x="310072" y="288596"/>
                        <a:pt x="317594" y="292932"/>
                      </a:cubicBezTo>
                      <a:cubicBezTo>
                        <a:pt x="325086" y="297268"/>
                        <a:pt x="331132" y="303757"/>
                        <a:pt x="334908" y="311544"/>
                      </a:cubicBezTo>
                      <a:cubicBezTo>
                        <a:pt x="344730" y="337293"/>
                        <a:pt x="320868" y="516274"/>
                        <a:pt x="304350" y="547834"/>
                      </a:cubicBezTo>
                      <a:close/>
                    </a:path>
                  </a:pathLst>
                </a:custGeom>
                <a:solidFill>
                  <a:srgbClr val="000000"/>
                </a:solidFill>
                <a:ln w="2948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D0D0D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30" name="Полилиния: фигура 29">
                  <a:extLst>
                    <a:ext uri="{FF2B5EF4-FFF2-40B4-BE49-F238E27FC236}">
                      <a16:creationId xmlns:a16="http://schemas.microsoft.com/office/drawing/2014/main" id="{4DB51B40-4C87-4695-B3C9-00A2079101F1}"/>
                    </a:ext>
                  </a:extLst>
                </p:cNvPr>
                <p:cNvSpPr/>
                <p:nvPr/>
              </p:nvSpPr>
              <p:spPr>
                <a:xfrm>
                  <a:off x="9141588" y="2080803"/>
                  <a:ext cx="2020578" cy="2005124"/>
                </a:xfrm>
                <a:custGeom>
                  <a:avLst/>
                  <a:gdLst>
                    <a:gd name="connsiteX0" fmla="*/ 1010289 w 2020578"/>
                    <a:gd name="connsiteY0" fmla="*/ 0 h 2005124"/>
                    <a:gd name="connsiteX1" fmla="*/ 0 w 2020578"/>
                    <a:gd name="connsiteY1" fmla="*/ 1002562 h 2005124"/>
                    <a:gd name="connsiteX2" fmla="*/ 1010289 w 2020578"/>
                    <a:gd name="connsiteY2" fmla="*/ 2005124 h 2005124"/>
                    <a:gd name="connsiteX3" fmla="*/ 2020579 w 2020578"/>
                    <a:gd name="connsiteY3" fmla="*/ 1002562 h 2005124"/>
                    <a:gd name="connsiteX4" fmla="*/ 1010289 w 2020578"/>
                    <a:gd name="connsiteY4" fmla="*/ 0 h 2005124"/>
                    <a:gd name="connsiteX5" fmla="*/ 1212513 w 2020578"/>
                    <a:gd name="connsiteY5" fmla="*/ 1827854 h 2005124"/>
                    <a:gd name="connsiteX6" fmla="*/ 1204283 w 2020578"/>
                    <a:gd name="connsiteY6" fmla="*/ 1953182 h 2005124"/>
                    <a:gd name="connsiteX7" fmla="*/ 843550 w 2020578"/>
                    <a:gd name="connsiteY7" fmla="*/ 1958403 h 2005124"/>
                    <a:gd name="connsiteX8" fmla="*/ 829923 w 2020578"/>
                    <a:gd name="connsiteY8" fmla="*/ 1827382 h 2005124"/>
                    <a:gd name="connsiteX9" fmla="*/ 819894 w 2020578"/>
                    <a:gd name="connsiteY9" fmla="*/ 1441401 h 2005124"/>
                    <a:gd name="connsiteX10" fmla="*/ 883428 w 2020578"/>
                    <a:gd name="connsiteY10" fmla="*/ 1414736 h 2005124"/>
                    <a:gd name="connsiteX11" fmla="*/ 895050 w 2020578"/>
                    <a:gd name="connsiteY11" fmla="*/ 1414736 h 2005124"/>
                    <a:gd name="connsiteX12" fmla="*/ 972210 w 2020578"/>
                    <a:gd name="connsiteY12" fmla="*/ 1384651 h 2005124"/>
                    <a:gd name="connsiteX13" fmla="*/ 974305 w 2020578"/>
                    <a:gd name="connsiteY13" fmla="*/ 1307549 h 2005124"/>
                    <a:gd name="connsiteX14" fmla="*/ 960176 w 2020578"/>
                    <a:gd name="connsiteY14" fmla="*/ 1292004 h 2005124"/>
                    <a:gd name="connsiteX15" fmla="*/ 930120 w 2020578"/>
                    <a:gd name="connsiteY15" fmla="*/ 1251212 h 2005124"/>
                    <a:gd name="connsiteX16" fmla="*/ 918086 w 2020578"/>
                    <a:gd name="connsiteY16" fmla="*/ 1184138 h 2005124"/>
                    <a:gd name="connsiteX17" fmla="*/ 946254 w 2020578"/>
                    <a:gd name="connsiteY17" fmla="*/ 1098807 h 2005124"/>
                    <a:gd name="connsiteX18" fmla="*/ 973331 w 2020578"/>
                    <a:gd name="connsiteY18" fmla="*/ 1081404 h 2005124"/>
                    <a:gd name="connsiteX19" fmla="*/ 1005098 w 2020578"/>
                    <a:gd name="connsiteY19" fmla="*/ 1076243 h 2005124"/>
                    <a:gd name="connsiteX20" fmla="*/ 1039962 w 2020578"/>
                    <a:gd name="connsiteY20" fmla="*/ 1083351 h 2005124"/>
                    <a:gd name="connsiteX21" fmla="*/ 1068426 w 2020578"/>
                    <a:gd name="connsiteY21" fmla="*/ 1104706 h 2005124"/>
                    <a:gd name="connsiteX22" fmla="*/ 1089250 w 2020578"/>
                    <a:gd name="connsiteY22" fmla="*/ 1143611 h 2005124"/>
                    <a:gd name="connsiteX23" fmla="*/ 1092789 w 2020578"/>
                    <a:gd name="connsiteY23" fmla="*/ 1187619 h 2005124"/>
                    <a:gd name="connsiteX24" fmla="*/ 1077658 w 2020578"/>
                    <a:gd name="connsiteY24" fmla="*/ 1254279 h 2005124"/>
                    <a:gd name="connsiteX25" fmla="*/ 1062822 w 2020578"/>
                    <a:gd name="connsiteY25" fmla="*/ 1276549 h 2005124"/>
                    <a:gd name="connsiteX26" fmla="*/ 1042174 w 2020578"/>
                    <a:gd name="connsiteY26" fmla="*/ 1309348 h 2005124"/>
                    <a:gd name="connsiteX27" fmla="*/ 1038370 w 2020578"/>
                    <a:gd name="connsiteY27" fmla="*/ 1346070 h 2005124"/>
                    <a:gd name="connsiteX28" fmla="*/ 1051407 w 2020578"/>
                    <a:gd name="connsiteY28" fmla="*/ 1380610 h 2005124"/>
                    <a:gd name="connsiteX29" fmla="*/ 1151014 w 2020578"/>
                    <a:gd name="connsiteY29" fmla="*/ 1411285 h 2005124"/>
                    <a:gd name="connsiteX30" fmla="*/ 1161043 w 2020578"/>
                    <a:gd name="connsiteY30" fmla="*/ 1411285 h 2005124"/>
                    <a:gd name="connsiteX31" fmla="*/ 1196408 w 2020578"/>
                    <a:gd name="connsiteY31" fmla="*/ 1419633 h 2005124"/>
                    <a:gd name="connsiteX32" fmla="*/ 1221155 w 2020578"/>
                    <a:gd name="connsiteY32" fmla="*/ 1446267 h 2005124"/>
                    <a:gd name="connsiteX33" fmla="*/ 1212542 w 2020578"/>
                    <a:gd name="connsiteY33" fmla="*/ 1827854 h 2005124"/>
                    <a:gd name="connsiteX34" fmla="*/ 1238174 w 2020578"/>
                    <a:gd name="connsiteY34" fmla="*/ 1945749 h 2005124"/>
                    <a:gd name="connsiteX35" fmla="*/ 1245990 w 2020578"/>
                    <a:gd name="connsiteY35" fmla="*/ 1824934 h 2005124"/>
                    <a:gd name="connsiteX36" fmla="*/ 1251388 w 2020578"/>
                    <a:gd name="connsiteY36" fmla="*/ 1432522 h 2005124"/>
                    <a:gd name="connsiteX37" fmla="*/ 1161190 w 2020578"/>
                    <a:gd name="connsiteY37" fmla="*/ 1377896 h 2005124"/>
                    <a:gd name="connsiteX38" fmla="*/ 1151161 w 2020578"/>
                    <a:gd name="connsiteY38" fmla="*/ 1377896 h 2005124"/>
                    <a:gd name="connsiteX39" fmla="*/ 1079428 w 2020578"/>
                    <a:gd name="connsiteY39" fmla="*/ 1361762 h 2005124"/>
                    <a:gd name="connsiteX40" fmla="*/ 1071788 w 2020578"/>
                    <a:gd name="connsiteY40" fmla="*/ 1341587 h 2005124"/>
                    <a:gd name="connsiteX41" fmla="*/ 1074030 w 2020578"/>
                    <a:gd name="connsiteY41" fmla="*/ 1320143 h 2005124"/>
                    <a:gd name="connsiteX42" fmla="*/ 1089073 w 2020578"/>
                    <a:gd name="connsiteY42" fmla="*/ 1297284 h 2005124"/>
                    <a:gd name="connsiteX43" fmla="*/ 1109100 w 2020578"/>
                    <a:gd name="connsiteY43" fmla="*/ 1265606 h 2005124"/>
                    <a:gd name="connsiteX44" fmla="*/ 1125943 w 2020578"/>
                    <a:gd name="connsiteY44" fmla="*/ 1192132 h 2005124"/>
                    <a:gd name="connsiteX45" fmla="*/ 1121312 w 2020578"/>
                    <a:gd name="connsiteY45" fmla="*/ 1134054 h 2005124"/>
                    <a:gd name="connsiteX46" fmla="*/ 1093881 w 2020578"/>
                    <a:gd name="connsiteY46" fmla="*/ 1082673 h 2005124"/>
                    <a:gd name="connsiteX47" fmla="*/ 1055949 w 2020578"/>
                    <a:gd name="connsiteY47" fmla="*/ 1054239 h 2005124"/>
                    <a:gd name="connsiteX48" fmla="*/ 1009936 w 2020578"/>
                    <a:gd name="connsiteY48" fmla="*/ 1042794 h 2005124"/>
                    <a:gd name="connsiteX49" fmla="*/ 963096 w 2020578"/>
                    <a:gd name="connsiteY49" fmla="*/ 1050168 h 2005124"/>
                    <a:gd name="connsiteX50" fmla="*/ 922805 w 2020578"/>
                    <a:gd name="connsiteY50" fmla="*/ 1075181 h 2005124"/>
                    <a:gd name="connsiteX51" fmla="*/ 885227 w 2020578"/>
                    <a:gd name="connsiteY51" fmla="*/ 1184463 h 2005124"/>
                    <a:gd name="connsiteX52" fmla="*/ 899857 w 2020578"/>
                    <a:gd name="connsiteY52" fmla="*/ 1263275 h 2005124"/>
                    <a:gd name="connsiteX53" fmla="*/ 936639 w 2020578"/>
                    <a:gd name="connsiteY53" fmla="*/ 1314215 h 2005124"/>
                    <a:gd name="connsiteX54" fmla="*/ 947464 w 2020578"/>
                    <a:gd name="connsiteY54" fmla="*/ 1325954 h 2005124"/>
                    <a:gd name="connsiteX55" fmla="*/ 945369 w 2020578"/>
                    <a:gd name="connsiteY55" fmla="*/ 1366068 h 2005124"/>
                    <a:gd name="connsiteX56" fmla="*/ 894371 w 2020578"/>
                    <a:gd name="connsiteY56" fmla="*/ 1381495 h 2005124"/>
                    <a:gd name="connsiteX57" fmla="*/ 884343 w 2020578"/>
                    <a:gd name="connsiteY57" fmla="*/ 1381495 h 2005124"/>
                    <a:gd name="connsiteX58" fmla="*/ 793053 w 2020578"/>
                    <a:gd name="connsiteY58" fmla="*/ 1423290 h 2005124"/>
                    <a:gd name="connsiteX59" fmla="*/ 797359 w 2020578"/>
                    <a:gd name="connsiteY59" fmla="*/ 1827530 h 2005124"/>
                    <a:gd name="connsiteX60" fmla="*/ 810190 w 2020578"/>
                    <a:gd name="connsiteY60" fmla="*/ 1952061 h 2005124"/>
                    <a:gd name="connsiteX61" fmla="*/ 33183 w 2020578"/>
                    <a:gd name="connsiteY61" fmla="*/ 1002562 h 2005124"/>
                    <a:gd name="connsiteX62" fmla="*/ 1010172 w 2020578"/>
                    <a:gd name="connsiteY62" fmla="*/ 32888 h 2005124"/>
                    <a:gd name="connsiteX63" fmla="*/ 1987190 w 2020578"/>
                    <a:gd name="connsiteY63" fmla="*/ 1002562 h 2005124"/>
                    <a:gd name="connsiteX64" fmla="*/ 1238439 w 2020578"/>
                    <a:gd name="connsiteY64" fmla="*/ 1945779 h 2005124"/>
                    <a:gd name="connsiteX65" fmla="*/ 1238144 w 2020578"/>
                    <a:gd name="connsiteY65" fmla="*/ 1945779 h 200512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</a:cxnLst>
                  <a:rect l="l" t="t" r="r" b="b"/>
                  <a:pathLst>
                    <a:path w="2020578" h="2005124">
                      <a:moveTo>
                        <a:pt x="1010289" y="0"/>
                      </a:moveTo>
                      <a:cubicBezTo>
                        <a:pt x="453232" y="0"/>
                        <a:pt x="0" y="449840"/>
                        <a:pt x="0" y="1002562"/>
                      </a:cubicBezTo>
                      <a:cubicBezTo>
                        <a:pt x="0" y="1555284"/>
                        <a:pt x="453232" y="2005124"/>
                        <a:pt x="1010289" y="2005124"/>
                      </a:cubicBezTo>
                      <a:cubicBezTo>
                        <a:pt x="1567347" y="2005124"/>
                        <a:pt x="2020579" y="1555284"/>
                        <a:pt x="2020579" y="1002562"/>
                      </a:cubicBezTo>
                      <a:cubicBezTo>
                        <a:pt x="2020579" y="449840"/>
                        <a:pt x="1567317" y="0"/>
                        <a:pt x="1010289" y="0"/>
                      </a:cubicBezTo>
                      <a:close/>
                      <a:moveTo>
                        <a:pt x="1212513" y="1827854"/>
                      </a:moveTo>
                      <a:cubicBezTo>
                        <a:pt x="1209829" y="1873838"/>
                        <a:pt x="1207085" y="1915604"/>
                        <a:pt x="1204283" y="1953182"/>
                      </a:cubicBezTo>
                      <a:cubicBezTo>
                        <a:pt x="1085386" y="1977044"/>
                        <a:pt x="963096" y="1978814"/>
                        <a:pt x="843550" y="1958403"/>
                      </a:cubicBezTo>
                      <a:cubicBezTo>
                        <a:pt x="838831" y="1917699"/>
                        <a:pt x="834229" y="1873573"/>
                        <a:pt x="829923" y="1827382"/>
                      </a:cubicBezTo>
                      <a:cubicBezTo>
                        <a:pt x="807477" y="1586756"/>
                        <a:pt x="809069" y="1458538"/>
                        <a:pt x="819894" y="1441401"/>
                      </a:cubicBezTo>
                      <a:cubicBezTo>
                        <a:pt x="837238" y="1414825"/>
                        <a:pt x="859979" y="1414736"/>
                        <a:pt x="883428" y="1414736"/>
                      </a:cubicBezTo>
                      <a:lnTo>
                        <a:pt x="895050" y="1414736"/>
                      </a:lnTo>
                      <a:cubicBezTo>
                        <a:pt x="912599" y="1414028"/>
                        <a:pt x="953569" y="1412318"/>
                        <a:pt x="972210" y="1384651"/>
                      </a:cubicBezTo>
                      <a:cubicBezTo>
                        <a:pt x="983330" y="1368103"/>
                        <a:pt x="983242" y="1317990"/>
                        <a:pt x="974305" y="1307549"/>
                      </a:cubicBezTo>
                      <a:cubicBezTo>
                        <a:pt x="969703" y="1302239"/>
                        <a:pt x="964896" y="1297019"/>
                        <a:pt x="960176" y="1292004"/>
                      </a:cubicBezTo>
                      <a:cubicBezTo>
                        <a:pt x="947817" y="1280294"/>
                        <a:pt x="937612" y="1266490"/>
                        <a:pt x="930120" y="1251212"/>
                      </a:cubicBezTo>
                      <a:cubicBezTo>
                        <a:pt x="922038" y="1229768"/>
                        <a:pt x="917968" y="1207056"/>
                        <a:pt x="918086" y="1184138"/>
                      </a:cubicBezTo>
                      <a:cubicBezTo>
                        <a:pt x="917378" y="1148861"/>
                        <a:pt x="928114" y="1117773"/>
                        <a:pt x="946254" y="1098807"/>
                      </a:cubicBezTo>
                      <a:cubicBezTo>
                        <a:pt x="953982" y="1091197"/>
                        <a:pt x="963185" y="1085298"/>
                        <a:pt x="973331" y="1081404"/>
                      </a:cubicBezTo>
                      <a:cubicBezTo>
                        <a:pt x="983448" y="1077511"/>
                        <a:pt x="994273" y="1075771"/>
                        <a:pt x="1005098" y="1076243"/>
                      </a:cubicBezTo>
                      <a:cubicBezTo>
                        <a:pt x="1017103" y="1076007"/>
                        <a:pt x="1029019" y="1078425"/>
                        <a:pt x="1039962" y="1083351"/>
                      </a:cubicBezTo>
                      <a:cubicBezTo>
                        <a:pt x="1050905" y="1088277"/>
                        <a:pt x="1060639" y="1095562"/>
                        <a:pt x="1068426" y="1104706"/>
                      </a:cubicBezTo>
                      <a:cubicBezTo>
                        <a:pt x="1077953" y="1116091"/>
                        <a:pt x="1085061" y="1129365"/>
                        <a:pt x="1089250" y="1143611"/>
                      </a:cubicBezTo>
                      <a:cubicBezTo>
                        <a:pt x="1093438" y="1157887"/>
                        <a:pt x="1094647" y="1172871"/>
                        <a:pt x="1092789" y="1187619"/>
                      </a:cubicBezTo>
                      <a:cubicBezTo>
                        <a:pt x="1090076" y="1210301"/>
                        <a:pt x="1085002" y="1232659"/>
                        <a:pt x="1077658" y="1254279"/>
                      </a:cubicBezTo>
                      <a:cubicBezTo>
                        <a:pt x="1073912" y="1262450"/>
                        <a:pt x="1068927" y="1269941"/>
                        <a:pt x="1062822" y="1276549"/>
                      </a:cubicBezTo>
                      <a:cubicBezTo>
                        <a:pt x="1054061" y="1286164"/>
                        <a:pt x="1047071" y="1297284"/>
                        <a:pt x="1042174" y="1309348"/>
                      </a:cubicBezTo>
                      <a:cubicBezTo>
                        <a:pt x="1038075" y="1321117"/>
                        <a:pt x="1036747" y="1333711"/>
                        <a:pt x="1038370" y="1346070"/>
                      </a:cubicBezTo>
                      <a:cubicBezTo>
                        <a:pt x="1039962" y="1358458"/>
                        <a:pt x="1044446" y="1370286"/>
                        <a:pt x="1051407" y="1380610"/>
                      </a:cubicBezTo>
                      <a:cubicBezTo>
                        <a:pt x="1072762" y="1412200"/>
                        <a:pt x="1119837" y="1411698"/>
                        <a:pt x="1151014" y="1411285"/>
                      </a:cubicBezTo>
                      <a:lnTo>
                        <a:pt x="1161043" y="1411285"/>
                      </a:lnTo>
                      <a:cubicBezTo>
                        <a:pt x="1173401" y="1410518"/>
                        <a:pt x="1185701" y="1413409"/>
                        <a:pt x="1196408" y="1419633"/>
                      </a:cubicBezTo>
                      <a:cubicBezTo>
                        <a:pt x="1207115" y="1425856"/>
                        <a:pt x="1215728" y="1435118"/>
                        <a:pt x="1221155" y="1446267"/>
                      </a:cubicBezTo>
                      <a:cubicBezTo>
                        <a:pt x="1226877" y="1464614"/>
                        <a:pt x="1225166" y="1615308"/>
                        <a:pt x="1212542" y="1827854"/>
                      </a:cubicBezTo>
                      <a:close/>
                      <a:moveTo>
                        <a:pt x="1238174" y="1945749"/>
                      </a:moveTo>
                      <a:cubicBezTo>
                        <a:pt x="1241477" y="1899146"/>
                        <a:pt x="1244191" y="1855522"/>
                        <a:pt x="1245990" y="1824934"/>
                      </a:cubicBezTo>
                      <a:cubicBezTo>
                        <a:pt x="1248085" y="1788153"/>
                        <a:pt x="1266018" y="1464614"/>
                        <a:pt x="1251388" y="1432522"/>
                      </a:cubicBezTo>
                      <a:cubicBezTo>
                        <a:pt x="1235165" y="1397422"/>
                        <a:pt x="1202986" y="1378073"/>
                        <a:pt x="1161190" y="1377896"/>
                      </a:cubicBezTo>
                      <a:lnTo>
                        <a:pt x="1151161" y="1377896"/>
                      </a:lnTo>
                      <a:cubicBezTo>
                        <a:pt x="1127122" y="1377896"/>
                        <a:pt x="1091049" y="1378604"/>
                        <a:pt x="1079428" y="1361762"/>
                      </a:cubicBezTo>
                      <a:cubicBezTo>
                        <a:pt x="1075357" y="1355715"/>
                        <a:pt x="1072732" y="1348813"/>
                        <a:pt x="1071788" y="1341587"/>
                      </a:cubicBezTo>
                      <a:cubicBezTo>
                        <a:pt x="1070844" y="1334360"/>
                        <a:pt x="1071611" y="1327016"/>
                        <a:pt x="1074030" y="1320143"/>
                      </a:cubicBezTo>
                      <a:cubicBezTo>
                        <a:pt x="1077717" y="1311737"/>
                        <a:pt x="1082820" y="1304009"/>
                        <a:pt x="1089073" y="1297284"/>
                      </a:cubicBezTo>
                      <a:cubicBezTo>
                        <a:pt x="1097479" y="1287934"/>
                        <a:pt x="1104263" y="1277197"/>
                        <a:pt x="1109100" y="1265606"/>
                      </a:cubicBezTo>
                      <a:cubicBezTo>
                        <a:pt x="1117271" y="1241773"/>
                        <a:pt x="1122904" y="1217144"/>
                        <a:pt x="1125943" y="1192132"/>
                      </a:cubicBezTo>
                      <a:cubicBezTo>
                        <a:pt x="1128420" y="1172664"/>
                        <a:pt x="1126857" y="1152873"/>
                        <a:pt x="1121312" y="1134054"/>
                      </a:cubicBezTo>
                      <a:cubicBezTo>
                        <a:pt x="1115796" y="1115207"/>
                        <a:pt x="1106446" y="1097716"/>
                        <a:pt x="1093881" y="1082673"/>
                      </a:cubicBezTo>
                      <a:cubicBezTo>
                        <a:pt x="1083262" y="1070756"/>
                        <a:pt x="1070373" y="1061082"/>
                        <a:pt x="1055949" y="1054239"/>
                      </a:cubicBezTo>
                      <a:cubicBezTo>
                        <a:pt x="1041526" y="1047396"/>
                        <a:pt x="1025893" y="1043502"/>
                        <a:pt x="1009936" y="1042794"/>
                      </a:cubicBezTo>
                      <a:cubicBezTo>
                        <a:pt x="993978" y="1042086"/>
                        <a:pt x="978080" y="1044594"/>
                        <a:pt x="963096" y="1050168"/>
                      </a:cubicBezTo>
                      <a:cubicBezTo>
                        <a:pt x="948142" y="1055714"/>
                        <a:pt x="934426" y="1064238"/>
                        <a:pt x="922805" y="1075181"/>
                      </a:cubicBezTo>
                      <a:cubicBezTo>
                        <a:pt x="898058" y="1100459"/>
                        <a:pt x="884313" y="1140248"/>
                        <a:pt x="885227" y="1184463"/>
                      </a:cubicBezTo>
                      <a:cubicBezTo>
                        <a:pt x="885227" y="1211392"/>
                        <a:pt x="890183" y="1238116"/>
                        <a:pt x="899857" y="1263275"/>
                      </a:cubicBezTo>
                      <a:cubicBezTo>
                        <a:pt x="908824" y="1282389"/>
                        <a:pt x="921301" y="1299673"/>
                        <a:pt x="936639" y="1314215"/>
                      </a:cubicBezTo>
                      <a:cubicBezTo>
                        <a:pt x="940444" y="1318226"/>
                        <a:pt x="944042" y="1322149"/>
                        <a:pt x="947464" y="1325954"/>
                      </a:cubicBezTo>
                      <a:cubicBezTo>
                        <a:pt x="949322" y="1339345"/>
                        <a:pt x="948614" y="1352943"/>
                        <a:pt x="945369" y="1366068"/>
                      </a:cubicBezTo>
                      <a:cubicBezTo>
                        <a:pt x="936167" y="1379813"/>
                        <a:pt x="905786" y="1381023"/>
                        <a:pt x="894371" y="1381495"/>
                      </a:cubicBezTo>
                      <a:lnTo>
                        <a:pt x="884343" y="1381495"/>
                      </a:lnTo>
                      <a:cubicBezTo>
                        <a:pt x="858799" y="1381495"/>
                        <a:pt x="820219" y="1381495"/>
                        <a:pt x="793053" y="1423290"/>
                      </a:cubicBezTo>
                      <a:cubicBezTo>
                        <a:pt x="767805" y="1461989"/>
                        <a:pt x="784942" y="1693177"/>
                        <a:pt x="797359" y="1827530"/>
                      </a:cubicBezTo>
                      <a:cubicBezTo>
                        <a:pt x="800869" y="1864931"/>
                        <a:pt x="805264" y="1907729"/>
                        <a:pt x="810190" y="1952061"/>
                      </a:cubicBezTo>
                      <a:cubicBezTo>
                        <a:pt x="366957" y="1860034"/>
                        <a:pt x="33183" y="1469451"/>
                        <a:pt x="33183" y="1002562"/>
                      </a:cubicBezTo>
                      <a:cubicBezTo>
                        <a:pt x="33183" y="467892"/>
                        <a:pt x="471461" y="32888"/>
                        <a:pt x="1010172" y="32888"/>
                      </a:cubicBezTo>
                      <a:cubicBezTo>
                        <a:pt x="1548883" y="32888"/>
                        <a:pt x="1987190" y="467892"/>
                        <a:pt x="1987190" y="1002562"/>
                      </a:cubicBezTo>
                      <a:cubicBezTo>
                        <a:pt x="1987278" y="1459629"/>
                        <a:pt x="1667426" y="1843517"/>
                        <a:pt x="1238439" y="1945779"/>
                      </a:cubicBezTo>
                      <a:lnTo>
                        <a:pt x="1238144" y="1945779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2948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D0D0D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35" name="Полилиния: фигура 34">
                  <a:extLst>
                    <a:ext uri="{FF2B5EF4-FFF2-40B4-BE49-F238E27FC236}">
                      <a16:creationId xmlns:a16="http://schemas.microsoft.com/office/drawing/2014/main" id="{27F67ACD-56B8-4584-AF29-348D3DDE1E0E}"/>
                    </a:ext>
                  </a:extLst>
                </p:cNvPr>
                <p:cNvSpPr/>
                <p:nvPr/>
              </p:nvSpPr>
              <p:spPr>
                <a:xfrm>
                  <a:off x="9675491" y="2958774"/>
                  <a:ext cx="165943" cy="166002"/>
                </a:xfrm>
                <a:custGeom>
                  <a:avLst/>
                  <a:gdLst>
                    <a:gd name="connsiteX0" fmla="*/ 82972 w 165943"/>
                    <a:gd name="connsiteY0" fmla="*/ 166002 h 166002"/>
                    <a:gd name="connsiteX1" fmla="*/ 165943 w 165943"/>
                    <a:gd name="connsiteY1" fmla="*/ 83001 h 166002"/>
                    <a:gd name="connsiteX2" fmla="*/ 82972 w 165943"/>
                    <a:gd name="connsiteY2" fmla="*/ 0 h 166002"/>
                    <a:gd name="connsiteX3" fmla="*/ 0 w 165943"/>
                    <a:gd name="connsiteY3" fmla="*/ 83001 h 166002"/>
                    <a:gd name="connsiteX4" fmla="*/ 82972 w 165943"/>
                    <a:gd name="connsiteY4" fmla="*/ 166002 h 16600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65943" h="166002">
                      <a:moveTo>
                        <a:pt x="82972" y="166002"/>
                      </a:moveTo>
                      <a:cubicBezTo>
                        <a:pt x="128808" y="166002"/>
                        <a:pt x="165943" y="128838"/>
                        <a:pt x="165943" y="83001"/>
                      </a:cubicBezTo>
                      <a:cubicBezTo>
                        <a:pt x="165943" y="37165"/>
                        <a:pt x="128808" y="0"/>
                        <a:pt x="82972" y="0"/>
                      </a:cubicBezTo>
                      <a:cubicBezTo>
                        <a:pt x="37135" y="0"/>
                        <a:pt x="0" y="37165"/>
                        <a:pt x="0" y="83001"/>
                      </a:cubicBezTo>
                      <a:cubicBezTo>
                        <a:pt x="0" y="128838"/>
                        <a:pt x="37135" y="166002"/>
                        <a:pt x="82972" y="166002"/>
                      </a:cubicBezTo>
                      <a:close/>
                    </a:path>
                  </a:pathLst>
                </a:custGeom>
                <a:solidFill>
                  <a:schemeClr val="accent1"/>
                </a:solidFill>
                <a:ln w="2948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D0D0D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36" name="Полилиния: фигура 35">
                  <a:extLst>
                    <a:ext uri="{FF2B5EF4-FFF2-40B4-BE49-F238E27FC236}">
                      <a16:creationId xmlns:a16="http://schemas.microsoft.com/office/drawing/2014/main" id="{789C0DB5-5502-4DD3-B92C-812CFB143A9B}"/>
                    </a:ext>
                  </a:extLst>
                </p:cNvPr>
                <p:cNvSpPr/>
                <p:nvPr/>
              </p:nvSpPr>
              <p:spPr>
                <a:xfrm>
                  <a:off x="10029322" y="2652667"/>
                  <a:ext cx="165943" cy="166002"/>
                </a:xfrm>
                <a:custGeom>
                  <a:avLst/>
                  <a:gdLst>
                    <a:gd name="connsiteX0" fmla="*/ 82972 w 165943"/>
                    <a:gd name="connsiteY0" fmla="*/ 166002 h 166002"/>
                    <a:gd name="connsiteX1" fmla="*/ 165943 w 165943"/>
                    <a:gd name="connsiteY1" fmla="*/ 83001 h 166002"/>
                    <a:gd name="connsiteX2" fmla="*/ 82972 w 165943"/>
                    <a:gd name="connsiteY2" fmla="*/ 0 h 166002"/>
                    <a:gd name="connsiteX3" fmla="*/ 0 w 165943"/>
                    <a:gd name="connsiteY3" fmla="*/ 83001 h 166002"/>
                    <a:gd name="connsiteX4" fmla="*/ 82972 w 165943"/>
                    <a:gd name="connsiteY4" fmla="*/ 166002 h 16600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65943" h="166002">
                      <a:moveTo>
                        <a:pt x="82972" y="166002"/>
                      </a:moveTo>
                      <a:cubicBezTo>
                        <a:pt x="128808" y="166002"/>
                        <a:pt x="165943" y="128838"/>
                        <a:pt x="165943" y="83001"/>
                      </a:cubicBezTo>
                      <a:cubicBezTo>
                        <a:pt x="165943" y="37165"/>
                        <a:pt x="128808" y="0"/>
                        <a:pt x="82972" y="0"/>
                      </a:cubicBezTo>
                      <a:cubicBezTo>
                        <a:pt x="37135" y="0"/>
                        <a:pt x="0" y="37165"/>
                        <a:pt x="0" y="83001"/>
                      </a:cubicBezTo>
                      <a:cubicBezTo>
                        <a:pt x="0" y="128838"/>
                        <a:pt x="37135" y="166002"/>
                        <a:pt x="82972" y="166002"/>
                      </a:cubicBezTo>
                      <a:close/>
                    </a:path>
                  </a:pathLst>
                </a:custGeom>
                <a:solidFill>
                  <a:schemeClr val="accent1"/>
                </a:solidFill>
                <a:ln w="2948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D0D0D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44" name="Полилиния: фигура 43">
                  <a:extLst>
                    <a:ext uri="{FF2B5EF4-FFF2-40B4-BE49-F238E27FC236}">
                      <a16:creationId xmlns:a16="http://schemas.microsoft.com/office/drawing/2014/main" id="{078BBF57-DAF4-4DC3-84D0-5FDB2E9ACFB9}"/>
                    </a:ext>
                  </a:extLst>
                </p:cNvPr>
                <p:cNvSpPr/>
                <p:nvPr/>
              </p:nvSpPr>
              <p:spPr>
                <a:xfrm>
                  <a:off x="10364807" y="2361249"/>
                  <a:ext cx="165943" cy="166002"/>
                </a:xfrm>
                <a:custGeom>
                  <a:avLst/>
                  <a:gdLst>
                    <a:gd name="connsiteX0" fmla="*/ 82972 w 165943"/>
                    <a:gd name="connsiteY0" fmla="*/ 166002 h 166002"/>
                    <a:gd name="connsiteX1" fmla="*/ 165943 w 165943"/>
                    <a:gd name="connsiteY1" fmla="*/ 83001 h 166002"/>
                    <a:gd name="connsiteX2" fmla="*/ 82972 w 165943"/>
                    <a:gd name="connsiteY2" fmla="*/ 0 h 166002"/>
                    <a:gd name="connsiteX3" fmla="*/ 0 w 165943"/>
                    <a:gd name="connsiteY3" fmla="*/ 83001 h 166002"/>
                    <a:gd name="connsiteX4" fmla="*/ 82972 w 165943"/>
                    <a:gd name="connsiteY4" fmla="*/ 166002 h 16600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65943" h="166002">
                      <a:moveTo>
                        <a:pt x="82972" y="166002"/>
                      </a:moveTo>
                      <a:cubicBezTo>
                        <a:pt x="128808" y="166002"/>
                        <a:pt x="165943" y="128838"/>
                        <a:pt x="165943" y="83001"/>
                      </a:cubicBezTo>
                      <a:cubicBezTo>
                        <a:pt x="165943" y="37165"/>
                        <a:pt x="128808" y="0"/>
                        <a:pt x="82972" y="0"/>
                      </a:cubicBezTo>
                      <a:cubicBezTo>
                        <a:pt x="37135" y="0"/>
                        <a:pt x="0" y="37165"/>
                        <a:pt x="0" y="83001"/>
                      </a:cubicBezTo>
                      <a:cubicBezTo>
                        <a:pt x="0" y="128838"/>
                        <a:pt x="37135" y="166002"/>
                        <a:pt x="82972" y="166002"/>
                      </a:cubicBezTo>
                      <a:close/>
                    </a:path>
                  </a:pathLst>
                </a:custGeom>
                <a:solidFill>
                  <a:schemeClr val="accent1"/>
                </a:solidFill>
                <a:ln w="2948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D0D0D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</p:grpSp>
        </p:grpSp>
        <p:sp>
          <p:nvSpPr>
            <p:cNvPr id="99" name="Motion design">
              <a:extLst>
                <a:ext uri="{FF2B5EF4-FFF2-40B4-BE49-F238E27FC236}">
                  <a16:creationId xmlns:a16="http://schemas.microsoft.com/office/drawing/2014/main" id="{FCFB55BB-A6B2-478B-B4D1-3C55972C2A86}"/>
                </a:ext>
              </a:extLst>
            </p:cNvPr>
            <p:cNvSpPr txBox="1"/>
            <p:nvPr/>
          </p:nvSpPr>
          <p:spPr>
            <a:xfrm>
              <a:off x="2717854" y="1945866"/>
              <a:ext cx="3949164" cy="1095172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</a:ext>
            </a:extLst>
          </p:spPr>
          <p:txBody>
            <a:bodyPr wrap="square" lIns="0" tIns="0" rIns="0" bIns="0" anchor="ctr">
              <a:spAutoFit/>
            </a:bodyPr>
            <a:lstStyle>
              <a:lvl1pPr>
                <a:lnSpc>
                  <a:spcPct val="130000"/>
                </a:lnSpc>
                <a:defRPr sz="3000">
                  <a:latin typeface="+mn-lt"/>
                  <a:ea typeface="+mn-ea"/>
                  <a:cs typeface="+mn-cs"/>
                  <a:sym typeface="Poppins SemiBold"/>
                </a:defRPr>
              </a:lvl1pPr>
            </a:lstStyle>
            <a:p>
              <a:pPr marL="285750" indent="-285750" defTabSz="309563" hangingPunct="0">
                <a:buClr>
                  <a:schemeClr val="accent1"/>
                </a:buClr>
                <a:buFont typeface="Arial" panose="020B0604020202020204" pitchFamily="34" charset="0"/>
                <a:buChar char="•"/>
                <a:defRPr/>
              </a:pPr>
              <a:r>
                <a:rPr lang="ru-RU" sz="1400" dirty="0">
                  <a:solidFill>
                    <a:srgbClr val="0D0D0D"/>
                  </a:solidFill>
                  <a:latin typeface="SB Sans Text Light" panose="020B0303040504020204" pitchFamily="34" charset="-52"/>
                  <a:ea typeface="Roboto Light" panose="02000000000000000000" pitchFamily="2" charset="0"/>
                  <a:cs typeface="SB Sans Text Light" panose="020B0303040504020204" pitchFamily="34" charset="-52"/>
                </a:rPr>
                <a:t>принудительно публикует события </a:t>
              </a:r>
              <a:br>
                <a:rPr lang="ru-RU" sz="1400" dirty="0">
                  <a:solidFill>
                    <a:srgbClr val="0D0D0D"/>
                  </a:solidFill>
                  <a:latin typeface="SB Sans Text Light" panose="020B0303040504020204" pitchFamily="34" charset="-52"/>
                  <a:ea typeface="Roboto Light" panose="02000000000000000000" pitchFamily="2" charset="0"/>
                  <a:cs typeface="SB Sans Text Light" panose="020B0303040504020204" pitchFamily="34" charset="-52"/>
                </a:rPr>
              </a:br>
              <a:r>
                <a:rPr lang="ru-RU" sz="1400" dirty="0">
                  <a:solidFill>
                    <a:srgbClr val="0D0D0D"/>
                  </a:solidFill>
                  <a:latin typeface="SB Sans Text Light" panose="020B0303040504020204" pitchFamily="34" charset="-52"/>
                  <a:ea typeface="Roboto Light" panose="02000000000000000000" pitchFamily="2" charset="0"/>
                  <a:cs typeface="SB Sans Text Light" panose="020B0303040504020204" pitchFamily="34" charset="-52"/>
                </a:rPr>
                <a:t>в </a:t>
              </a:r>
              <a:r>
                <a:rPr lang="ru-RU" sz="1400" dirty="0" err="1">
                  <a:solidFill>
                    <a:srgbClr val="0D0D0D"/>
                  </a:solidFill>
                  <a:latin typeface="SB Sans Text Light" panose="020B0303040504020204" pitchFamily="34" charset="-52"/>
                  <a:ea typeface="Roboto Light" panose="02000000000000000000" pitchFamily="2" charset="0"/>
                  <a:cs typeface="SB Sans Text Light" panose="020B0303040504020204" pitchFamily="34" charset="-52"/>
                </a:rPr>
                <a:t>онлайне</a:t>
              </a:r>
              <a:r>
                <a:rPr lang="ru-RU" sz="1400" dirty="0">
                  <a:solidFill>
                    <a:srgbClr val="0D0D0D"/>
                  </a:solidFill>
                  <a:latin typeface="SB Sans Text Light" panose="020B0303040504020204" pitchFamily="34" charset="-52"/>
                  <a:ea typeface="Roboto Light" panose="02000000000000000000" pitchFamily="2" charset="0"/>
                  <a:cs typeface="SB Sans Text Light" panose="020B0303040504020204" pitchFamily="34" charset="-52"/>
                </a:rPr>
                <a:t>; </a:t>
              </a:r>
            </a:p>
            <a:p>
              <a:pPr marL="285750" indent="-285750" defTabSz="309563" hangingPunct="0">
                <a:buClr>
                  <a:schemeClr val="accent1"/>
                </a:buClr>
                <a:buFont typeface="Arial" panose="020B0604020202020204" pitchFamily="34" charset="0"/>
                <a:buChar char="•"/>
                <a:defRPr/>
              </a:pPr>
              <a:r>
                <a:rPr lang="ru-RU" sz="1400" dirty="0">
                  <a:solidFill>
                    <a:srgbClr val="0D0D0D"/>
                  </a:solidFill>
                  <a:latin typeface="SB Sans Text Light" panose="020B0303040504020204" pitchFamily="34" charset="-52"/>
                  <a:ea typeface="Roboto Light" panose="02000000000000000000" pitchFamily="2" charset="0"/>
                  <a:cs typeface="SB Sans Text Light" panose="020B0303040504020204" pitchFamily="34" charset="-52"/>
                </a:rPr>
                <a:t>для регулярной отправки изменений использует автоматические события.</a:t>
              </a:r>
            </a:p>
          </p:txBody>
        </p:sp>
      </p:grpSp>
      <p:grpSp>
        <p:nvGrpSpPr>
          <p:cNvPr id="16" name="Группа 15">
            <a:extLst>
              <a:ext uri="{FF2B5EF4-FFF2-40B4-BE49-F238E27FC236}">
                <a16:creationId xmlns:a16="http://schemas.microsoft.com/office/drawing/2014/main" id="{0976CABF-6516-4404-88F8-42D2B33E0E5C}"/>
              </a:ext>
            </a:extLst>
          </p:cNvPr>
          <p:cNvGrpSpPr/>
          <p:nvPr/>
        </p:nvGrpSpPr>
        <p:grpSpPr>
          <a:xfrm>
            <a:off x="654740" y="3777669"/>
            <a:ext cx="6514840" cy="1865439"/>
            <a:chOff x="654740" y="3777669"/>
            <a:chExt cx="6514840" cy="1865439"/>
          </a:xfrm>
        </p:grpSpPr>
        <p:sp>
          <p:nvSpPr>
            <p:cNvPr id="64" name="Shape_фон">
              <a:extLst>
                <a:ext uri="{FF2B5EF4-FFF2-40B4-BE49-F238E27FC236}">
                  <a16:creationId xmlns:a16="http://schemas.microsoft.com/office/drawing/2014/main" id="{39AF9E01-56B6-4B2A-8C7E-A0C47DA93C66}"/>
                </a:ext>
              </a:extLst>
            </p:cNvPr>
            <p:cNvSpPr/>
            <p:nvPr/>
          </p:nvSpPr>
          <p:spPr>
            <a:xfrm>
              <a:off x="2183409" y="3999934"/>
              <a:ext cx="4659884" cy="1496984"/>
            </a:xfrm>
            <a:prstGeom prst="roundRect">
              <a:avLst>
                <a:gd name="adj" fmla="val 8571"/>
              </a:avLst>
            </a:prstGeom>
            <a:solidFill>
              <a:schemeClr val="bg1"/>
            </a:solidFill>
            <a:ln w="12700" cap="flat">
              <a:noFill/>
              <a:prstDash val="solid"/>
              <a:miter/>
            </a:ln>
            <a:effectLst>
              <a:outerShdw blurRad="1003300" sx="102000" sy="102000" algn="ctr" rotWithShape="0">
                <a:schemeClr val="tx1">
                  <a:alpha val="20000"/>
                </a:schemeClr>
              </a:outerShdw>
            </a:effectLst>
          </p:spPr>
          <p:txBody>
            <a:bodyPr lIns="0" tIns="0" rIns="0" bIns="0" anchor="ctr"/>
            <a:lstStyle/>
            <a:p>
              <a:pPr marL="0" marR="0" lvl="0" indent="0" algn="ctr" defTabSz="309563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itchFamily="2" charset="0"/>
                <a:ea typeface="Roboto" pitchFamily="2" charset="0"/>
                <a:cs typeface="Poppins Bold"/>
                <a:sym typeface="Poppins Bold"/>
              </a:endParaRPr>
            </a:p>
          </p:txBody>
        </p:sp>
        <p:sp>
          <p:nvSpPr>
            <p:cNvPr id="66" name="Shape_фон">
              <a:extLst>
                <a:ext uri="{FF2B5EF4-FFF2-40B4-BE49-F238E27FC236}">
                  <a16:creationId xmlns:a16="http://schemas.microsoft.com/office/drawing/2014/main" id="{76DC8635-936E-41E5-A7A9-F484FC8B544F}"/>
                </a:ext>
              </a:extLst>
            </p:cNvPr>
            <p:cNvSpPr/>
            <p:nvPr/>
          </p:nvSpPr>
          <p:spPr>
            <a:xfrm>
              <a:off x="654740" y="3777669"/>
              <a:ext cx="1858478" cy="1865439"/>
            </a:xfrm>
            <a:prstGeom prst="roundRect">
              <a:avLst>
                <a:gd name="adj" fmla="val 8571"/>
              </a:avLst>
            </a:prstGeom>
            <a:solidFill>
              <a:schemeClr val="bg1"/>
            </a:solidFill>
            <a:ln w="12700" cap="flat">
              <a:noFill/>
              <a:prstDash val="solid"/>
              <a:miter/>
            </a:ln>
            <a:effectLst>
              <a:outerShdw blurRad="1003300" sx="102000" sy="102000" algn="ctr" rotWithShape="0">
                <a:schemeClr val="tx1">
                  <a:alpha val="20000"/>
                </a:schemeClr>
              </a:outerShdw>
            </a:effectLst>
          </p:spPr>
          <p:txBody>
            <a:bodyPr lIns="0" tIns="0" rIns="0" bIns="0" anchor="ctr"/>
            <a:lstStyle/>
            <a:p>
              <a:pPr marL="0" marR="0" lvl="0" indent="0" algn="ctr" defTabSz="309563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itchFamily="2" charset="0"/>
                <a:ea typeface="Roboto" pitchFamily="2" charset="0"/>
                <a:cs typeface="Poppins Bold"/>
                <a:sym typeface="Poppins Bold"/>
              </a:endParaRPr>
            </a:p>
          </p:txBody>
        </p:sp>
        <p:sp>
          <p:nvSpPr>
            <p:cNvPr id="67" name="Описание">
              <a:extLst>
                <a:ext uri="{FF2B5EF4-FFF2-40B4-BE49-F238E27FC236}">
                  <a16:creationId xmlns:a16="http://schemas.microsoft.com/office/drawing/2014/main" id="{090C038F-15B3-45A0-B786-424857E33963}"/>
                </a:ext>
              </a:extLst>
            </p:cNvPr>
            <p:cNvSpPr txBox="1"/>
            <p:nvPr/>
          </p:nvSpPr>
          <p:spPr>
            <a:xfrm>
              <a:off x="1315315" y="3976883"/>
              <a:ext cx="537327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400" i="0" u="none" strike="noStrike" kern="1200" cap="none" spc="0" normalizeH="0" baseline="0" noProof="0" dirty="0">
                  <a:ln>
                    <a:noFill/>
                  </a:ln>
                  <a:solidFill>
                    <a:srgbClr val="0D0D0D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SB Sans Text" panose="020B0503040504020204" pitchFamily="34" charset="-52"/>
                  <a:ea typeface="Roboto Light" panose="02000000000000000000" pitchFamily="2" charset="0"/>
                  <a:cs typeface="SB Sans Text" panose="020B0503040504020204" pitchFamily="34" charset="-52"/>
                </a:rPr>
                <a:t>СБС</a:t>
              </a:r>
            </a:p>
          </p:txBody>
        </p:sp>
        <p:grpSp>
          <p:nvGrpSpPr>
            <p:cNvPr id="8" name="Рисунок 97">
              <a:extLst>
                <a:ext uri="{FF2B5EF4-FFF2-40B4-BE49-F238E27FC236}">
                  <a16:creationId xmlns:a16="http://schemas.microsoft.com/office/drawing/2014/main" id="{300C8757-6B33-4F0D-B3B3-3E198F20402B}"/>
                </a:ext>
              </a:extLst>
            </p:cNvPr>
            <p:cNvGrpSpPr/>
            <p:nvPr/>
          </p:nvGrpSpPr>
          <p:grpSpPr>
            <a:xfrm>
              <a:off x="1078052" y="4388957"/>
              <a:ext cx="1011854" cy="1011852"/>
              <a:chOff x="3432974" y="6049020"/>
              <a:chExt cx="473234" cy="473233"/>
            </a:xfrm>
            <a:solidFill>
              <a:srgbClr val="21A038"/>
            </a:solidFill>
          </p:grpSpPr>
          <p:pic>
            <p:nvPicPr>
              <p:cNvPr id="13" name="Рисунок 12">
                <a:extLst>
                  <a:ext uri="{FF2B5EF4-FFF2-40B4-BE49-F238E27FC236}">
                    <a16:creationId xmlns:a16="http://schemas.microsoft.com/office/drawing/2014/main" id="{3AA590B1-8DD0-4B5F-B01D-94E9BCCB132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3432974" y="6049020"/>
                <a:ext cx="473234" cy="473233"/>
              </a:xfrm>
              <a:custGeom>
                <a:avLst/>
                <a:gdLst>
                  <a:gd name="connsiteX0" fmla="*/ -169 w 473234"/>
                  <a:gd name="connsiteY0" fmla="*/ -169 h 473233"/>
                  <a:gd name="connsiteX1" fmla="*/ 473065 w 473234"/>
                  <a:gd name="connsiteY1" fmla="*/ -169 h 473233"/>
                  <a:gd name="connsiteX2" fmla="*/ 473065 w 473234"/>
                  <a:gd name="connsiteY2" fmla="*/ 473065 h 473233"/>
                  <a:gd name="connsiteX3" fmla="*/ -169 w 473234"/>
                  <a:gd name="connsiteY3" fmla="*/ 473065 h 4732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73234" h="473233">
                    <a:moveTo>
                      <a:pt x="-169" y="-169"/>
                    </a:moveTo>
                    <a:lnTo>
                      <a:pt x="473065" y="-169"/>
                    </a:lnTo>
                    <a:lnTo>
                      <a:pt x="473065" y="473065"/>
                    </a:lnTo>
                    <a:lnTo>
                      <a:pt x="-169" y="473065"/>
                    </a:lnTo>
                    <a:close/>
                  </a:path>
                </a:pathLst>
              </a:custGeom>
            </p:spPr>
          </p:pic>
          <p:sp>
            <p:nvSpPr>
              <p:cNvPr id="14" name="Полилиния: фигура 13">
                <a:extLst>
                  <a:ext uri="{FF2B5EF4-FFF2-40B4-BE49-F238E27FC236}">
                    <a16:creationId xmlns:a16="http://schemas.microsoft.com/office/drawing/2014/main" id="{CB07FC5C-379E-4F38-9706-3D0B4D202DF7}"/>
                  </a:ext>
                </a:extLst>
              </p:cNvPr>
              <p:cNvSpPr/>
              <p:nvPr/>
            </p:nvSpPr>
            <p:spPr>
              <a:xfrm>
                <a:off x="3582374" y="6145853"/>
                <a:ext cx="295665" cy="199164"/>
              </a:xfrm>
              <a:custGeom>
                <a:avLst/>
                <a:gdLst>
                  <a:gd name="connsiteX0" fmla="*/ 267840 w 295665"/>
                  <a:gd name="connsiteY0" fmla="*/ -381 h 199164"/>
                  <a:gd name="connsiteX1" fmla="*/ 295266 w 295665"/>
                  <a:gd name="connsiteY1" fmla="*/ 45053 h 199164"/>
                  <a:gd name="connsiteX2" fmla="*/ 86712 w 295665"/>
                  <a:gd name="connsiteY2" fmla="*/ 198784 h 199164"/>
                  <a:gd name="connsiteX3" fmla="*/ -399 w 295665"/>
                  <a:gd name="connsiteY3" fmla="*/ 144128 h 199164"/>
                  <a:gd name="connsiteX4" fmla="*/ -399 w 295665"/>
                  <a:gd name="connsiteY4" fmla="*/ 78461 h 199164"/>
                  <a:gd name="connsiteX5" fmla="*/ 86712 w 295665"/>
                  <a:gd name="connsiteY5" fmla="*/ 133072 h 1991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95665" h="199164">
                    <a:moveTo>
                      <a:pt x="267840" y="-381"/>
                    </a:moveTo>
                    <a:cubicBezTo>
                      <a:pt x="278719" y="13645"/>
                      <a:pt x="287924" y="28892"/>
                      <a:pt x="295266" y="45053"/>
                    </a:cubicBezTo>
                    <a:lnTo>
                      <a:pt x="86712" y="198784"/>
                    </a:lnTo>
                    <a:lnTo>
                      <a:pt x="-399" y="144128"/>
                    </a:lnTo>
                    <a:lnTo>
                      <a:pt x="-399" y="78461"/>
                    </a:lnTo>
                    <a:lnTo>
                      <a:pt x="86712" y="133072"/>
                    </a:lnTo>
                    <a:close/>
                  </a:path>
                </a:pathLst>
              </a:custGeom>
              <a:solidFill>
                <a:srgbClr val="21A038"/>
              </a:solidFill>
              <a:ln w="15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</p:grpSp>
        <p:sp>
          <p:nvSpPr>
            <p:cNvPr id="100" name="Motion design">
              <a:extLst>
                <a:ext uri="{FF2B5EF4-FFF2-40B4-BE49-F238E27FC236}">
                  <a16:creationId xmlns:a16="http://schemas.microsoft.com/office/drawing/2014/main" id="{618ABDFA-948C-49F9-B24E-7C27B691E940}"/>
                </a:ext>
              </a:extLst>
            </p:cNvPr>
            <p:cNvSpPr txBox="1"/>
            <p:nvPr/>
          </p:nvSpPr>
          <p:spPr>
            <a:xfrm>
              <a:off x="2717854" y="4203148"/>
              <a:ext cx="4451726" cy="1095172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</a:ext>
            </a:extLst>
          </p:spPr>
          <p:txBody>
            <a:bodyPr wrap="square" lIns="0" tIns="0" rIns="0" bIns="0" anchor="ctr">
              <a:spAutoFit/>
            </a:bodyPr>
            <a:lstStyle>
              <a:lvl1pPr>
                <a:lnSpc>
                  <a:spcPct val="130000"/>
                </a:lnSpc>
                <a:defRPr sz="3000">
                  <a:latin typeface="+mn-lt"/>
                  <a:ea typeface="+mn-ea"/>
                  <a:cs typeface="+mn-cs"/>
                  <a:sym typeface="Poppins SemiBold"/>
                </a:defRPr>
              </a:lvl1pPr>
            </a:lstStyle>
            <a:p>
              <a:pPr marL="342900" indent="-342900" defTabSz="309563" hangingPunct="0">
                <a:buClr>
                  <a:schemeClr val="bg2"/>
                </a:buClr>
                <a:buFont typeface="Arial" panose="020B0604020202020204" pitchFamily="34" charset="0"/>
                <a:buChar char="•"/>
                <a:defRPr/>
              </a:pPr>
              <a:r>
                <a:rPr lang="ru-RU" sz="1400" dirty="0">
                  <a:solidFill>
                    <a:srgbClr val="0D0D0D"/>
                  </a:solidFill>
                  <a:latin typeface="SB Sans Text Light" panose="020B0303040504020204" pitchFamily="34" charset="-52"/>
                  <a:ea typeface="Roboto Light" panose="02000000000000000000" pitchFamily="2" charset="0"/>
                  <a:cs typeface="SB Sans Text Light" panose="020B0303040504020204" pitchFamily="34" charset="-52"/>
                </a:rPr>
                <a:t>отбирает данные: проверяет наличие действующих согласий, возраст клиента, заполненность и корректность записей;</a:t>
              </a:r>
            </a:p>
            <a:p>
              <a:pPr marL="342900" indent="-342900" defTabSz="309563" hangingPunct="0">
                <a:buClr>
                  <a:schemeClr val="bg2"/>
                </a:buClr>
                <a:buFont typeface="Arial" panose="020B0604020202020204" pitchFamily="34" charset="0"/>
                <a:buChar char="•"/>
                <a:defRPr/>
              </a:pPr>
              <a:r>
                <a:rPr lang="ru-RU" sz="1400" dirty="0">
                  <a:solidFill>
                    <a:srgbClr val="0D0D0D"/>
                  </a:solidFill>
                  <a:latin typeface="SB Sans Text Light" panose="020B0303040504020204" pitchFamily="34" charset="-52"/>
                  <a:ea typeface="Roboto Light" panose="02000000000000000000" pitchFamily="2" charset="0"/>
                  <a:cs typeface="SB Sans Text Light" panose="020B0303040504020204" pitchFamily="34" charset="-52"/>
                </a:rPr>
                <a:t>обеспечивает интеграцию. </a:t>
              </a:r>
            </a:p>
          </p:txBody>
        </p:sp>
      </p:grpSp>
      <p:grpSp>
        <p:nvGrpSpPr>
          <p:cNvPr id="17" name="Группа 16">
            <a:extLst>
              <a:ext uri="{FF2B5EF4-FFF2-40B4-BE49-F238E27FC236}">
                <a16:creationId xmlns:a16="http://schemas.microsoft.com/office/drawing/2014/main" id="{29590B6D-C07F-40A9-A20E-D8B4FE44B827}"/>
              </a:ext>
            </a:extLst>
          </p:cNvPr>
          <p:cNvGrpSpPr/>
          <p:nvPr/>
        </p:nvGrpSpPr>
        <p:grpSpPr>
          <a:xfrm>
            <a:off x="8187371" y="1767579"/>
            <a:ext cx="3020082" cy="3729339"/>
            <a:chOff x="8187371" y="1767579"/>
            <a:chExt cx="3020082" cy="3729339"/>
          </a:xfrm>
        </p:grpSpPr>
        <p:sp>
          <p:nvSpPr>
            <p:cNvPr id="101" name="Shape_фон">
              <a:extLst>
                <a:ext uri="{FF2B5EF4-FFF2-40B4-BE49-F238E27FC236}">
                  <a16:creationId xmlns:a16="http://schemas.microsoft.com/office/drawing/2014/main" id="{71DE9C4A-030C-49A4-B27F-52A5AC7B6B9A}"/>
                </a:ext>
              </a:extLst>
            </p:cNvPr>
            <p:cNvSpPr/>
            <p:nvPr/>
          </p:nvSpPr>
          <p:spPr>
            <a:xfrm>
              <a:off x="8187371" y="1767579"/>
              <a:ext cx="3020082" cy="3729339"/>
            </a:xfrm>
            <a:prstGeom prst="roundRect">
              <a:avLst>
                <a:gd name="adj" fmla="val 8571"/>
              </a:avLst>
            </a:prstGeom>
            <a:solidFill>
              <a:schemeClr val="bg1"/>
            </a:solidFill>
            <a:ln w="12700" cap="flat">
              <a:noFill/>
              <a:prstDash val="solid"/>
              <a:miter/>
            </a:ln>
            <a:effectLst>
              <a:outerShdw blurRad="1003300" sx="102000" sy="102000" algn="ctr" rotWithShape="0">
                <a:schemeClr val="tx1">
                  <a:alpha val="20000"/>
                </a:schemeClr>
              </a:outerShdw>
            </a:effectLst>
          </p:spPr>
          <p:txBody>
            <a:bodyPr lIns="0" tIns="0" rIns="0" bIns="0" anchor="ctr"/>
            <a:lstStyle/>
            <a:p>
              <a:pPr marL="0" marR="0" lvl="0" indent="0" algn="ctr" defTabSz="309563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itchFamily="2" charset="0"/>
                <a:ea typeface="Roboto" pitchFamily="2" charset="0"/>
                <a:cs typeface="Poppins Bold"/>
                <a:sym typeface="Poppins Bold"/>
              </a:endParaRPr>
            </a:p>
          </p:txBody>
        </p:sp>
        <p:sp>
          <p:nvSpPr>
            <p:cNvPr id="103" name="Описание">
              <a:extLst>
                <a:ext uri="{FF2B5EF4-FFF2-40B4-BE49-F238E27FC236}">
                  <a16:creationId xmlns:a16="http://schemas.microsoft.com/office/drawing/2014/main" id="{A1C867CC-699E-4150-976E-1E4AEA24214E}"/>
                </a:ext>
              </a:extLst>
            </p:cNvPr>
            <p:cNvSpPr txBox="1"/>
            <p:nvPr/>
          </p:nvSpPr>
          <p:spPr>
            <a:xfrm>
              <a:off x="8478244" y="2648737"/>
              <a:ext cx="2569646" cy="249356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285750" marR="0" lvl="0" indent="-285750" defTabSz="914400" rtl="0" eaLnBrk="1" fontAlgn="auto" latinLnBrk="0" hangingPunct="1">
                <a:lnSpc>
                  <a:spcPct val="140714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ru-RU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D0D0D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SB Sans Text Light" panose="020B0303040504020204" pitchFamily="34" charset="-52"/>
                  <a:ea typeface="Roboto Light" panose="02000000000000000000" pitchFamily="2" charset="0"/>
                  <a:cs typeface="SB Sans Text Light" panose="020B0303040504020204" pitchFamily="34" charset="-52"/>
                </a:rPr>
                <a:t>Данные из банка сохраняются </a:t>
              </a:r>
              <a:br>
                <a:rPr kumimoji="0" lang="ru-RU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D0D0D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SB Sans Text Light" panose="020B0303040504020204" pitchFamily="34" charset="-52"/>
                  <a:ea typeface="Roboto Light" panose="02000000000000000000" pitchFamily="2" charset="0"/>
                  <a:cs typeface="SB Sans Text Light" panose="020B0303040504020204" pitchFamily="34" charset="-52"/>
                </a:rPr>
              </a:br>
              <a:r>
                <a:rPr kumimoji="0" lang="ru-RU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D0D0D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SB Sans Text Light" panose="020B0303040504020204" pitchFamily="34" charset="-52"/>
                  <a:ea typeface="Roboto Light" panose="02000000000000000000" pitchFamily="2" charset="0"/>
                  <a:cs typeface="SB Sans Text Light" panose="020B0303040504020204" pitchFamily="34" charset="-52"/>
                </a:rPr>
                <a:t>в отдельной области </a:t>
              </a:r>
              <a:br>
                <a:rPr kumimoji="0" lang="ru-RU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D0D0D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SB Sans Text Light" panose="020B0303040504020204" pitchFamily="34" charset="-52"/>
                  <a:ea typeface="Roboto Light" panose="02000000000000000000" pitchFamily="2" charset="0"/>
                  <a:cs typeface="SB Sans Text Light" panose="020B0303040504020204" pitchFamily="34" charset="-52"/>
                </a:rPr>
              </a:br>
              <a:r>
                <a:rPr kumimoji="0" lang="ru-RU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D0D0D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SB Sans Text Light" panose="020B0303040504020204" pitchFamily="34" charset="-52"/>
                  <a:ea typeface="Roboto Light" panose="02000000000000000000" pitchFamily="2" charset="0"/>
                  <a:cs typeface="SB Sans Text Light" panose="020B0303040504020204" pitchFamily="34" charset="-52"/>
                </a:rPr>
                <a:t>и не перемешиваются </a:t>
              </a:r>
              <a:br>
                <a:rPr kumimoji="0" lang="ru-RU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D0D0D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SB Sans Text Light" panose="020B0303040504020204" pitchFamily="34" charset="-52"/>
                  <a:ea typeface="Roboto Light" panose="02000000000000000000" pitchFamily="2" charset="0"/>
                  <a:cs typeface="SB Sans Text Light" panose="020B0303040504020204" pitchFamily="34" charset="-52"/>
                </a:rPr>
              </a:br>
              <a:r>
                <a:rPr kumimoji="0" lang="ru-RU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D0D0D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SB Sans Text Light" panose="020B0303040504020204" pitchFamily="34" charset="-52"/>
                  <a:ea typeface="Roboto Light" panose="02000000000000000000" pitchFamily="2" charset="0"/>
                  <a:cs typeface="SB Sans Text Light" panose="020B0303040504020204" pitchFamily="34" charset="-52"/>
                </a:rPr>
                <a:t>с данными страховой. Происходит кросс-сверка клиентов </a:t>
              </a:r>
              <a:br>
                <a:rPr kumimoji="0" lang="ru-RU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D0D0D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SB Sans Text Light" panose="020B0303040504020204" pitchFamily="34" charset="-52"/>
                  <a:ea typeface="Roboto Light" panose="02000000000000000000" pitchFamily="2" charset="0"/>
                  <a:cs typeface="SB Sans Text Light" panose="020B0303040504020204" pitchFamily="34" charset="-52"/>
                </a:rPr>
              </a:br>
              <a:r>
                <a:rPr kumimoji="0" lang="ru-RU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D0D0D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SB Sans Text Light" panose="020B0303040504020204" pitchFamily="34" charset="-52"/>
                  <a:ea typeface="Roboto Light" panose="02000000000000000000" pitchFamily="2" charset="0"/>
                  <a:cs typeface="SB Sans Text Light" panose="020B0303040504020204" pitchFamily="34" charset="-52"/>
                </a:rPr>
                <a:t>с простановкой связи.</a:t>
              </a:r>
            </a:p>
          </p:txBody>
        </p:sp>
        <p:grpSp>
          <p:nvGrpSpPr>
            <p:cNvPr id="104" name="Группа 103">
              <a:extLst>
                <a:ext uri="{FF2B5EF4-FFF2-40B4-BE49-F238E27FC236}">
                  <a16:creationId xmlns:a16="http://schemas.microsoft.com/office/drawing/2014/main" id="{81343036-EB1D-419B-8D2E-557D8158184F}"/>
                </a:ext>
              </a:extLst>
            </p:cNvPr>
            <p:cNvGrpSpPr/>
            <p:nvPr/>
          </p:nvGrpSpPr>
          <p:grpSpPr>
            <a:xfrm>
              <a:off x="8327384" y="1974642"/>
              <a:ext cx="2745843" cy="460454"/>
              <a:chOff x="6510195" y="1556711"/>
              <a:chExt cx="5051622" cy="847113"/>
            </a:xfrm>
          </p:grpSpPr>
          <p:sp>
            <p:nvSpPr>
              <p:cNvPr id="105" name="Rounded Rectangle">
                <a:extLst>
                  <a:ext uri="{FF2B5EF4-FFF2-40B4-BE49-F238E27FC236}">
                    <a16:creationId xmlns:a16="http://schemas.microsoft.com/office/drawing/2014/main" id="{974D8DA2-1C9B-4A2C-A692-37953679BBFA}"/>
                  </a:ext>
                </a:extLst>
              </p:cNvPr>
              <p:cNvSpPr/>
              <p:nvPr/>
            </p:nvSpPr>
            <p:spPr>
              <a:xfrm>
                <a:off x="6510195" y="1556711"/>
                <a:ext cx="5051622" cy="847113"/>
              </a:xfrm>
              <a:prstGeom prst="roundRect">
                <a:avLst>
                  <a:gd name="adj" fmla="val 50000"/>
                </a:avLst>
              </a:prstGeom>
              <a:solidFill>
                <a:schemeClr val="bg1"/>
              </a:solidFill>
              <a:ln w="12700" cap="flat">
                <a:noFill/>
                <a:prstDash val="dash"/>
                <a:miter/>
              </a:ln>
              <a:effectLst>
                <a:outerShdw blurRad="1003300" sx="102000" sy="102000" algn="ctr" rotWithShape="0">
                  <a:schemeClr val="tx1">
                    <a:alpha val="15000"/>
                  </a:schemeClr>
                </a:outerShdw>
              </a:effectLst>
            </p:spPr>
            <p:txBody>
              <a:bodyPr lIns="0" tIns="0" rIns="0" bIns="0" anchor="ctr"/>
              <a:lstStyle/>
              <a:p>
                <a:pPr algn="ctr" defTabSz="309563" hangingPunct="0"/>
                <a:endParaRPr sz="1200" dirty="0">
                  <a:solidFill>
                    <a:srgbClr val="FFFFFF"/>
                  </a:solidFill>
                  <a:latin typeface="Roboto" pitchFamily="2" charset="0"/>
                  <a:ea typeface="Roboto" pitchFamily="2" charset="0"/>
                  <a:cs typeface="Poppins Bold"/>
                  <a:sym typeface="Poppins Bold"/>
                </a:endParaRPr>
              </a:p>
            </p:txBody>
          </p:sp>
          <p:sp>
            <p:nvSpPr>
              <p:cNvPr id="106" name="Motion design">
                <a:extLst>
                  <a:ext uri="{FF2B5EF4-FFF2-40B4-BE49-F238E27FC236}">
                    <a16:creationId xmlns:a16="http://schemas.microsoft.com/office/drawing/2014/main" id="{32D50902-A4E2-4027-ABF9-FEC246CCA9D2}"/>
                  </a:ext>
                </a:extLst>
              </p:cNvPr>
              <p:cNvSpPr txBox="1"/>
              <p:nvPr/>
            </p:nvSpPr>
            <p:spPr>
              <a:xfrm>
                <a:off x="7938340" y="1733454"/>
                <a:ext cx="3335115" cy="472447"/>
              </a:xfrm>
              <a:prstGeom prst="rect">
                <a:avLst/>
              </a:prstGeom>
              <a:ln w="12700">
                <a:miter lim="400000"/>
              </a:ln>
              <a:extLst>
                <a:ext uri="{C572A759-6A51-4108-AA02-DFA0A04FC94B}">
  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  </a:ext>
              </a:extLst>
            </p:spPr>
            <p:txBody>
              <a:bodyPr wrap="square" lIns="0" tIns="0" rIns="0" bIns="0" anchor="ctr">
                <a:spAutoFit/>
              </a:bodyPr>
              <a:lstStyle>
                <a:lvl1pPr>
                  <a:lnSpc>
                    <a:spcPct val="130000"/>
                  </a:lnSpc>
                  <a:defRPr sz="3000">
                    <a:latin typeface="+mn-lt"/>
                    <a:ea typeface="+mn-ea"/>
                    <a:cs typeface="+mn-cs"/>
                    <a:sym typeface="Poppins SemiBold"/>
                  </a:defRPr>
                </a:lvl1pPr>
              </a:lstStyle>
              <a:p>
                <a:pPr defTabSz="309563" hangingPunct="0">
                  <a:buClrTx/>
                  <a:defRPr/>
                </a:pPr>
                <a:r>
                  <a:rPr lang="ru-RU" sz="1400" dirty="0">
                    <a:solidFill>
                      <a:srgbClr val="0D0D0D"/>
                    </a:solidFill>
                    <a:latin typeface="SB Sans Text" panose="020B0503040504020204" pitchFamily="34" charset="-52"/>
                    <a:ea typeface="Roboto Light" panose="02000000000000000000" pitchFamily="2" charset="0"/>
                    <a:cs typeface="SB Sans Text" panose="020B0503040504020204" pitchFamily="34" charset="-52"/>
                  </a:rPr>
                  <a:t>Особенности</a:t>
                </a:r>
              </a:p>
            </p:txBody>
          </p:sp>
          <p:sp>
            <p:nvSpPr>
              <p:cNvPr id="107" name="Circle">
                <a:extLst>
                  <a:ext uri="{FF2B5EF4-FFF2-40B4-BE49-F238E27FC236}">
                    <a16:creationId xmlns:a16="http://schemas.microsoft.com/office/drawing/2014/main" id="{A016DB4F-D5BD-4E19-8976-028371848413}"/>
                  </a:ext>
                </a:extLst>
              </p:cNvPr>
              <p:cNvSpPr/>
              <p:nvPr/>
            </p:nvSpPr>
            <p:spPr>
              <a:xfrm>
                <a:off x="6636379" y="1662600"/>
                <a:ext cx="635335" cy="635335"/>
              </a:xfrm>
              <a:prstGeom prst="ellipse">
                <a:avLst/>
              </a:prstGeom>
              <a:solidFill>
                <a:schemeClr val="accent1"/>
              </a:solidFill>
              <a:ln w="12700">
                <a:miter lim="400000"/>
              </a:ln>
            </p:spPr>
            <p:txBody>
              <a:bodyPr lIns="0" tIns="0" rIns="0" bIns="0" anchor="ctr"/>
              <a:lstStyle/>
              <a:p>
                <a:pPr algn="ctr" defTabSz="309563" hangingPunct="0">
                  <a:buClrTx/>
                  <a:defRPr sz="3200">
                    <a:solidFill>
                      <a:srgbClr val="FFFFFF"/>
                    </a:solidFill>
                    <a:latin typeface="Poppins Bold"/>
                    <a:ea typeface="Poppins Bold"/>
                    <a:cs typeface="Poppins Bold"/>
                    <a:sym typeface="Poppins Bold"/>
                  </a:defRPr>
                </a:pPr>
                <a:endParaRPr sz="1200" dirty="0">
                  <a:solidFill>
                    <a:srgbClr val="FFFFFF"/>
                  </a:solidFill>
                  <a:latin typeface="Roboto" pitchFamily="2" charset="0"/>
                  <a:ea typeface="Roboto" pitchFamily="2" charset="0"/>
                  <a:cs typeface="Poppins Bold"/>
                  <a:sym typeface="Poppins Bold"/>
                </a:endParaRPr>
              </a:p>
            </p:txBody>
          </p:sp>
          <p:pic>
            <p:nvPicPr>
              <p:cNvPr id="108" name="Рисунок 107">
                <a:extLst>
                  <a:ext uri="{FF2B5EF4-FFF2-40B4-BE49-F238E27FC236}">
                    <a16:creationId xmlns:a16="http://schemas.microsoft.com/office/drawing/2014/main" id="{92164EF3-09BE-4E6E-A991-636471BD71D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>
                <a:extLst>
                  <a:ext uri="{96DAC541-7B7A-43D3-8B79-37D633B846F1}">
                    <asvg:svgBlip xmlns:asvg="http://schemas.microsoft.com/office/drawing/2016/SVG/main" r:embed="rId6"/>
                  </a:ext>
                </a:extLst>
              </a:blip>
              <a:srcRect/>
              <a:stretch/>
            </p:blipFill>
            <p:spPr>
              <a:xfrm>
                <a:off x="6786836" y="1874084"/>
                <a:ext cx="330367" cy="217346"/>
              </a:xfrm>
              <a:prstGeom prst="rect">
                <a:avLst/>
              </a:prstGeom>
            </p:spPr>
          </p:pic>
        </p:grpSp>
      </p:grpSp>
    </p:spTree>
    <p:extLst>
      <p:ext uri="{BB962C8B-B14F-4D97-AF65-F5344CB8AC3E}">
        <p14:creationId xmlns:p14="http://schemas.microsoft.com/office/powerpoint/2010/main" val="210582038"/>
      </p:ext>
    </p:extLst>
  </p:cSld>
  <p:clrMapOvr>
    <a:masterClrMapping/>
  </p:clrMapOvr>
  <p:transition spd="slow">
    <p:push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5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42" presetClass="path" presetSubtype="0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1719 -0.00023 L -1.25E-6 1.85185E-6 " pathEditMode="relative" rAng="0" ptsTypes="AA">
                                      <p:cBhvr>
                                        <p:cTn id="9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859" y="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25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42" presetClass="path" presetSubtype="0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1667 -0.00046 L -2.5E-6 3.7037E-7 " pathEditMode="relative" rAng="0" ptsTypes="AA">
                                      <p:cBhvr>
                                        <p:cTn id="16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833" y="23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Rounded Rectangle">
            <a:extLst>
              <a:ext uri="{FF2B5EF4-FFF2-40B4-BE49-F238E27FC236}">
                <a16:creationId xmlns:a16="http://schemas.microsoft.com/office/drawing/2014/main" id="{4A1A861F-77ED-4663-9389-8E9FD44BABD1}"/>
              </a:ext>
            </a:extLst>
          </p:cNvPr>
          <p:cNvSpPr/>
          <p:nvPr/>
        </p:nvSpPr>
        <p:spPr>
          <a:xfrm>
            <a:off x="0" y="2579435"/>
            <a:ext cx="12192000" cy="1785141"/>
          </a:xfrm>
          <a:prstGeom prst="roundRect">
            <a:avLst>
              <a:gd name="adj" fmla="val 0"/>
            </a:avLst>
          </a:prstGeom>
          <a:solidFill>
            <a:schemeClr val="bg1">
              <a:alpha val="96000"/>
            </a:schemeClr>
          </a:solidFill>
          <a:ln w="12700" cap="flat">
            <a:noFill/>
            <a:prstDash val="solid"/>
            <a:miter/>
          </a:ln>
          <a:effectLst>
            <a:outerShdw blurRad="1003300" sx="102000" sy="102000" algn="ctr" rotWithShape="0">
              <a:schemeClr val="tx1">
                <a:alpha val="20000"/>
              </a:schemeClr>
            </a:outerShdw>
          </a:effectLst>
        </p:spPr>
        <p:txBody>
          <a:bodyPr lIns="0" tIns="0" rIns="0" bIns="0" anchor="ctr"/>
          <a:lstStyle/>
          <a:p>
            <a:pPr marL="0" marR="0" lvl="0" indent="0" algn="ctr" defTabSz="309563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" pitchFamily="2" charset="0"/>
              <a:ea typeface="Roboto" pitchFamily="2" charset="0"/>
              <a:cs typeface="Poppins Bold"/>
              <a:sym typeface="Poppins Bold"/>
            </a:endParaRPr>
          </a:p>
        </p:txBody>
      </p:sp>
      <p:sp>
        <p:nvSpPr>
          <p:cNvPr id="41" name="Заголовок">
            <a:extLst>
              <a:ext uri="{FF2B5EF4-FFF2-40B4-BE49-F238E27FC236}">
                <a16:creationId xmlns:a16="http://schemas.microsoft.com/office/drawing/2014/main" id="{C2DC1C9A-4F65-42B1-86E3-6E4D91075984}"/>
              </a:ext>
            </a:extLst>
          </p:cNvPr>
          <p:cNvSpPr txBox="1"/>
          <p:nvPr/>
        </p:nvSpPr>
        <p:spPr>
          <a:xfrm>
            <a:off x="507067" y="376044"/>
            <a:ext cx="7006253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4400" dirty="0" err="1">
                <a:solidFill>
                  <a:srgbClr val="0D0D0D">
                    <a:lumMod val="75000"/>
                    <a:lumOff val="25000"/>
                  </a:srgbClr>
                </a:solidFill>
                <a:latin typeface="SB Sans Text Medium" panose="020B0603040504020204" pitchFamily="34" charset="-52"/>
                <a:ea typeface="Roboto" pitchFamily="2" charset="0"/>
                <a:cs typeface="SB Sans Text Medium" panose="020B0603040504020204" pitchFamily="34" charset="-52"/>
              </a:rPr>
              <a:t>СберНПФ</a:t>
            </a:r>
            <a:endParaRPr lang="ru-RU" sz="4400" dirty="0">
              <a:solidFill>
                <a:srgbClr val="0D0D0D">
                  <a:lumMod val="75000"/>
                  <a:lumOff val="25000"/>
                </a:srgbClr>
              </a:solidFill>
              <a:latin typeface="SB Sans Text Medium" panose="020B0603040504020204" pitchFamily="34" charset="-52"/>
              <a:ea typeface="Roboto" pitchFamily="2" charset="0"/>
              <a:cs typeface="SB Sans Text Medium" panose="020B0603040504020204" pitchFamily="34" charset="-52"/>
            </a:endParaRPr>
          </a:p>
        </p:txBody>
      </p:sp>
      <p:grpSp>
        <p:nvGrpSpPr>
          <p:cNvPr id="42" name="CDIConf_Black">
            <a:extLst>
              <a:ext uri="{FF2B5EF4-FFF2-40B4-BE49-F238E27FC236}">
                <a16:creationId xmlns:a16="http://schemas.microsoft.com/office/drawing/2014/main" id="{F3F1710A-CB9B-4080-B969-0477C48F22E5}"/>
              </a:ext>
            </a:extLst>
          </p:cNvPr>
          <p:cNvGrpSpPr/>
          <p:nvPr/>
        </p:nvGrpSpPr>
        <p:grpSpPr>
          <a:xfrm>
            <a:off x="9284984" y="6140223"/>
            <a:ext cx="2270483" cy="296171"/>
            <a:chOff x="7406975" y="5855999"/>
            <a:chExt cx="2270483" cy="296171"/>
          </a:xfrm>
        </p:grpSpPr>
        <p:sp>
          <p:nvSpPr>
            <p:cNvPr id="45" name="Полилиния: фигура 44">
              <a:extLst>
                <a:ext uri="{FF2B5EF4-FFF2-40B4-BE49-F238E27FC236}">
                  <a16:creationId xmlns:a16="http://schemas.microsoft.com/office/drawing/2014/main" id="{13A11B35-F320-4F31-908D-85B2D024FD4B}"/>
                </a:ext>
              </a:extLst>
            </p:cNvPr>
            <p:cNvSpPr/>
            <p:nvPr/>
          </p:nvSpPr>
          <p:spPr>
            <a:xfrm>
              <a:off x="7406975" y="5878280"/>
              <a:ext cx="1394458" cy="273890"/>
            </a:xfrm>
            <a:custGeom>
              <a:avLst/>
              <a:gdLst>
                <a:gd name="connsiteX0" fmla="*/ 157354 w 1394458"/>
                <a:gd name="connsiteY0" fmla="*/ 188093 h 273890"/>
                <a:gd name="connsiteX1" fmla="*/ 200773 w 1394458"/>
                <a:gd name="connsiteY1" fmla="*/ 188093 h 273890"/>
                <a:gd name="connsiteX2" fmla="*/ 186877 w 1394458"/>
                <a:gd name="connsiteY2" fmla="*/ 232383 h 273890"/>
                <a:gd name="connsiteX3" fmla="*/ 153706 w 1394458"/>
                <a:gd name="connsiteY3" fmla="*/ 262777 h 273890"/>
                <a:gd name="connsiteX4" fmla="*/ 101775 w 1394458"/>
                <a:gd name="connsiteY4" fmla="*/ 273891 h 273890"/>
                <a:gd name="connsiteX5" fmla="*/ 59572 w 1394458"/>
                <a:gd name="connsiteY5" fmla="*/ 265554 h 273890"/>
                <a:gd name="connsiteX6" fmla="*/ 27442 w 1394458"/>
                <a:gd name="connsiteY6" fmla="*/ 241585 h 273890"/>
                <a:gd name="connsiteX7" fmla="*/ 6950 w 1394458"/>
                <a:gd name="connsiteY7" fmla="*/ 203896 h 273890"/>
                <a:gd name="connsiteX8" fmla="*/ 0 w 1394458"/>
                <a:gd name="connsiteY8" fmla="*/ 154577 h 273890"/>
                <a:gd name="connsiteX9" fmla="*/ 0 w 1394458"/>
                <a:gd name="connsiteY9" fmla="*/ 133560 h 273890"/>
                <a:gd name="connsiteX10" fmla="*/ 7121 w 1394458"/>
                <a:gd name="connsiteY10" fmla="*/ 84236 h 273890"/>
                <a:gd name="connsiteX11" fmla="*/ 27962 w 1394458"/>
                <a:gd name="connsiteY11" fmla="*/ 46552 h 273890"/>
                <a:gd name="connsiteX12" fmla="*/ 60438 w 1394458"/>
                <a:gd name="connsiteY12" fmla="*/ 22408 h 273890"/>
                <a:gd name="connsiteX13" fmla="*/ 103336 w 1394458"/>
                <a:gd name="connsiteY13" fmla="*/ 14071 h 273890"/>
                <a:gd name="connsiteX14" fmla="*/ 154397 w 1394458"/>
                <a:gd name="connsiteY14" fmla="*/ 25185 h 273890"/>
                <a:gd name="connsiteX15" fmla="*/ 186702 w 1394458"/>
                <a:gd name="connsiteY15" fmla="*/ 55924 h 273890"/>
                <a:gd name="connsiteX16" fmla="*/ 200943 w 1394458"/>
                <a:gd name="connsiteY16" fmla="*/ 100905 h 273890"/>
                <a:gd name="connsiteX17" fmla="*/ 157524 w 1394458"/>
                <a:gd name="connsiteY17" fmla="*/ 100905 h 273890"/>
                <a:gd name="connsiteX18" fmla="*/ 149883 w 1394458"/>
                <a:gd name="connsiteY18" fmla="*/ 72943 h 273890"/>
                <a:gd name="connsiteX19" fmla="*/ 132865 w 1394458"/>
                <a:gd name="connsiteY19" fmla="*/ 55229 h 273890"/>
                <a:gd name="connsiteX20" fmla="*/ 103341 w 1394458"/>
                <a:gd name="connsiteY20" fmla="*/ 48974 h 273890"/>
                <a:gd name="connsiteX21" fmla="*/ 77291 w 1394458"/>
                <a:gd name="connsiteY21" fmla="*/ 54533 h 273890"/>
                <a:gd name="connsiteX22" fmla="*/ 58706 w 1394458"/>
                <a:gd name="connsiteY22" fmla="*/ 70861 h 273890"/>
                <a:gd name="connsiteX23" fmla="*/ 47417 w 1394458"/>
                <a:gd name="connsiteY23" fmla="*/ 97432 h 273890"/>
                <a:gd name="connsiteX24" fmla="*/ 43769 w 1394458"/>
                <a:gd name="connsiteY24" fmla="*/ 133210 h 273890"/>
                <a:gd name="connsiteX25" fmla="*/ 43769 w 1394458"/>
                <a:gd name="connsiteY25" fmla="*/ 154572 h 273890"/>
                <a:gd name="connsiteX26" fmla="*/ 47067 w 1394458"/>
                <a:gd name="connsiteY26" fmla="*/ 189304 h 273890"/>
                <a:gd name="connsiteX27" fmla="*/ 57490 w 1394458"/>
                <a:gd name="connsiteY27" fmla="*/ 215875 h 273890"/>
                <a:gd name="connsiteX28" fmla="*/ 75550 w 1394458"/>
                <a:gd name="connsiteY28" fmla="*/ 233069 h 273890"/>
                <a:gd name="connsiteX29" fmla="*/ 101775 w 1394458"/>
                <a:gd name="connsiteY29" fmla="*/ 239149 h 273890"/>
                <a:gd name="connsiteX30" fmla="*/ 131824 w 1394458"/>
                <a:gd name="connsiteY30" fmla="*/ 233244 h 273890"/>
                <a:gd name="connsiteX31" fmla="*/ 149363 w 1394458"/>
                <a:gd name="connsiteY31" fmla="*/ 216050 h 273890"/>
                <a:gd name="connsiteX32" fmla="*/ 157354 w 1394458"/>
                <a:gd name="connsiteY32" fmla="*/ 188088 h 273890"/>
                <a:gd name="connsiteX33" fmla="*/ 313837 w 1394458"/>
                <a:gd name="connsiteY33" fmla="*/ 270418 h 273890"/>
                <a:gd name="connsiteX34" fmla="*/ 259825 w 1394458"/>
                <a:gd name="connsiteY34" fmla="*/ 270418 h 273890"/>
                <a:gd name="connsiteX35" fmla="*/ 260170 w 1394458"/>
                <a:gd name="connsiteY35" fmla="*/ 235856 h 273890"/>
                <a:gd name="connsiteX36" fmla="*/ 313837 w 1394458"/>
                <a:gd name="connsiteY36" fmla="*/ 235856 h 273890"/>
                <a:gd name="connsiteX37" fmla="*/ 353088 w 1394458"/>
                <a:gd name="connsiteY37" fmla="*/ 225608 h 273890"/>
                <a:gd name="connsiteX38" fmla="*/ 377057 w 1394458"/>
                <a:gd name="connsiteY38" fmla="*/ 196255 h 273890"/>
                <a:gd name="connsiteX39" fmla="*/ 385218 w 1394458"/>
                <a:gd name="connsiteY39" fmla="*/ 150754 h 273890"/>
                <a:gd name="connsiteX40" fmla="*/ 385218 w 1394458"/>
                <a:gd name="connsiteY40" fmla="*/ 137033 h 273890"/>
                <a:gd name="connsiteX41" fmla="*/ 380530 w 1394458"/>
                <a:gd name="connsiteY41" fmla="*/ 100734 h 273890"/>
                <a:gd name="connsiteX42" fmla="*/ 366984 w 1394458"/>
                <a:gd name="connsiteY42" fmla="*/ 74163 h 273890"/>
                <a:gd name="connsiteX43" fmla="*/ 345102 w 1394458"/>
                <a:gd name="connsiteY43" fmla="*/ 57840 h 273890"/>
                <a:gd name="connsiteX44" fmla="*/ 315403 w 1394458"/>
                <a:gd name="connsiteY44" fmla="*/ 52281 h 273890"/>
                <a:gd name="connsiteX45" fmla="*/ 258784 w 1394458"/>
                <a:gd name="connsiteY45" fmla="*/ 52281 h 273890"/>
                <a:gd name="connsiteX46" fmla="*/ 258784 w 1394458"/>
                <a:gd name="connsiteY46" fmla="*/ 17544 h 273890"/>
                <a:gd name="connsiteX47" fmla="*/ 315403 w 1394458"/>
                <a:gd name="connsiteY47" fmla="*/ 17544 h 273890"/>
                <a:gd name="connsiteX48" fmla="*/ 361429 w 1394458"/>
                <a:gd name="connsiteY48" fmla="*/ 26055 h 273890"/>
                <a:gd name="connsiteX49" fmla="*/ 397383 w 1394458"/>
                <a:gd name="connsiteY49" fmla="*/ 50195 h 273890"/>
                <a:gd name="connsiteX50" fmla="*/ 420826 w 1394458"/>
                <a:gd name="connsiteY50" fmla="*/ 88054 h 273890"/>
                <a:gd name="connsiteX51" fmla="*/ 428988 w 1394458"/>
                <a:gd name="connsiteY51" fmla="*/ 137378 h 273890"/>
                <a:gd name="connsiteX52" fmla="*/ 428988 w 1394458"/>
                <a:gd name="connsiteY52" fmla="*/ 150754 h 273890"/>
                <a:gd name="connsiteX53" fmla="*/ 420826 w 1394458"/>
                <a:gd name="connsiteY53" fmla="*/ 200078 h 273890"/>
                <a:gd name="connsiteX54" fmla="*/ 397383 w 1394458"/>
                <a:gd name="connsiteY54" fmla="*/ 237938 h 273890"/>
                <a:gd name="connsiteX55" fmla="*/ 360909 w 1394458"/>
                <a:gd name="connsiteY55" fmla="*/ 262077 h 273890"/>
                <a:gd name="connsiteX56" fmla="*/ 313842 w 1394458"/>
                <a:gd name="connsiteY56" fmla="*/ 270413 h 273890"/>
                <a:gd name="connsiteX57" fmla="*/ 283964 w 1394458"/>
                <a:gd name="connsiteY57" fmla="*/ 17544 h 273890"/>
                <a:gd name="connsiteX58" fmla="*/ 283964 w 1394458"/>
                <a:gd name="connsiteY58" fmla="*/ 270418 h 273890"/>
                <a:gd name="connsiteX59" fmla="*/ 240369 w 1394458"/>
                <a:gd name="connsiteY59" fmla="*/ 270418 h 273890"/>
                <a:gd name="connsiteX60" fmla="*/ 240369 w 1394458"/>
                <a:gd name="connsiteY60" fmla="*/ 17544 h 273890"/>
                <a:gd name="connsiteX61" fmla="*/ 283964 w 1394458"/>
                <a:gd name="connsiteY61" fmla="*/ 17544 h 273890"/>
                <a:gd name="connsiteX62" fmla="*/ 519299 w 1394458"/>
                <a:gd name="connsiteY62" fmla="*/ 17544 h 273890"/>
                <a:gd name="connsiteX63" fmla="*/ 519299 w 1394458"/>
                <a:gd name="connsiteY63" fmla="*/ 270418 h 273890"/>
                <a:gd name="connsiteX64" fmla="*/ 475705 w 1394458"/>
                <a:gd name="connsiteY64" fmla="*/ 270418 h 273890"/>
                <a:gd name="connsiteX65" fmla="*/ 475705 w 1394458"/>
                <a:gd name="connsiteY65" fmla="*/ 17544 h 273890"/>
                <a:gd name="connsiteX66" fmla="*/ 519299 w 1394458"/>
                <a:gd name="connsiteY66" fmla="*/ 17544 h 273890"/>
                <a:gd name="connsiteX67" fmla="*/ 811424 w 1394458"/>
                <a:gd name="connsiteY67" fmla="*/ 188093 h 273890"/>
                <a:gd name="connsiteX68" fmla="*/ 854843 w 1394458"/>
                <a:gd name="connsiteY68" fmla="*/ 188093 h 273890"/>
                <a:gd name="connsiteX69" fmla="*/ 840947 w 1394458"/>
                <a:gd name="connsiteY69" fmla="*/ 232383 h 273890"/>
                <a:gd name="connsiteX70" fmla="*/ 807776 w 1394458"/>
                <a:gd name="connsiteY70" fmla="*/ 262777 h 273890"/>
                <a:gd name="connsiteX71" fmla="*/ 755845 w 1394458"/>
                <a:gd name="connsiteY71" fmla="*/ 273891 h 273890"/>
                <a:gd name="connsiteX72" fmla="*/ 713642 w 1394458"/>
                <a:gd name="connsiteY72" fmla="*/ 265554 h 273890"/>
                <a:gd name="connsiteX73" fmla="*/ 681512 w 1394458"/>
                <a:gd name="connsiteY73" fmla="*/ 241585 h 273890"/>
                <a:gd name="connsiteX74" fmla="*/ 661021 w 1394458"/>
                <a:gd name="connsiteY74" fmla="*/ 203896 h 273890"/>
                <a:gd name="connsiteX75" fmla="*/ 654075 w 1394458"/>
                <a:gd name="connsiteY75" fmla="*/ 154572 h 273890"/>
                <a:gd name="connsiteX76" fmla="*/ 654075 w 1394458"/>
                <a:gd name="connsiteY76" fmla="*/ 133555 h 273890"/>
                <a:gd name="connsiteX77" fmla="*/ 661196 w 1394458"/>
                <a:gd name="connsiteY77" fmla="*/ 84231 h 273890"/>
                <a:gd name="connsiteX78" fmla="*/ 682037 w 1394458"/>
                <a:gd name="connsiteY78" fmla="*/ 46547 h 273890"/>
                <a:gd name="connsiteX79" fmla="*/ 714513 w 1394458"/>
                <a:gd name="connsiteY79" fmla="*/ 22403 h 273890"/>
                <a:gd name="connsiteX80" fmla="*/ 757411 w 1394458"/>
                <a:gd name="connsiteY80" fmla="*/ 14066 h 273890"/>
                <a:gd name="connsiteX81" fmla="*/ 808472 w 1394458"/>
                <a:gd name="connsiteY81" fmla="*/ 25180 h 273890"/>
                <a:gd name="connsiteX82" fmla="*/ 840777 w 1394458"/>
                <a:gd name="connsiteY82" fmla="*/ 55919 h 273890"/>
                <a:gd name="connsiteX83" fmla="*/ 855018 w 1394458"/>
                <a:gd name="connsiteY83" fmla="*/ 100900 h 273890"/>
                <a:gd name="connsiteX84" fmla="*/ 811599 w 1394458"/>
                <a:gd name="connsiteY84" fmla="*/ 100900 h 273890"/>
                <a:gd name="connsiteX85" fmla="*/ 803958 w 1394458"/>
                <a:gd name="connsiteY85" fmla="*/ 72938 h 273890"/>
                <a:gd name="connsiteX86" fmla="*/ 786940 w 1394458"/>
                <a:gd name="connsiteY86" fmla="*/ 55224 h 273890"/>
                <a:gd name="connsiteX87" fmla="*/ 757416 w 1394458"/>
                <a:gd name="connsiteY87" fmla="*/ 48969 h 273890"/>
                <a:gd name="connsiteX88" fmla="*/ 731366 w 1394458"/>
                <a:gd name="connsiteY88" fmla="*/ 54528 h 273890"/>
                <a:gd name="connsiteX89" fmla="*/ 712781 w 1394458"/>
                <a:gd name="connsiteY89" fmla="*/ 70856 h 273890"/>
                <a:gd name="connsiteX90" fmla="*/ 701492 w 1394458"/>
                <a:gd name="connsiteY90" fmla="*/ 97427 h 273890"/>
                <a:gd name="connsiteX91" fmla="*/ 697844 w 1394458"/>
                <a:gd name="connsiteY91" fmla="*/ 133205 h 273890"/>
                <a:gd name="connsiteX92" fmla="*/ 697844 w 1394458"/>
                <a:gd name="connsiteY92" fmla="*/ 154567 h 273890"/>
                <a:gd name="connsiteX93" fmla="*/ 701142 w 1394458"/>
                <a:gd name="connsiteY93" fmla="*/ 189299 h 273890"/>
                <a:gd name="connsiteX94" fmla="*/ 711565 w 1394458"/>
                <a:gd name="connsiteY94" fmla="*/ 215870 h 273890"/>
                <a:gd name="connsiteX95" fmla="*/ 729629 w 1394458"/>
                <a:gd name="connsiteY95" fmla="*/ 233064 h 273890"/>
                <a:gd name="connsiteX96" fmla="*/ 755855 w 1394458"/>
                <a:gd name="connsiteY96" fmla="*/ 239144 h 273890"/>
                <a:gd name="connsiteX97" fmla="*/ 785904 w 1394458"/>
                <a:gd name="connsiteY97" fmla="*/ 233239 h 273890"/>
                <a:gd name="connsiteX98" fmla="*/ 803443 w 1394458"/>
                <a:gd name="connsiteY98" fmla="*/ 216046 h 273890"/>
                <a:gd name="connsiteX99" fmla="*/ 811434 w 1394458"/>
                <a:gd name="connsiteY99" fmla="*/ 188084 h 273890"/>
                <a:gd name="connsiteX100" fmla="*/ 882285 w 1394458"/>
                <a:gd name="connsiteY100" fmla="*/ 178541 h 273890"/>
                <a:gd name="connsiteX101" fmla="*/ 882285 w 1394458"/>
                <a:gd name="connsiteY101" fmla="*/ 174548 h 273890"/>
                <a:gd name="connsiteX102" fmla="*/ 888190 w 1394458"/>
                <a:gd name="connsiteY102" fmla="*/ 136858 h 273890"/>
                <a:gd name="connsiteX103" fmla="*/ 905208 w 1394458"/>
                <a:gd name="connsiteY103" fmla="*/ 106464 h 273890"/>
                <a:gd name="connsiteX104" fmla="*/ 932650 w 1394458"/>
                <a:gd name="connsiteY104" fmla="*/ 86318 h 273890"/>
                <a:gd name="connsiteX105" fmla="*/ 969469 w 1394458"/>
                <a:gd name="connsiteY105" fmla="*/ 79022 h 273890"/>
                <a:gd name="connsiteX106" fmla="*/ 1006288 w 1394458"/>
                <a:gd name="connsiteY106" fmla="*/ 86318 h 273890"/>
                <a:gd name="connsiteX107" fmla="*/ 1033899 w 1394458"/>
                <a:gd name="connsiteY107" fmla="*/ 106464 h 273890"/>
                <a:gd name="connsiteX108" fmla="*/ 1051093 w 1394458"/>
                <a:gd name="connsiteY108" fmla="*/ 136858 h 273890"/>
                <a:gd name="connsiteX109" fmla="*/ 1056998 w 1394458"/>
                <a:gd name="connsiteY109" fmla="*/ 174548 h 273890"/>
                <a:gd name="connsiteX110" fmla="*/ 1056998 w 1394458"/>
                <a:gd name="connsiteY110" fmla="*/ 178541 h 273890"/>
                <a:gd name="connsiteX111" fmla="*/ 1051093 w 1394458"/>
                <a:gd name="connsiteY111" fmla="*/ 216230 h 273890"/>
                <a:gd name="connsiteX112" fmla="*/ 1033899 w 1394458"/>
                <a:gd name="connsiteY112" fmla="*/ 246624 h 273890"/>
                <a:gd name="connsiteX113" fmla="*/ 1006458 w 1394458"/>
                <a:gd name="connsiteY113" fmla="*/ 266770 h 273890"/>
                <a:gd name="connsiteX114" fmla="*/ 969814 w 1394458"/>
                <a:gd name="connsiteY114" fmla="*/ 273891 h 273890"/>
                <a:gd name="connsiteX115" fmla="*/ 932820 w 1394458"/>
                <a:gd name="connsiteY115" fmla="*/ 266770 h 273890"/>
                <a:gd name="connsiteX116" fmla="*/ 905378 w 1394458"/>
                <a:gd name="connsiteY116" fmla="*/ 246624 h 273890"/>
                <a:gd name="connsiteX117" fmla="*/ 888185 w 1394458"/>
                <a:gd name="connsiteY117" fmla="*/ 216230 h 273890"/>
                <a:gd name="connsiteX118" fmla="*/ 882280 w 1394458"/>
                <a:gd name="connsiteY118" fmla="*/ 178541 h 273890"/>
                <a:gd name="connsiteX119" fmla="*/ 924143 w 1394458"/>
                <a:gd name="connsiteY119" fmla="*/ 174548 h 273890"/>
                <a:gd name="connsiteX120" fmla="*/ 924143 w 1394458"/>
                <a:gd name="connsiteY120" fmla="*/ 178541 h 273890"/>
                <a:gd name="connsiteX121" fmla="*/ 926750 w 1394458"/>
                <a:gd name="connsiteY121" fmla="*/ 202510 h 273890"/>
                <a:gd name="connsiteX122" fmla="*/ 934911 w 1394458"/>
                <a:gd name="connsiteY122" fmla="*/ 222310 h 273890"/>
                <a:gd name="connsiteX123" fmla="*/ 949152 w 1394458"/>
                <a:gd name="connsiteY123" fmla="*/ 235681 h 273890"/>
                <a:gd name="connsiteX124" fmla="*/ 969819 w 1394458"/>
                <a:gd name="connsiteY124" fmla="*/ 240545 h 273890"/>
                <a:gd name="connsiteX125" fmla="*/ 989965 w 1394458"/>
                <a:gd name="connsiteY125" fmla="*/ 235681 h 273890"/>
                <a:gd name="connsiteX126" fmla="*/ 1004206 w 1394458"/>
                <a:gd name="connsiteY126" fmla="*/ 222310 h 273890"/>
                <a:gd name="connsiteX127" fmla="*/ 1012367 w 1394458"/>
                <a:gd name="connsiteY127" fmla="*/ 202510 h 273890"/>
                <a:gd name="connsiteX128" fmla="*/ 1015145 w 1394458"/>
                <a:gd name="connsiteY128" fmla="*/ 178541 h 273890"/>
                <a:gd name="connsiteX129" fmla="*/ 1015145 w 1394458"/>
                <a:gd name="connsiteY129" fmla="*/ 174548 h 273890"/>
                <a:gd name="connsiteX130" fmla="*/ 1012367 w 1394458"/>
                <a:gd name="connsiteY130" fmla="*/ 150929 h 273890"/>
                <a:gd name="connsiteX131" fmla="*/ 1004031 w 1394458"/>
                <a:gd name="connsiteY131" fmla="*/ 130958 h 273890"/>
                <a:gd name="connsiteX132" fmla="*/ 989790 w 1394458"/>
                <a:gd name="connsiteY132" fmla="*/ 117412 h 273890"/>
                <a:gd name="connsiteX133" fmla="*/ 969469 w 1394458"/>
                <a:gd name="connsiteY133" fmla="*/ 112378 h 273890"/>
                <a:gd name="connsiteX134" fmla="*/ 948977 w 1394458"/>
                <a:gd name="connsiteY134" fmla="*/ 117412 h 273890"/>
                <a:gd name="connsiteX135" fmla="*/ 934911 w 1394458"/>
                <a:gd name="connsiteY135" fmla="*/ 130958 h 273890"/>
                <a:gd name="connsiteX136" fmla="*/ 926750 w 1394458"/>
                <a:gd name="connsiteY136" fmla="*/ 150929 h 273890"/>
                <a:gd name="connsiteX137" fmla="*/ 924143 w 1394458"/>
                <a:gd name="connsiteY137" fmla="*/ 174548 h 273890"/>
                <a:gd name="connsiteX138" fmla="*/ 1133598 w 1394458"/>
                <a:gd name="connsiteY138" fmla="*/ 122617 h 273890"/>
                <a:gd name="connsiteX139" fmla="*/ 1133598 w 1394458"/>
                <a:gd name="connsiteY139" fmla="*/ 270418 h 273890"/>
                <a:gd name="connsiteX140" fmla="*/ 1091745 w 1394458"/>
                <a:gd name="connsiteY140" fmla="*/ 270418 h 273890"/>
                <a:gd name="connsiteX141" fmla="*/ 1091745 w 1394458"/>
                <a:gd name="connsiteY141" fmla="*/ 82495 h 273890"/>
                <a:gd name="connsiteX142" fmla="*/ 1131171 w 1394458"/>
                <a:gd name="connsiteY142" fmla="*/ 82495 h 273890"/>
                <a:gd name="connsiteX143" fmla="*/ 1133603 w 1394458"/>
                <a:gd name="connsiteY143" fmla="*/ 122617 h 273890"/>
                <a:gd name="connsiteX144" fmla="*/ 1126132 w 1394458"/>
                <a:gd name="connsiteY144" fmla="*/ 169509 h 273890"/>
                <a:gd name="connsiteX145" fmla="*/ 1112586 w 1394458"/>
                <a:gd name="connsiteY145" fmla="*/ 169334 h 273890"/>
                <a:gd name="connsiteX146" fmla="*/ 1118145 w 1394458"/>
                <a:gd name="connsiteY146" fmla="*/ 132690 h 273890"/>
                <a:gd name="connsiteX147" fmla="*/ 1133428 w 1394458"/>
                <a:gd name="connsiteY147" fmla="*/ 104032 h 273890"/>
                <a:gd name="connsiteX148" fmla="*/ 1157046 w 1394458"/>
                <a:gd name="connsiteY148" fmla="*/ 85623 h 273890"/>
                <a:gd name="connsiteX149" fmla="*/ 1187615 w 1394458"/>
                <a:gd name="connsiteY149" fmla="*/ 79022 h 273890"/>
                <a:gd name="connsiteX150" fmla="*/ 1212105 w 1394458"/>
                <a:gd name="connsiteY150" fmla="*/ 82840 h 273890"/>
                <a:gd name="connsiteX151" fmla="*/ 1231034 w 1394458"/>
                <a:gd name="connsiteY151" fmla="*/ 94825 h 273890"/>
                <a:gd name="connsiteX152" fmla="*/ 1243189 w 1394458"/>
                <a:gd name="connsiteY152" fmla="*/ 116532 h 273890"/>
                <a:gd name="connsiteX153" fmla="*/ 1247357 w 1394458"/>
                <a:gd name="connsiteY153" fmla="*/ 149013 h 273890"/>
                <a:gd name="connsiteX154" fmla="*/ 1247357 w 1394458"/>
                <a:gd name="connsiteY154" fmla="*/ 270413 h 273890"/>
                <a:gd name="connsiteX155" fmla="*/ 1205329 w 1394458"/>
                <a:gd name="connsiteY155" fmla="*/ 270413 h 273890"/>
                <a:gd name="connsiteX156" fmla="*/ 1205329 w 1394458"/>
                <a:gd name="connsiteY156" fmla="*/ 148837 h 273890"/>
                <a:gd name="connsiteX157" fmla="*/ 1201336 w 1394458"/>
                <a:gd name="connsiteY157" fmla="*/ 127476 h 273890"/>
                <a:gd name="connsiteX158" fmla="*/ 1190047 w 1394458"/>
                <a:gd name="connsiteY158" fmla="*/ 116187 h 273890"/>
                <a:gd name="connsiteX159" fmla="*/ 1171813 w 1394458"/>
                <a:gd name="connsiteY159" fmla="*/ 112714 h 273890"/>
                <a:gd name="connsiteX160" fmla="*/ 1152533 w 1394458"/>
                <a:gd name="connsiteY160" fmla="*/ 117228 h 273890"/>
                <a:gd name="connsiteX161" fmla="*/ 1138116 w 1394458"/>
                <a:gd name="connsiteY161" fmla="*/ 129557 h 273890"/>
                <a:gd name="connsiteX162" fmla="*/ 1129259 w 1394458"/>
                <a:gd name="connsiteY162" fmla="*/ 147621 h 273890"/>
                <a:gd name="connsiteX163" fmla="*/ 1126132 w 1394458"/>
                <a:gd name="connsiteY163" fmla="*/ 169504 h 273890"/>
                <a:gd name="connsiteX164" fmla="*/ 1346701 w 1394458"/>
                <a:gd name="connsiteY164" fmla="*/ 270418 h 273890"/>
                <a:gd name="connsiteX165" fmla="*/ 1304843 w 1394458"/>
                <a:gd name="connsiteY165" fmla="*/ 270418 h 273890"/>
                <a:gd name="connsiteX166" fmla="*/ 1304843 w 1394458"/>
                <a:gd name="connsiteY166" fmla="*/ 64436 h 273890"/>
                <a:gd name="connsiteX167" fmla="*/ 1312659 w 1394458"/>
                <a:gd name="connsiteY167" fmla="*/ 29178 h 273890"/>
                <a:gd name="connsiteX168" fmla="*/ 1335412 w 1394458"/>
                <a:gd name="connsiteY168" fmla="*/ 7471 h 273890"/>
                <a:gd name="connsiteX169" fmla="*/ 1370319 w 1394458"/>
                <a:gd name="connsiteY169" fmla="*/ 0 h 273890"/>
                <a:gd name="connsiteX170" fmla="*/ 1382649 w 1394458"/>
                <a:gd name="connsiteY170" fmla="*/ 871 h 273890"/>
                <a:gd name="connsiteX171" fmla="*/ 1394458 w 1394458"/>
                <a:gd name="connsiteY171" fmla="*/ 3127 h 273890"/>
                <a:gd name="connsiteX172" fmla="*/ 1393418 w 1394458"/>
                <a:gd name="connsiteY172" fmla="*/ 35433 h 273890"/>
                <a:gd name="connsiteX173" fmla="*/ 1385776 w 1394458"/>
                <a:gd name="connsiteY173" fmla="*/ 34217 h 273890"/>
                <a:gd name="connsiteX174" fmla="*/ 1377095 w 1394458"/>
                <a:gd name="connsiteY174" fmla="*/ 33872 h 273890"/>
                <a:gd name="connsiteX175" fmla="*/ 1360596 w 1394458"/>
                <a:gd name="connsiteY175" fmla="*/ 37519 h 273890"/>
                <a:gd name="connsiteX176" fmla="*/ 1350178 w 1394458"/>
                <a:gd name="connsiteY176" fmla="*/ 47767 h 273890"/>
                <a:gd name="connsiteX177" fmla="*/ 1346706 w 1394458"/>
                <a:gd name="connsiteY177" fmla="*/ 64441 h 273890"/>
                <a:gd name="connsiteX178" fmla="*/ 1346706 w 1394458"/>
                <a:gd name="connsiteY178" fmla="*/ 270423 h 273890"/>
                <a:gd name="connsiteX179" fmla="*/ 1385431 w 1394458"/>
                <a:gd name="connsiteY179" fmla="*/ 82500 h 273890"/>
                <a:gd name="connsiteX180" fmla="*/ 1385431 w 1394458"/>
                <a:gd name="connsiteY180" fmla="*/ 113069 h 273890"/>
                <a:gd name="connsiteX181" fmla="*/ 1276015 w 1394458"/>
                <a:gd name="connsiteY181" fmla="*/ 113069 h 273890"/>
                <a:gd name="connsiteX182" fmla="*/ 1276015 w 1394458"/>
                <a:gd name="connsiteY182" fmla="*/ 82500 h 273890"/>
                <a:gd name="connsiteX183" fmla="*/ 1385431 w 1394458"/>
                <a:gd name="connsiteY183" fmla="*/ 82500 h 2738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</a:cxnLst>
              <a:rect l="l" t="t" r="r" b="b"/>
              <a:pathLst>
                <a:path w="1394458" h="273890">
                  <a:moveTo>
                    <a:pt x="157354" y="188093"/>
                  </a:moveTo>
                  <a:lnTo>
                    <a:pt x="200773" y="188093"/>
                  </a:lnTo>
                  <a:cubicBezTo>
                    <a:pt x="199382" y="204650"/>
                    <a:pt x="194752" y="219411"/>
                    <a:pt x="186877" y="232383"/>
                  </a:cubicBezTo>
                  <a:cubicBezTo>
                    <a:pt x="179003" y="245233"/>
                    <a:pt x="167947" y="255365"/>
                    <a:pt x="153706" y="262777"/>
                  </a:cubicBezTo>
                  <a:cubicBezTo>
                    <a:pt x="139465" y="270185"/>
                    <a:pt x="122155" y="273891"/>
                    <a:pt x="101775" y="273891"/>
                  </a:cubicBezTo>
                  <a:cubicBezTo>
                    <a:pt x="86143" y="273891"/>
                    <a:pt x="72077" y="271114"/>
                    <a:pt x="59572" y="265554"/>
                  </a:cubicBezTo>
                  <a:cubicBezTo>
                    <a:pt x="47067" y="259878"/>
                    <a:pt x="36357" y="251892"/>
                    <a:pt x="27442" y="241585"/>
                  </a:cubicBezTo>
                  <a:cubicBezTo>
                    <a:pt x="18526" y="231162"/>
                    <a:pt x="11697" y="218604"/>
                    <a:pt x="6950" y="203896"/>
                  </a:cubicBezTo>
                  <a:cubicBezTo>
                    <a:pt x="2315" y="189192"/>
                    <a:pt x="0" y="172753"/>
                    <a:pt x="0" y="154577"/>
                  </a:cubicBezTo>
                  <a:lnTo>
                    <a:pt x="0" y="133560"/>
                  </a:lnTo>
                  <a:cubicBezTo>
                    <a:pt x="0" y="115379"/>
                    <a:pt x="2374" y="98940"/>
                    <a:pt x="7121" y="84236"/>
                  </a:cubicBezTo>
                  <a:cubicBezTo>
                    <a:pt x="11984" y="69533"/>
                    <a:pt x="18930" y="56970"/>
                    <a:pt x="27962" y="46552"/>
                  </a:cubicBezTo>
                  <a:cubicBezTo>
                    <a:pt x="36994" y="36017"/>
                    <a:pt x="47816" y="27967"/>
                    <a:pt x="60438" y="22408"/>
                  </a:cubicBezTo>
                  <a:cubicBezTo>
                    <a:pt x="73171" y="16848"/>
                    <a:pt x="87471" y="14071"/>
                    <a:pt x="103336" y="14071"/>
                  </a:cubicBezTo>
                  <a:cubicBezTo>
                    <a:pt x="123482" y="14071"/>
                    <a:pt x="140506" y="17777"/>
                    <a:pt x="154397" y="25185"/>
                  </a:cubicBezTo>
                  <a:cubicBezTo>
                    <a:pt x="168293" y="32597"/>
                    <a:pt x="179056" y="42840"/>
                    <a:pt x="186702" y="55924"/>
                  </a:cubicBezTo>
                  <a:cubicBezTo>
                    <a:pt x="194460" y="69008"/>
                    <a:pt x="199207" y="84003"/>
                    <a:pt x="200943" y="100905"/>
                  </a:cubicBezTo>
                  <a:lnTo>
                    <a:pt x="157524" y="100905"/>
                  </a:lnTo>
                  <a:cubicBezTo>
                    <a:pt x="156367" y="90019"/>
                    <a:pt x="153818" y="80700"/>
                    <a:pt x="149883" y="72943"/>
                  </a:cubicBezTo>
                  <a:cubicBezTo>
                    <a:pt x="146065" y="65185"/>
                    <a:pt x="140389" y="59280"/>
                    <a:pt x="132865" y="55229"/>
                  </a:cubicBezTo>
                  <a:cubicBezTo>
                    <a:pt x="125340" y="51060"/>
                    <a:pt x="115496" y="48974"/>
                    <a:pt x="103341" y="48974"/>
                  </a:cubicBezTo>
                  <a:cubicBezTo>
                    <a:pt x="93385" y="48974"/>
                    <a:pt x="84698" y="50827"/>
                    <a:pt x="77291" y="54533"/>
                  </a:cubicBezTo>
                  <a:cubicBezTo>
                    <a:pt x="69878" y="58239"/>
                    <a:pt x="63687" y="63682"/>
                    <a:pt x="58706" y="70861"/>
                  </a:cubicBezTo>
                  <a:cubicBezTo>
                    <a:pt x="53730" y="78040"/>
                    <a:pt x="49966" y="86897"/>
                    <a:pt x="47417" y="97432"/>
                  </a:cubicBezTo>
                  <a:cubicBezTo>
                    <a:pt x="44985" y="107850"/>
                    <a:pt x="43769" y="119776"/>
                    <a:pt x="43769" y="133210"/>
                  </a:cubicBezTo>
                  <a:lnTo>
                    <a:pt x="43769" y="154572"/>
                  </a:lnTo>
                  <a:cubicBezTo>
                    <a:pt x="43769" y="167305"/>
                    <a:pt x="44869" y="178886"/>
                    <a:pt x="47067" y="189304"/>
                  </a:cubicBezTo>
                  <a:cubicBezTo>
                    <a:pt x="49382" y="199611"/>
                    <a:pt x="52855" y="208468"/>
                    <a:pt x="57490" y="215875"/>
                  </a:cubicBezTo>
                  <a:cubicBezTo>
                    <a:pt x="62237" y="223288"/>
                    <a:pt x="68259" y="229017"/>
                    <a:pt x="75550" y="233069"/>
                  </a:cubicBezTo>
                  <a:cubicBezTo>
                    <a:pt x="82845" y="237120"/>
                    <a:pt x="91585" y="239149"/>
                    <a:pt x="101775" y="239149"/>
                  </a:cubicBezTo>
                  <a:cubicBezTo>
                    <a:pt x="114163" y="239149"/>
                    <a:pt x="124178" y="237179"/>
                    <a:pt x="131824" y="233244"/>
                  </a:cubicBezTo>
                  <a:cubicBezTo>
                    <a:pt x="139582" y="229309"/>
                    <a:pt x="145428" y="223575"/>
                    <a:pt x="149363" y="216050"/>
                  </a:cubicBezTo>
                  <a:cubicBezTo>
                    <a:pt x="153414" y="208409"/>
                    <a:pt x="156080" y="199090"/>
                    <a:pt x="157354" y="188088"/>
                  </a:cubicBezTo>
                  <a:close/>
                  <a:moveTo>
                    <a:pt x="313837" y="270418"/>
                  </a:moveTo>
                  <a:lnTo>
                    <a:pt x="259825" y="270418"/>
                  </a:lnTo>
                  <a:lnTo>
                    <a:pt x="260170" y="235856"/>
                  </a:lnTo>
                  <a:lnTo>
                    <a:pt x="313837" y="235856"/>
                  </a:lnTo>
                  <a:cubicBezTo>
                    <a:pt x="329469" y="235856"/>
                    <a:pt x="342553" y="232441"/>
                    <a:pt x="353088" y="225608"/>
                  </a:cubicBezTo>
                  <a:cubicBezTo>
                    <a:pt x="363740" y="218779"/>
                    <a:pt x="371731" y="208993"/>
                    <a:pt x="377057" y="196255"/>
                  </a:cubicBezTo>
                  <a:cubicBezTo>
                    <a:pt x="382499" y="183521"/>
                    <a:pt x="385218" y="168351"/>
                    <a:pt x="385218" y="150754"/>
                  </a:cubicBezTo>
                  <a:lnTo>
                    <a:pt x="385218" y="137033"/>
                  </a:lnTo>
                  <a:cubicBezTo>
                    <a:pt x="385218" y="123371"/>
                    <a:pt x="383657" y="111269"/>
                    <a:pt x="380530" y="100734"/>
                  </a:cubicBezTo>
                  <a:cubicBezTo>
                    <a:pt x="377519" y="90199"/>
                    <a:pt x="373005" y="81342"/>
                    <a:pt x="366984" y="74163"/>
                  </a:cubicBezTo>
                  <a:cubicBezTo>
                    <a:pt x="361079" y="66984"/>
                    <a:pt x="353784" y="61542"/>
                    <a:pt x="345102" y="57840"/>
                  </a:cubicBezTo>
                  <a:cubicBezTo>
                    <a:pt x="336532" y="54134"/>
                    <a:pt x="326634" y="52281"/>
                    <a:pt x="315403" y="52281"/>
                  </a:cubicBezTo>
                  <a:lnTo>
                    <a:pt x="258784" y="52281"/>
                  </a:lnTo>
                  <a:lnTo>
                    <a:pt x="258784" y="17544"/>
                  </a:lnTo>
                  <a:lnTo>
                    <a:pt x="315403" y="17544"/>
                  </a:lnTo>
                  <a:cubicBezTo>
                    <a:pt x="332193" y="17544"/>
                    <a:pt x="347534" y="20379"/>
                    <a:pt x="361429" y="26055"/>
                  </a:cubicBezTo>
                  <a:cubicBezTo>
                    <a:pt x="375325" y="31615"/>
                    <a:pt x="387310" y="39660"/>
                    <a:pt x="397383" y="50195"/>
                  </a:cubicBezTo>
                  <a:cubicBezTo>
                    <a:pt x="407572" y="60730"/>
                    <a:pt x="415389" y="73351"/>
                    <a:pt x="420826" y="88054"/>
                  </a:cubicBezTo>
                  <a:cubicBezTo>
                    <a:pt x="426269" y="102758"/>
                    <a:pt x="428988" y="119202"/>
                    <a:pt x="428988" y="137378"/>
                  </a:cubicBezTo>
                  <a:lnTo>
                    <a:pt x="428988" y="150754"/>
                  </a:lnTo>
                  <a:cubicBezTo>
                    <a:pt x="428988" y="168930"/>
                    <a:pt x="426269" y="185374"/>
                    <a:pt x="420826" y="200078"/>
                  </a:cubicBezTo>
                  <a:cubicBezTo>
                    <a:pt x="415384" y="214781"/>
                    <a:pt x="407568" y="227403"/>
                    <a:pt x="397383" y="237938"/>
                  </a:cubicBezTo>
                  <a:cubicBezTo>
                    <a:pt x="387193" y="248356"/>
                    <a:pt x="375038" y="256405"/>
                    <a:pt x="360909" y="262077"/>
                  </a:cubicBezTo>
                  <a:cubicBezTo>
                    <a:pt x="346896" y="267636"/>
                    <a:pt x="331211" y="270413"/>
                    <a:pt x="313842" y="270413"/>
                  </a:cubicBezTo>
                  <a:close/>
                  <a:moveTo>
                    <a:pt x="283964" y="17544"/>
                  </a:moveTo>
                  <a:lnTo>
                    <a:pt x="283964" y="270418"/>
                  </a:lnTo>
                  <a:lnTo>
                    <a:pt x="240369" y="270418"/>
                  </a:lnTo>
                  <a:lnTo>
                    <a:pt x="240369" y="17544"/>
                  </a:lnTo>
                  <a:lnTo>
                    <a:pt x="283964" y="17544"/>
                  </a:lnTo>
                  <a:close/>
                  <a:moveTo>
                    <a:pt x="519299" y="17544"/>
                  </a:moveTo>
                  <a:lnTo>
                    <a:pt x="519299" y="270418"/>
                  </a:lnTo>
                  <a:lnTo>
                    <a:pt x="475705" y="270418"/>
                  </a:lnTo>
                  <a:lnTo>
                    <a:pt x="475705" y="17544"/>
                  </a:lnTo>
                  <a:lnTo>
                    <a:pt x="519299" y="17544"/>
                  </a:lnTo>
                  <a:close/>
                  <a:moveTo>
                    <a:pt x="811424" y="188093"/>
                  </a:moveTo>
                  <a:lnTo>
                    <a:pt x="854843" y="188093"/>
                  </a:lnTo>
                  <a:cubicBezTo>
                    <a:pt x="853452" y="204650"/>
                    <a:pt x="848822" y="219411"/>
                    <a:pt x="840947" y="232383"/>
                  </a:cubicBezTo>
                  <a:cubicBezTo>
                    <a:pt x="833073" y="245233"/>
                    <a:pt x="822017" y="255365"/>
                    <a:pt x="807776" y="262777"/>
                  </a:cubicBezTo>
                  <a:cubicBezTo>
                    <a:pt x="793535" y="270185"/>
                    <a:pt x="776225" y="273891"/>
                    <a:pt x="755845" y="273891"/>
                  </a:cubicBezTo>
                  <a:cubicBezTo>
                    <a:pt x="740213" y="273891"/>
                    <a:pt x="726147" y="271114"/>
                    <a:pt x="713642" y="265554"/>
                  </a:cubicBezTo>
                  <a:cubicBezTo>
                    <a:pt x="701137" y="259878"/>
                    <a:pt x="690427" y="251892"/>
                    <a:pt x="681512" y="241585"/>
                  </a:cubicBezTo>
                  <a:cubicBezTo>
                    <a:pt x="672596" y="231162"/>
                    <a:pt x="665768" y="218604"/>
                    <a:pt x="661021" y="203896"/>
                  </a:cubicBezTo>
                  <a:cubicBezTo>
                    <a:pt x="656390" y="189192"/>
                    <a:pt x="654075" y="172748"/>
                    <a:pt x="654075" y="154572"/>
                  </a:cubicBezTo>
                  <a:lnTo>
                    <a:pt x="654075" y="133555"/>
                  </a:lnTo>
                  <a:cubicBezTo>
                    <a:pt x="654075" y="115374"/>
                    <a:pt x="656449" y="98935"/>
                    <a:pt x="661196" y="84231"/>
                  </a:cubicBezTo>
                  <a:cubicBezTo>
                    <a:pt x="666059" y="69528"/>
                    <a:pt x="673005" y="56965"/>
                    <a:pt x="682037" y="46547"/>
                  </a:cubicBezTo>
                  <a:cubicBezTo>
                    <a:pt x="691069" y="36012"/>
                    <a:pt x="701891" y="27962"/>
                    <a:pt x="714513" y="22403"/>
                  </a:cubicBezTo>
                  <a:cubicBezTo>
                    <a:pt x="727246" y="16843"/>
                    <a:pt x="741546" y="14066"/>
                    <a:pt x="757411" y="14066"/>
                  </a:cubicBezTo>
                  <a:cubicBezTo>
                    <a:pt x="777557" y="14066"/>
                    <a:pt x="794581" y="17772"/>
                    <a:pt x="808472" y="25180"/>
                  </a:cubicBezTo>
                  <a:cubicBezTo>
                    <a:pt x="822368" y="32592"/>
                    <a:pt x="833131" y="42836"/>
                    <a:pt x="840777" y="55919"/>
                  </a:cubicBezTo>
                  <a:cubicBezTo>
                    <a:pt x="848535" y="69003"/>
                    <a:pt x="853282" y="83998"/>
                    <a:pt x="855018" y="100900"/>
                  </a:cubicBezTo>
                  <a:lnTo>
                    <a:pt x="811599" y="100900"/>
                  </a:lnTo>
                  <a:cubicBezTo>
                    <a:pt x="810442" y="90015"/>
                    <a:pt x="807893" y="80695"/>
                    <a:pt x="803958" y="72938"/>
                  </a:cubicBezTo>
                  <a:cubicBezTo>
                    <a:pt x="800140" y="65180"/>
                    <a:pt x="794464" y="59275"/>
                    <a:pt x="786940" y="55224"/>
                  </a:cubicBezTo>
                  <a:cubicBezTo>
                    <a:pt x="779415" y="51055"/>
                    <a:pt x="769571" y="48969"/>
                    <a:pt x="757416" y="48969"/>
                  </a:cubicBezTo>
                  <a:cubicBezTo>
                    <a:pt x="747460" y="48969"/>
                    <a:pt x="738773" y="50822"/>
                    <a:pt x="731366" y="54528"/>
                  </a:cubicBezTo>
                  <a:cubicBezTo>
                    <a:pt x="723953" y="58234"/>
                    <a:pt x="717762" y="63677"/>
                    <a:pt x="712781" y="70856"/>
                  </a:cubicBezTo>
                  <a:cubicBezTo>
                    <a:pt x="707801" y="78035"/>
                    <a:pt x="704041" y="86892"/>
                    <a:pt x="701492" y="97427"/>
                  </a:cubicBezTo>
                  <a:cubicBezTo>
                    <a:pt x="699060" y="107845"/>
                    <a:pt x="697844" y="119771"/>
                    <a:pt x="697844" y="133205"/>
                  </a:cubicBezTo>
                  <a:lnTo>
                    <a:pt x="697844" y="154567"/>
                  </a:lnTo>
                  <a:cubicBezTo>
                    <a:pt x="697844" y="167300"/>
                    <a:pt x="698944" y="178881"/>
                    <a:pt x="701142" y="189299"/>
                  </a:cubicBezTo>
                  <a:cubicBezTo>
                    <a:pt x="703457" y="199606"/>
                    <a:pt x="706930" y="208463"/>
                    <a:pt x="711565" y="215870"/>
                  </a:cubicBezTo>
                  <a:cubicBezTo>
                    <a:pt x="716312" y="223283"/>
                    <a:pt x="722334" y="229012"/>
                    <a:pt x="729629" y="233064"/>
                  </a:cubicBezTo>
                  <a:cubicBezTo>
                    <a:pt x="736925" y="237116"/>
                    <a:pt x="745665" y="239144"/>
                    <a:pt x="755855" y="239144"/>
                  </a:cubicBezTo>
                  <a:cubicBezTo>
                    <a:pt x="768243" y="239144"/>
                    <a:pt x="778258" y="237174"/>
                    <a:pt x="785904" y="233239"/>
                  </a:cubicBezTo>
                  <a:cubicBezTo>
                    <a:pt x="793661" y="229304"/>
                    <a:pt x="799508" y="223570"/>
                    <a:pt x="803443" y="216046"/>
                  </a:cubicBezTo>
                  <a:cubicBezTo>
                    <a:pt x="807494" y="208405"/>
                    <a:pt x="810159" y="199085"/>
                    <a:pt x="811434" y="188084"/>
                  </a:cubicBezTo>
                  <a:close/>
                  <a:moveTo>
                    <a:pt x="882285" y="178541"/>
                  </a:moveTo>
                  <a:lnTo>
                    <a:pt x="882285" y="174548"/>
                  </a:lnTo>
                  <a:cubicBezTo>
                    <a:pt x="882285" y="161002"/>
                    <a:pt x="884255" y="148439"/>
                    <a:pt x="888190" y="136858"/>
                  </a:cubicBezTo>
                  <a:cubicBezTo>
                    <a:pt x="892124" y="125165"/>
                    <a:pt x="897800" y="115034"/>
                    <a:pt x="905208" y="106464"/>
                  </a:cubicBezTo>
                  <a:cubicBezTo>
                    <a:pt x="912732" y="97782"/>
                    <a:pt x="921881" y="91065"/>
                    <a:pt x="932650" y="86318"/>
                  </a:cubicBezTo>
                  <a:cubicBezTo>
                    <a:pt x="943535" y="81454"/>
                    <a:pt x="955806" y="79022"/>
                    <a:pt x="969469" y="79022"/>
                  </a:cubicBezTo>
                  <a:cubicBezTo>
                    <a:pt x="983131" y="79022"/>
                    <a:pt x="995519" y="81454"/>
                    <a:pt x="1006288" y="86318"/>
                  </a:cubicBezTo>
                  <a:cubicBezTo>
                    <a:pt x="1017173" y="91065"/>
                    <a:pt x="1026375" y="97782"/>
                    <a:pt x="1033899" y="106464"/>
                  </a:cubicBezTo>
                  <a:cubicBezTo>
                    <a:pt x="1041424" y="115034"/>
                    <a:pt x="1047158" y="125165"/>
                    <a:pt x="1051093" y="136858"/>
                  </a:cubicBezTo>
                  <a:cubicBezTo>
                    <a:pt x="1055028" y="148439"/>
                    <a:pt x="1056998" y="160997"/>
                    <a:pt x="1056998" y="174548"/>
                  </a:cubicBezTo>
                  <a:lnTo>
                    <a:pt x="1056998" y="178541"/>
                  </a:lnTo>
                  <a:cubicBezTo>
                    <a:pt x="1056998" y="192086"/>
                    <a:pt x="1055028" y="204650"/>
                    <a:pt x="1051093" y="216230"/>
                  </a:cubicBezTo>
                  <a:cubicBezTo>
                    <a:pt x="1047153" y="227806"/>
                    <a:pt x="1041424" y="237938"/>
                    <a:pt x="1033899" y="246624"/>
                  </a:cubicBezTo>
                  <a:cubicBezTo>
                    <a:pt x="1026375" y="255194"/>
                    <a:pt x="1017226" y="261906"/>
                    <a:pt x="1006458" y="266770"/>
                  </a:cubicBezTo>
                  <a:cubicBezTo>
                    <a:pt x="995689" y="271517"/>
                    <a:pt x="983476" y="273891"/>
                    <a:pt x="969814" y="273891"/>
                  </a:cubicBezTo>
                  <a:cubicBezTo>
                    <a:pt x="956151" y="273891"/>
                    <a:pt x="943705" y="271517"/>
                    <a:pt x="932820" y="266770"/>
                  </a:cubicBezTo>
                  <a:cubicBezTo>
                    <a:pt x="922051" y="261906"/>
                    <a:pt x="912907" y="255189"/>
                    <a:pt x="905378" y="246624"/>
                  </a:cubicBezTo>
                  <a:cubicBezTo>
                    <a:pt x="897854" y="237942"/>
                    <a:pt x="892119" y="227811"/>
                    <a:pt x="888185" y="216230"/>
                  </a:cubicBezTo>
                  <a:cubicBezTo>
                    <a:pt x="884245" y="204650"/>
                    <a:pt x="882280" y="192086"/>
                    <a:pt x="882280" y="178541"/>
                  </a:cubicBezTo>
                  <a:close/>
                  <a:moveTo>
                    <a:pt x="924143" y="174548"/>
                  </a:moveTo>
                  <a:lnTo>
                    <a:pt x="924143" y="178541"/>
                  </a:lnTo>
                  <a:cubicBezTo>
                    <a:pt x="924143" y="186994"/>
                    <a:pt x="925013" y="194980"/>
                    <a:pt x="926750" y="202510"/>
                  </a:cubicBezTo>
                  <a:cubicBezTo>
                    <a:pt x="928486" y="210034"/>
                    <a:pt x="931210" y="216634"/>
                    <a:pt x="934911" y="222310"/>
                  </a:cubicBezTo>
                  <a:cubicBezTo>
                    <a:pt x="938617" y="227981"/>
                    <a:pt x="943365" y="232441"/>
                    <a:pt x="949152" y="235681"/>
                  </a:cubicBezTo>
                  <a:cubicBezTo>
                    <a:pt x="954940" y="238925"/>
                    <a:pt x="961832" y="240545"/>
                    <a:pt x="969819" y="240545"/>
                  </a:cubicBezTo>
                  <a:cubicBezTo>
                    <a:pt x="977805" y="240545"/>
                    <a:pt x="984293" y="238925"/>
                    <a:pt x="989965" y="235681"/>
                  </a:cubicBezTo>
                  <a:cubicBezTo>
                    <a:pt x="995753" y="232441"/>
                    <a:pt x="1000500" y="227981"/>
                    <a:pt x="1004206" y="222310"/>
                  </a:cubicBezTo>
                  <a:cubicBezTo>
                    <a:pt x="1007912" y="216634"/>
                    <a:pt x="1010631" y="210039"/>
                    <a:pt x="1012367" y="202510"/>
                  </a:cubicBezTo>
                  <a:cubicBezTo>
                    <a:pt x="1014220" y="194985"/>
                    <a:pt x="1015145" y="186994"/>
                    <a:pt x="1015145" y="178541"/>
                  </a:cubicBezTo>
                  <a:lnTo>
                    <a:pt x="1015145" y="174548"/>
                  </a:lnTo>
                  <a:cubicBezTo>
                    <a:pt x="1015145" y="166211"/>
                    <a:pt x="1014220" y="158336"/>
                    <a:pt x="1012367" y="150929"/>
                  </a:cubicBezTo>
                  <a:cubicBezTo>
                    <a:pt x="1010631" y="143405"/>
                    <a:pt x="1007854" y="136746"/>
                    <a:pt x="1004031" y="130958"/>
                  </a:cubicBezTo>
                  <a:cubicBezTo>
                    <a:pt x="1000325" y="125170"/>
                    <a:pt x="995578" y="120652"/>
                    <a:pt x="989790" y="117412"/>
                  </a:cubicBezTo>
                  <a:cubicBezTo>
                    <a:pt x="984118" y="114056"/>
                    <a:pt x="977343" y="112378"/>
                    <a:pt x="969469" y="112378"/>
                  </a:cubicBezTo>
                  <a:cubicBezTo>
                    <a:pt x="961594" y="112378"/>
                    <a:pt x="954765" y="114056"/>
                    <a:pt x="948977" y="117412"/>
                  </a:cubicBezTo>
                  <a:cubicBezTo>
                    <a:pt x="943301" y="120657"/>
                    <a:pt x="938613" y="125170"/>
                    <a:pt x="934911" y="130958"/>
                  </a:cubicBezTo>
                  <a:cubicBezTo>
                    <a:pt x="931205" y="136746"/>
                    <a:pt x="928486" y="143405"/>
                    <a:pt x="926750" y="150929"/>
                  </a:cubicBezTo>
                  <a:cubicBezTo>
                    <a:pt x="925013" y="158341"/>
                    <a:pt x="924143" y="166211"/>
                    <a:pt x="924143" y="174548"/>
                  </a:cubicBezTo>
                  <a:close/>
                  <a:moveTo>
                    <a:pt x="1133598" y="122617"/>
                  </a:moveTo>
                  <a:lnTo>
                    <a:pt x="1133598" y="270418"/>
                  </a:lnTo>
                  <a:lnTo>
                    <a:pt x="1091745" y="270418"/>
                  </a:lnTo>
                  <a:lnTo>
                    <a:pt x="1091745" y="82495"/>
                  </a:lnTo>
                  <a:lnTo>
                    <a:pt x="1131171" y="82495"/>
                  </a:lnTo>
                  <a:lnTo>
                    <a:pt x="1133603" y="122617"/>
                  </a:lnTo>
                  <a:close/>
                  <a:moveTo>
                    <a:pt x="1126132" y="169509"/>
                  </a:moveTo>
                  <a:lnTo>
                    <a:pt x="1112586" y="169334"/>
                  </a:lnTo>
                  <a:cubicBezTo>
                    <a:pt x="1112703" y="156016"/>
                    <a:pt x="1114556" y="143803"/>
                    <a:pt x="1118145" y="132690"/>
                  </a:cubicBezTo>
                  <a:cubicBezTo>
                    <a:pt x="1121852" y="121576"/>
                    <a:pt x="1126944" y="112023"/>
                    <a:pt x="1133428" y="104032"/>
                  </a:cubicBezTo>
                  <a:cubicBezTo>
                    <a:pt x="1140028" y="96041"/>
                    <a:pt x="1147902" y="89908"/>
                    <a:pt x="1157046" y="85623"/>
                  </a:cubicBezTo>
                  <a:cubicBezTo>
                    <a:pt x="1166195" y="81226"/>
                    <a:pt x="1176385" y="79022"/>
                    <a:pt x="1187615" y="79022"/>
                  </a:cubicBezTo>
                  <a:cubicBezTo>
                    <a:pt x="1196647" y="79022"/>
                    <a:pt x="1204809" y="80297"/>
                    <a:pt x="1212105" y="82840"/>
                  </a:cubicBezTo>
                  <a:cubicBezTo>
                    <a:pt x="1219517" y="85272"/>
                    <a:pt x="1225825" y="89265"/>
                    <a:pt x="1231034" y="94825"/>
                  </a:cubicBezTo>
                  <a:cubicBezTo>
                    <a:pt x="1236360" y="100384"/>
                    <a:pt x="1240412" y="107617"/>
                    <a:pt x="1243189" y="116532"/>
                  </a:cubicBezTo>
                  <a:cubicBezTo>
                    <a:pt x="1245966" y="125331"/>
                    <a:pt x="1247357" y="136157"/>
                    <a:pt x="1247357" y="149013"/>
                  </a:cubicBezTo>
                  <a:lnTo>
                    <a:pt x="1247357" y="270413"/>
                  </a:lnTo>
                  <a:lnTo>
                    <a:pt x="1205329" y="270413"/>
                  </a:lnTo>
                  <a:lnTo>
                    <a:pt x="1205329" y="148837"/>
                  </a:lnTo>
                  <a:cubicBezTo>
                    <a:pt x="1205329" y="139805"/>
                    <a:pt x="1203996" y="132685"/>
                    <a:pt x="1201336" y="127476"/>
                  </a:cubicBezTo>
                  <a:cubicBezTo>
                    <a:pt x="1198787" y="122150"/>
                    <a:pt x="1195028" y="118385"/>
                    <a:pt x="1190047" y="116187"/>
                  </a:cubicBezTo>
                  <a:cubicBezTo>
                    <a:pt x="1185183" y="113872"/>
                    <a:pt x="1179104" y="112714"/>
                    <a:pt x="1171813" y="112714"/>
                  </a:cubicBezTo>
                  <a:cubicBezTo>
                    <a:pt x="1164522" y="112714"/>
                    <a:pt x="1158209" y="114217"/>
                    <a:pt x="1152533" y="117228"/>
                  </a:cubicBezTo>
                  <a:cubicBezTo>
                    <a:pt x="1146861" y="120238"/>
                    <a:pt x="1142056" y="124348"/>
                    <a:pt x="1138116" y="129557"/>
                  </a:cubicBezTo>
                  <a:cubicBezTo>
                    <a:pt x="1134293" y="134766"/>
                    <a:pt x="1131341" y="140788"/>
                    <a:pt x="1129259" y="147621"/>
                  </a:cubicBezTo>
                  <a:cubicBezTo>
                    <a:pt x="1127178" y="154450"/>
                    <a:pt x="1126132" y="161746"/>
                    <a:pt x="1126132" y="169504"/>
                  </a:cubicBezTo>
                  <a:close/>
                  <a:moveTo>
                    <a:pt x="1346701" y="270418"/>
                  </a:moveTo>
                  <a:lnTo>
                    <a:pt x="1304843" y="270418"/>
                  </a:lnTo>
                  <a:lnTo>
                    <a:pt x="1304843" y="64436"/>
                  </a:lnTo>
                  <a:cubicBezTo>
                    <a:pt x="1304843" y="50428"/>
                    <a:pt x="1307450" y="38672"/>
                    <a:pt x="1312659" y="29178"/>
                  </a:cubicBezTo>
                  <a:cubicBezTo>
                    <a:pt x="1317985" y="19567"/>
                    <a:pt x="1325567" y="12330"/>
                    <a:pt x="1335412" y="7471"/>
                  </a:cubicBezTo>
                  <a:cubicBezTo>
                    <a:pt x="1345256" y="2490"/>
                    <a:pt x="1356890" y="0"/>
                    <a:pt x="1370319" y="0"/>
                  </a:cubicBezTo>
                  <a:cubicBezTo>
                    <a:pt x="1374488" y="0"/>
                    <a:pt x="1378597" y="292"/>
                    <a:pt x="1382649" y="871"/>
                  </a:cubicBezTo>
                  <a:cubicBezTo>
                    <a:pt x="1386701" y="1333"/>
                    <a:pt x="1390640" y="2087"/>
                    <a:pt x="1394458" y="3127"/>
                  </a:cubicBezTo>
                  <a:lnTo>
                    <a:pt x="1393418" y="35433"/>
                  </a:lnTo>
                  <a:cubicBezTo>
                    <a:pt x="1391102" y="34854"/>
                    <a:pt x="1388554" y="34450"/>
                    <a:pt x="1385776" y="34217"/>
                  </a:cubicBezTo>
                  <a:cubicBezTo>
                    <a:pt x="1383116" y="33983"/>
                    <a:pt x="1380217" y="33872"/>
                    <a:pt x="1377095" y="33872"/>
                  </a:cubicBezTo>
                  <a:cubicBezTo>
                    <a:pt x="1370728" y="33872"/>
                    <a:pt x="1365227" y="35088"/>
                    <a:pt x="1360596" y="37519"/>
                  </a:cubicBezTo>
                  <a:cubicBezTo>
                    <a:pt x="1356083" y="39835"/>
                    <a:pt x="1352605" y="43249"/>
                    <a:pt x="1350178" y="47767"/>
                  </a:cubicBezTo>
                  <a:cubicBezTo>
                    <a:pt x="1347863" y="52286"/>
                    <a:pt x="1346706" y="57840"/>
                    <a:pt x="1346706" y="64441"/>
                  </a:cubicBezTo>
                  <a:lnTo>
                    <a:pt x="1346706" y="270423"/>
                  </a:lnTo>
                  <a:close/>
                  <a:moveTo>
                    <a:pt x="1385431" y="82500"/>
                  </a:moveTo>
                  <a:lnTo>
                    <a:pt x="1385431" y="113069"/>
                  </a:lnTo>
                  <a:lnTo>
                    <a:pt x="1276015" y="113069"/>
                  </a:lnTo>
                  <a:lnTo>
                    <a:pt x="1276015" y="82500"/>
                  </a:lnTo>
                  <a:lnTo>
                    <a:pt x="1385431" y="82500"/>
                  </a:lnTo>
                  <a:close/>
                </a:path>
              </a:pathLst>
            </a:custGeom>
            <a:solidFill>
              <a:srgbClr val="EE3431"/>
            </a:solidFill>
            <a:ln w="4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6" name="Полилиния: фигура 45">
              <a:extLst>
                <a:ext uri="{FF2B5EF4-FFF2-40B4-BE49-F238E27FC236}">
                  <a16:creationId xmlns:a16="http://schemas.microsoft.com/office/drawing/2014/main" id="{EB80AEA3-6D76-4813-B83E-E98064CA7762}"/>
                </a:ext>
              </a:extLst>
            </p:cNvPr>
            <p:cNvSpPr/>
            <p:nvPr/>
          </p:nvSpPr>
          <p:spPr>
            <a:xfrm>
              <a:off x="7406975" y="5855999"/>
              <a:ext cx="1394458" cy="273890"/>
            </a:xfrm>
            <a:custGeom>
              <a:avLst/>
              <a:gdLst>
                <a:gd name="connsiteX0" fmla="*/ 157354 w 1394458"/>
                <a:gd name="connsiteY0" fmla="*/ 188093 h 273890"/>
                <a:gd name="connsiteX1" fmla="*/ 200773 w 1394458"/>
                <a:gd name="connsiteY1" fmla="*/ 188093 h 273890"/>
                <a:gd name="connsiteX2" fmla="*/ 186877 w 1394458"/>
                <a:gd name="connsiteY2" fmla="*/ 232383 h 273890"/>
                <a:gd name="connsiteX3" fmla="*/ 153706 w 1394458"/>
                <a:gd name="connsiteY3" fmla="*/ 262777 h 273890"/>
                <a:gd name="connsiteX4" fmla="*/ 101775 w 1394458"/>
                <a:gd name="connsiteY4" fmla="*/ 273891 h 273890"/>
                <a:gd name="connsiteX5" fmla="*/ 59572 w 1394458"/>
                <a:gd name="connsiteY5" fmla="*/ 265554 h 273890"/>
                <a:gd name="connsiteX6" fmla="*/ 27442 w 1394458"/>
                <a:gd name="connsiteY6" fmla="*/ 241585 h 273890"/>
                <a:gd name="connsiteX7" fmla="*/ 6950 w 1394458"/>
                <a:gd name="connsiteY7" fmla="*/ 203901 h 273890"/>
                <a:gd name="connsiteX8" fmla="*/ 0 w 1394458"/>
                <a:gd name="connsiteY8" fmla="*/ 154572 h 273890"/>
                <a:gd name="connsiteX9" fmla="*/ 0 w 1394458"/>
                <a:gd name="connsiteY9" fmla="*/ 133555 h 273890"/>
                <a:gd name="connsiteX10" fmla="*/ 7121 w 1394458"/>
                <a:gd name="connsiteY10" fmla="*/ 84231 h 273890"/>
                <a:gd name="connsiteX11" fmla="*/ 27962 w 1394458"/>
                <a:gd name="connsiteY11" fmla="*/ 46542 h 273890"/>
                <a:gd name="connsiteX12" fmla="*/ 60438 w 1394458"/>
                <a:gd name="connsiteY12" fmla="*/ 22403 h 273890"/>
                <a:gd name="connsiteX13" fmla="*/ 103336 w 1394458"/>
                <a:gd name="connsiteY13" fmla="*/ 14066 h 273890"/>
                <a:gd name="connsiteX14" fmla="*/ 154397 w 1394458"/>
                <a:gd name="connsiteY14" fmla="*/ 25180 h 273890"/>
                <a:gd name="connsiteX15" fmla="*/ 186702 w 1394458"/>
                <a:gd name="connsiteY15" fmla="*/ 55919 h 273890"/>
                <a:gd name="connsiteX16" fmla="*/ 200943 w 1394458"/>
                <a:gd name="connsiteY16" fmla="*/ 100900 h 273890"/>
                <a:gd name="connsiteX17" fmla="*/ 157524 w 1394458"/>
                <a:gd name="connsiteY17" fmla="*/ 100900 h 273890"/>
                <a:gd name="connsiteX18" fmla="*/ 149883 w 1394458"/>
                <a:gd name="connsiteY18" fmla="*/ 72938 h 273890"/>
                <a:gd name="connsiteX19" fmla="*/ 132865 w 1394458"/>
                <a:gd name="connsiteY19" fmla="*/ 55224 h 273890"/>
                <a:gd name="connsiteX20" fmla="*/ 103341 w 1394458"/>
                <a:gd name="connsiteY20" fmla="*/ 48969 h 273890"/>
                <a:gd name="connsiteX21" fmla="*/ 77291 w 1394458"/>
                <a:gd name="connsiteY21" fmla="*/ 54528 h 273890"/>
                <a:gd name="connsiteX22" fmla="*/ 58706 w 1394458"/>
                <a:gd name="connsiteY22" fmla="*/ 70856 h 273890"/>
                <a:gd name="connsiteX23" fmla="*/ 47417 w 1394458"/>
                <a:gd name="connsiteY23" fmla="*/ 97427 h 273890"/>
                <a:gd name="connsiteX24" fmla="*/ 43769 w 1394458"/>
                <a:gd name="connsiteY24" fmla="*/ 133205 h 273890"/>
                <a:gd name="connsiteX25" fmla="*/ 43769 w 1394458"/>
                <a:gd name="connsiteY25" fmla="*/ 154567 h 273890"/>
                <a:gd name="connsiteX26" fmla="*/ 47067 w 1394458"/>
                <a:gd name="connsiteY26" fmla="*/ 189304 h 273890"/>
                <a:gd name="connsiteX27" fmla="*/ 57490 w 1394458"/>
                <a:gd name="connsiteY27" fmla="*/ 215875 h 273890"/>
                <a:gd name="connsiteX28" fmla="*/ 75550 w 1394458"/>
                <a:gd name="connsiteY28" fmla="*/ 233069 h 273890"/>
                <a:gd name="connsiteX29" fmla="*/ 101775 w 1394458"/>
                <a:gd name="connsiteY29" fmla="*/ 239149 h 273890"/>
                <a:gd name="connsiteX30" fmla="*/ 131824 w 1394458"/>
                <a:gd name="connsiteY30" fmla="*/ 233244 h 273890"/>
                <a:gd name="connsiteX31" fmla="*/ 149363 w 1394458"/>
                <a:gd name="connsiteY31" fmla="*/ 216050 h 273890"/>
                <a:gd name="connsiteX32" fmla="*/ 157354 w 1394458"/>
                <a:gd name="connsiteY32" fmla="*/ 188088 h 273890"/>
                <a:gd name="connsiteX33" fmla="*/ 313837 w 1394458"/>
                <a:gd name="connsiteY33" fmla="*/ 270418 h 273890"/>
                <a:gd name="connsiteX34" fmla="*/ 259825 w 1394458"/>
                <a:gd name="connsiteY34" fmla="*/ 270418 h 273890"/>
                <a:gd name="connsiteX35" fmla="*/ 260170 w 1394458"/>
                <a:gd name="connsiteY35" fmla="*/ 235856 h 273890"/>
                <a:gd name="connsiteX36" fmla="*/ 313837 w 1394458"/>
                <a:gd name="connsiteY36" fmla="*/ 235856 h 273890"/>
                <a:gd name="connsiteX37" fmla="*/ 353088 w 1394458"/>
                <a:gd name="connsiteY37" fmla="*/ 225608 h 273890"/>
                <a:gd name="connsiteX38" fmla="*/ 377057 w 1394458"/>
                <a:gd name="connsiteY38" fmla="*/ 196255 h 273890"/>
                <a:gd name="connsiteX39" fmla="*/ 385218 w 1394458"/>
                <a:gd name="connsiteY39" fmla="*/ 150754 h 273890"/>
                <a:gd name="connsiteX40" fmla="*/ 385218 w 1394458"/>
                <a:gd name="connsiteY40" fmla="*/ 137033 h 273890"/>
                <a:gd name="connsiteX41" fmla="*/ 380530 w 1394458"/>
                <a:gd name="connsiteY41" fmla="*/ 100734 h 273890"/>
                <a:gd name="connsiteX42" fmla="*/ 366984 w 1394458"/>
                <a:gd name="connsiteY42" fmla="*/ 74163 h 273890"/>
                <a:gd name="connsiteX43" fmla="*/ 345102 w 1394458"/>
                <a:gd name="connsiteY43" fmla="*/ 57840 h 273890"/>
                <a:gd name="connsiteX44" fmla="*/ 315403 w 1394458"/>
                <a:gd name="connsiteY44" fmla="*/ 52281 h 273890"/>
                <a:gd name="connsiteX45" fmla="*/ 258784 w 1394458"/>
                <a:gd name="connsiteY45" fmla="*/ 52281 h 273890"/>
                <a:gd name="connsiteX46" fmla="*/ 258784 w 1394458"/>
                <a:gd name="connsiteY46" fmla="*/ 17544 h 273890"/>
                <a:gd name="connsiteX47" fmla="*/ 315403 w 1394458"/>
                <a:gd name="connsiteY47" fmla="*/ 17544 h 273890"/>
                <a:gd name="connsiteX48" fmla="*/ 361429 w 1394458"/>
                <a:gd name="connsiteY48" fmla="*/ 26055 h 273890"/>
                <a:gd name="connsiteX49" fmla="*/ 397383 w 1394458"/>
                <a:gd name="connsiteY49" fmla="*/ 50195 h 273890"/>
                <a:gd name="connsiteX50" fmla="*/ 420826 w 1394458"/>
                <a:gd name="connsiteY50" fmla="*/ 88054 h 273890"/>
                <a:gd name="connsiteX51" fmla="*/ 428988 w 1394458"/>
                <a:gd name="connsiteY51" fmla="*/ 137378 h 273890"/>
                <a:gd name="connsiteX52" fmla="*/ 428988 w 1394458"/>
                <a:gd name="connsiteY52" fmla="*/ 150754 h 273890"/>
                <a:gd name="connsiteX53" fmla="*/ 420826 w 1394458"/>
                <a:gd name="connsiteY53" fmla="*/ 200078 h 273890"/>
                <a:gd name="connsiteX54" fmla="*/ 397383 w 1394458"/>
                <a:gd name="connsiteY54" fmla="*/ 237938 h 273890"/>
                <a:gd name="connsiteX55" fmla="*/ 360909 w 1394458"/>
                <a:gd name="connsiteY55" fmla="*/ 262077 h 273890"/>
                <a:gd name="connsiteX56" fmla="*/ 313842 w 1394458"/>
                <a:gd name="connsiteY56" fmla="*/ 270413 h 273890"/>
                <a:gd name="connsiteX57" fmla="*/ 283964 w 1394458"/>
                <a:gd name="connsiteY57" fmla="*/ 17544 h 273890"/>
                <a:gd name="connsiteX58" fmla="*/ 283964 w 1394458"/>
                <a:gd name="connsiteY58" fmla="*/ 270418 h 273890"/>
                <a:gd name="connsiteX59" fmla="*/ 240369 w 1394458"/>
                <a:gd name="connsiteY59" fmla="*/ 270418 h 273890"/>
                <a:gd name="connsiteX60" fmla="*/ 240369 w 1394458"/>
                <a:gd name="connsiteY60" fmla="*/ 17544 h 273890"/>
                <a:gd name="connsiteX61" fmla="*/ 283964 w 1394458"/>
                <a:gd name="connsiteY61" fmla="*/ 17544 h 273890"/>
                <a:gd name="connsiteX62" fmla="*/ 519299 w 1394458"/>
                <a:gd name="connsiteY62" fmla="*/ 17544 h 273890"/>
                <a:gd name="connsiteX63" fmla="*/ 519299 w 1394458"/>
                <a:gd name="connsiteY63" fmla="*/ 270418 h 273890"/>
                <a:gd name="connsiteX64" fmla="*/ 475705 w 1394458"/>
                <a:gd name="connsiteY64" fmla="*/ 270418 h 273890"/>
                <a:gd name="connsiteX65" fmla="*/ 475705 w 1394458"/>
                <a:gd name="connsiteY65" fmla="*/ 17544 h 273890"/>
                <a:gd name="connsiteX66" fmla="*/ 519299 w 1394458"/>
                <a:gd name="connsiteY66" fmla="*/ 17544 h 273890"/>
                <a:gd name="connsiteX67" fmla="*/ 811424 w 1394458"/>
                <a:gd name="connsiteY67" fmla="*/ 188093 h 273890"/>
                <a:gd name="connsiteX68" fmla="*/ 854843 w 1394458"/>
                <a:gd name="connsiteY68" fmla="*/ 188093 h 273890"/>
                <a:gd name="connsiteX69" fmla="*/ 840947 w 1394458"/>
                <a:gd name="connsiteY69" fmla="*/ 232383 h 273890"/>
                <a:gd name="connsiteX70" fmla="*/ 807776 w 1394458"/>
                <a:gd name="connsiteY70" fmla="*/ 262777 h 273890"/>
                <a:gd name="connsiteX71" fmla="*/ 755845 w 1394458"/>
                <a:gd name="connsiteY71" fmla="*/ 273891 h 273890"/>
                <a:gd name="connsiteX72" fmla="*/ 713642 w 1394458"/>
                <a:gd name="connsiteY72" fmla="*/ 265554 h 273890"/>
                <a:gd name="connsiteX73" fmla="*/ 681512 w 1394458"/>
                <a:gd name="connsiteY73" fmla="*/ 241585 h 273890"/>
                <a:gd name="connsiteX74" fmla="*/ 661021 w 1394458"/>
                <a:gd name="connsiteY74" fmla="*/ 203901 h 273890"/>
                <a:gd name="connsiteX75" fmla="*/ 654075 w 1394458"/>
                <a:gd name="connsiteY75" fmla="*/ 154577 h 273890"/>
                <a:gd name="connsiteX76" fmla="*/ 654075 w 1394458"/>
                <a:gd name="connsiteY76" fmla="*/ 133560 h 273890"/>
                <a:gd name="connsiteX77" fmla="*/ 661196 w 1394458"/>
                <a:gd name="connsiteY77" fmla="*/ 84236 h 273890"/>
                <a:gd name="connsiteX78" fmla="*/ 682037 w 1394458"/>
                <a:gd name="connsiteY78" fmla="*/ 46547 h 273890"/>
                <a:gd name="connsiteX79" fmla="*/ 714513 w 1394458"/>
                <a:gd name="connsiteY79" fmla="*/ 22408 h 273890"/>
                <a:gd name="connsiteX80" fmla="*/ 757411 w 1394458"/>
                <a:gd name="connsiteY80" fmla="*/ 14071 h 273890"/>
                <a:gd name="connsiteX81" fmla="*/ 808472 w 1394458"/>
                <a:gd name="connsiteY81" fmla="*/ 25185 h 273890"/>
                <a:gd name="connsiteX82" fmla="*/ 840777 w 1394458"/>
                <a:gd name="connsiteY82" fmla="*/ 55924 h 273890"/>
                <a:gd name="connsiteX83" fmla="*/ 855018 w 1394458"/>
                <a:gd name="connsiteY83" fmla="*/ 100905 h 273890"/>
                <a:gd name="connsiteX84" fmla="*/ 811599 w 1394458"/>
                <a:gd name="connsiteY84" fmla="*/ 100905 h 273890"/>
                <a:gd name="connsiteX85" fmla="*/ 803958 w 1394458"/>
                <a:gd name="connsiteY85" fmla="*/ 72943 h 273890"/>
                <a:gd name="connsiteX86" fmla="*/ 786940 w 1394458"/>
                <a:gd name="connsiteY86" fmla="*/ 55229 h 273890"/>
                <a:gd name="connsiteX87" fmla="*/ 757416 w 1394458"/>
                <a:gd name="connsiteY87" fmla="*/ 48974 h 273890"/>
                <a:gd name="connsiteX88" fmla="*/ 731366 w 1394458"/>
                <a:gd name="connsiteY88" fmla="*/ 54533 h 273890"/>
                <a:gd name="connsiteX89" fmla="*/ 712781 w 1394458"/>
                <a:gd name="connsiteY89" fmla="*/ 70861 h 273890"/>
                <a:gd name="connsiteX90" fmla="*/ 701492 w 1394458"/>
                <a:gd name="connsiteY90" fmla="*/ 97432 h 273890"/>
                <a:gd name="connsiteX91" fmla="*/ 697844 w 1394458"/>
                <a:gd name="connsiteY91" fmla="*/ 133210 h 273890"/>
                <a:gd name="connsiteX92" fmla="*/ 697844 w 1394458"/>
                <a:gd name="connsiteY92" fmla="*/ 154572 h 273890"/>
                <a:gd name="connsiteX93" fmla="*/ 701142 w 1394458"/>
                <a:gd name="connsiteY93" fmla="*/ 189309 h 273890"/>
                <a:gd name="connsiteX94" fmla="*/ 711565 w 1394458"/>
                <a:gd name="connsiteY94" fmla="*/ 215880 h 273890"/>
                <a:gd name="connsiteX95" fmla="*/ 729629 w 1394458"/>
                <a:gd name="connsiteY95" fmla="*/ 233074 h 273890"/>
                <a:gd name="connsiteX96" fmla="*/ 755855 w 1394458"/>
                <a:gd name="connsiteY96" fmla="*/ 239154 h 273890"/>
                <a:gd name="connsiteX97" fmla="*/ 785904 w 1394458"/>
                <a:gd name="connsiteY97" fmla="*/ 233249 h 273890"/>
                <a:gd name="connsiteX98" fmla="*/ 803443 w 1394458"/>
                <a:gd name="connsiteY98" fmla="*/ 216055 h 273890"/>
                <a:gd name="connsiteX99" fmla="*/ 811434 w 1394458"/>
                <a:gd name="connsiteY99" fmla="*/ 188093 h 273890"/>
                <a:gd name="connsiteX100" fmla="*/ 882285 w 1394458"/>
                <a:gd name="connsiteY100" fmla="*/ 178541 h 273890"/>
                <a:gd name="connsiteX101" fmla="*/ 882285 w 1394458"/>
                <a:gd name="connsiteY101" fmla="*/ 174548 h 273890"/>
                <a:gd name="connsiteX102" fmla="*/ 888190 w 1394458"/>
                <a:gd name="connsiteY102" fmla="*/ 136858 h 273890"/>
                <a:gd name="connsiteX103" fmla="*/ 905208 w 1394458"/>
                <a:gd name="connsiteY103" fmla="*/ 106464 h 273890"/>
                <a:gd name="connsiteX104" fmla="*/ 932650 w 1394458"/>
                <a:gd name="connsiteY104" fmla="*/ 86318 h 273890"/>
                <a:gd name="connsiteX105" fmla="*/ 969469 w 1394458"/>
                <a:gd name="connsiteY105" fmla="*/ 79022 h 273890"/>
                <a:gd name="connsiteX106" fmla="*/ 1006288 w 1394458"/>
                <a:gd name="connsiteY106" fmla="*/ 86318 h 273890"/>
                <a:gd name="connsiteX107" fmla="*/ 1033899 w 1394458"/>
                <a:gd name="connsiteY107" fmla="*/ 106464 h 273890"/>
                <a:gd name="connsiteX108" fmla="*/ 1051093 w 1394458"/>
                <a:gd name="connsiteY108" fmla="*/ 136858 h 273890"/>
                <a:gd name="connsiteX109" fmla="*/ 1056998 w 1394458"/>
                <a:gd name="connsiteY109" fmla="*/ 174548 h 273890"/>
                <a:gd name="connsiteX110" fmla="*/ 1056998 w 1394458"/>
                <a:gd name="connsiteY110" fmla="*/ 178541 h 273890"/>
                <a:gd name="connsiteX111" fmla="*/ 1051093 w 1394458"/>
                <a:gd name="connsiteY111" fmla="*/ 216226 h 273890"/>
                <a:gd name="connsiteX112" fmla="*/ 1033899 w 1394458"/>
                <a:gd name="connsiteY112" fmla="*/ 246619 h 273890"/>
                <a:gd name="connsiteX113" fmla="*/ 1006458 w 1394458"/>
                <a:gd name="connsiteY113" fmla="*/ 266765 h 273890"/>
                <a:gd name="connsiteX114" fmla="*/ 969814 w 1394458"/>
                <a:gd name="connsiteY114" fmla="*/ 273886 h 273890"/>
                <a:gd name="connsiteX115" fmla="*/ 932820 w 1394458"/>
                <a:gd name="connsiteY115" fmla="*/ 266765 h 273890"/>
                <a:gd name="connsiteX116" fmla="*/ 905378 w 1394458"/>
                <a:gd name="connsiteY116" fmla="*/ 246619 h 273890"/>
                <a:gd name="connsiteX117" fmla="*/ 888185 w 1394458"/>
                <a:gd name="connsiteY117" fmla="*/ 216226 h 273890"/>
                <a:gd name="connsiteX118" fmla="*/ 882280 w 1394458"/>
                <a:gd name="connsiteY118" fmla="*/ 178541 h 273890"/>
                <a:gd name="connsiteX119" fmla="*/ 924143 w 1394458"/>
                <a:gd name="connsiteY119" fmla="*/ 174548 h 273890"/>
                <a:gd name="connsiteX120" fmla="*/ 924143 w 1394458"/>
                <a:gd name="connsiteY120" fmla="*/ 178541 h 273890"/>
                <a:gd name="connsiteX121" fmla="*/ 926750 w 1394458"/>
                <a:gd name="connsiteY121" fmla="*/ 202510 h 273890"/>
                <a:gd name="connsiteX122" fmla="*/ 934911 w 1394458"/>
                <a:gd name="connsiteY122" fmla="*/ 222310 h 273890"/>
                <a:gd name="connsiteX123" fmla="*/ 949152 w 1394458"/>
                <a:gd name="connsiteY123" fmla="*/ 235681 h 273890"/>
                <a:gd name="connsiteX124" fmla="*/ 969819 w 1394458"/>
                <a:gd name="connsiteY124" fmla="*/ 240545 h 273890"/>
                <a:gd name="connsiteX125" fmla="*/ 989965 w 1394458"/>
                <a:gd name="connsiteY125" fmla="*/ 235681 h 273890"/>
                <a:gd name="connsiteX126" fmla="*/ 1004206 w 1394458"/>
                <a:gd name="connsiteY126" fmla="*/ 222310 h 273890"/>
                <a:gd name="connsiteX127" fmla="*/ 1012367 w 1394458"/>
                <a:gd name="connsiteY127" fmla="*/ 202510 h 273890"/>
                <a:gd name="connsiteX128" fmla="*/ 1015145 w 1394458"/>
                <a:gd name="connsiteY128" fmla="*/ 178541 h 273890"/>
                <a:gd name="connsiteX129" fmla="*/ 1015145 w 1394458"/>
                <a:gd name="connsiteY129" fmla="*/ 174548 h 273890"/>
                <a:gd name="connsiteX130" fmla="*/ 1012367 w 1394458"/>
                <a:gd name="connsiteY130" fmla="*/ 150929 h 273890"/>
                <a:gd name="connsiteX131" fmla="*/ 1004031 w 1394458"/>
                <a:gd name="connsiteY131" fmla="*/ 130958 h 273890"/>
                <a:gd name="connsiteX132" fmla="*/ 989790 w 1394458"/>
                <a:gd name="connsiteY132" fmla="*/ 117412 h 273890"/>
                <a:gd name="connsiteX133" fmla="*/ 969469 w 1394458"/>
                <a:gd name="connsiteY133" fmla="*/ 112373 h 273890"/>
                <a:gd name="connsiteX134" fmla="*/ 948977 w 1394458"/>
                <a:gd name="connsiteY134" fmla="*/ 117412 h 273890"/>
                <a:gd name="connsiteX135" fmla="*/ 934911 w 1394458"/>
                <a:gd name="connsiteY135" fmla="*/ 130958 h 273890"/>
                <a:gd name="connsiteX136" fmla="*/ 926750 w 1394458"/>
                <a:gd name="connsiteY136" fmla="*/ 150929 h 273890"/>
                <a:gd name="connsiteX137" fmla="*/ 924143 w 1394458"/>
                <a:gd name="connsiteY137" fmla="*/ 174548 h 273890"/>
                <a:gd name="connsiteX138" fmla="*/ 1133598 w 1394458"/>
                <a:gd name="connsiteY138" fmla="*/ 122617 h 273890"/>
                <a:gd name="connsiteX139" fmla="*/ 1133598 w 1394458"/>
                <a:gd name="connsiteY139" fmla="*/ 270418 h 273890"/>
                <a:gd name="connsiteX140" fmla="*/ 1091745 w 1394458"/>
                <a:gd name="connsiteY140" fmla="*/ 270418 h 273890"/>
                <a:gd name="connsiteX141" fmla="*/ 1091745 w 1394458"/>
                <a:gd name="connsiteY141" fmla="*/ 82495 h 273890"/>
                <a:gd name="connsiteX142" fmla="*/ 1131171 w 1394458"/>
                <a:gd name="connsiteY142" fmla="*/ 82495 h 273890"/>
                <a:gd name="connsiteX143" fmla="*/ 1133603 w 1394458"/>
                <a:gd name="connsiteY143" fmla="*/ 122617 h 273890"/>
                <a:gd name="connsiteX144" fmla="*/ 1126132 w 1394458"/>
                <a:gd name="connsiteY144" fmla="*/ 169509 h 273890"/>
                <a:gd name="connsiteX145" fmla="*/ 1112586 w 1394458"/>
                <a:gd name="connsiteY145" fmla="*/ 169334 h 273890"/>
                <a:gd name="connsiteX146" fmla="*/ 1118145 w 1394458"/>
                <a:gd name="connsiteY146" fmla="*/ 132690 h 273890"/>
                <a:gd name="connsiteX147" fmla="*/ 1133428 w 1394458"/>
                <a:gd name="connsiteY147" fmla="*/ 104032 h 273890"/>
                <a:gd name="connsiteX148" fmla="*/ 1157046 w 1394458"/>
                <a:gd name="connsiteY148" fmla="*/ 85623 h 273890"/>
                <a:gd name="connsiteX149" fmla="*/ 1187615 w 1394458"/>
                <a:gd name="connsiteY149" fmla="*/ 79022 h 273890"/>
                <a:gd name="connsiteX150" fmla="*/ 1212105 w 1394458"/>
                <a:gd name="connsiteY150" fmla="*/ 82840 h 273890"/>
                <a:gd name="connsiteX151" fmla="*/ 1231034 w 1394458"/>
                <a:gd name="connsiteY151" fmla="*/ 94825 h 273890"/>
                <a:gd name="connsiteX152" fmla="*/ 1243189 w 1394458"/>
                <a:gd name="connsiteY152" fmla="*/ 116532 h 273890"/>
                <a:gd name="connsiteX153" fmla="*/ 1247357 w 1394458"/>
                <a:gd name="connsiteY153" fmla="*/ 149008 h 273890"/>
                <a:gd name="connsiteX154" fmla="*/ 1247357 w 1394458"/>
                <a:gd name="connsiteY154" fmla="*/ 270408 h 273890"/>
                <a:gd name="connsiteX155" fmla="*/ 1205329 w 1394458"/>
                <a:gd name="connsiteY155" fmla="*/ 270408 h 273890"/>
                <a:gd name="connsiteX156" fmla="*/ 1205329 w 1394458"/>
                <a:gd name="connsiteY156" fmla="*/ 148833 h 273890"/>
                <a:gd name="connsiteX157" fmla="*/ 1201336 w 1394458"/>
                <a:gd name="connsiteY157" fmla="*/ 127471 h 273890"/>
                <a:gd name="connsiteX158" fmla="*/ 1190047 w 1394458"/>
                <a:gd name="connsiteY158" fmla="*/ 116182 h 273890"/>
                <a:gd name="connsiteX159" fmla="*/ 1171813 w 1394458"/>
                <a:gd name="connsiteY159" fmla="*/ 112709 h 273890"/>
                <a:gd name="connsiteX160" fmla="*/ 1152533 w 1394458"/>
                <a:gd name="connsiteY160" fmla="*/ 117223 h 273890"/>
                <a:gd name="connsiteX161" fmla="*/ 1138116 w 1394458"/>
                <a:gd name="connsiteY161" fmla="*/ 129552 h 273890"/>
                <a:gd name="connsiteX162" fmla="*/ 1129259 w 1394458"/>
                <a:gd name="connsiteY162" fmla="*/ 147617 h 273890"/>
                <a:gd name="connsiteX163" fmla="*/ 1126132 w 1394458"/>
                <a:gd name="connsiteY163" fmla="*/ 169499 h 273890"/>
                <a:gd name="connsiteX164" fmla="*/ 1346701 w 1394458"/>
                <a:gd name="connsiteY164" fmla="*/ 270418 h 273890"/>
                <a:gd name="connsiteX165" fmla="*/ 1304843 w 1394458"/>
                <a:gd name="connsiteY165" fmla="*/ 270418 h 273890"/>
                <a:gd name="connsiteX166" fmla="*/ 1304843 w 1394458"/>
                <a:gd name="connsiteY166" fmla="*/ 64436 h 273890"/>
                <a:gd name="connsiteX167" fmla="*/ 1312659 w 1394458"/>
                <a:gd name="connsiteY167" fmla="*/ 29178 h 273890"/>
                <a:gd name="connsiteX168" fmla="*/ 1335412 w 1394458"/>
                <a:gd name="connsiteY168" fmla="*/ 7471 h 273890"/>
                <a:gd name="connsiteX169" fmla="*/ 1370319 w 1394458"/>
                <a:gd name="connsiteY169" fmla="*/ 0 h 273890"/>
                <a:gd name="connsiteX170" fmla="*/ 1382649 w 1394458"/>
                <a:gd name="connsiteY170" fmla="*/ 871 h 273890"/>
                <a:gd name="connsiteX171" fmla="*/ 1394458 w 1394458"/>
                <a:gd name="connsiteY171" fmla="*/ 3127 h 273890"/>
                <a:gd name="connsiteX172" fmla="*/ 1393418 w 1394458"/>
                <a:gd name="connsiteY172" fmla="*/ 35433 h 273890"/>
                <a:gd name="connsiteX173" fmla="*/ 1385776 w 1394458"/>
                <a:gd name="connsiteY173" fmla="*/ 34217 h 273890"/>
                <a:gd name="connsiteX174" fmla="*/ 1377095 w 1394458"/>
                <a:gd name="connsiteY174" fmla="*/ 33867 h 273890"/>
                <a:gd name="connsiteX175" fmla="*/ 1360596 w 1394458"/>
                <a:gd name="connsiteY175" fmla="*/ 37515 h 273890"/>
                <a:gd name="connsiteX176" fmla="*/ 1350178 w 1394458"/>
                <a:gd name="connsiteY176" fmla="*/ 47763 h 273890"/>
                <a:gd name="connsiteX177" fmla="*/ 1346706 w 1394458"/>
                <a:gd name="connsiteY177" fmla="*/ 64436 h 273890"/>
                <a:gd name="connsiteX178" fmla="*/ 1346706 w 1394458"/>
                <a:gd name="connsiteY178" fmla="*/ 270418 h 273890"/>
                <a:gd name="connsiteX179" fmla="*/ 1385431 w 1394458"/>
                <a:gd name="connsiteY179" fmla="*/ 82500 h 273890"/>
                <a:gd name="connsiteX180" fmla="*/ 1385431 w 1394458"/>
                <a:gd name="connsiteY180" fmla="*/ 113069 h 273890"/>
                <a:gd name="connsiteX181" fmla="*/ 1276015 w 1394458"/>
                <a:gd name="connsiteY181" fmla="*/ 113069 h 273890"/>
                <a:gd name="connsiteX182" fmla="*/ 1276015 w 1394458"/>
                <a:gd name="connsiteY182" fmla="*/ 82500 h 273890"/>
                <a:gd name="connsiteX183" fmla="*/ 1385431 w 1394458"/>
                <a:gd name="connsiteY183" fmla="*/ 82500 h 2738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</a:cxnLst>
              <a:rect l="l" t="t" r="r" b="b"/>
              <a:pathLst>
                <a:path w="1394458" h="273890">
                  <a:moveTo>
                    <a:pt x="157354" y="188093"/>
                  </a:moveTo>
                  <a:lnTo>
                    <a:pt x="200773" y="188093"/>
                  </a:lnTo>
                  <a:cubicBezTo>
                    <a:pt x="199382" y="204650"/>
                    <a:pt x="194752" y="219411"/>
                    <a:pt x="186877" y="232383"/>
                  </a:cubicBezTo>
                  <a:cubicBezTo>
                    <a:pt x="179003" y="245233"/>
                    <a:pt x="167947" y="255365"/>
                    <a:pt x="153706" y="262777"/>
                  </a:cubicBezTo>
                  <a:cubicBezTo>
                    <a:pt x="139465" y="270185"/>
                    <a:pt x="122155" y="273891"/>
                    <a:pt x="101775" y="273891"/>
                  </a:cubicBezTo>
                  <a:cubicBezTo>
                    <a:pt x="86143" y="273891"/>
                    <a:pt x="72077" y="271114"/>
                    <a:pt x="59572" y="265554"/>
                  </a:cubicBezTo>
                  <a:cubicBezTo>
                    <a:pt x="47067" y="259878"/>
                    <a:pt x="36357" y="251892"/>
                    <a:pt x="27442" y="241585"/>
                  </a:cubicBezTo>
                  <a:cubicBezTo>
                    <a:pt x="18526" y="231167"/>
                    <a:pt x="11697" y="218604"/>
                    <a:pt x="6950" y="203901"/>
                  </a:cubicBezTo>
                  <a:cubicBezTo>
                    <a:pt x="2315" y="189192"/>
                    <a:pt x="0" y="172753"/>
                    <a:pt x="0" y="154572"/>
                  </a:cubicBezTo>
                  <a:lnTo>
                    <a:pt x="0" y="133555"/>
                  </a:lnTo>
                  <a:cubicBezTo>
                    <a:pt x="0" y="115379"/>
                    <a:pt x="2374" y="98935"/>
                    <a:pt x="7121" y="84231"/>
                  </a:cubicBezTo>
                  <a:cubicBezTo>
                    <a:pt x="11984" y="69528"/>
                    <a:pt x="18930" y="56965"/>
                    <a:pt x="27962" y="46542"/>
                  </a:cubicBezTo>
                  <a:cubicBezTo>
                    <a:pt x="36994" y="36007"/>
                    <a:pt x="47816" y="27957"/>
                    <a:pt x="60438" y="22403"/>
                  </a:cubicBezTo>
                  <a:cubicBezTo>
                    <a:pt x="73171" y="16843"/>
                    <a:pt x="87471" y="14066"/>
                    <a:pt x="103336" y="14066"/>
                  </a:cubicBezTo>
                  <a:cubicBezTo>
                    <a:pt x="123482" y="14066"/>
                    <a:pt x="140506" y="17772"/>
                    <a:pt x="154397" y="25180"/>
                  </a:cubicBezTo>
                  <a:cubicBezTo>
                    <a:pt x="168293" y="32592"/>
                    <a:pt x="179056" y="42836"/>
                    <a:pt x="186702" y="55919"/>
                  </a:cubicBezTo>
                  <a:cubicBezTo>
                    <a:pt x="194460" y="69003"/>
                    <a:pt x="199207" y="83998"/>
                    <a:pt x="200943" y="100900"/>
                  </a:cubicBezTo>
                  <a:lnTo>
                    <a:pt x="157524" y="100900"/>
                  </a:lnTo>
                  <a:cubicBezTo>
                    <a:pt x="156367" y="90015"/>
                    <a:pt x="153818" y="80695"/>
                    <a:pt x="149883" y="72938"/>
                  </a:cubicBezTo>
                  <a:cubicBezTo>
                    <a:pt x="146065" y="65180"/>
                    <a:pt x="140389" y="59275"/>
                    <a:pt x="132865" y="55224"/>
                  </a:cubicBezTo>
                  <a:cubicBezTo>
                    <a:pt x="125340" y="51055"/>
                    <a:pt x="115496" y="48969"/>
                    <a:pt x="103341" y="48969"/>
                  </a:cubicBezTo>
                  <a:cubicBezTo>
                    <a:pt x="93385" y="48969"/>
                    <a:pt x="84698" y="50822"/>
                    <a:pt x="77291" y="54528"/>
                  </a:cubicBezTo>
                  <a:cubicBezTo>
                    <a:pt x="69878" y="58234"/>
                    <a:pt x="63687" y="63677"/>
                    <a:pt x="58706" y="70856"/>
                  </a:cubicBezTo>
                  <a:cubicBezTo>
                    <a:pt x="53730" y="78035"/>
                    <a:pt x="49966" y="86892"/>
                    <a:pt x="47417" y="97427"/>
                  </a:cubicBezTo>
                  <a:cubicBezTo>
                    <a:pt x="44985" y="107845"/>
                    <a:pt x="43769" y="119771"/>
                    <a:pt x="43769" y="133205"/>
                  </a:cubicBezTo>
                  <a:lnTo>
                    <a:pt x="43769" y="154567"/>
                  </a:lnTo>
                  <a:cubicBezTo>
                    <a:pt x="43769" y="167305"/>
                    <a:pt x="44869" y="178881"/>
                    <a:pt x="47067" y="189304"/>
                  </a:cubicBezTo>
                  <a:cubicBezTo>
                    <a:pt x="49382" y="199611"/>
                    <a:pt x="52855" y="208468"/>
                    <a:pt x="57490" y="215875"/>
                  </a:cubicBezTo>
                  <a:cubicBezTo>
                    <a:pt x="62237" y="223288"/>
                    <a:pt x="68259" y="229017"/>
                    <a:pt x="75550" y="233069"/>
                  </a:cubicBezTo>
                  <a:cubicBezTo>
                    <a:pt x="82845" y="237120"/>
                    <a:pt x="91585" y="239149"/>
                    <a:pt x="101775" y="239149"/>
                  </a:cubicBezTo>
                  <a:cubicBezTo>
                    <a:pt x="114163" y="239149"/>
                    <a:pt x="124178" y="237179"/>
                    <a:pt x="131824" y="233244"/>
                  </a:cubicBezTo>
                  <a:cubicBezTo>
                    <a:pt x="139582" y="229304"/>
                    <a:pt x="145428" y="223575"/>
                    <a:pt x="149363" y="216050"/>
                  </a:cubicBezTo>
                  <a:cubicBezTo>
                    <a:pt x="153414" y="208409"/>
                    <a:pt x="156080" y="199090"/>
                    <a:pt x="157354" y="188088"/>
                  </a:cubicBezTo>
                  <a:close/>
                  <a:moveTo>
                    <a:pt x="313837" y="270418"/>
                  </a:moveTo>
                  <a:lnTo>
                    <a:pt x="259825" y="270418"/>
                  </a:lnTo>
                  <a:lnTo>
                    <a:pt x="260170" y="235856"/>
                  </a:lnTo>
                  <a:lnTo>
                    <a:pt x="313837" y="235856"/>
                  </a:lnTo>
                  <a:cubicBezTo>
                    <a:pt x="329469" y="235856"/>
                    <a:pt x="342553" y="232441"/>
                    <a:pt x="353088" y="225608"/>
                  </a:cubicBezTo>
                  <a:cubicBezTo>
                    <a:pt x="363740" y="218779"/>
                    <a:pt x="371731" y="208993"/>
                    <a:pt x="377057" y="196255"/>
                  </a:cubicBezTo>
                  <a:cubicBezTo>
                    <a:pt x="382499" y="183516"/>
                    <a:pt x="385218" y="168351"/>
                    <a:pt x="385218" y="150754"/>
                  </a:cubicBezTo>
                  <a:lnTo>
                    <a:pt x="385218" y="137033"/>
                  </a:lnTo>
                  <a:cubicBezTo>
                    <a:pt x="385218" y="123371"/>
                    <a:pt x="383657" y="111269"/>
                    <a:pt x="380530" y="100734"/>
                  </a:cubicBezTo>
                  <a:cubicBezTo>
                    <a:pt x="377519" y="90199"/>
                    <a:pt x="373005" y="81342"/>
                    <a:pt x="366984" y="74163"/>
                  </a:cubicBezTo>
                  <a:cubicBezTo>
                    <a:pt x="361079" y="66984"/>
                    <a:pt x="353784" y="61542"/>
                    <a:pt x="345102" y="57840"/>
                  </a:cubicBezTo>
                  <a:cubicBezTo>
                    <a:pt x="336532" y="54134"/>
                    <a:pt x="326634" y="52281"/>
                    <a:pt x="315403" y="52281"/>
                  </a:cubicBezTo>
                  <a:lnTo>
                    <a:pt x="258784" y="52281"/>
                  </a:lnTo>
                  <a:lnTo>
                    <a:pt x="258784" y="17544"/>
                  </a:lnTo>
                  <a:lnTo>
                    <a:pt x="315403" y="17544"/>
                  </a:lnTo>
                  <a:cubicBezTo>
                    <a:pt x="332193" y="17544"/>
                    <a:pt x="347534" y="20379"/>
                    <a:pt x="361429" y="26055"/>
                  </a:cubicBezTo>
                  <a:cubicBezTo>
                    <a:pt x="375325" y="31615"/>
                    <a:pt x="387310" y="39660"/>
                    <a:pt x="397383" y="50195"/>
                  </a:cubicBezTo>
                  <a:cubicBezTo>
                    <a:pt x="407572" y="60730"/>
                    <a:pt x="415389" y="73351"/>
                    <a:pt x="420826" y="88054"/>
                  </a:cubicBezTo>
                  <a:cubicBezTo>
                    <a:pt x="426269" y="102758"/>
                    <a:pt x="428988" y="119202"/>
                    <a:pt x="428988" y="137378"/>
                  </a:cubicBezTo>
                  <a:lnTo>
                    <a:pt x="428988" y="150754"/>
                  </a:lnTo>
                  <a:cubicBezTo>
                    <a:pt x="428988" y="168930"/>
                    <a:pt x="426269" y="185374"/>
                    <a:pt x="420826" y="200078"/>
                  </a:cubicBezTo>
                  <a:cubicBezTo>
                    <a:pt x="415384" y="214781"/>
                    <a:pt x="407568" y="227403"/>
                    <a:pt x="397383" y="237938"/>
                  </a:cubicBezTo>
                  <a:cubicBezTo>
                    <a:pt x="387193" y="248356"/>
                    <a:pt x="375038" y="256405"/>
                    <a:pt x="360909" y="262077"/>
                  </a:cubicBezTo>
                  <a:cubicBezTo>
                    <a:pt x="346896" y="267636"/>
                    <a:pt x="331211" y="270413"/>
                    <a:pt x="313842" y="270413"/>
                  </a:cubicBezTo>
                  <a:close/>
                  <a:moveTo>
                    <a:pt x="283964" y="17544"/>
                  </a:moveTo>
                  <a:lnTo>
                    <a:pt x="283964" y="270418"/>
                  </a:lnTo>
                  <a:lnTo>
                    <a:pt x="240369" y="270418"/>
                  </a:lnTo>
                  <a:lnTo>
                    <a:pt x="240369" y="17544"/>
                  </a:lnTo>
                  <a:lnTo>
                    <a:pt x="283964" y="17544"/>
                  </a:lnTo>
                  <a:close/>
                  <a:moveTo>
                    <a:pt x="519299" y="17544"/>
                  </a:moveTo>
                  <a:lnTo>
                    <a:pt x="519299" y="270418"/>
                  </a:lnTo>
                  <a:lnTo>
                    <a:pt x="475705" y="270418"/>
                  </a:lnTo>
                  <a:lnTo>
                    <a:pt x="475705" y="17544"/>
                  </a:lnTo>
                  <a:lnTo>
                    <a:pt x="519299" y="17544"/>
                  </a:lnTo>
                  <a:close/>
                  <a:moveTo>
                    <a:pt x="811424" y="188093"/>
                  </a:moveTo>
                  <a:lnTo>
                    <a:pt x="854843" y="188093"/>
                  </a:lnTo>
                  <a:cubicBezTo>
                    <a:pt x="853452" y="204650"/>
                    <a:pt x="848822" y="219411"/>
                    <a:pt x="840947" y="232383"/>
                  </a:cubicBezTo>
                  <a:cubicBezTo>
                    <a:pt x="833073" y="245233"/>
                    <a:pt x="822017" y="255365"/>
                    <a:pt x="807776" y="262777"/>
                  </a:cubicBezTo>
                  <a:cubicBezTo>
                    <a:pt x="793535" y="270185"/>
                    <a:pt x="776225" y="273891"/>
                    <a:pt x="755845" y="273891"/>
                  </a:cubicBezTo>
                  <a:cubicBezTo>
                    <a:pt x="740213" y="273891"/>
                    <a:pt x="726147" y="271114"/>
                    <a:pt x="713642" y="265554"/>
                  </a:cubicBezTo>
                  <a:cubicBezTo>
                    <a:pt x="701137" y="259878"/>
                    <a:pt x="690427" y="251892"/>
                    <a:pt x="681512" y="241585"/>
                  </a:cubicBezTo>
                  <a:cubicBezTo>
                    <a:pt x="672596" y="231167"/>
                    <a:pt x="665768" y="218604"/>
                    <a:pt x="661021" y="203901"/>
                  </a:cubicBezTo>
                  <a:cubicBezTo>
                    <a:pt x="656390" y="189197"/>
                    <a:pt x="654075" y="172753"/>
                    <a:pt x="654075" y="154577"/>
                  </a:cubicBezTo>
                  <a:lnTo>
                    <a:pt x="654075" y="133560"/>
                  </a:lnTo>
                  <a:cubicBezTo>
                    <a:pt x="654075" y="115384"/>
                    <a:pt x="656449" y="98940"/>
                    <a:pt x="661196" y="84236"/>
                  </a:cubicBezTo>
                  <a:cubicBezTo>
                    <a:pt x="666059" y="69533"/>
                    <a:pt x="673005" y="56970"/>
                    <a:pt x="682037" y="46547"/>
                  </a:cubicBezTo>
                  <a:cubicBezTo>
                    <a:pt x="691069" y="36012"/>
                    <a:pt x="701891" y="27962"/>
                    <a:pt x="714513" y="22408"/>
                  </a:cubicBezTo>
                  <a:cubicBezTo>
                    <a:pt x="727246" y="16848"/>
                    <a:pt x="741546" y="14071"/>
                    <a:pt x="757411" y="14071"/>
                  </a:cubicBezTo>
                  <a:cubicBezTo>
                    <a:pt x="777557" y="14071"/>
                    <a:pt x="794581" y="17777"/>
                    <a:pt x="808472" y="25185"/>
                  </a:cubicBezTo>
                  <a:cubicBezTo>
                    <a:pt x="822368" y="32597"/>
                    <a:pt x="833131" y="42840"/>
                    <a:pt x="840777" y="55924"/>
                  </a:cubicBezTo>
                  <a:cubicBezTo>
                    <a:pt x="848535" y="69008"/>
                    <a:pt x="853282" y="84003"/>
                    <a:pt x="855018" y="100905"/>
                  </a:cubicBezTo>
                  <a:lnTo>
                    <a:pt x="811599" y="100905"/>
                  </a:lnTo>
                  <a:cubicBezTo>
                    <a:pt x="810442" y="90019"/>
                    <a:pt x="807893" y="80700"/>
                    <a:pt x="803958" y="72943"/>
                  </a:cubicBezTo>
                  <a:cubicBezTo>
                    <a:pt x="800140" y="65185"/>
                    <a:pt x="794464" y="59280"/>
                    <a:pt x="786940" y="55229"/>
                  </a:cubicBezTo>
                  <a:cubicBezTo>
                    <a:pt x="779415" y="51060"/>
                    <a:pt x="769571" y="48974"/>
                    <a:pt x="757416" y="48974"/>
                  </a:cubicBezTo>
                  <a:cubicBezTo>
                    <a:pt x="747460" y="48974"/>
                    <a:pt x="738773" y="50827"/>
                    <a:pt x="731366" y="54533"/>
                  </a:cubicBezTo>
                  <a:cubicBezTo>
                    <a:pt x="723953" y="58239"/>
                    <a:pt x="717762" y="63682"/>
                    <a:pt x="712781" y="70861"/>
                  </a:cubicBezTo>
                  <a:cubicBezTo>
                    <a:pt x="707801" y="78040"/>
                    <a:pt x="704041" y="86897"/>
                    <a:pt x="701492" y="97432"/>
                  </a:cubicBezTo>
                  <a:cubicBezTo>
                    <a:pt x="699060" y="107850"/>
                    <a:pt x="697844" y="119776"/>
                    <a:pt x="697844" y="133210"/>
                  </a:cubicBezTo>
                  <a:lnTo>
                    <a:pt x="697844" y="154572"/>
                  </a:lnTo>
                  <a:cubicBezTo>
                    <a:pt x="697844" y="167310"/>
                    <a:pt x="698944" y="178886"/>
                    <a:pt x="701142" y="189309"/>
                  </a:cubicBezTo>
                  <a:cubicBezTo>
                    <a:pt x="703457" y="199616"/>
                    <a:pt x="706930" y="208473"/>
                    <a:pt x="711565" y="215880"/>
                  </a:cubicBezTo>
                  <a:cubicBezTo>
                    <a:pt x="716312" y="223293"/>
                    <a:pt x="722334" y="229022"/>
                    <a:pt x="729629" y="233074"/>
                  </a:cubicBezTo>
                  <a:cubicBezTo>
                    <a:pt x="736925" y="237125"/>
                    <a:pt x="745665" y="239154"/>
                    <a:pt x="755855" y="239154"/>
                  </a:cubicBezTo>
                  <a:cubicBezTo>
                    <a:pt x="768243" y="239154"/>
                    <a:pt x="778258" y="237184"/>
                    <a:pt x="785904" y="233249"/>
                  </a:cubicBezTo>
                  <a:cubicBezTo>
                    <a:pt x="793661" y="229309"/>
                    <a:pt x="799508" y="223580"/>
                    <a:pt x="803443" y="216055"/>
                  </a:cubicBezTo>
                  <a:cubicBezTo>
                    <a:pt x="807494" y="208414"/>
                    <a:pt x="810159" y="199095"/>
                    <a:pt x="811434" y="188093"/>
                  </a:cubicBezTo>
                  <a:close/>
                  <a:moveTo>
                    <a:pt x="882285" y="178541"/>
                  </a:moveTo>
                  <a:lnTo>
                    <a:pt x="882285" y="174548"/>
                  </a:lnTo>
                  <a:cubicBezTo>
                    <a:pt x="882285" y="161002"/>
                    <a:pt x="884255" y="148439"/>
                    <a:pt x="888190" y="136858"/>
                  </a:cubicBezTo>
                  <a:cubicBezTo>
                    <a:pt x="892124" y="125165"/>
                    <a:pt x="897800" y="115034"/>
                    <a:pt x="905208" y="106464"/>
                  </a:cubicBezTo>
                  <a:cubicBezTo>
                    <a:pt x="912732" y="97782"/>
                    <a:pt x="921881" y="91065"/>
                    <a:pt x="932650" y="86318"/>
                  </a:cubicBezTo>
                  <a:cubicBezTo>
                    <a:pt x="943535" y="81454"/>
                    <a:pt x="955806" y="79022"/>
                    <a:pt x="969469" y="79022"/>
                  </a:cubicBezTo>
                  <a:cubicBezTo>
                    <a:pt x="983131" y="79022"/>
                    <a:pt x="995519" y="81454"/>
                    <a:pt x="1006288" y="86318"/>
                  </a:cubicBezTo>
                  <a:cubicBezTo>
                    <a:pt x="1017173" y="91065"/>
                    <a:pt x="1026375" y="97782"/>
                    <a:pt x="1033899" y="106464"/>
                  </a:cubicBezTo>
                  <a:cubicBezTo>
                    <a:pt x="1041424" y="115034"/>
                    <a:pt x="1047158" y="125165"/>
                    <a:pt x="1051093" y="136858"/>
                  </a:cubicBezTo>
                  <a:cubicBezTo>
                    <a:pt x="1055028" y="148434"/>
                    <a:pt x="1056998" y="160997"/>
                    <a:pt x="1056998" y="174548"/>
                  </a:cubicBezTo>
                  <a:lnTo>
                    <a:pt x="1056998" y="178541"/>
                  </a:lnTo>
                  <a:cubicBezTo>
                    <a:pt x="1056998" y="192086"/>
                    <a:pt x="1055028" y="204650"/>
                    <a:pt x="1051093" y="216226"/>
                  </a:cubicBezTo>
                  <a:cubicBezTo>
                    <a:pt x="1047153" y="227806"/>
                    <a:pt x="1041424" y="237938"/>
                    <a:pt x="1033899" y="246619"/>
                  </a:cubicBezTo>
                  <a:cubicBezTo>
                    <a:pt x="1026375" y="255189"/>
                    <a:pt x="1017226" y="261902"/>
                    <a:pt x="1006458" y="266765"/>
                  </a:cubicBezTo>
                  <a:cubicBezTo>
                    <a:pt x="995689" y="271512"/>
                    <a:pt x="983476" y="273886"/>
                    <a:pt x="969814" y="273886"/>
                  </a:cubicBezTo>
                  <a:cubicBezTo>
                    <a:pt x="956151" y="273886"/>
                    <a:pt x="943705" y="271512"/>
                    <a:pt x="932820" y="266765"/>
                  </a:cubicBezTo>
                  <a:cubicBezTo>
                    <a:pt x="922051" y="261902"/>
                    <a:pt x="912907" y="255189"/>
                    <a:pt x="905378" y="246619"/>
                  </a:cubicBezTo>
                  <a:cubicBezTo>
                    <a:pt x="897854" y="237938"/>
                    <a:pt x="892119" y="227806"/>
                    <a:pt x="888185" y="216226"/>
                  </a:cubicBezTo>
                  <a:cubicBezTo>
                    <a:pt x="884245" y="204650"/>
                    <a:pt x="882280" y="192086"/>
                    <a:pt x="882280" y="178541"/>
                  </a:cubicBezTo>
                  <a:close/>
                  <a:moveTo>
                    <a:pt x="924143" y="174548"/>
                  </a:moveTo>
                  <a:lnTo>
                    <a:pt x="924143" y="178541"/>
                  </a:lnTo>
                  <a:cubicBezTo>
                    <a:pt x="924143" y="186994"/>
                    <a:pt x="925013" y="194980"/>
                    <a:pt x="926750" y="202510"/>
                  </a:cubicBezTo>
                  <a:cubicBezTo>
                    <a:pt x="928486" y="210034"/>
                    <a:pt x="931210" y="216634"/>
                    <a:pt x="934911" y="222310"/>
                  </a:cubicBezTo>
                  <a:cubicBezTo>
                    <a:pt x="938617" y="227981"/>
                    <a:pt x="943365" y="232441"/>
                    <a:pt x="949152" y="235681"/>
                  </a:cubicBezTo>
                  <a:cubicBezTo>
                    <a:pt x="954940" y="238925"/>
                    <a:pt x="961832" y="240545"/>
                    <a:pt x="969819" y="240545"/>
                  </a:cubicBezTo>
                  <a:cubicBezTo>
                    <a:pt x="977805" y="240545"/>
                    <a:pt x="984293" y="238925"/>
                    <a:pt x="989965" y="235681"/>
                  </a:cubicBezTo>
                  <a:cubicBezTo>
                    <a:pt x="995753" y="232441"/>
                    <a:pt x="1000500" y="227981"/>
                    <a:pt x="1004206" y="222310"/>
                  </a:cubicBezTo>
                  <a:cubicBezTo>
                    <a:pt x="1007912" y="216634"/>
                    <a:pt x="1010631" y="210039"/>
                    <a:pt x="1012367" y="202510"/>
                  </a:cubicBezTo>
                  <a:cubicBezTo>
                    <a:pt x="1014220" y="194985"/>
                    <a:pt x="1015145" y="186994"/>
                    <a:pt x="1015145" y="178541"/>
                  </a:cubicBezTo>
                  <a:lnTo>
                    <a:pt x="1015145" y="174548"/>
                  </a:lnTo>
                  <a:cubicBezTo>
                    <a:pt x="1015145" y="166211"/>
                    <a:pt x="1014220" y="158336"/>
                    <a:pt x="1012367" y="150929"/>
                  </a:cubicBezTo>
                  <a:cubicBezTo>
                    <a:pt x="1010631" y="143405"/>
                    <a:pt x="1007854" y="136746"/>
                    <a:pt x="1004031" y="130958"/>
                  </a:cubicBezTo>
                  <a:cubicBezTo>
                    <a:pt x="1000325" y="125170"/>
                    <a:pt x="995578" y="120652"/>
                    <a:pt x="989790" y="117412"/>
                  </a:cubicBezTo>
                  <a:cubicBezTo>
                    <a:pt x="984118" y="114056"/>
                    <a:pt x="977343" y="112373"/>
                    <a:pt x="969469" y="112373"/>
                  </a:cubicBezTo>
                  <a:cubicBezTo>
                    <a:pt x="961594" y="112373"/>
                    <a:pt x="954765" y="114051"/>
                    <a:pt x="948977" y="117412"/>
                  </a:cubicBezTo>
                  <a:cubicBezTo>
                    <a:pt x="943301" y="120657"/>
                    <a:pt x="938613" y="125170"/>
                    <a:pt x="934911" y="130958"/>
                  </a:cubicBezTo>
                  <a:cubicBezTo>
                    <a:pt x="931205" y="136746"/>
                    <a:pt x="928486" y="143405"/>
                    <a:pt x="926750" y="150929"/>
                  </a:cubicBezTo>
                  <a:cubicBezTo>
                    <a:pt x="925013" y="158336"/>
                    <a:pt x="924143" y="166211"/>
                    <a:pt x="924143" y="174548"/>
                  </a:cubicBezTo>
                  <a:close/>
                  <a:moveTo>
                    <a:pt x="1133598" y="122617"/>
                  </a:moveTo>
                  <a:lnTo>
                    <a:pt x="1133598" y="270418"/>
                  </a:lnTo>
                  <a:lnTo>
                    <a:pt x="1091745" y="270418"/>
                  </a:lnTo>
                  <a:lnTo>
                    <a:pt x="1091745" y="82495"/>
                  </a:lnTo>
                  <a:lnTo>
                    <a:pt x="1131171" y="82495"/>
                  </a:lnTo>
                  <a:lnTo>
                    <a:pt x="1133603" y="122617"/>
                  </a:lnTo>
                  <a:close/>
                  <a:moveTo>
                    <a:pt x="1126132" y="169509"/>
                  </a:moveTo>
                  <a:lnTo>
                    <a:pt x="1112586" y="169334"/>
                  </a:lnTo>
                  <a:cubicBezTo>
                    <a:pt x="1112703" y="156016"/>
                    <a:pt x="1114556" y="143803"/>
                    <a:pt x="1118145" y="132690"/>
                  </a:cubicBezTo>
                  <a:cubicBezTo>
                    <a:pt x="1121852" y="121576"/>
                    <a:pt x="1126944" y="112023"/>
                    <a:pt x="1133428" y="104032"/>
                  </a:cubicBezTo>
                  <a:cubicBezTo>
                    <a:pt x="1140028" y="96046"/>
                    <a:pt x="1147902" y="89908"/>
                    <a:pt x="1157046" y="85623"/>
                  </a:cubicBezTo>
                  <a:cubicBezTo>
                    <a:pt x="1166195" y="81226"/>
                    <a:pt x="1176385" y="79022"/>
                    <a:pt x="1187615" y="79022"/>
                  </a:cubicBezTo>
                  <a:cubicBezTo>
                    <a:pt x="1196647" y="79022"/>
                    <a:pt x="1204809" y="80297"/>
                    <a:pt x="1212105" y="82840"/>
                  </a:cubicBezTo>
                  <a:cubicBezTo>
                    <a:pt x="1219517" y="85272"/>
                    <a:pt x="1225825" y="89265"/>
                    <a:pt x="1231034" y="94825"/>
                  </a:cubicBezTo>
                  <a:cubicBezTo>
                    <a:pt x="1236360" y="100384"/>
                    <a:pt x="1240412" y="107617"/>
                    <a:pt x="1243189" y="116532"/>
                  </a:cubicBezTo>
                  <a:cubicBezTo>
                    <a:pt x="1245966" y="125331"/>
                    <a:pt x="1247357" y="136157"/>
                    <a:pt x="1247357" y="149008"/>
                  </a:cubicBezTo>
                  <a:lnTo>
                    <a:pt x="1247357" y="270408"/>
                  </a:lnTo>
                  <a:lnTo>
                    <a:pt x="1205329" y="270408"/>
                  </a:lnTo>
                  <a:lnTo>
                    <a:pt x="1205329" y="148833"/>
                  </a:lnTo>
                  <a:cubicBezTo>
                    <a:pt x="1205329" y="139800"/>
                    <a:pt x="1203996" y="132680"/>
                    <a:pt x="1201336" y="127471"/>
                  </a:cubicBezTo>
                  <a:cubicBezTo>
                    <a:pt x="1198787" y="122145"/>
                    <a:pt x="1195028" y="118380"/>
                    <a:pt x="1190047" y="116182"/>
                  </a:cubicBezTo>
                  <a:cubicBezTo>
                    <a:pt x="1185183" y="113867"/>
                    <a:pt x="1179104" y="112709"/>
                    <a:pt x="1171813" y="112709"/>
                  </a:cubicBezTo>
                  <a:cubicBezTo>
                    <a:pt x="1164522" y="112709"/>
                    <a:pt x="1158209" y="114212"/>
                    <a:pt x="1152533" y="117223"/>
                  </a:cubicBezTo>
                  <a:cubicBezTo>
                    <a:pt x="1146861" y="120233"/>
                    <a:pt x="1142056" y="124343"/>
                    <a:pt x="1138116" y="129552"/>
                  </a:cubicBezTo>
                  <a:cubicBezTo>
                    <a:pt x="1134293" y="134762"/>
                    <a:pt x="1131341" y="140783"/>
                    <a:pt x="1129259" y="147617"/>
                  </a:cubicBezTo>
                  <a:cubicBezTo>
                    <a:pt x="1127178" y="154445"/>
                    <a:pt x="1126132" y="161741"/>
                    <a:pt x="1126132" y="169499"/>
                  </a:cubicBezTo>
                  <a:close/>
                  <a:moveTo>
                    <a:pt x="1346701" y="270418"/>
                  </a:moveTo>
                  <a:lnTo>
                    <a:pt x="1304843" y="270418"/>
                  </a:lnTo>
                  <a:lnTo>
                    <a:pt x="1304843" y="64436"/>
                  </a:lnTo>
                  <a:cubicBezTo>
                    <a:pt x="1304843" y="50428"/>
                    <a:pt x="1307450" y="38672"/>
                    <a:pt x="1312659" y="29178"/>
                  </a:cubicBezTo>
                  <a:cubicBezTo>
                    <a:pt x="1317985" y="19567"/>
                    <a:pt x="1325567" y="12330"/>
                    <a:pt x="1335412" y="7471"/>
                  </a:cubicBezTo>
                  <a:cubicBezTo>
                    <a:pt x="1345256" y="2490"/>
                    <a:pt x="1356890" y="0"/>
                    <a:pt x="1370319" y="0"/>
                  </a:cubicBezTo>
                  <a:cubicBezTo>
                    <a:pt x="1374488" y="0"/>
                    <a:pt x="1378597" y="292"/>
                    <a:pt x="1382649" y="871"/>
                  </a:cubicBezTo>
                  <a:cubicBezTo>
                    <a:pt x="1386701" y="1333"/>
                    <a:pt x="1390640" y="2087"/>
                    <a:pt x="1394458" y="3127"/>
                  </a:cubicBezTo>
                  <a:lnTo>
                    <a:pt x="1393418" y="35433"/>
                  </a:lnTo>
                  <a:cubicBezTo>
                    <a:pt x="1391102" y="34854"/>
                    <a:pt x="1388554" y="34450"/>
                    <a:pt x="1385776" y="34217"/>
                  </a:cubicBezTo>
                  <a:cubicBezTo>
                    <a:pt x="1383116" y="33983"/>
                    <a:pt x="1380217" y="33867"/>
                    <a:pt x="1377095" y="33867"/>
                  </a:cubicBezTo>
                  <a:cubicBezTo>
                    <a:pt x="1370728" y="33867"/>
                    <a:pt x="1365227" y="35083"/>
                    <a:pt x="1360596" y="37515"/>
                  </a:cubicBezTo>
                  <a:cubicBezTo>
                    <a:pt x="1356083" y="39830"/>
                    <a:pt x="1352605" y="43244"/>
                    <a:pt x="1350178" y="47763"/>
                  </a:cubicBezTo>
                  <a:cubicBezTo>
                    <a:pt x="1347863" y="52281"/>
                    <a:pt x="1346706" y="57836"/>
                    <a:pt x="1346706" y="64436"/>
                  </a:cubicBezTo>
                  <a:lnTo>
                    <a:pt x="1346706" y="270418"/>
                  </a:lnTo>
                  <a:close/>
                  <a:moveTo>
                    <a:pt x="1385431" y="82500"/>
                  </a:moveTo>
                  <a:lnTo>
                    <a:pt x="1385431" y="113069"/>
                  </a:lnTo>
                  <a:lnTo>
                    <a:pt x="1276015" y="113069"/>
                  </a:lnTo>
                  <a:lnTo>
                    <a:pt x="1276015" y="82500"/>
                  </a:lnTo>
                  <a:lnTo>
                    <a:pt x="1385431" y="82500"/>
                  </a:lnTo>
                  <a:close/>
                </a:path>
              </a:pathLst>
            </a:custGeom>
            <a:solidFill>
              <a:schemeClr val="tx1"/>
            </a:solidFill>
            <a:ln w="4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7" name="Полилиния: фигура 46">
              <a:extLst>
                <a:ext uri="{FF2B5EF4-FFF2-40B4-BE49-F238E27FC236}">
                  <a16:creationId xmlns:a16="http://schemas.microsoft.com/office/drawing/2014/main" id="{0E6F0FB0-99D0-4190-B058-29B8184B7C5F}"/>
                </a:ext>
              </a:extLst>
            </p:cNvPr>
            <p:cNvSpPr/>
            <p:nvPr/>
          </p:nvSpPr>
          <p:spPr>
            <a:xfrm>
              <a:off x="8902858" y="5892336"/>
              <a:ext cx="774600" cy="259834"/>
            </a:xfrm>
            <a:custGeom>
              <a:avLst/>
              <a:gdLst>
                <a:gd name="connsiteX0" fmla="*/ 174372 w 774600"/>
                <a:gd name="connsiteY0" fmla="*/ 223015 h 259834"/>
                <a:gd name="connsiteX1" fmla="*/ 174372 w 774600"/>
                <a:gd name="connsiteY1" fmla="*/ 256362 h 259834"/>
                <a:gd name="connsiteX2" fmla="*/ 4859 w 774600"/>
                <a:gd name="connsiteY2" fmla="*/ 256362 h 259834"/>
                <a:gd name="connsiteX3" fmla="*/ 4859 w 774600"/>
                <a:gd name="connsiteY3" fmla="*/ 227704 h 259834"/>
                <a:gd name="connsiteX4" fmla="*/ 87193 w 774600"/>
                <a:gd name="connsiteY4" fmla="*/ 137913 h 259834"/>
                <a:gd name="connsiteX5" fmla="*/ 108541 w 774600"/>
                <a:gd name="connsiteY5" fmla="*/ 111513 h 259834"/>
                <a:gd name="connsiteX6" fmla="*/ 119499 w 774600"/>
                <a:gd name="connsiteY6" fmla="*/ 91542 h 259834"/>
                <a:gd name="connsiteX7" fmla="*/ 122797 w 774600"/>
                <a:gd name="connsiteY7" fmla="*/ 73998 h 259834"/>
                <a:gd name="connsiteX8" fmla="*/ 118278 w 774600"/>
                <a:gd name="connsiteY8" fmla="*/ 52981 h 259834"/>
                <a:gd name="connsiteX9" fmla="*/ 105413 w 774600"/>
                <a:gd name="connsiteY9" fmla="*/ 38565 h 259834"/>
                <a:gd name="connsiteX10" fmla="*/ 84752 w 774600"/>
                <a:gd name="connsiteY10" fmla="*/ 33181 h 259834"/>
                <a:gd name="connsiteX11" fmla="*/ 61138 w 774600"/>
                <a:gd name="connsiteY11" fmla="*/ 39261 h 259834"/>
                <a:gd name="connsiteX12" fmla="*/ 46712 w 774600"/>
                <a:gd name="connsiteY12" fmla="*/ 56109 h 259834"/>
                <a:gd name="connsiteX13" fmla="*/ 41853 w 774600"/>
                <a:gd name="connsiteY13" fmla="*/ 80423 h 259834"/>
                <a:gd name="connsiteX14" fmla="*/ 0 w 774600"/>
                <a:gd name="connsiteY14" fmla="*/ 80423 h 259834"/>
                <a:gd name="connsiteX15" fmla="*/ 10083 w 774600"/>
                <a:gd name="connsiteY15" fmla="*/ 40131 h 259834"/>
                <a:gd name="connsiteX16" fmla="*/ 39261 w 774600"/>
                <a:gd name="connsiteY16" fmla="*/ 10953 h 259834"/>
                <a:gd name="connsiteX17" fmla="*/ 85272 w 774600"/>
                <a:gd name="connsiteY17" fmla="*/ 10 h 259834"/>
                <a:gd name="connsiteX18" fmla="*/ 128346 w 774600"/>
                <a:gd name="connsiteY18" fmla="*/ 8521 h 259834"/>
                <a:gd name="connsiteX19" fmla="*/ 155277 w 774600"/>
                <a:gd name="connsiteY19" fmla="*/ 32660 h 259834"/>
                <a:gd name="connsiteX20" fmla="*/ 164654 w 774600"/>
                <a:gd name="connsiteY20" fmla="*/ 69655 h 259834"/>
                <a:gd name="connsiteX21" fmla="*/ 160827 w 774600"/>
                <a:gd name="connsiteY21" fmla="*/ 93103 h 259834"/>
                <a:gd name="connsiteX22" fmla="*/ 149888 w 774600"/>
                <a:gd name="connsiteY22" fmla="*/ 116376 h 259834"/>
                <a:gd name="connsiteX23" fmla="*/ 133400 w 774600"/>
                <a:gd name="connsiteY23" fmla="*/ 139475 h 259834"/>
                <a:gd name="connsiteX24" fmla="*/ 112378 w 774600"/>
                <a:gd name="connsiteY24" fmla="*/ 162748 h 259834"/>
                <a:gd name="connsiteX25" fmla="*/ 57675 w 774600"/>
                <a:gd name="connsiteY25" fmla="*/ 223015 h 259834"/>
                <a:gd name="connsiteX26" fmla="*/ 174377 w 774600"/>
                <a:gd name="connsiteY26" fmla="*/ 223015 h 259834"/>
                <a:gd name="connsiteX27" fmla="*/ 371848 w 774600"/>
                <a:gd name="connsiteY27" fmla="*/ 108735 h 259834"/>
                <a:gd name="connsiteX28" fmla="*/ 371848 w 774600"/>
                <a:gd name="connsiteY28" fmla="*/ 150068 h 259834"/>
                <a:gd name="connsiteX29" fmla="*/ 365938 w 774600"/>
                <a:gd name="connsiteY29" fmla="*/ 200783 h 259834"/>
                <a:gd name="connsiteX30" fmla="*/ 349260 w 774600"/>
                <a:gd name="connsiteY30" fmla="*/ 234650 h 259834"/>
                <a:gd name="connsiteX31" fmla="*/ 323035 w 774600"/>
                <a:gd name="connsiteY31" fmla="*/ 253755 h 259834"/>
                <a:gd name="connsiteX32" fmla="*/ 289168 w 774600"/>
                <a:gd name="connsiteY32" fmla="*/ 259834 h 259834"/>
                <a:gd name="connsiteX33" fmla="*/ 261381 w 774600"/>
                <a:gd name="connsiteY33" fmla="*/ 256011 h 259834"/>
                <a:gd name="connsiteX34" fmla="*/ 238468 w 774600"/>
                <a:gd name="connsiteY34" fmla="*/ 244027 h 259834"/>
                <a:gd name="connsiteX35" fmla="*/ 220914 w 774600"/>
                <a:gd name="connsiteY35" fmla="*/ 223011 h 259834"/>
                <a:gd name="connsiteX36" fmla="*/ 209800 w 774600"/>
                <a:gd name="connsiteY36" fmla="*/ 191921 h 259834"/>
                <a:gd name="connsiteX37" fmla="*/ 205972 w 774600"/>
                <a:gd name="connsiteY37" fmla="*/ 150063 h 259834"/>
                <a:gd name="connsiteX38" fmla="*/ 205972 w 774600"/>
                <a:gd name="connsiteY38" fmla="*/ 108730 h 259834"/>
                <a:gd name="connsiteX39" fmla="*/ 211882 w 774600"/>
                <a:gd name="connsiteY39" fmla="*/ 58366 h 259834"/>
                <a:gd name="connsiteX40" fmla="*/ 228730 w 774600"/>
                <a:gd name="connsiteY40" fmla="*/ 24844 h 259834"/>
                <a:gd name="connsiteX41" fmla="*/ 254786 w 774600"/>
                <a:gd name="connsiteY41" fmla="*/ 5914 h 259834"/>
                <a:gd name="connsiteX42" fmla="*/ 288827 w 774600"/>
                <a:gd name="connsiteY42" fmla="*/ 10 h 259834"/>
                <a:gd name="connsiteX43" fmla="*/ 316614 w 774600"/>
                <a:gd name="connsiteY43" fmla="*/ 3833 h 259834"/>
                <a:gd name="connsiteX44" fmla="*/ 339542 w 774600"/>
                <a:gd name="connsiteY44" fmla="*/ 15467 h 259834"/>
                <a:gd name="connsiteX45" fmla="*/ 356906 w 774600"/>
                <a:gd name="connsiteY45" fmla="*/ 36308 h 259834"/>
                <a:gd name="connsiteX46" fmla="*/ 368020 w 774600"/>
                <a:gd name="connsiteY46" fmla="*/ 67048 h 259834"/>
                <a:gd name="connsiteX47" fmla="*/ 371848 w 774600"/>
                <a:gd name="connsiteY47" fmla="*/ 108730 h 259834"/>
                <a:gd name="connsiteX48" fmla="*/ 329995 w 774600"/>
                <a:gd name="connsiteY48" fmla="*/ 155978 h 259834"/>
                <a:gd name="connsiteX49" fmla="*/ 329995 w 774600"/>
                <a:gd name="connsiteY49" fmla="*/ 102485 h 259834"/>
                <a:gd name="connsiteX50" fmla="*/ 328258 w 774600"/>
                <a:gd name="connsiteY50" fmla="*/ 75914 h 259834"/>
                <a:gd name="connsiteX51" fmla="*/ 323039 w 774600"/>
                <a:gd name="connsiteY51" fmla="*/ 56289 h 259834"/>
                <a:gd name="connsiteX52" fmla="*/ 314708 w 774600"/>
                <a:gd name="connsiteY52" fmla="*/ 43088 h 259834"/>
                <a:gd name="connsiteX53" fmla="*/ 303234 w 774600"/>
                <a:gd name="connsiteY53" fmla="*/ 35623 h 259834"/>
                <a:gd name="connsiteX54" fmla="*/ 288823 w 774600"/>
                <a:gd name="connsiteY54" fmla="*/ 33191 h 259834"/>
                <a:gd name="connsiteX55" fmla="*/ 271459 w 774600"/>
                <a:gd name="connsiteY55" fmla="*/ 37014 h 259834"/>
                <a:gd name="connsiteX56" fmla="*/ 258613 w 774600"/>
                <a:gd name="connsiteY56" fmla="*/ 48823 h 259834"/>
                <a:gd name="connsiteX57" fmla="*/ 250608 w 774600"/>
                <a:gd name="connsiteY57" fmla="*/ 70360 h 259834"/>
                <a:gd name="connsiteX58" fmla="*/ 248015 w 774600"/>
                <a:gd name="connsiteY58" fmla="*/ 102490 h 259834"/>
                <a:gd name="connsiteX59" fmla="*/ 248015 w 774600"/>
                <a:gd name="connsiteY59" fmla="*/ 155982 h 259834"/>
                <a:gd name="connsiteX60" fmla="*/ 249752 w 774600"/>
                <a:gd name="connsiteY60" fmla="*/ 182904 h 259834"/>
                <a:gd name="connsiteX61" fmla="*/ 254956 w 774600"/>
                <a:gd name="connsiteY61" fmla="*/ 202874 h 259834"/>
                <a:gd name="connsiteX62" fmla="*/ 263302 w 774600"/>
                <a:gd name="connsiteY62" fmla="*/ 216420 h 259834"/>
                <a:gd name="connsiteX63" fmla="*/ 274756 w 774600"/>
                <a:gd name="connsiteY63" fmla="*/ 224061 h 259834"/>
                <a:gd name="connsiteX64" fmla="*/ 289168 w 774600"/>
                <a:gd name="connsiteY64" fmla="*/ 226493 h 259834"/>
                <a:gd name="connsiteX65" fmla="*/ 306721 w 774600"/>
                <a:gd name="connsiteY65" fmla="*/ 222670 h 259834"/>
                <a:gd name="connsiteX66" fmla="*/ 319567 w 774600"/>
                <a:gd name="connsiteY66" fmla="*/ 210511 h 259834"/>
                <a:gd name="connsiteX67" fmla="*/ 327383 w 774600"/>
                <a:gd name="connsiteY67" fmla="*/ 188453 h 259834"/>
                <a:gd name="connsiteX68" fmla="*/ 329995 w 774600"/>
                <a:gd name="connsiteY68" fmla="*/ 155978 h 259834"/>
                <a:gd name="connsiteX69" fmla="*/ 578701 w 774600"/>
                <a:gd name="connsiteY69" fmla="*/ 223015 h 259834"/>
                <a:gd name="connsiteX70" fmla="*/ 578701 w 774600"/>
                <a:gd name="connsiteY70" fmla="*/ 256362 h 259834"/>
                <a:gd name="connsiteX71" fmla="*/ 409187 w 774600"/>
                <a:gd name="connsiteY71" fmla="*/ 256362 h 259834"/>
                <a:gd name="connsiteX72" fmla="*/ 409187 w 774600"/>
                <a:gd name="connsiteY72" fmla="*/ 227704 h 259834"/>
                <a:gd name="connsiteX73" fmla="*/ 491507 w 774600"/>
                <a:gd name="connsiteY73" fmla="*/ 137913 h 259834"/>
                <a:gd name="connsiteX74" fmla="*/ 512874 w 774600"/>
                <a:gd name="connsiteY74" fmla="*/ 111513 h 259834"/>
                <a:gd name="connsiteX75" fmla="*/ 523813 w 774600"/>
                <a:gd name="connsiteY75" fmla="*/ 91542 h 259834"/>
                <a:gd name="connsiteX76" fmla="*/ 527110 w 774600"/>
                <a:gd name="connsiteY76" fmla="*/ 73998 h 259834"/>
                <a:gd name="connsiteX77" fmla="*/ 522592 w 774600"/>
                <a:gd name="connsiteY77" fmla="*/ 52981 h 259834"/>
                <a:gd name="connsiteX78" fmla="*/ 509746 w 774600"/>
                <a:gd name="connsiteY78" fmla="*/ 38565 h 259834"/>
                <a:gd name="connsiteX79" fmla="*/ 489085 w 774600"/>
                <a:gd name="connsiteY79" fmla="*/ 33181 h 259834"/>
                <a:gd name="connsiteX80" fmla="*/ 465452 w 774600"/>
                <a:gd name="connsiteY80" fmla="*/ 39261 h 259834"/>
                <a:gd name="connsiteX81" fmla="*/ 451040 w 774600"/>
                <a:gd name="connsiteY81" fmla="*/ 56109 h 259834"/>
                <a:gd name="connsiteX82" fmla="*/ 446181 w 774600"/>
                <a:gd name="connsiteY82" fmla="*/ 80423 h 259834"/>
                <a:gd name="connsiteX83" fmla="*/ 404328 w 774600"/>
                <a:gd name="connsiteY83" fmla="*/ 80423 h 259834"/>
                <a:gd name="connsiteX84" fmla="*/ 414391 w 774600"/>
                <a:gd name="connsiteY84" fmla="*/ 40131 h 259834"/>
                <a:gd name="connsiteX85" fmla="*/ 443569 w 774600"/>
                <a:gd name="connsiteY85" fmla="*/ 10953 h 259834"/>
                <a:gd name="connsiteX86" fmla="*/ 489596 w 774600"/>
                <a:gd name="connsiteY86" fmla="*/ 10 h 259834"/>
                <a:gd name="connsiteX87" fmla="*/ 532670 w 774600"/>
                <a:gd name="connsiteY87" fmla="*/ 8521 h 259834"/>
                <a:gd name="connsiteX88" fmla="*/ 559581 w 774600"/>
                <a:gd name="connsiteY88" fmla="*/ 32660 h 259834"/>
                <a:gd name="connsiteX89" fmla="*/ 568958 w 774600"/>
                <a:gd name="connsiteY89" fmla="*/ 69655 h 259834"/>
                <a:gd name="connsiteX90" fmla="*/ 565145 w 774600"/>
                <a:gd name="connsiteY90" fmla="*/ 93103 h 259834"/>
                <a:gd name="connsiteX91" fmla="*/ 554207 w 774600"/>
                <a:gd name="connsiteY91" fmla="*/ 116376 h 259834"/>
                <a:gd name="connsiteX92" fmla="*/ 537704 w 774600"/>
                <a:gd name="connsiteY92" fmla="*/ 139475 h 259834"/>
                <a:gd name="connsiteX93" fmla="*/ 516697 w 774600"/>
                <a:gd name="connsiteY93" fmla="*/ 162748 h 259834"/>
                <a:gd name="connsiteX94" fmla="*/ 461979 w 774600"/>
                <a:gd name="connsiteY94" fmla="*/ 223015 h 259834"/>
                <a:gd name="connsiteX95" fmla="*/ 578701 w 774600"/>
                <a:gd name="connsiteY95" fmla="*/ 223015 h 259834"/>
                <a:gd name="connsiteX96" fmla="*/ 660505 w 774600"/>
                <a:gd name="connsiteY96" fmla="*/ 110992 h 259834"/>
                <a:gd name="connsiteX97" fmla="*/ 685510 w 774600"/>
                <a:gd name="connsiteY97" fmla="*/ 110992 h 259834"/>
                <a:gd name="connsiteX98" fmla="*/ 709639 w 774600"/>
                <a:gd name="connsiteY98" fmla="*/ 105953 h 259834"/>
                <a:gd name="connsiteX99" fmla="*/ 724065 w 774600"/>
                <a:gd name="connsiteY99" fmla="*/ 92057 h 259834"/>
                <a:gd name="connsiteX100" fmla="*/ 728754 w 774600"/>
                <a:gd name="connsiteY100" fmla="*/ 71736 h 259834"/>
                <a:gd name="connsiteX101" fmla="*/ 724411 w 774600"/>
                <a:gd name="connsiteY101" fmla="*/ 51240 h 259834"/>
                <a:gd name="connsiteX102" fmla="*/ 711565 w 774600"/>
                <a:gd name="connsiteY102" fmla="*/ 37865 h 259834"/>
                <a:gd name="connsiteX103" fmla="*/ 689858 w 774600"/>
                <a:gd name="connsiteY103" fmla="*/ 33176 h 259834"/>
                <a:gd name="connsiteX104" fmla="*/ 669712 w 774600"/>
                <a:gd name="connsiteY104" fmla="*/ 37690 h 259834"/>
                <a:gd name="connsiteX105" fmla="*/ 655626 w 774600"/>
                <a:gd name="connsiteY105" fmla="*/ 50195 h 259834"/>
                <a:gd name="connsiteX106" fmla="*/ 650422 w 774600"/>
                <a:gd name="connsiteY106" fmla="*/ 69300 h 259834"/>
                <a:gd name="connsiteX107" fmla="*/ 608394 w 774600"/>
                <a:gd name="connsiteY107" fmla="*/ 69300 h 259834"/>
                <a:gd name="connsiteX108" fmla="*/ 618992 w 774600"/>
                <a:gd name="connsiteY108" fmla="*/ 33521 h 259834"/>
                <a:gd name="connsiteX109" fmla="*/ 647810 w 774600"/>
                <a:gd name="connsiteY109" fmla="*/ 9032 h 259834"/>
                <a:gd name="connsiteX110" fmla="*/ 689148 w 774600"/>
                <a:gd name="connsiteY110" fmla="*/ 0 h 259834"/>
                <a:gd name="connsiteX111" fmla="*/ 731876 w 774600"/>
                <a:gd name="connsiteY111" fmla="*/ 8161 h 259834"/>
                <a:gd name="connsiteX112" fmla="*/ 760524 w 774600"/>
                <a:gd name="connsiteY112" fmla="*/ 32130 h 259834"/>
                <a:gd name="connsiteX113" fmla="*/ 770777 w 774600"/>
                <a:gd name="connsiteY113" fmla="*/ 71731 h 259834"/>
                <a:gd name="connsiteX114" fmla="*/ 765743 w 774600"/>
                <a:gd name="connsiteY114" fmla="*/ 93614 h 259834"/>
                <a:gd name="connsiteX115" fmla="*/ 750802 w 774600"/>
                <a:gd name="connsiteY115" fmla="*/ 113935 h 259834"/>
                <a:gd name="connsiteX116" fmla="*/ 726137 w 774600"/>
                <a:gd name="connsiteY116" fmla="*/ 128696 h 259834"/>
                <a:gd name="connsiteX117" fmla="*/ 691925 w 774600"/>
                <a:gd name="connsiteY117" fmla="*/ 134256 h 259834"/>
                <a:gd name="connsiteX118" fmla="*/ 660495 w 774600"/>
                <a:gd name="connsiteY118" fmla="*/ 134256 h 259834"/>
                <a:gd name="connsiteX119" fmla="*/ 660495 w 774600"/>
                <a:gd name="connsiteY119" fmla="*/ 110982 h 259834"/>
                <a:gd name="connsiteX120" fmla="*/ 660505 w 774600"/>
                <a:gd name="connsiteY120" fmla="*/ 143643 h 259834"/>
                <a:gd name="connsiteX121" fmla="*/ 660505 w 774600"/>
                <a:gd name="connsiteY121" fmla="*/ 120715 h 259834"/>
                <a:gd name="connsiteX122" fmla="*/ 691935 w 774600"/>
                <a:gd name="connsiteY122" fmla="*/ 120715 h 259834"/>
                <a:gd name="connsiteX123" fmla="*/ 729790 w 774600"/>
                <a:gd name="connsiteY123" fmla="*/ 125924 h 259834"/>
                <a:gd name="connsiteX124" fmla="*/ 755500 w 774600"/>
                <a:gd name="connsiteY124" fmla="*/ 140340 h 259834"/>
                <a:gd name="connsiteX125" fmla="*/ 769911 w 774600"/>
                <a:gd name="connsiteY125" fmla="*/ 161007 h 259834"/>
                <a:gd name="connsiteX126" fmla="*/ 774600 w 774600"/>
                <a:gd name="connsiteY126" fmla="*/ 185671 h 259834"/>
                <a:gd name="connsiteX127" fmla="*/ 768175 w 774600"/>
                <a:gd name="connsiteY127" fmla="*/ 217281 h 259834"/>
                <a:gd name="connsiteX128" fmla="*/ 750296 w 774600"/>
                <a:gd name="connsiteY128" fmla="*/ 240554 h 259834"/>
                <a:gd name="connsiteX129" fmla="*/ 723024 w 774600"/>
                <a:gd name="connsiteY129" fmla="*/ 254971 h 259834"/>
                <a:gd name="connsiteX130" fmla="*/ 689328 w 774600"/>
                <a:gd name="connsiteY130" fmla="*/ 259834 h 259834"/>
                <a:gd name="connsiteX131" fmla="*/ 658068 w 774600"/>
                <a:gd name="connsiteY131" fmla="*/ 255316 h 259834"/>
                <a:gd name="connsiteX132" fmla="*/ 631327 w 774600"/>
                <a:gd name="connsiteY132" fmla="*/ 241945 h 259834"/>
                <a:gd name="connsiteX133" fmla="*/ 612572 w 774600"/>
                <a:gd name="connsiteY133" fmla="*/ 219543 h 259834"/>
                <a:gd name="connsiteX134" fmla="*/ 605787 w 774600"/>
                <a:gd name="connsiteY134" fmla="*/ 188283 h 259834"/>
                <a:gd name="connsiteX135" fmla="*/ 647640 w 774600"/>
                <a:gd name="connsiteY135" fmla="*/ 188283 h 259834"/>
                <a:gd name="connsiteX136" fmla="*/ 652859 w 774600"/>
                <a:gd name="connsiteY136" fmla="*/ 208254 h 259834"/>
                <a:gd name="connsiteX137" fmla="*/ 667786 w 774600"/>
                <a:gd name="connsiteY137" fmla="*/ 221624 h 259834"/>
                <a:gd name="connsiteX138" fmla="*/ 690028 w 774600"/>
                <a:gd name="connsiteY138" fmla="*/ 226488 h 259834"/>
                <a:gd name="connsiteX139" fmla="*/ 712767 w 774600"/>
                <a:gd name="connsiteY139" fmla="*/ 221799 h 259834"/>
                <a:gd name="connsiteX140" fmla="*/ 727363 w 774600"/>
                <a:gd name="connsiteY140" fmla="*/ 207904 h 259834"/>
                <a:gd name="connsiteX141" fmla="*/ 732567 w 774600"/>
                <a:gd name="connsiteY141" fmla="*/ 185671 h 259834"/>
                <a:gd name="connsiteX142" fmla="*/ 726847 w 774600"/>
                <a:gd name="connsiteY142" fmla="*/ 161702 h 259834"/>
                <a:gd name="connsiteX143" fmla="*/ 710515 w 774600"/>
                <a:gd name="connsiteY143" fmla="*/ 148157 h 259834"/>
                <a:gd name="connsiteX144" fmla="*/ 685510 w 774600"/>
                <a:gd name="connsiteY144" fmla="*/ 143643 h 259834"/>
                <a:gd name="connsiteX145" fmla="*/ 660505 w 774600"/>
                <a:gd name="connsiteY145" fmla="*/ 143643 h 2598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</a:cxnLst>
              <a:rect l="l" t="t" r="r" b="b"/>
              <a:pathLst>
                <a:path w="774600" h="259834">
                  <a:moveTo>
                    <a:pt x="174372" y="223015"/>
                  </a:moveTo>
                  <a:lnTo>
                    <a:pt x="174372" y="256362"/>
                  </a:lnTo>
                  <a:lnTo>
                    <a:pt x="4859" y="256362"/>
                  </a:lnTo>
                  <a:lnTo>
                    <a:pt x="4859" y="227704"/>
                  </a:lnTo>
                  <a:lnTo>
                    <a:pt x="87193" y="137913"/>
                  </a:lnTo>
                  <a:cubicBezTo>
                    <a:pt x="96211" y="127724"/>
                    <a:pt x="103336" y="118925"/>
                    <a:pt x="108541" y="111513"/>
                  </a:cubicBezTo>
                  <a:cubicBezTo>
                    <a:pt x="113760" y="104100"/>
                    <a:pt x="117403" y="97446"/>
                    <a:pt x="119499" y="91542"/>
                  </a:cubicBezTo>
                  <a:cubicBezTo>
                    <a:pt x="121697" y="85520"/>
                    <a:pt x="122797" y="79674"/>
                    <a:pt x="122797" y="73998"/>
                  </a:cubicBezTo>
                  <a:cubicBezTo>
                    <a:pt x="122797" y="66012"/>
                    <a:pt x="121284" y="59003"/>
                    <a:pt x="118278" y="52981"/>
                  </a:cubicBezTo>
                  <a:cubicBezTo>
                    <a:pt x="115374" y="46843"/>
                    <a:pt x="111099" y="42038"/>
                    <a:pt x="105413" y="38565"/>
                  </a:cubicBezTo>
                  <a:cubicBezTo>
                    <a:pt x="99747" y="34976"/>
                    <a:pt x="92860" y="33181"/>
                    <a:pt x="84752" y="33181"/>
                  </a:cubicBezTo>
                  <a:cubicBezTo>
                    <a:pt x="75374" y="33181"/>
                    <a:pt x="67510" y="35209"/>
                    <a:pt x="61138" y="39261"/>
                  </a:cubicBezTo>
                  <a:cubicBezTo>
                    <a:pt x="54766" y="43312"/>
                    <a:pt x="49956" y="48930"/>
                    <a:pt x="46712" y="56109"/>
                  </a:cubicBezTo>
                  <a:cubicBezTo>
                    <a:pt x="43482" y="63171"/>
                    <a:pt x="41853" y="71279"/>
                    <a:pt x="41853" y="80423"/>
                  </a:cubicBezTo>
                  <a:lnTo>
                    <a:pt x="0" y="80423"/>
                  </a:lnTo>
                  <a:cubicBezTo>
                    <a:pt x="0" y="65720"/>
                    <a:pt x="3366" y="52286"/>
                    <a:pt x="10083" y="40131"/>
                  </a:cubicBezTo>
                  <a:cubicBezTo>
                    <a:pt x="16800" y="27860"/>
                    <a:pt x="26517" y="18132"/>
                    <a:pt x="39261" y="10953"/>
                  </a:cubicBezTo>
                  <a:cubicBezTo>
                    <a:pt x="51989" y="3658"/>
                    <a:pt x="67325" y="10"/>
                    <a:pt x="85272" y="10"/>
                  </a:cubicBezTo>
                  <a:cubicBezTo>
                    <a:pt x="102189" y="10"/>
                    <a:pt x="116546" y="2845"/>
                    <a:pt x="128346" y="8521"/>
                  </a:cubicBezTo>
                  <a:cubicBezTo>
                    <a:pt x="140160" y="14193"/>
                    <a:pt x="149129" y="22242"/>
                    <a:pt x="155277" y="32660"/>
                  </a:cubicBezTo>
                  <a:cubicBezTo>
                    <a:pt x="161527" y="43079"/>
                    <a:pt x="164654" y="55413"/>
                    <a:pt x="164654" y="69655"/>
                  </a:cubicBezTo>
                  <a:cubicBezTo>
                    <a:pt x="164654" y="77529"/>
                    <a:pt x="163385" y="85345"/>
                    <a:pt x="160827" y="93103"/>
                  </a:cubicBezTo>
                  <a:cubicBezTo>
                    <a:pt x="158283" y="100861"/>
                    <a:pt x="154645" y="108619"/>
                    <a:pt x="149888" y="116376"/>
                  </a:cubicBezTo>
                  <a:cubicBezTo>
                    <a:pt x="145267" y="124017"/>
                    <a:pt x="139757" y="131717"/>
                    <a:pt x="133400" y="139475"/>
                  </a:cubicBezTo>
                  <a:cubicBezTo>
                    <a:pt x="127028" y="147116"/>
                    <a:pt x="120019" y="154873"/>
                    <a:pt x="112378" y="162748"/>
                  </a:cubicBezTo>
                  <a:lnTo>
                    <a:pt x="57675" y="223015"/>
                  </a:lnTo>
                  <a:lnTo>
                    <a:pt x="174377" y="223015"/>
                  </a:lnTo>
                  <a:close/>
                  <a:moveTo>
                    <a:pt x="371848" y="108735"/>
                  </a:moveTo>
                  <a:lnTo>
                    <a:pt x="371848" y="150068"/>
                  </a:lnTo>
                  <a:cubicBezTo>
                    <a:pt x="371848" y="169869"/>
                    <a:pt x="369873" y="186770"/>
                    <a:pt x="365938" y="200783"/>
                  </a:cubicBezTo>
                  <a:cubicBezTo>
                    <a:pt x="362125" y="214674"/>
                    <a:pt x="356561" y="225963"/>
                    <a:pt x="349260" y="234650"/>
                  </a:cubicBezTo>
                  <a:cubicBezTo>
                    <a:pt x="341960" y="243332"/>
                    <a:pt x="333219" y="249703"/>
                    <a:pt x="323035" y="253755"/>
                  </a:cubicBezTo>
                  <a:cubicBezTo>
                    <a:pt x="312971" y="257806"/>
                    <a:pt x="301668" y="259834"/>
                    <a:pt x="289168" y="259834"/>
                  </a:cubicBezTo>
                  <a:cubicBezTo>
                    <a:pt x="279221" y="259834"/>
                    <a:pt x="269951" y="258560"/>
                    <a:pt x="261381" y="256011"/>
                  </a:cubicBezTo>
                  <a:cubicBezTo>
                    <a:pt x="252933" y="253463"/>
                    <a:pt x="245287" y="249470"/>
                    <a:pt x="238468" y="244027"/>
                  </a:cubicBezTo>
                  <a:cubicBezTo>
                    <a:pt x="231634" y="238584"/>
                    <a:pt x="225773" y="231581"/>
                    <a:pt x="220914" y="223011"/>
                  </a:cubicBezTo>
                  <a:cubicBezTo>
                    <a:pt x="216172" y="214329"/>
                    <a:pt x="212466" y="203964"/>
                    <a:pt x="209800" y="191921"/>
                  </a:cubicBezTo>
                  <a:cubicBezTo>
                    <a:pt x="207256" y="179878"/>
                    <a:pt x="205972" y="165929"/>
                    <a:pt x="205972" y="150063"/>
                  </a:cubicBezTo>
                  <a:lnTo>
                    <a:pt x="205972" y="108730"/>
                  </a:lnTo>
                  <a:cubicBezTo>
                    <a:pt x="205972" y="88813"/>
                    <a:pt x="207947" y="72028"/>
                    <a:pt x="211882" y="58366"/>
                  </a:cubicBezTo>
                  <a:cubicBezTo>
                    <a:pt x="215831" y="44587"/>
                    <a:pt x="221430" y="33414"/>
                    <a:pt x="228730" y="24844"/>
                  </a:cubicBezTo>
                  <a:cubicBezTo>
                    <a:pt x="236031" y="16162"/>
                    <a:pt x="244722" y="9849"/>
                    <a:pt x="254786" y="5914"/>
                  </a:cubicBezTo>
                  <a:cubicBezTo>
                    <a:pt x="264970" y="1980"/>
                    <a:pt x="276323" y="10"/>
                    <a:pt x="288827" y="10"/>
                  </a:cubicBezTo>
                  <a:cubicBezTo>
                    <a:pt x="298910" y="10"/>
                    <a:pt x="308166" y="1284"/>
                    <a:pt x="316614" y="3833"/>
                  </a:cubicBezTo>
                  <a:cubicBezTo>
                    <a:pt x="325184" y="6265"/>
                    <a:pt x="332825" y="10141"/>
                    <a:pt x="339542" y="15467"/>
                  </a:cubicBezTo>
                  <a:cubicBezTo>
                    <a:pt x="346376" y="20793"/>
                    <a:pt x="352164" y="27743"/>
                    <a:pt x="356906" y="36308"/>
                  </a:cubicBezTo>
                  <a:cubicBezTo>
                    <a:pt x="361765" y="44762"/>
                    <a:pt x="365476" y="55010"/>
                    <a:pt x="368020" y="67048"/>
                  </a:cubicBezTo>
                  <a:cubicBezTo>
                    <a:pt x="370578" y="78974"/>
                    <a:pt x="371848" y="92870"/>
                    <a:pt x="371848" y="108730"/>
                  </a:cubicBezTo>
                  <a:close/>
                  <a:moveTo>
                    <a:pt x="329995" y="155978"/>
                  </a:moveTo>
                  <a:lnTo>
                    <a:pt x="329995" y="102485"/>
                  </a:lnTo>
                  <a:cubicBezTo>
                    <a:pt x="329995" y="92412"/>
                    <a:pt x="329411" y="83555"/>
                    <a:pt x="328258" y="75914"/>
                  </a:cubicBezTo>
                  <a:cubicBezTo>
                    <a:pt x="327091" y="68157"/>
                    <a:pt x="325355" y="61615"/>
                    <a:pt x="323039" y="56289"/>
                  </a:cubicBezTo>
                  <a:cubicBezTo>
                    <a:pt x="320841" y="50846"/>
                    <a:pt x="318059" y="46445"/>
                    <a:pt x="314708" y="43088"/>
                  </a:cubicBezTo>
                  <a:cubicBezTo>
                    <a:pt x="311342" y="39616"/>
                    <a:pt x="307529" y="37125"/>
                    <a:pt x="303234" y="35623"/>
                  </a:cubicBezTo>
                  <a:cubicBezTo>
                    <a:pt x="298959" y="34003"/>
                    <a:pt x="294148" y="33191"/>
                    <a:pt x="288823" y="33191"/>
                  </a:cubicBezTo>
                  <a:cubicBezTo>
                    <a:pt x="282349" y="33191"/>
                    <a:pt x="276542" y="34465"/>
                    <a:pt x="271459" y="37014"/>
                  </a:cubicBezTo>
                  <a:cubicBezTo>
                    <a:pt x="266357" y="39445"/>
                    <a:pt x="262081" y="43380"/>
                    <a:pt x="258613" y="48823"/>
                  </a:cubicBezTo>
                  <a:cubicBezTo>
                    <a:pt x="255126" y="54266"/>
                    <a:pt x="252466" y="61445"/>
                    <a:pt x="250608" y="70360"/>
                  </a:cubicBezTo>
                  <a:cubicBezTo>
                    <a:pt x="248871" y="79159"/>
                    <a:pt x="248015" y="89869"/>
                    <a:pt x="248015" y="102490"/>
                  </a:cubicBezTo>
                  <a:lnTo>
                    <a:pt x="248015" y="155982"/>
                  </a:lnTo>
                  <a:cubicBezTo>
                    <a:pt x="248015" y="166172"/>
                    <a:pt x="248584" y="175146"/>
                    <a:pt x="249752" y="182904"/>
                  </a:cubicBezTo>
                  <a:cubicBezTo>
                    <a:pt x="250904" y="190661"/>
                    <a:pt x="252636" y="197320"/>
                    <a:pt x="254956" y="202874"/>
                  </a:cubicBezTo>
                  <a:cubicBezTo>
                    <a:pt x="257276" y="208317"/>
                    <a:pt x="260058" y="212831"/>
                    <a:pt x="263302" y="216420"/>
                  </a:cubicBezTo>
                  <a:cubicBezTo>
                    <a:pt x="266653" y="219893"/>
                    <a:pt x="270481" y="222441"/>
                    <a:pt x="274756" y="224061"/>
                  </a:cubicBezTo>
                  <a:cubicBezTo>
                    <a:pt x="279153" y="225681"/>
                    <a:pt x="283964" y="226493"/>
                    <a:pt x="289168" y="226493"/>
                  </a:cubicBezTo>
                  <a:cubicBezTo>
                    <a:pt x="295778" y="226493"/>
                    <a:pt x="301619" y="225219"/>
                    <a:pt x="306721" y="222670"/>
                  </a:cubicBezTo>
                  <a:cubicBezTo>
                    <a:pt x="311804" y="220121"/>
                    <a:pt x="316099" y="216070"/>
                    <a:pt x="319567" y="210511"/>
                  </a:cubicBezTo>
                  <a:cubicBezTo>
                    <a:pt x="323035" y="204839"/>
                    <a:pt x="325646" y="197485"/>
                    <a:pt x="327383" y="188453"/>
                  </a:cubicBezTo>
                  <a:cubicBezTo>
                    <a:pt x="329119" y="179421"/>
                    <a:pt x="329995" y="168594"/>
                    <a:pt x="329995" y="155978"/>
                  </a:cubicBezTo>
                  <a:close/>
                  <a:moveTo>
                    <a:pt x="578701" y="223015"/>
                  </a:moveTo>
                  <a:lnTo>
                    <a:pt x="578701" y="256362"/>
                  </a:lnTo>
                  <a:lnTo>
                    <a:pt x="409187" y="256362"/>
                  </a:lnTo>
                  <a:lnTo>
                    <a:pt x="409187" y="227704"/>
                  </a:lnTo>
                  <a:lnTo>
                    <a:pt x="491507" y="137913"/>
                  </a:lnTo>
                  <a:cubicBezTo>
                    <a:pt x="500539" y="127724"/>
                    <a:pt x="507670" y="118925"/>
                    <a:pt x="512874" y="111513"/>
                  </a:cubicBezTo>
                  <a:cubicBezTo>
                    <a:pt x="518078" y="104100"/>
                    <a:pt x="521736" y="97446"/>
                    <a:pt x="523813" y="91542"/>
                  </a:cubicBezTo>
                  <a:cubicBezTo>
                    <a:pt x="526011" y="85520"/>
                    <a:pt x="527110" y="79674"/>
                    <a:pt x="527110" y="73998"/>
                  </a:cubicBezTo>
                  <a:cubicBezTo>
                    <a:pt x="527110" y="66012"/>
                    <a:pt x="525617" y="59003"/>
                    <a:pt x="522592" y="52981"/>
                  </a:cubicBezTo>
                  <a:cubicBezTo>
                    <a:pt x="519708" y="46843"/>
                    <a:pt x="515413" y="42038"/>
                    <a:pt x="509746" y="38565"/>
                  </a:cubicBezTo>
                  <a:cubicBezTo>
                    <a:pt x="504080" y="34976"/>
                    <a:pt x="497193" y="33181"/>
                    <a:pt x="489085" y="33181"/>
                  </a:cubicBezTo>
                  <a:cubicBezTo>
                    <a:pt x="479708" y="33181"/>
                    <a:pt x="471823" y="35209"/>
                    <a:pt x="465452" y="39261"/>
                  </a:cubicBezTo>
                  <a:cubicBezTo>
                    <a:pt x="459095" y="43312"/>
                    <a:pt x="454289" y="48930"/>
                    <a:pt x="451040" y="56109"/>
                  </a:cubicBezTo>
                  <a:cubicBezTo>
                    <a:pt x="447796" y="63171"/>
                    <a:pt x="446181" y="71279"/>
                    <a:pt x="446181" y="80423"/>
                  </a:cubicBezTo>
                  <a:lnTo>
                    <a:pt x="404328" y="80423"/>
                  </a:lnTo>
                  <a:cubicBezTo>
                    <a:pt x="404328" y="65720"/>
                    <a:pt x="407679" y="52286"/>
                    <a:pt x="414391" y="40131"/>
                  </a:cubicBezTo>
                  <a:cubicBezTo>
                    <a:pt x="421108" y="27860"/>
                    <a:pt x="430846" y="18132"/>
                    <a:pt x="443569" y="10953"/>
                  </a:cubicBezTo>
                  <a:cubicBezTo>
                    <a:pt x="456313" y="3658"/>
                    <a:pt x="471648" y="10"/>
                    <a:pt x="489596" y="10"/>
                  </a:cubicBezTo>
                  <a:cubicBezTo>
                    <a:pt x="506497" y="10"/>
                    <a:pt x="520855" y="2845"/>
                    <a:pt x="532670" y="8521"/>
                  </a:cubicBezTo>
                  <a:cubicBezTo>
                    <a:pt x="544484" y="14193"/>
                    <a:pt x="553453" y="22242"/>
                    <a:pt x="559581" y="32660"/>
                  </a:cubicBezTo>
                  <a:cubicBezTo>
                    <a:pt x="565831" y="43079"/>
                    <a:pt x="568958" y="55413"/>
                    <a:pt x="568958" y="69655"/>
                  </a:cubicBezTo>
                  <a:cubicBezTo>
                    <a:pt x="568958" y="77529"/>
                    <a:pt x="567689" y="85345"/>
                    <a:pt x="565145" y="93103"/>
                  </a:cubicBezTo>
                  <a:cubicBezTo>
                    <a:pt x="562601" y="100861"/>
                    <a:pt x="558944" y="108619"/>
                    <a:pt x="554207" y="116376"/>
                  </a:cubicBezTo>
                  <a:cubicBezTo>
                    <a:pt x="549571" y="124017"/>
                    <a:pt x="544075" y="131717"/>
                    <a:pt x="537704" y="139475"/>
                  </a:cubicBezTo>
                  <a:cubicBezTo>
                    <a:pt x="531332" y="147116"/>
                    <a:pt x="524323" y="154873"/>
                    <a:pt x="516697" y="162748"/>
                  </a:cubicBezTo>
                  <a:lnTo>
                    <a:pt x="461979" y="223015"/>
                  </a:lnTo>
                  <a:lnTo>
                    <a:pt x="578701" y="223015"/>
                  </a:lnTo>
                  <a:close/>
                  <a:moveTo>
                    <a:pt x="660505" y="110992"/>
                  </a:moveTo>
                  <a:lnTo>
                    <a:pt x="685510" y="110992"/>
                  </a:lnTo>
                  <a:cubicBezTo>
                    <a:pt x="695233" y="110992"/>
                    <a:pt x="703287" y="109314"/>
                    <a:pt x="709639" y="105953"/>
                  </a:cubicBezTo>
                  <a:cubicBezTo>
                    <a:pt x="716132" y="102597"/>
                    <a:pt x="720943" y="97962"/>
                    <a:pt x="724065" y="92057"/>
                  </a:cubicBezTo>
                  <a:cubicBezTo>
                    <a:pt x="727188" y="86153"/>
                    <a:pt x="728754" y="79377"/>
                    <a:pt x="728754" y="71736"/>
                  </a:cubicBezTo>
                  <a:cubicBezTo>
                    <a:pt x="728754" y="64095"/>
                    <a:pt x="727295" y="56916"/>
                    <a:pt x="724411" y="51240"/>
                  </a:cubicBezTo>
                  <a:cubicBezTo>
                    <a:pt x="721628" y="45452"/>
                    <a:pt x="717353" y="40992"/>
                    <a:pt x="711565" y="37865"/>
                  </a:cubicBezTo>
                  <a:cubicBezTo>
                    <a:pt x="705879" y="34737"/>
                    <a:pt x="698652" y="33176"/>
                    <a:pt x="689858" y="33176"/>
                  </a:cubicBezTo>
                  <a:cubicBezTo>
                    <a:pt x="682441" y="33176"/>
                    <a:pt x="675724" y="34684"/>
                    <a:pt x="669712" y="37690"/>
                  </a:cubicBezTo>
                  <a:cubicBezTo>
                    <a:pt x="663803" y="40584"/>
                    <a:pt x="659114" y="44752"/>
                    <a:pt x="655626" y="50195"/>
                  </a:cubicBezTo>
                  <a:cubicBezTo>
                    <a:pt x="652159" y="55520"/>
                    <a:pt x="650422" y="61887"/>
                    <a:pt x="650422" y="69300"/>
                  </a:cubicBezTo>
                  <a:lnTo>
                    <a:pt x="608394" y="69300"/>
                  </a:lnTo>
                  <a:cubicBezTo>
                    <a:pt x="608394" y="55871"/>
                    <a:pt x="611916" y="43945"/>
                    <a:pt x="618992" y="33521"/>
                  </a:cubicBezTo>
                  <a:cubicBezTo>
                    <a:pt x="626050" y="23103"/>
                    <a:pt x="635670" y="14937"/>
                    <a:pt x="647810" y="9032"/>
                  </a:cubicBezTo>
                  <a:cubicBezTo>
                    <a:pt x="660092" y="3011"/>
                    <a:pt x="673866" y="0"/>
                    <a:pt x="689148" y="0"/>
                  </a:cubicBezTo>
                  <a:cubicBezTo>
                    <a:pt x="705480" y="0"/>
                    <a:pt x="719717" y="2724"/>
                    <a:pt x="731876" y="8161"/>
                  </a:cubicBezTo>
                  <a:cubicBezTo>
                    <a:pt x="744138" y="13487"/>
                    <a:pt x="753705" y="21479"/>
                    <a:pt x="760524" y="32130"/>
                  </a:cubicBezTo>
                  <a:cubicBezTo>
                    <a:pt x="767358" y="42782"/>
                    <a:pt x="770777" y="55982"/>
                    <a:pt x="770777" y="71731"/>
                  </a:cubicBezTo>
                  <a:cubicBezTo>
                    <a:pt x="770777" y="78910"/>
                    <a:pt x="769094" y="86206"/>
                    <a:pt x="765743" y="93614"/>
                  </a:cubicBezTo>
                  <a:cubicBezTo>
                    <a:pt x="762378" y="101026"/>
                    <a:pt x="757397" y="107797"/>
                    <a:pt x="750802" y="113935"/>
                  </a:cubicBezTo>
                  <a:cubicBezTo>
                    <a:pt x="744206" y="119956"/>
                    <a:pt x="735982" y="124873"/>
                    <a:pt x="726137" y="128696"/>
                  </a:cubicBezTo>
                  <a:cubicBezTo>
                    <a:pt x="716298" y="132403"/>
                    <a:pt x="704892" y="134256"/>
                    <a:pt x="691925" y="134256"/>
                  </a:cubicBezTo>
                  <a:lnTo>
                    <a:pt x="660495" y="134256"/>
                  </a:lnTo>
                  <a:lnTo>
                    <a:pt x="660495" y="110982"/>
                  </a:lnTo>
                  <a:close/>
                  <a:moveTo>
                    <a:pt x="660505" y="143643"/>
                  </a:moveTo>
                  <a:lnTo>
                    <a:pt x="660505" y="120715"/>
                  </a:lnTo>
                  <a:lnTo>
                    <a:pt x="691935" y="120715"/>
                  </a:lnTo>
                  <a:cubicBezTo>
                    <a:pt x="706755" y="120715"/>
                    <a:pt x="719381" y="122451"/>
                    <a:pt x="729790" y="125924"/>
                  </a:cubicBezTo>
                  <a:cubicBezTo>
                    <a:pt x="740335" y="129397"/>
                    <a:pt x="748905" y="134202"/>
                    <a:pt x="755500" y="140340"/>
                  </a:cubicBezTo>
                  <a:cubicBezTo>
                    <a:pt x="762095" y="146362"/>
                    <a:pt x="766906" y="153249"/>
                    <a:pt x="769911" y="161007"/>
                  </a:cubicBezTo>
                  <a:cubicBezTo>
                    <a:pt x="773039" y="168764"/>
                    <a:pt x="774600" y="176984"/>
                    <a:pt x="774600" y="185671"/>
                  </a:cubicBezTo>
                  <a:cubicBezTo>
                    <a:pt x="774600" y="197480"/>
                    <a:pt x="772470" y="208015"/>
                    <a:pt x="768175" y="217281"/>
                  </a:cubicBezTo>
                  <a:cubicBezTo>
                    <a:pt x="764016" y="226430"/>
                    <a:pt x="758044" y="234188"/>
                    <a:pt x="750296" y="240554"/>
                  </a:cubicBezTo>
                  <a:cubicBezTo>
                    <a:pt x="742533" y="246921"/>
                    <a:pt x="733447" y="251726"/>
                    <a:pt x="723024" y="254971"/>
                  </a:cubicBezTo>
                  <a:cubicBezTo>
                    <a:pt x="712718" y="258215"/>
                    <a:pt x="701487" y="259834"/>
                    <a:pt x="689328" y="259834"/>
                  </a:cubicBezTo>
                  <a:cubicBezTo>
                    <a:pt x="678457" y="259834"/>
                    <a:pt x="668029" y="258327"/>
                    <a:pt x="658068" y="255316"/>
                  </a:cubicBezTo>
                  <a:cubicBezTo>
                    <a:pt x="648107" y="252305"/>
                    <a:pt x="639192" y="247850"/>
                    <a:pt x="631327" y="241945"/>
                  </a:cubicBezTo>
                  <a:cubicBezTo>
                    <a:pt x="623443" y="235924"/>
                    <a:pt x="617193" y="228458"/>
                    <a:pt x="612572" y="219543"/>
                  </a:cubicBezTo>
                  <a:cubicBezTo>
                    <a:pt x="608054" y="210511"/>
                    <a:pt x="605787" y="200092"/>
                    <a:pt x="605787" y="188283"/>
                  </a:cubicBezTo>
                  <a:lnTo>
                    <a:pt x="647640" y="188283"/>
                  </a:lnTo>
                  <a:cubicBezTo>
                    <a:pt x="647640" y="195807"/>
                    <a:pt x="649377" y="202466"/>
                    <a:pt x="652859" y="208254"/>
                  </a:cubicBezTo>
                  <a:cubicBezTo>
                    <a:pt x="656449" y="213925"/>
                    <a:pt x="661429" y="218385"/>
                    <a:pt x="667786" y="221624"/>
                  </a:cubicBezTo>
                  <a:cubicBezTo>
                    <a:pt x="674279" y="224869"/>
                    <a:pt x="681682" y="226488"/>
                    <a:pt x="690028" y="226488"/>
                  </a:cubicBezTo>
                  <a:cubicBezTo>
                    <a:pt x="698822" y="226488"/>
                    <a:pt x="706415" y="224927"/>
                    <a:pt x="712767" y="221799"/>
                  </a:cubicBezTo>
                  <a:cubicBezTo>
                    <a:pt x="719138" y="218672"/>
                    <a:pt x="723997" y="214042"/>
                    <a:pt x="727363" y="207904"/>
                  </a:cubicBezTo>
                  <a:cubicBezTo>
                    <a:pt x="730831" y="201765"/>
                    <a:pt x="732567" y="194358"/>
                    <a:pt x="732567" y="185671"/>
                  </a:cubicBezTo>
                  <a:cubicBezTo>
                    <a:pt x="732567" y="175827"/>
                    <a:pt x="730660" y="167840"/>
                    <a:pt x="726847" y="161702"/>
                  </a:cubicBezTo>
                  <a:cubicBezTo>
                    <a:pt x="723019" y="155564"/>
                    <a:pt x="717572" y="151050"/>
                    <a:pt x="710515" y="148157"/>
                  </a:cubicBezTo>
                  <a:cubicBezTo>
                    <a:pt x="703457" y="145146"/>
                    <a:pt x="695111" y="143643"/>
                    <a:pt x="685510" y="143643"/>
                  </a:cubicBezTo>
                  <a:lnTo>
                    <a:pt x="660505" y="143643"/>
                  </a:lnTo>
                  <a:close/>
                </a:path>
              </a:pathLst>
            </a:custGeom>
            <a:solidFill>
              <a:srgbClr val="EE3431"/>
            </a:solidFill>
            <a:ln w="4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8" name="Полилиния: фигура 47">
              <a:extLst>
                <a:ext uri="{FF2B5EF4-FFF2-40B4-BE49-F238E27FC236}">
                  <a16:creationId xmlns:a16="http://schemas.microsoft.com/office/drawing/2014/main" id="{C3ADAD60-17B9-4A06-AE0E-BCB35AB4E7E8}"/>
                </a:ext>
              </a:extLst>
            </p:cNvPr>
            <p:cNvSpPr/>
            <p:nvPr/>
          </p:nvSpPr>
          <p:spPr>
            <a:xfrm>
              <a:off x="8902858" y="5870060"/>
              <a:ext cx="774600" cy="259829"/>
            </a:xfrm>
            <a:custGeom>
              <a:avLst/>
              <a:gdLst>
                <a:gd name="connsiteX0" fmla="*/ 174372 w 774600"/>
                <a:gd name="connsiteY0" fmla="*/ 223011 h 259829"/>
                <a:gd name="connsiteX1" fmla="*/ 174372 w 774600"/>
                <a:gd name="connsiteY1" fmla="*/ 256357 h 259829"/>
                <a:gd name="connsiteX2" fmla="*/ 4859 w 774600"/>
                <a:gd name="connsiteY2" fmla="*/ 256357 h 259829"/>
                <a:gd name="connsiteX3" fmla="*/ 4859 w 774600"/>
                <a:gd name="connsiteY3" fmla="*/ 227699 h 259829"/>
                <a:gd name="connsiteX4" fmla="*/ 87193 w 774600"/>
                <a:gd name="connsiteY4" fmla="*/ 137908 h 259829"/>
                <a:gd name="connsiteX5" fmla="*/ 108541 w 774600"/>
                <a:gd name="connsiteY5" fmla="*/ 111508 h 259829"/>
                <a:gd name="connsiteX6" fmla="*/ 119499 w 774600"/>
                <a:gd name="connsiteY6" fmla="*/ 91537 h 259829"/>
                <a:gd name="connsiteX7" fmla="*/ 122797 w 774600"/>
                <a:gd name="connsiteY7" fmla="*/ 73993 h 259829"/>
                <a:gd name="connsiteX8" fmla="*/ 118278 w 774600"/>
                <a:gd name="connsiteY8" fmla="*/ 52977 h 259829"/>
                <a:gd name="connsiteX9" fmla="*/ 105413 w 774600"/>
                <a:gd name="connsiteY9" fmla="*/ 38560 h 259829"/>
                <a:gd name="connsiteX10" fmla="*/ 84752 w 774600"/>
                <a:gd name="connsiteY10" fmla="*/ 33176 h 259829"/>
                <a:gd name="connsiteX11" fmla="*/ 61138 w 774600"/>
                <a:gd name="connsiteY11" fmla="*/ 39256 h 259829"/>
                <a:gd name="connsiteX12" fmla="*/ 46712 w 774600"/>
                <a:gd name="connsiteY12" fmla="*/ 56104 h 259829"/>
                <a:gd name="connsiteX13" fmla="*/ 41853 w 774600"/>
                <a:gd name="connsiteY13" fmla="*/ 80418 h 259829"/>
                <a:gd name="connsiteX14" fmla="*/ 0 w 774600"/>
                <a:gd name="connsiteY14" fmla="*/ 80418 h 259829"/>
                <a:gd name="connsiteX15" fmla="*/ 10083 w 774600"/>
                <a:gd name="connsiteY15" fmla="*/ 40126 h 259829"/>
                <a:gd name="connsiteX16" fmla="*/ 39261 w 774600"/>
                <a:gd name="connsiteY16" fmla="*/ 10948 h 259829"/>
                <a:gd name="connsiteX17" fmla="*/ 85272 w 774600"/>
                <a:gd name="connsiteY17" fmla="*/ 5 h 259829"/>
                <a:gd name="connsiteX18" fmla="*/ 128346 w 774600"/>
                <a:gd name="connsiteY18" fmla="*/ 8517 h 259829"/>
                <a:gd name="connsiteX19" fmla="*/ 155277 w 774600"/>
                <a:gd name="connsiteY19" fmla="*/ 32660 h 259829"/>
                <a:gd name="connsiteX20" fmla="*/ 164654 w 774600"/>
                <a:gd name="connsiteY20" fmla="*/ 69655 h 259829"/>
                <a:gd name="connsiteX21" fmla="*/ 160827 w 774600"/>
                <a:gd name="connsiteY21" fmla="*/ 93103 h 259829"/>
                <a:gd name="connsiteX22" fmla="*/ 149888 w 774600"/>
                <a:gd name="connsiteY22" fmla="*/ 116376 h 259829"/>
                <a:gd name="connsiteX23" fmla="*/ 133400 w 774600"/>
                <a:gd name="connsiteY23" fmla="*/ 139475 h 259829"/>
                <a:gd name="connsiteX24" fmla="*/ 112378 w 774600"/>
                <a:gd name="connsiteY24" fmla="*/ 162748 h 259829"/>
                <a:gd name="connsiteX25" fmla="*/ 57675 w 774600"/>
                <a:gd name="connsiteY25" fmla="*/ 223015 h 259829"/>
                <a:gd name="connsiteX26" fmla="*/ 174377 w 774600"/>
                <a:gd name="connsiteY26" fmla="*/ 223015 h 259829"/>
                <a:gd name="connsiteX27" fmla="*/ 371848 w 774600"/>
                <a:gd name="connsiteY27" fmla="*/ 108730 h 259829"/>
                <a:gd name="connsiteX28" fmla="*/ 371848 w 774600"/>
                <a:gd name="connsiteY28" fmla="*/ 150063 h 259829"/>
                <a:gd name="connsiteX29" fmla="*/ 365938 w 774600"/>
                <a:gd name="connsiteY29" fmla="*/ 200778 h 259829"/>
                <a:gd name="connsiteX30" fmla="*/ 349260 w 774600"/>
                <a:gd name="connsiteY30" fmla="*/ 234645 h 259829"/>
                <a:gd name="connsiteX31" fmla="*/ 323035 w 774600"/>
                <a:gd name="connsiteY31" fmla="*/ 253750 h 259829"/>
                <a:gd name="connsiteX32" fmla="*/ 289168 w 774600"/>
                <a:gd name="connsiteY32" fmla="*/ 259830 h 259829"/>
                <a:gd name="connsiteX33" fmla="*/ 261381 w 774600"/>
                <a:gd name="connsiteY33" fmla="*/ 256011 h 259829"/>
                <a:gd name="connsiteX34" fmla="*/ 238468 w 774600"/>
                <a:gd name="connsiteY34" fmla="*/ 244027 h 259829"/>
                <a:gd name="connsiteX35" fmla="*/ 220914 w 774600"/>
                <a:gd name="connsiteY35" fmla="*/ 223011 h 259829"/>
                <a:gd name="connsiteX36" fmla="*/ 209800 w 774600"/>
                <a:gd name="connsiteY36" fmla="*/ 191921 h 259829"/>
                <a:gd name="connsiteX37" fmla="*/ 205972 w 774600"/>
                <a:gd name="connsiteY37" fmla="*/ 150063 h 259829"/>
                <a:gd name="connsiteX38" fmla="*/ 205972 w 774600"/>
                <a:gd name="connsiteY38" fmla="*/ 108730 h 259829"/>
                <a:gd name="connsiteX39" fmla="*/ 211882 w 774600"/>
                <a:gd name="connsiteY39" fmla="*/ 58366 h 259829"/>
                <a:gd name="connsiteX40" fmla="*/ 228730 w 774600"/>
                <a:gd name="connsiteY40" fmla="*/ 24844 h 259829"/>
                <a:gd name="connsiteX41" fmla="*/ 254786 w 774600"/>
                <a:gd name="connsiteY41" fmla="*/ 5914 h 259829"/>
                <a:gd name="connsiteX42" fmla="*/ 288827 w 774600"/>
                <a:gd name="connsiteY42" fmla="*/ 10 h 259829"/>
                <a:gd name="connsiteX43" fmla="*/ 316614 w 774600"/>
                <a:gd name="connsiteY43" fmla="*/ 3833 h 259829"/>
                <a:gd name="connsiteX44" fmla="*/ 339542 w 774600"/>
                <a:gd name="connsiteY44" fmla="*/ 15467 h 259829"/>
                <a:gd name="connsiteX45" fmla="*/ 356906 w 774600"/>
                <a:gd name="connsiteY45" fmla="*/ 36308 h 259829"/>
                <a:gd name="connsiteX46" fmla="*/ 368020 w 774600"/>
                <a:gd name="connsiteY46" fmla="*/ 67048 h 259829"/>
                <a:gd name="connsiteX47" fmla="*/ 371848 w 774600"/>
                <a:gd name="connsiteY47" fmla="*/ 108730 h 259829"/>
                <a:gd name="connsiteX48" fmla="*/ 329995 w 774600"/>
                <a:gd name="connsiteY48" fmla="*/ 155968 h 259829"/>
                <a:gd name="connsiteX49" fmla="*/ 329995 w 774600"/>
                <a:gd name="connsiteY49" fmla="*/ 102476 h 259829"/>
                <a:gd name="connsiteX50" fmla="*/ 328258 w 774600"/>
                <a:gd name="connsiteY50" fmla="*/ 75905 h 259829"/>
                <a:gd name="connsiteX51" fmla="*/ 323039 w 774600"/>
                <a:gd name="connsiteY51" fmla="*/ 56279 h 259829"/>
                <a:gd name="connsiteX52" fmla="*/ 314708 w 774600"/>
                <a:gd name="connsiteY52" fmla="*/ 43079 h 259829"/>
                <a:gd name="connsiteX53" fmla="*/ 303234 w 774600"/>
                <a:gd name="connsiteY53" fmla="*/ 35613 h 259829"/>
                <a:gd name="connsiteX54" fmla="*/ 288823 w 774600"/>
                <a:gd name="connsiteY54" fmla="*/ 33181 h 259829"/>
                <a:gd name="connsiteX55" fmla="*/ 271459 w 774600"/>
                <a:gd name="connsiteY55" fmla="*/ 37004 h 259829"/>
                <a:gd name="connsiteX56" fmla="*/ 258613 w 774600"/>
                <a:gd name="connsiteY56" fmla="*/ 48813 h 259829"/>
                <a:gd name="connsiteX57" fmla="*/ 250608 w 774600"/>
                <a:gd name="connsiteY57" fmla="*/ 70350 h 259829"/>
                <a:gd name="connsiteX58" fmla="*/ 248015 w 774600"/>
                <a:gd name="connsiteY58" fmla="*/ 102480 h 259829"/>
                <a:gd name="connsiteX59" fmla="*/ 248015 w 774600"/>
                <a:gd name="connsiteY59" fmla="*/ 155973 h 259829"/>
                <a:gd name="connsiteX60" fmla="*/ 249752 w 774600"/>
                <a:gd name="connsiteY60" fmla="*/ 182894 h 259829"/>
                <a:gd name="connsiteX61" fmla="*/ 254956 w 774600"/>
                <a:gd name="connsiteY61" fmla="*/ 202865 h 259829"/>
                <a:gd name="connsiteX62" fmla="*/ 263302 w 774600"/>
                <a:gd name="connsiteY62" fmla="*/ 216410 h 259829"/>
                <a:gd name="connsiteX63" fmla="*/ 274756 w 774600"/>
                <a:gd name="connsiteY63" fmla="*/ 224051 h 259829"/>
                <a:gd name="connsiteX64" fmla="*/ 289168 w 774600"/>
                <a:gd name="connsiteY64" fmla="*/ 226483 h 259829"/>
                <a:gd name="connsiteX65" fmla="*/ 306721 w 774600"/>
                <a:gd name="connsiteY65" fmla="*/ 222660 h 259829"/>
                <a:gd name="connsiteX66" fmla="*/ 319567 w 774600"/>
                <a:gd name="connsiteY66" fmla="*/ 210501 h 259829"/>
                <a:gd name="connsiteX67" fmla="*/ 327383 w 774600"/>
                <a:gd name="connsiteY67" fmla="*/ 188443 h 259829"/>
                <a:gd name="connsiteX68" fmla="*/ 329995 w 774600"/>
                <a:gd name="connsiteY68" fmla="*/ 155963 h 259829"/>
                <a:gd name="connsiteX69" fmla="*/ 578701 w 774600"/>
                <a:gd name="connsiteY69" fmla="*/ 223006 h 259829"/>
                <a:gd name="connsiteX70" fmla="*/ 578701 w 774600"/>
                <a:gd name="connsiteY70" fmla="*/ 256352 h 259829"/>
                <a:gd name="connsiteX71" fmla="*/ 409187 w 774600"/>
                <a:gd name="connsiteY71" fmla="*/ 256352 h 259829"/>
                <a:gd name="connsiteX72" fmla="*/ 409187 w 774600"/>
                <a:gd name="connsiteY72" fmla="*/ 227694 h 259829"/>
                <a:gd name="connsiteX73" fmla="*/ 491507 w 774600"/>
                <a:gd name="connsiteY73" fmla="*/ 137904 h 259829"/>
                <a:gd name="connsiteX74" fmla="*/ 512874 w 774600"/>
                <a:gd name="connsiteY74" fmla="*/ 111503 h 259829"/>
                <a:gd name="connsiteX75" fmla="*/ 523813 w 774600"/>
                <a:gd name="connsiteY75" fmla="*/ 91532 h 259829"/>
                <a:gd name="connsiteX76" fmla="*/ 527110 w 774600"/>
                <a:gd name="connsiteY76" fmla="*/ 73988 h 259829"/>
                <a:gd name="connsiteX77" fmla="*/ 522592 w 774600"/>
                <a:gd name="connsiteY77" fmla="*/ 52972 h 259829"/>
                <a:gd name="connsiteX78" fmla="*/ 509746 w 774600"/>
                <a:gd name="connsiteY78" fmla="*/ 38555 h 259829"/>
                <a:gd name="connsiteX79" fmla="*/ 489085 w 774600"/>
                <a:gd name="connsiteY79" fmla="*/ 33171 h 259829"/>
                <a:gd name="connsiteX80" fmla="*/ 465452 w 774600"/>
                <a:gd name="connsiteY80" fmla="*/ 39251 h 259829"/>
                <a:gd name="connsiteX81" fmla="*/ 451040 w 774600"/>
                <a:gd name="connsiteY81" fmla="*/ 56099 h 259829"/>
                <a:gd name="connsiteX82" fmla="*/ 446181 w 774600"/>
                <a:gd name="connsiteY82" fmla="*/ 80413 h 259829"/>
                <a:gd name="connsiteX83" fmla="*/ 404328 w 774600"/>
                <a:gd name="connsiteY83" fmla="*/ 80413 h 259829"/>
                <a:gd name="connsiteX84" fmla="*/ 414391 w 774600"/>
                <a:gd name="connsiteY84" fmla="*/ 40122 h 259829"/>
                <a:gd name="connsiteX85" fmla="*/ 443569 w 774600"/>
                <a:gd name="connsiteY85" fmla="*/ 10944 h 259829"/>
                <a:gd name="connsiteX86" fmla="*/ 489596 w 774600"/>
                <a:gd name="connsiteY86" fmla="*/ 0 h 259829"/>
                <a:gd name="connsiteX87" fmla="*/ 532670 w 774600"/>
                <a:gd name="connsiteY87" fmla="*/ 8512 h 259829"/>
                <a:gd name="connsiteX88" fmla="*/ 559581 w 774600"/>
                <a:gd name="connsiteY88" fmla="*/ 32656 h 259829"/>
                <a:gd name="connsiteX89" fmla="*/ 568958 w 774600"/>
                <a:gd name="connsiteY89" fmla="*/ 69650 h 259829"/>
                <a:gd name="connsiteX90" fmla="*/ 565145 w 774600"/>
                <a:gd name="connsiteY90" fmla="*/ 93098 h 259829"/>
                <a:gd name="connsiteX91" fmla="*/ 554207 w 774600"/>
                <a:gd name="connsiteY91" fmla="*/ 116372 h 259829"/>
                <a:gd name="connsiteX92" fmla="*/ 537704 w 774600"/>
                <a:gd name="connsiteY92" fmla="*/ 139470 h 259829"/>
                <a:gd name="connsiteX93" fmla="*/ 516697 w 774600"/>
                <a:gd name="connsiteY93" fmla="*/ 162743 h 259829"/>
                <a:gd name="connsiteX94" fmla="*/ 461979 w 774600"/>
                <a:gd name="connsiteY94" fmla="*/ 223011 h 259829"/>
                <a:gd name="connsiteX95" fmla="*/ 578701 w 774600"/>
                <a:gd name="connsiteY95" fmla="*/ 223011 h 259829"/>
                <a:gd name="connsiteX96" fmla="*/ 660505 w 774600"/>
                <a:gd name="connsiteY96" fmla="*/ 110982 h 259829"/>
                <a:gd name="connsiteX97" fmla="*/ 685510 w 774600"/>
                <a:gd name="connsiteY97" fmla="*/ 110982 h 259829"/>
                <a:gd name="connsiteX98" fmla="*/ 709639 w 774600"/>
                <a:gd name="connsiteY98" fmla="*/ 105948 h 259829"/>
                <a:gd name="connsiteX99" fmla="*/ 724065 w 774600"/>
                <a:gd name="connsiteY99" fmla="*/ 92052 h 259829"/>
                <a:gd name="connsiteX100" fmla="*/ 728754 w 774600"/>
                <a:gd name="connsiteY100" fmla="*/ 71731 h 259829"/>
                <a:gd name="connsiteX101" fmla="*/ 724411 w 774600"/>
                <a:gd name="connsiteY101" fmla="*/ 51240 h 259829"/>
                <a:gd name="connsiteX102" fmla="*/ 711565 w 774600"/>
                <a:gd name="connsiteY102" fmla="*/ 37865 h 259829"/>
                <a:gd name="connsiteX103" fmla="*/ 689858 w 774600"/>
                <a:gd name="connsiteY103" fmla="*/ 33176 h 259829"/>
                <a:gd name="connsiteX104" fmla="*/ 669712 w 774600"/>
                <a:gd name="connsiteY104" fmla="*/ 37690 h 259829"/>
                <a:gd name="connsiteX105" fmla="*/ 655626 w 774600"/>
                <a:gd name="connsiteY105" fmla="*/ 50195 h 259829"/>
                <a:gd name="connsiteX106" fmla="*/ 650422 w 774600"/>
                <a:gd name="connsiteY106" fmla="*/ 69300 h 259829"/>
                <a:gd name="connsiteX107" fmla="*/ 608394 w 774600"/>
                <a:gd name="connsiteY107" fmla="*/ 69300 h 259829"/>
                <a:gd name="connsiteX108" fmla="*/ 618992 w 774600"/>
                <a:gd name="connsiteY108" fmla="*/ 33521 h 259829"/>
                <a:gd name="connsiteX109" fmla="*/ 647810 w 774600"/>
                <a:gd name="connsiteY109" fmla="*/ 9032 h 259829"/>
                <a:gd name="connsiteX110" fmla="*/ 689148 w 774600"/>
                <a:gd name="connsiteY110" fmla="*/ 0 h 259829"/>
                <a:gd name="connsiteX111" fmla="*/ 731876 w 774600"/>
                <a:gd name="connsiteY111" fmla="*/ 8161 h 259829"/>
                <a:gd name="connsiteX112" fmla="*/ 760524 w 774600"/>
                <a:gd name="connsiteY112" fmla="*/ 32130 h 259829"/>
                <a:gd name="connsiteX113" fmla="*/ 770777 w 774600"/>
                <a:gd name="connsiteY113" fmla="*/ 71727 h 259829"/>
                <a:gd name="connsiteX114" fmla="*/ 765743 w 774600"/>
                <a:gd name="connsiteY114" fmla="*/ 93609 h 259829"/>
                <a:gd name="connsiteX115" fmla="*/ 750802 w 774600"/>
                <a:gd name="connsiteY115" fmla="*/ 113930 h 259829"/>
                <a:gd name="connsiteX116" fmla="*/ 726137 w 774600"/>
                <a:gd name="connsiteY116" fmla="*/ 128692 h 259829"/>
                <a:gd name="connsiteX117" fmla="*/ 691925 w 774600"/>
                <a:gd name="connsiteY117" fmla="*/ 134251 h 259829"/>
                <a:gd name="connsiteX118" fmla="*/ 660495 w 774600"/>
                <a:gd name="connsiteY118" fmla="*/ 134251 h 259829"/>
                <a:gd name="connsiteX119" fmla="*/ 660495 w 774600"/>
                <a:gd name="connsiteY119" fmla="*/ 110978 h 259829"/>
                <a:gd name="connsiteX120" fmla="*/ 660505 w 774600"/>
                <a:gd name="connsiteY120" fmla="*/ 143633 h 259829"/>
                <a:gd name="connsiteX121" fmla="*/ 660505 w 774600"/>
                <a:gd name="connsiteY121" fmla="*/ 120705 h 259829"/>
                <a:gd name="connsiteX122" fmla="*/ 691935 w 774600"/>
                <a:gd name="connsiteY122" fmla="*/ 120705 h 259829"/>
                <a:gd name="connsiteX123" fmla="*/ 729790 w 774600"/>
                <a:gd name="connsiteY123" fmla="*/ 125914 h 259829"/>
                <a:gd name="connsiteX124" fmla="*/ 755500 w 774600"/>
                <a:gd name="connsiteY124" fmla="*/ 140331 h 259829"/>
                <a:gd name="connsiteX125" fmla="*/ 769911 w 774600"/>
                <a:gd name="connsiteY125" fmla="*/ 160997 h 259829"/>
                <a:gd name="connsiteX126" fmla="*/ 774600 w 774600"/>
                <a:gd name="connsiteY126" fmla="*/ 185661 h 259829"/>
                <a:gd name="connsiteX127" fmla="*/ 768175 w 774600"/>
                <a:gd name="connsiteY127" fmla="*/ 217271 h 259829"/>
                <a:gd name="connsiteX128" fmla="*/ 750296 w 774600"/>
                <a:gd name="connsiteY128" fmla="*/ 240545 h 259829"/>
                <a:gd name="connsiteX129" fmla="*/ 723024 w 774600"/>
                <a:gd name="connsiteY129" fmla="*/ 254961 h 259829"/>
                <a:gd name="connsiteX130" fmla="*/ 689328 w 774600"/>
                <a:gd name="connsiteY130" fmla="*/ 259825 h 259829"/>
                <a:gd name="connsiteX131" fmla="*/ 658068 w 774600"/>
                <a:gd name="connsiteY131" fmla="*/ 255311 h 259829"/>
                <a:gd name="connsiteX132" fmla="*/ 631327 w 774600"/>
                <a:gd name="connsiteY132" fmla="*/ 241940 h 259829"/>
                <a:gd name="connsiteX133" fmla="*/ 612572 w 774600"/>
                <a:gd name="connsiteY133" fmla="*/ 219538 h 259829"/>
                <a:gd name="connsiteX134" fmla="*/ 605787 w 774600"/>
                <a:gd name="connsiteY134" fmla="*/ 188273 h 259829"/>
                <a:gd name="connsiteX135" fmla="*/ 647640 w 774600"/>
                <a:gd name="connsiteY135" fmla="*/ 188273 h 259829"/>
                <a:gd name="connsiteX136" fmla="*/ 652859 w 774600"/>
                <a:gd name="connsiteY136" fmla="*/ 208249 h 259829"/>
                <a:gd name="connsiteX137" fmla="*/ 667786 w 774600"/>
                <a:gd name="connsiteY137" fmla="*/ 221619 h 259829"/>
                <a:gd name="connsiteX138" fmla="*/ 690028 w 774600"/>
                <a:gd name="connsiteY138" fmla="*/ 226483 h 259829"/>
                <a:gd name="connsiteX139" fmla="*/ 712767 w 774600"/>
                <a:gd name="connsiteY139" fmla="*/ 221795 h 259829"/>
                <a:gd name="connsiteX140" fmla="*/ 727363 w 774600"/>
                <a:gd name="connsiteY140" fmla="*/ 207899 h 259829"/>
                <a:gd name="connsiteX141" fmla="*/ 732567 w 774600"/>
                <a:gd name="connsiteY141" fmla="*/ 185671 h 259829"/>
                <a:gd name="connsiteX142" fmla="*/ 726847 w 774600"/>
                <a:gd name="connsiteY142" fmla="*/ 161702 h 259829"/>
                <a:gd name="connsiteX143" fmla="*/ 710515 w 774600"/>
                <a:gd name="connsiteY143" fmla="*/ 148157 h 259829"/>
                <a:gd name="connsiteX144" fmla="*/ 685510 w 774600"/>
                <a:gd name="connsiteY144" fmla="*/ 143643 h 259829"/>
                <a:gd name="connsiteX145" fmla="*/ 660505 w 774600"/>
                <a:gd name="connsiteY145" fmla="*/ 143643 h 2598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</a:cxnLst>
              <a:rect l="l" t="t" r="r" b="b"/>
              <a:pathLst>
                <a:path w="774600" h="259829">
                  <a:moveTo>
                    <a:pt x="174372" y="223011"/>
                  </a:moveTo>
                  <a:lnTo>
                    <a:pt x="174372" y="256357"/>
                  </a:lnTo>
                  <a:lnTo>
                    <a:pt x="4859" y="256357"/>
                  </a:lnTo>
                  <a:lnTo>
                    <a:pt x="4859" y="227699"/>
                  </a:lnTo>
                  <a:lnTo>
                    <a:pt x="87193" y="137908"/>
                  </a:lnTo>
                  <a:cubicBezTo>
                    <a:pt x="96211" y="127719"/>
                    <a:pt x="103336" y="118920"/>
                    <a:pt x="108541" y="111508"/>
                  </a:cubicBezTo>
                  <a:cubicBezTo>
                    <a:pt x="113760" y="104095"/>
                    <a:pt x="117403" y="97442"/>
                    <a:pt x="119499" y="91537"/>
                  </a:cubicBezTo>
                  <a:cubicBezTo>
                    <a:pt x="121697" y="85516"/>
                    <a:pt x="122797" y="79669"/>
                    <a:pt x="122797" y="73993"/>
                  </a:cubicBezTo>
                  <a:cubicBezTo>
                    <a:pt x="122797" y="66002"/>
                    <a:pt x="121284" y="58998"/>
                    <a:pt x="118278" y="52977"/>
                  </a:cubicBezTo>
                  <a:cubicBezTo>
                    <a:pt x="115374" y="46838"/>
                    <a:pt x="111099" y="42033"/>
                    <a:pt x="105413" y="38560"/>
                  </a:cubicBezTo>
                  <a:cubicBezTo>
                    <a:pt x="99747" y="34971"/>
                    <a:pt x="92860" y="33176"/>
                    <a:pt x="84752" y="33176"/>
                  </a:cubicBezTo>
                  <a:cubicBezTo>
                    <a:pt x="75374" y="33176"/>
                    <a:pt x="67510" y="35204"/>
                    <a:pt x="61138" y="39256"/>
                  </a:cubicBezTo>
                  <a:cubicBezTo>
                    <a:pt x="54766" y="43307"/>
                    <a:pt x="49956" y="48925"/>
                    <a:pt x="46712" y="56104"/>
                  </a:cubicBezTo>
                  <a:cubicBezTo>
                    <a:pt x="43482" y="63166"/>
                    <a:pt x="41853" y="71274"/>
                    <a:pt x="41853" y="80418"/>
                  </a:cubicBezTo>
                  <a:lnTo>
                    <a:pt x="0" y="80418"/>
                  </a:lnTo>
                  <a:cubicBezTo>
                    <a:pt x="0" y="65715"/>
                    <a:pt x="3366" y="52281"/>
                    <a:pt x="10083" y="40126"/>
                  </a:cubicBezTo>
                  <a:cubicBezTo>
                    <a:pt x="16800" y="27855"/>
                    <a:pt x="26517" y="18127"/>
                    <a:pt x="39261" y="10948"/>
                  </a:cubicBezTo>
                  <a:cubicBezTo>
                    <a:pt x="51989" y="3653"/>
                    <a:pt x="67325" y="5"/>
                    <a:pt x="85272" y="5"/>
                  </a:cubicBezTo>
                  <a:cubicBezTo>
                    <a:pt x="102189" y="5"/>
                    <a:pt x="116546" y="2840"/>
                    <a:pt x="128346" y="8517"/>
                  </a:cubicBezTo>
                  <a:cubicBezTo>
                    <a:pt x="140160" y="14193"/>
                    <a:pt x="149129" y="22237"/>
                    <a:pt x="155277" y="32660"/>
                  </a:cubicBezTo>
                  <a:cubicBezTo>
                    <a:pt x="161527" y="43079"/>
                    <a:pt x="164654" y="55413"/>
                    <a:pt x="164654" y="69655"/>
                  </a:cubicBezTo>
                  <a:cubicBezTo>
                    <a:pt x="164654" y="77529"/>
                    <a:pt x="163385" y="85345"/>
                    <a:pt x="160827" y="93103"/>
                  </a:cubicBezTo>
                  <a:cubicBezTo>
                    <a:pt x="158283" y="100861"/>
                    <a:pt x="154645" y="108619"/>
                    <a:pt x="149888" y="116376"/>
                  </a:cubicBezTo>
                  <a:cubicBezTo>
                    <a:pt x="145267" y="124017"/>
                    <a:pt x="139757" y="131717"/>
                    <a:pt x="133400" y="139475"/>
                  </a:cubicBezTo>
                  <a:cubicBezTo>
                    <a:pt x="127028" y="147116"/>
                    <a:pt x="120019" y="154873"/>
                    <a:pt x="112378" y="162748"/>
                  </a:cubicBezTo>
                  <a:lnTo>
                    <a:pt x="57675" y="223015"/>
                  </a:lnTo>
                  <a:lnTo>
                    <a:pt x="174377" y="223015"/>
                  </a:lnTo>
                  <a:close/>
                  <a:moveTo>
                    <a:pt x="371848" y="108730"/>
                  </a:moveTo>
                  <a:lnTo>
                    <a:pt x="371848" y="150063"/>
                  </a:lnTo>
                  <a:cubicBezTo>
                    <a:pt x="371848" y="169864"/>
                    <a:pt x="369873" y="186765"/>
                    <a:pt x="365938" y="200778"/>
                  </a:cubicBezTo>
                  <a:cubicBezTo>
                    <a:pt x="362125" y="214674"/>
                    <a:pt x="356561" y="225963"/>
                    <a:pt x="349260" y="234645"/>
                  </a:cubicBezTo>
                  <a:cubicBezTo>
                    <a:pt x="341960" y="243327"/>
                    <a:pt x="333219" y="249698"/>
                    <a:pt x="323035" y="253750"/>
                  </a:cubicBezTo>
                  <a:cubicBezTo>
                    <a:pt x="312971" y="257801"/>
                    <a:pt x="301668" y="259830"/>
                    <a:pt x="289168" y="259830"/>
                  </a:cubicBezTo>
                  <a:cubicBezTo>
                    <a:pt x="279221" y="259830"/>
                    <a:pt x="269951" y="258555"/>
                    <a:pt x="261381" y="256011"/>
                  </a:cubicBezTo>
                  <a:cubicBezTo>
                    <a:pt x="252933" y="253463"/>
                    <a:pt x="245287" y="249470"/>
                    <a:pt x="238468" y="244027"/>
                  </a:cubicBezTo>
                  <a:cubicBezTo>
                    <a:pt x="231634" y="238584"/>
                    <a:pt x="225773" y="231581"/>
                    <a:pt x="220914" y="223011"/>
                  </a:cubicBezTo>
                  <a:cubicBezTo>
                    <a:pt x="216172" y="214329"/>
                    <a:pt x="212466" y="203964"/>
                    <a:pt x="209800" y="191921"/>
                  </a:cubicBezTo>
                  <a:cubicBezTo>
                    <a:pt x="207256" y="179878"/>
                    <a:pt x="205972" y="165929"/>
                    <a:pt x="205972" y="150063"/>
                  </a:cubicBezTo>
                  <a:lnTo>
                    <a:pt x="205972" y="108730"/>
                  </a:lnTo>
                  <a:cubicBezTo>
                    <a:pt x="205972" y="88813"/>
                    <a:pt x="207947" y="72028"/>
                    <a:pt x="211882" y="58366"/>
                  </a:cubicBezTo>
                  <a:cubicBezTo>
                    <a:pt x="215831" y="44587"/>
                    <a:pt x="221430" y="33414"/>
                    <a:pt x="228730" y="24844"/>
                  </a:cubicBezTo>
                  <a:cubicBezTo>
                    <a:pt x="236031" y="16162"/>
                    <a:pt x="244722" y="9849"/>
                    <a:pt x="254786" y="5914"/>
                  </a:cubicBezTo>
                  <a:cubicBezTo>
                    <a:pt x="264970" y="1975"/>
                    <a:pt x="276323" y="10"/>
                    <a:pt x="288827" y="10"/>
                  </a:cubicBezTo>
                  <a:cubicBezTo>
                    <a:pt x="298910" y="10"/>
                    <a:pt x="308166" y="1284"/>
                    <a:pt x="316614" y="3833"/>
                  </a:cubicBezTo>
                  <a:cubicBezTo>
                    <a:pt x="325184" y="6265"/>
                    <a:pt x="332825" y="10141"/>
                    <a:pt x="339542" y="15467"/>
                  </a:cubicBezTo>
                  <a:cubicBezTo>
                    <a:pt x="346376" y="20793"/>
                    <a:pt x="352164" y="27738"/>
                    <a:pt x="356906" y="36308"/>
                  </a:cubicBezTo>
                  <a:cubicBezTo>
                    <a:pt x="361765" y="44762"/>
                    <a:pt x="365476" y="55010"/>
                    <a:pt x="368020" y="67048"/>
                  </a:cubicBezTo>
                  <a:cubicBezTo>
                    <a:pt x="370578" y="78974"/>
                    <a:pt x="371848" y="92870"/>
                    <a:pt x="371848" y="108730"/>
                  </a:cubicBezTo>
                  <a:close/>
                  <a:moveTo>
                    <a:pt x="329995" y="155968"/>
                  </a:moveTo>
                  <a:lnTo>
                    <a:pt x="329995" y="102476"/>
                  </a:lnTo>
                  <a:cubicBezTo>
                    <a:pt x="329995" y="92403"/>
                    <a:pt x="329411" y="83546"/>
                    <a:pt x="328258" y="75905"/>
                  </a:cubicBezTo>
                  <a:cubicBezTo>
                    <a:pt x="327091" y="68147"/>
                    <a:pt x="325355" y="61605"/>
                    <a:pt x="323039" y="56279"/>
                  </a:cubicBezTo>
                  <a:cubicBezTo>
                    <a:pt x="320841" y="50837"/>
                    <a:pt x="318059" y="46440"/>
                    <a:pt x="314708" y="43079"/>
                  </a:cubicBezTo>
                  <a:cubicBezTo>
                    <a:pt x="311342" y="39606"/>
                    <a:pt x="307529" y="37116"/>
                    <a:pt x="303234" y="35613"/>
                  </a:cubicBezTo>
                  <a:cubicBezTo>
                    <a:pt x="298959" y="33993"/>
                    <a:pt x="294148" y="33181"/>
                    <a:pt x="288823" y="33181"/>
                  </a:cubicBezTo>
                  <a:cubicBezTo>
                    <a:pt x="282349" y="33181"/>
                    <a:pt x="276542" y="34455"/>
                    <a:pt x="271459" y="37004"/>
                  </a:cubicBezTo>
                  <a:cubicBezTo>
                    <a:pt x="266357" y="39436"/>
                    <a:pt x="262081" y="43371"/>
                    <a:pt x="258613" y="48813"/>
                  </a:cubicBezTo>
                  <a:cubicBezTo>
                    <a:pt x="255126" y="54256"/>
                    <a:pt x="252466" y="61435"/>
                    <a:pt x="250608" y="70350"/>
                  </a:cubicBezTo>
                  <a:cubicBezTo>
                    <a:pt x="248871" y="79149"/>
                    <a:pt x="248015" y="89859"/>
                    <a:pt x="248015" y="102480"/>
                  </a:cubicBezTo>
                  <a:lnTo>
                    <a:pt x="248015" y="155973"/>
                  </a:lnTo>
                  <a:cubicBezTo>
                    <a:pt x="248015" y="166162"/>
                    <a:pt x="248584" y="175136"/>
                    <a:pt x="249752" y="182894"/>
                  </a:cubicBezTo>
                  <a:cubicBezTo>
                    <a:pt x="250904" y="190652"/>
                    <a:pt x="252636" y="197310"/>
                    <a:pt x="254956" y="202865"/>
                  </a:cubicBezTo>
                  <a:cubicBezTo>
                    <a:pt x="257276" y="208307"/>
                    <a:pt x="260058" y="212821"/>
                    <a:pt x="263302" y="216410"/>
                  </a:cubicBezTo>
                  <a:cubicBezTo>
                    <a:pt x="266653" y="219883"/>
                    <a:pt x="270481" y="222432"/>
                    <a:pt x="274756" y="224051"/>
                  </a:cubicBezTo>
                  <a:cubicBezTo>
                    <a:pt x="279153" y="225671"/>
                    <a:pt x="283964" y="226483"/>
                    <a:pt x="289168" y="226483"/>
                  </a:cubicBezTo>
                  <a:cubicBezTo>
                    <a:pt x="295778" y="226483"/>
                    <a:pt x="301619" y="225209"/>
                    <a:pt x="306721" y="222660"/>
                  </a:cubicBezTo>
                  <a:cubicBezTo>
                    <a:pt x="311804" y="220112"/>
                    <a:pt x="316099" y="216060"/>
                    <a:pt x="319567" y="210501"/>
                  </a:cubicBezTo>
                  <a:cubicBezTo>
                    <a:pt x="323035" y="204830"/>
                    <a:pt x="325646" y="197476"/>
                    <a:pt x="327383" y="188443"/>
                  </a:cubicBezTo>
                  <a:cubicBezTo>
                    <a:pt x="329119" y="179411"/>
                    <a:pt x="329995" y="168585"/>
                    <a:pt x="329995" y="155963"/>
                  </a:cubicBezTo>
                  <a:close/>
                  <a:moveTo>
                    <a:pt x="578701" y="223006"/>
                  </a:moveTo>
                  <a:lnTo>
                    <a:pt x="578701" y="256352"/>
                  </a:lnTo>
                  <a:lnTo>
                    <a:pt x="409187" y="256352"/>
                  </a:lnTo>
                  <a:lnTo>
                    <a:pt x="409187" y="227694"/>
                  </a:lnTo>
                  <a:lnTo>
                    <a:pt x="491507" y="137904"/>
                  </a:lnTo>
                  <a:cubicBezTo>
                    <a:pt x="500539" y="127714"/>
                    <a:pt x="507670" y="118915"/>
                    <a:pt x="512874" y="111503"/>
                  </a:cubicBezTo>
                  <a:cubicBezTo>
                    <a:pt x="518078" y="104090"/>
                    <a:pt x="521736" y="97437"/>
                    <a:pt x="523813" y="91532"/>
                  </a:cubicBezTo>
                  <a:cubicBezTo>
                    <a:pt x="526011" y="85511"/>
                    <a:pt x="527110" y="79664"/>
                    <a:pt x="527110" y="73988"/>
                  </a:cubicBezTo>
                  <a:cubicBezTo>
                    <a:pt x="527110" y="65997"/>
                    <a:pt x="525617" y="58993"/>
                    <a:pt x="522592" y="52972"/>
                  </a:cubicBezTo>
                  <a:cubicBezTo>
                    <a:pt x="519708" y="46834"/>
                    <a:pt x="515413" y="42028"/>
                    <a:pt x="509746" y="38555"/>
                  </a:cubicBezTo>
                  <a:cubicBezTo>
                    <a:pt x="504080" y="34966"/>
                    <a:pt x="497193" y="33171"/>
                    <a:pt x="489085" y="33171"/>
                  </a:cubicBezTo>
                  <a:cubicBezTo>
                    <a:pt x="479708" y="33171"/>
                    <a:pt x="471823" y="35199"/>
                    <a:pt x="465452" y="39251"/>
                  </a:cubicBezTo>
                  <a:cubicBezTo>
                    <a:pt x="459095" y="43302"/>
                    <a:pt x="454289" y="48920"/>
                    <a:pt x="451040" y="56099"/>
                  </a:cubicBezTo>
                  <a:cubicBezTo>
                    <a:pt x="447796" y="63161"/>
                    <a:pt x="446181" y="71269"/>
                    <a:pt x="446181" y="80413"/>
                  </a:cubicBezTo>
                  <a:lnTo>
                    <a:pt x="404328" y="80413"/>
                  </a:lnTo>
                  <a:cubicBezTo>
                    <a:pt x="404328" y="65710"/>
                    <a:pt x="407679" y="52276"/>
                    <a:pt x="414391" y="40122"/>
                  </a:cubicBezTo>
                  <a:cubicBezTo>
                    <a:pt x="421108" y="27850"/>
                    <a:pt x="430846" y="18123"/>
                    <a:pt x="443569" y="10944"/>
                  </a:cubicBezTo>
                  <a:cubicBezTo>
                    <a:pt x="456313" y="3648"/>
                    <a:pt x="471648" y="0"/>
                    <a:pt x="489596" y="0"/>
                  </a:cubicBezTo>
                  <a:cubicBezTo>
                    <a:pt x="506497" y="0"/>
                    <a:pt x="520855" y="2836"/>
                    <a:pt x="532670" y="8512"/>
                  </a:cubicBezTo>
                  <a:cubicBezTo>
                    <a:pt x="544484" y="14188"/>
                    <a:pt x="553453" y="22232"/>
                    <a:pt x="559581" y="32656"/>
                  </a:cubicBezTo>
                  <a:cubicBezTo>
                    <a:pt x="565831" y="43074"/>
                    <a:pt x="568958" y="55409"/>
                    <a:pt x="568958" y="69650"/>
                  </a:cubicBezTo>
                  <a:cubicBezTo>
                    <a:pt x="568958" y="77524"/>
                    <a:pt x="567689" y="85340"/>
                    <a:pt x="565145" y="93098"/>
                  </a:cubicBezTo>
                  <a:cubicBezTo>
                    <a:pt x="562601" y="100856"/>
                    <a:pt x="558944" y="108614"/>
                    <a:pt x="554207" y="116372"/>
                  </a:cubicBezTo>
                  <a:cubicBezTo>
                    <a:pt x="549571" y="124013"/>
                    <a:pt x="544075" y="131712"/>
                    <a:pt x="537704" y="139470"/>
                  </a:cubicBezTo>
                  <a:cubicBezTo>
                    <a:pt x="531332" y="147111"/>
                    <a:pt x="524323" y="154869"/>
                    <a:pt x="516697" y="162743"/>
                  </a:cubicBezTo>
                  <a:lnTo>
                    <a:pt x="461979" y="223011"/>
                  </a:lnTo>
                  <a:lnTo>
                    <a:pt x="578701" y="223011"/>
                  </a:lnTo>
                  <a:close/>
                  <a:moveTo>
                    <a:pt x="660505" y="110982"/>
                  </a:moveTo>
                  <a:lnTo>
                    <a:pt x="685510" y="110982"/>
                  </a:lnTo>
                  <a:cubicBezTo>
                    <a:pt x="695233" y="110982"/>
                    <a:pt x="703287" y="109304"/>
                    <a:pt x="709639" y="105948"/>
                  </a:cubicBezTo>
                  <a:cubicBezTo>
                    <a:pt x="716132" y="102592"/>
                    <a:pt x="720943" y="97957"/>
                    <a:pt x="724065" y="92052"/>
                  </a:cubicBezTo>
                  <a:cubicBezTo>
                    <a:pt x="727193" y="86148"/>
                    <a:pt x="728754" y="79373"/>
                    <a:pt x="728754" y="71731"/>
                  </a:cubicBezTo>
                  <a:cubicBezTo>
                    <a:pt x="728754" y="64090"/>
                    <a:pt x="727295" y="56911"/>
                    <a:pt x="724411" y="51240"/>
                  </a:cubicBezTo>
                  <a:cubicBezTo>
                    <a:pt x="721628" y="45452"/>
                    <a:pt x="717353" y="40992"/>
                    <a:pt x="711565" y="37865"/>
                  </a:cubicBezTo>
                  <a:cubicBezTo>
                    <a:pt x="705879" y="34737"/>
                    <a:pt x="698652" y="33176"/>
                    <a:pt x="689858" y="33176"/>
                  </a:cubicBezTo>
                  <a:cubicBezTo>
                    <a:pt x="682441" y="33176"/>
                    <a:pt x="675724" y="34679"/>
                    <a:pt x="669712" y="37690"/>
                  </a:cubicBezTo>
                  <a:cubicBezTo>
                    <a:pt x="663803" y="40584"/>
                    <a:pt x="659114" y="44752"/>
                    <a:pt x="655626" y="50195"/>
                  </a:cubicBezTo>
                  <a:cubicBezTo>
                    <a:pt x="652159" y="55520"/>
                    <a:pt x="650422" y="61887"/>
                    <a:pt x="650422" y="69300"/>
                  </a:cubicBezTo>
                  <a:lnTo>
                    <a:pt x="608394" y="69300"/>
                  </a:lnTo>
                  <a:cubicBezTo>
                    <a:pt x="608394" y="55866"/>
                    <a:pt x="611916" y="43945"/>
                    <a:pt x="618992" y="33521"/>
                  </a:cubicBezTo>
                  <a:cubicBezTo>
                    <a:pt x="626050" y="23103"/>
                    <a:pt x="635670" y="14937"/>
                    <a:pt x="647810" y="9032"/>
                  </a:cubicBezTo>
                  <a:cubicBezTo>
                    <a:pt x="660092" y="3011"/>
                    <a:pt x="673866" y="0"/>
                    <a:pt x="689148" y="0"/>
                  </a:cubicBezTo>
                  <a:cubicBezTo>
                    <a:pt x="705480" y="0"/>
                    <a:pt x="719717" y="2724"/>
                    <a:pt x="731876" y="8161"/>
                  </a:cubicBezTo>
                  <a:cubicBezTo>
                    <a:pt x="744138" y="13487"/>
                    <a:pt x="753705" y="21479"/>
                    <a:pt x="760524" y="32130"/>
                  </a:cubicBezTo>
                  <a:cubicBezTo>
                    <a:pt x="767358" y="42782"/>
                    <a:pt x="770777" y="55982"/>
                    <a:pt x="770777" y="71727"/>
                  </a:cubicBezTo>
                  <a:cubicBezTo>
                    <a:pt x="770777" y="78906"/>
                    <a:pt x="769094" y="86201"/>
                    <a:pt x="765743" y="93609"/>
                  </a:cubicBezTo>
                  <a:cubicBezTo>
                    <a:pt x="762378" y="101021"/>
                    <a:pt x="757397" y="107792"/>
                    <a:pt x="750802" y="113930"/>
                  </a:cubicBezTo>
                  <a:cubicBezTo>
                    <a:pt x="744206" y="119951"/>
                    <a:pt x="735982" y="124869"/>
                    <a:pt x="726137" y="128692"/>
                  </a:cubicBezTo>
                  <a:cubicBezTo>
                    <a:pt x="716298" y="132398"/>
                    <a:pt x="704892" y="134251"/>
                    <a:pt x="691925" y="134251"/>
                  </a:cubicBezTo>
                  <a:lnTo>
                    <a:pt x="660495" y="134251"/>
                  </a:lnTo>
                  <a:lnTo>
                    <a:pt x="660495" y="110978"/>
                  </a:lnTo>
                  <a:close/>
                  <a:moveTo>
                    <a:pt x="660505" y="143633"/>
                  </a:moveTo>
                  <a:lnTo>
                    <a:pt x="660505" y="120705"/>
                  </a:lnTo>
                  <a:lnTo>
                    <a:pt x="691935" y="120705"/>
                  </a:lnTo>
                  <a:cubicBezTo>
                    <a:pt x="706755" y="120705"/>
                    <a:pt x="719381" y="122442"/>
                    <a:pt x="729790" y="125914"/>
                  </a:cubicBezTo>
                  <a:cubicBezTo>
                    <a:pt x="740335" y="129387"/>
                    <a:pt x="748905" y="134193"/>
                    <a:pt x="755500" y="140331"/>
                  </a:cubicBezTo>
                  <a:cubicBezTo>
                    <a:pt x="762095" y="146352"/>
                    <a:pt x="766906" y="153239"/>
                    <a:pt x="769911" y="160997"/>
                  </a:cubicBezTo>
                  <a:cubicBezTo>
                    <a:pt x="773039" y="168755"/>
                    <a:pt x="774600" y="176975"/>
                    <a:pt x="774600" y="185661"/>
                  </a:cubicBezTo>
                  <a:cubicBezTo>
                    <a:pt x="774600" y="197471"/>
                    <a:pt x="772470" y="208006"/>
                    <a:pt x="768175" y="217271"/>
                  </a:cubicBezTo>
                  <a:cubicBezTo>
                    <a:pt x="764016" y="226420"/>
                    <a:pt x="758044" y="234178"/>
                    <a:pt x="750296" y="240545"/>
                  </a:cubicBezTo>
                  <a:cubicBezTo>
                    <a:pt x="742533" y="246911"/>
                    <a:pt x="733447" y="251717"/>
                    <a:pt x="723024" y="254961"/>
                  </a:cubicBezTo>
                  <a:cubicBezTo>
                    <a:pt x="712718" y="258205"/>
                    <a:pt x="701487" y="259825"/>
                    <a:pt x="689328" y="259825"/>
                  </a:cubicBezTo>
                  <a:cubicBezTo>
                    <a:pt x="678457" y="259825"/>
                    <a:pt x="668029" y="258322"/>
                    <a:pt x="658068" y="255311"/>
                  </a:cubicBezTo>
                  <a:cubicBezTo>
                    <a:pt x="648107" y="252300"/>
                    <a:pt x="639192" y="247845"/>
                    <a:pt x="631327" y="241940"/>
                  </a:cubicBezTo>
                  <a:cubicBezTo>
                    <a:pt x="623443" y="235919"/>
                    <a:pt x="617193" y="228453"/>
                    <a:pt x="612572" y="219538"/>
                  </a:cubicBezTo>
                  <a:cubicBezTo>
                    <a:pt x="608054" y="210506"/>
                    <a:pt x="605787" y="200087"/>
                    <a:pt x="605787" y="188273"/>
                  </a:cubicBezTo>
                  <a:lnTo>
                    <a:pt x="647640" y="188273"/>
                  </a:lnTo>
                  <a:cubicBezTo>
                    <a:pt x="647640" y="195802"/>
                    <a:pt x="649377" y="202456"/>
                    <a:pt x="652859" y="208249"/>
                  </a:cubicBezTo>
                  <a:cubicBezTo>
                    <a:pt x="656449" y="213920"/>
                    <a:pt x="661429" y="218380"/>
                    <a:pt x="667786" y="221619"/>
                  </a:cubicBezTo>
                  <a:cubicBezTo>
                    <a:pt x="674279" y="224864"/>
                    <a:pt x="681682" y="226483"/>
                    <a:pt x="690028" y="226483"/>
                  </a:cubicBezTo>
                  <a:cubicBezTo>
                    <a:pt x="698822" y="226483"/>
                    <a:pt x="706415" y="224922"/>
                    <a:pt x="712767" y="221795"/>
                  </a:cubicBezTo>
                  <a:cubicBezTo>
                    <a:pt x="719138" y="218667"/>
                    <a:pt x="723997" y="214037"/>
                    <a:pt x="727363" y="207899"/>
                  </a:cubicBezTo>
                  <a:cubicBezTo>
                    <a:pt x="730831" y="201761"/>
                    <a:pt x="732567" y="194353"/>
                    <a:pt x="732567" y="185671"/>
                  </a:cubicBezTo>
                  <a:cubicBezTo>
                    <a:pt x="732567" y="175827"/>
                    <a:pt x="730660" y="167840"/>
                    <a:pt x="726847" y="161702"/>
                  </a:cubicBezTo>
                  <a:cubicBezTo>
                    <a:pt x="723019" y="155564"/>
                    <a:pt x="717572" y="151050"/>
                    <a:pt x="710515" y="148157"/>
                  </a:cubicBezTo>
                  <a:cubicBezTo>
                    <a:pt x="703457" y="145146"/>
                    <a:pt x="695111" y="143643"/>
                    <a:pt x="685510" y="143643"/>
                  </a:cubicBezTo>
                  <a:lnTo>
                    <a:pt x="660505" y="143643"/>
                  </a:lnTo>
                  <a:close/>
                </a:path>
              </a:pathLst>
            </a:custGeom>
            <a:solidFill>
              <a:schemeClr val="tx1"/>
            </a:solidFill>
            <a:ln w="4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pic>
        <p:nvPicPr>
          <p:cNvPr id="389" name="Рисунок 388">
            <a:extLst>
              <a:ext uri="{FF2B5EF4-FFF2-40B4-BE49-F238E27FC236}">
                <a16:creationId xmlns:a16="http://schemas.microsoft.com/office/drawing/2014/main" id="{B78B384F-F3A2-4E10-8405-6E2FAB593BD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03721" y="6049020"/>
            <a:ext cx="1688608" cy="472507"/>
          </a:xfrm>
          <a:prstGeom prst="rect">
            <a:avLst/>
          </a:prstGeom>
        </p:spPr>
      </p:pic>
      <p:grpSp>
        <p:nvGrpSpPr>
          <p:cNvPr id="15" name="Группа 14">
            <a:extLst>
              <a:ext uri="{FF2B5EF4-FFF2-40B4-BE49-F238E27FC236}">
                <a16:creationId xmlns:a16="http://schemas.microsoft.com/office/drawing/2014/main" id="{A5EEE52A-6C20-4B09-9716-EF6B27E1D77D}"/>
              </a:ext>
            </a:extLst>
          </p:cNvPr>
          <p:cNvGrpSpPr/>
          <p:nvPr/>
        </p:nvGrpSpPr>
        <p:grpSpPr>
          <a:xfrm>
            <a:off x="2997263" y="1494781"/>
            <a:ext cx="6197473" cy="1865439"/>
            <a:chOff x="654740" y="1543202"/>
            <a:chExt cx="6197473" cy="1865439"/>
          </a:xfrm>
        </p:grpSpPr>
        <p:sp>
          <p:nvSpPr>
            <p:cNvPr id="49" name="Shape_фон">
              <a:extLst>
                <a:ext uri="{FF2B5EF4-FFF2-40B4-BE49-F238E27FC236}">
                  <a16:creationId xmlns:a16="http://schemas.microsoft.com/office/drawing/2014/main" id="{CDC90171-EDEF-4C56-8C0E-FA2F98A77B21}"/>
                </a:ext>
              </a:extLst>
            </p:cNvPr>
            <p:cNvSpPr/>
            <p:nvPr/>
          </p:nvSpPr>
          <p:spPr>
            <a:xfrm>
              <a:off x="2192329" y="1767579"/>
              <a:ext cx="4659884" cy="1496984"/>
            </a:xfrm>
            <a:prstGeom prst="roundRect">
              <a:avLst>
                <a:gd name="adj" fmla="val 8571"/>
              </a:avLst>
            </a:prstGeom>
            <a:solidFill>
              <a:schemeClr val="bg1"/>
            </a:solidFill>
            <a:ln w="12700" cap="flat">
              <a:noFill/>
              <a:prstDash val="solid"/>
              <a:miter/>
            </a:ln>
            <a:effectLst>
              <a:outerShdw blurRad="1003300" sx="102000" sy="102000" algn="ctr" rotWithShape="0">
                <a:schemeClr val="tx1">
                  <a:alpha val="20000"/>
                </a:schemeClr>
              </a:outerShdw>
            </a:effectLst>
          </p:spPr>
          <p:txBody>
            <a:bodyPr lIns="0" tIns="0" rIns="0" bIns="0" anchor="ctr"/>
            <a:lstStyle/>
            <a:p>
              <a:pPr marL="0" marR="0" lvl="0" indent="0" algn="ctr" defTabSz="309563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itchFamily="2" charset="0"/>
                <a:ea typeface="Roboto" pitchFamily="2" charset="0"/>
                <a:cs typeface="Poppins Bold"/>
                <a:sym typeface="Poppins Bold"/>
              </a:endParaRPr>
            </a:p>
          </p:txBody>
        </p:sp>
        <p:grpSp>
          <p:nvGrpSpPr>
            <p:cNvPr id="22" name="Группа 21">
              <a:extLst>
                <a:ext uri="{FF2B5EF4-FFF2-40B4-BE49-F238E27FC236}">
                  <a16:creationId xmlns:a16="http://schemas.microsoft.com/office/drawing/2014/main" id="{B0EA3A29-E704-4F37-A27C-A69523438320}"/>
                </a:ext>
              </a:extLst>
            </p:cNvPr>
            <p:cNvGrpSpPr/>
            <p:nvPr/>
          </p:nvGrpSpPr>
          <p:grpSpPr>
            <a:xfrm>
              <a:off x="654740" y="1543202"/>
              <a:ext cx="1858478" cy="1865439"/>
              <a:chOff x="8757491" y="1749491"/>
              <a:chExt cx="2788657" cy="2799101"/>
            </a:xfrm>
          </p:grpSpPr>
          <p:sp>
            <p:nvSpPr>
              <p:cNvPr id="23" name="Shape_фон">
                <a:extLst>
                  <a:ext uri="{FF2B5EF4-FFF2-40B4-BE49-F238E27FC236}">
                    <a16:creationId xmlns:a16="http://schemas.microsoft.com/office/drawing/2014/main" id="{BDB9C9D3-1F91-41ED-9551-D00AF3E0C567}"/>
                  </a:ext>
                </a:extLst>
              </p:cNvPr>
              <p:cNvSpPr/>
              <p:nvPr/>
            </p:nvSpPr>
            <p:spPr>
              <a:xfrm>
                <a:off x="8757491" y="1749491"/>
                <a:ext cx="2788657" cy="2799101"/>
              </a:xfrm>
              <a:prstGeom prst="roundRect">
                <a:avLst>
                  <a:gd name="adj" fmla="val 8571"/>
                </a:avLst>
              </a:prstGeom>
              <a:solidFill>
                <a:schemeClr val="bg1"/>
              </a:solidFill>
              <a:ln w="12700" cap="flat">
                <a:noFill/>
                <a:prstDash val="solid"/>
                <a:miter/>
              </a:ln>
              <a:effectLst>
                <a:outerShdw blurRad="1003300" sx="102000" sy="102000" algn="ctr" rotWithShape="0">
                  <a:schemeClr val="tx1">
                    <a:alpha val="20000"/>
                  </a:schemeClr>
                </a:outerShdw>
              </a:effectLst>
            </p:spPr>
            <p:txBody>
              <a:bodyPr lIns="0" tIns="0" rIns="0" bIns="0" anchor="ctr"/>
              <a:lstStyle/>
              <a:p>
                <a:pPr marL="0" marR="0" lvl="0" indent="0" algn="ctr" defTabSz="309563" rtl="0" eaLnBrk="1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Roboto" pitchFamily="2" charset="0"/>
                  <a:ea typeface="Roboto" pitchFamily="2" charset="0"/>
                  <a:cs typeface="Poppins Bold"/>
                  <a:sym typeface="Poppins Bold"/>
                </a:endParaRPr>
              </a:p>
            </p:txBody>
          </p:sp>
          <p:sp>
            <p:nvSpPr>
              <p:cNvPr id="24" name="Описание">
                <a:extLst>
                  <a:ext uri="{FF2B5EF4-FFF2-40B4-BE49-F238E27FC236}">
                    <a16:creationId xmlns:a16="http://schemas.microsoft.com/office/drawing/2014/main" id="{8F2F2703-83BB-432A-B389-E8186CD83E8F}"/>
                  </a:ext>
                </a:extLst>
              </p:cNvPr>
              <p:cNvSpPr txBox="1"/>
              <p:nvPr/>
            </p:nvSpPr>
            <p:spPr>
              <a:xfrm>
                <a:off x="8826877" y="1955305"/>
                <a:ext cx="2649887" cy="46182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40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D0D0D">
                        <a:lumMod val="75000"/>
                        <a:lumOff val="25000"/>
                      </a:srgbClr>
                    </a:solidFill>
                    <a:effectLst/>
                    <a:uLnTx/>
                    <a:uFillTx/>
                    <a:latin typeface="SB Sans Text" panose="020B0503040504020204" pitchFamily="34" charset="-52"/>
                    <a:ea typeface="Roboto Light" panose="02000000000000000000" pitchFamily="2" charset="0"/>
                    <a:cs typeface="SB Sans Text" panose="020B0503040504020204" pitchFamily="34" charset="-52"/>
                  </a:rPr>
                  <a:t>«Единый клиент»</a:t>
                </a:r>
              </a:p>
            </p:txBody>
          </p:sp>
          <p:grpSp>
            <p:nvGrpSpPr>
              <p:cNvPr id="25" name="ЕК_Лого">
                <a:extLst>
                  <a:ext uri="{FF2B5EF4-FFF2-40B4-BE49-F238E27FC236}">
                    <a16:creationId xmlns:a16="http://schemas.microsoft.com/office/drawing/2014/main" id="{1FD023CC-95D4-4285-83D4-A35BF192E878}"/>
                  </a:ext>
                </a:extLst>
              </p:cNvPr>
              <p:cNvGrpSpPr/>
              <p:nvPr/>
            </p:nvGrpSpPr>
            <p:grpSpPr>
              <a:xfrm>
                <a:off x="9252369" y="2484399"/>
                <a:ext cx="1798900" cy="1785141"/>
                <a:chOff x="9141588" y="2080803"/>
                <a:chExt cx="2020578" cy="2005124"/>
              </a:xfrm>
            </p:grpSpPr>
            <p:sp>
              <p:nvSpPr>
                <p:cNvPr id="26" name="Полилиния: фигура 25">
                  <a:extLst>
                    <a:ext uri="{FF2B5EF4-FFF2-40B4-BE49-F238E27FC236}">
                      <a16:creationId xmlns:a16="http://schemas.microsoft.com/office/drawing/2014/main" id="{DD589AD8-C06A-420C-B608-FFF4FE94BFCC}"/>
                    </a:ext>
                  </a:extLst>
                </p:cNvPr>
                <p:cNvSpPr/>
                <p:nvPr/>
              </p:nvSpPr>
              <p:spPr>
                <a:xfrm>
                  <a:off x="10289981" y="2794439"/>
                  <a:ext cx="184663" cy="294906"/>
                </a:xfrm>
                <a:custGeom>
                  <a:avLst/>
                  <a:gdLst>
                    <a:gd name="connsiteX0" fmla="*/ 15893 w 184663"/>
                    <a:gd name="connsiteY0" fmla="*/ 4498 h 294906"/>
                    <a:gd name="connsiteX1" fmla="*/ 6956 w 184663"/>
                    <a:gd name="connsiteY1" fmla="*/ 9719 h 294906"/>
                    <a:gd name="connsiteX2" fmla="*/ 2856 w 184663"/>
                    <a:gd name="connsiteY2" fmla="*/ 19246 h 294906"/>
                    <a:gd name="connsiteX3" fmla="*/ 18902 w 184663"/>
                    <a:gd name="connsiteY3" fmla="*/ 271287 h 294906"/>
                    <a:gd name="connsiteX4" fmla="*/ 23680 w 184663"/>
                    <a:gd name="connsiteY4" fmla="*/ 278986 h 294906"/>
                    <a:gd name="connsiteX5" fmla="*/ 31143 w 184663"/>
                    <a:gd name="connsiteY5" fmla="*/ 284118 h 294906"/>
                    <a:gd name="connsiteX6" fmla="*/ 122137 w 184663"/>
                    <a:gd name="connsiteY6" fmla="*/ 294736 h 294906"/>
                    <a:gd name="connsiteX7" fmla="*/ 165525 w 184663"/>
                    <a:gd name="connsiteY7" fmla="*/ 291138 h 294906"/>
                    <a:gd name="connsiteX8" fmla="*/ 171897 w 184663"/>
                    <a:gd name="connsiteY8" fmla="*/ 286684 h 294906"/>
                    <a:gd name="connsiteX9" fmla="*/ 175554 w 184663"/>
                    <a:gd name="connsiteY9" fmla="*/ 279811 h 294906"/>
                    <a:gd name="connsiteX10" fmla="*/ 184373 w 184663"/>
                    <a:gd name="connsiteY10" fmla="*/ 163805 h 294906"/>
                    <a:gd name="connsiteX11" fmla="*/ 137062 w 184663"/>
                    <a:gd name="connsiteY11" fmla="*/ 23434 h 294906"/>
                    <a:gd name="connsiteX12" fmla="*/ 15923 w 184663"/>
                    <a:gd name="connsiteY12" fmla="*/ 4498 h 294906"/>
                    <a:gd name="connsiteX13" fmla="*/ 151456 w 184663"/>
                    <a:gd name="connsiteY13" fmla="*/ 162389 h 294906"/>
                    <a:gd name="connsiteX14" fmla="*/ 145350 w 184663"/>
                    <a:gd name="connsiteY14" fmla="*/ 261229 h 294906"/>
                    <a:gd name="connsiteX15" fmla="*/ 48958 w 184663"/>
                    <a:gd name="connsiteY15" fmla="*/ 255507 h 294906"/>
                    <a:gd name="connsiteX16" fmla="*/ 34918 w 184663"/>
                    <a:gd name="connsiteY16" fmla="*/ 34937 h 294906"/>
                    <a:gd name="connsiteX17" fmla="*/ 115088 w 184663"/>
                    <a:gd name="connsiteY17" fmla="*/ 48063 h 294906"/>
                    <a:gd name="connsiteX18" fmla="*/ 151456 w 184663"/>
                    <a:gd name="connsiteY18" fmla="*/ 162359 h 29490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</a:cxnLst>
                  <a:rect l="l" t="t" r="r" b="b"/>
                  <a:pathLst>
                    <a:path w="184663" h="294906">
                      <a:moveTo>
                        <a:pt x="15893" y="4498"/>
                      </a:moveTo>
                      <a:cubicBezTo>
                        <a:pt x="12442" y="5235"/>
                        <a:pt x="9286" y="7064"/>
                        <a:pt x="6956" y="9719"/>
                      </a:cubicBezTo>
                      <a:cubicBezTo>
                        <a:pt x="4626" y="12373"/>
                        <a:pt x="3181" y="15706"/>
                        <a:pt x="2856" y="19246"/>
                      </a:cubicBezTo>
                      <a:cubicBezTo>
                        <a:pt x="-7172" y="130828"/>
                        <a:pt x="11882" y="250345"/>
                        <a:pt x="18902" y="271287"/>
                      </a:cubicBezTo>
                      <a:cubicBezTo>
                        <a:pt x="19934" y="274148"/>
                        <a:pt x="21557" y="276773"/>
                        <a:pt x="23680" y="278986"/>
                      </a:cubicBezTo>
                      <a:cubicBezTo>
                        <a:pt x="25774" y="281198"/>
                        <a:pt x="28311" y="282938"/>
                        <a:pt x="31143" y="284118"/>
                      </a:cubicBezTo>
                      <a:cubicBezTo>
                        <a:pt x="46185" y="291344"/>
                        <a:pt x="88453" y="294736"/>
                        <a:pt x="122137" y="294736"/>
                      </a:cubicBezTo>
                      <a:cubicBezTo>
                        <a:pt x="136708" y="295385"/>
                        <a:pt x="151279" y="294176"/>
                        <a:pt x="165525" y="291138"/>
                      </a:cubicBezTo>
                      <a:cubicBezTo>
                        <a:pt x="167974" y="290165"/>
                        <a:pt x="170156" y="288660"/>
                        <a:pt x="171897" y="286684"/>
                      </a:cubicBezTo>
                      <a:cubicBezTo>
                        <a:pt x="173637" y="284708"/>
                        <a:pt x="174876" y="282348"/>
                        <a:pt x="175554" y="279811"/>
                      </a:cubicBezTo>
                      <a:cubicBezTo>
                        <a:pt x="178858" y="267187"/>
                        <a:pt x="180657" y="239697"/>
                        <a:pt x="184373" y="163805"/>
                      </a:cubicBezTo>
                      <a:cubicBezTo>
                        <a:pt x="187175" y="106258"/>
                        <a:pt x="169537" y="53520"/>
                        <a:pt x="137062" y="23434"/>
                      </a:cubicBezTo>
                      <a:cubicBezTo>
                        <a:pt x="98776" y="-11843"/>
                        <a:pt x="24034" y="2669"/>
                        <a:pt x="15923" y="4498"/>
                      </a:cubicBezTo>
                      <a:close/>
                      <a:moveTo>
                        <a:pt x="151456" y="162389"/>
                      </a:moveTo>
                      <a:cubicBezTo>
                        <a:pt x="149244" y="207901"/>
                        <a:pt x="147444" y="243296"/>
                        <a:pt x="145350" y="261229"/>
                      </a:cubicBezTo>
                      <a:cubicBezTo>
                        <a:pt x="113111" y="262792"/>
                        <a:pt x="80784" y="260875"/>
                        <a:pt x="48958" y="255507"/>
                      </a:cubicBezTo>
                      <a:cubicBezTo>
                        <a:pt x="35302" y="182829"/>
                        <a:pt x="30582" y="108765"/>
                        <a:pt x="34918" y="34937"/>
                      </a:cubicBezTo>
                      <a:cubicBezTo>
                        <a:pt x="57571" y="32017"/>
                        <a:pt x="96535" y="31132"/>
                        <a:pt x="115088" y="48063"/>
                      </a:cubicBezTo>
                      <a:cubicBezTo>
                        <a:pt x="140041" y="71719"/>
                        <a:pt x="154258" y="114429"/>
                        <a:pt x="151456" y="162359"/>
                      </a:cubicBezTo>
                      <a:close/>
                    </a:path>
                  </a:pathLst>
                </a:custGeom>
                <a:solidFill>
                  <a:srgbClr val="000000"/>
                </a:solidFill>
                <a:ln w="2948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D0D0D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7" name="Полилиния: фигура 26">
                  <a:extLst>
                    <a:ext uri="{FF2B5EF4-FFF2-40B4-BE49-F238E27FC236}">
                      <a16:creationId xmlns:a16="http://schemas.microsoft.com/office/drawing/2014/main" id="{CA414586-E66B-43FC-98F2-9A2A2AC62ECF}"/>
                    </a:ext>
                  </a:extLst>
                </p:cNvPr>
                <p:cNvSpPr/>
                <p:nvPr/>
              </p:nvSpPr>
              <p:spPr>
                <a:xfrm>
                  <a:off x="9768388" y="2275873"/>
                  <a:ext cx="369594" cy="581022"/>
                </a:xfrm>
                <a:custGeom>
                  <a:avLst/>
                  <a:gdLst>
                    <a:gd name="connsiteX0" fmla="*/ 293084 w 369594"/>
                    <a:gd name="connsiteY0" fmla="*/ 253885 h 581022"/>
                    <a:gd name="connsiteX1" fmla="*/ 285061 w 369594"/>
                    <a:gd name="connsiteY1" fmla="*/ 253885 h 581022"/>
                    <a:gd name="connsiteX2" fmla="*/ 234152 w 369594"/>
                    <a:gd name="connsiteY2" fmla="*/ 243856 h 581022"/>
                    <a:gd name="connsiteX3" fmla="*/ 229137 w 369594"/>
                    <a:gd name="connsiteY3" fmla="*/ 230318 h 581022"/>
                    <a:gd name="connsiteX4" fmla="*/ 230730 w 369594"/>
                    <a:gd name="connsiteY4" fmla="*/ 215983 h 581022"/>
                    <a:gd name="connsiteX5" fmla="*/ 241467 w 369594"/>
                    <a:gd name="connsiteY5" fmla="*/ 199849 h 581022"/>
                    <a:gd name="connsiteX6" fmla="*/ 257512 w 369594"/>
                    <a:gd name="connsiteY6" fmla="*/ 174689 h 581022"/>
                    <a:gd name="connsiteX7" fmla="*/ 270431 w 369594"/>
                    <a:gd name="connsiteY7" fmla="*/ 118234 h 581022"/>
                    <a:gd name="connsiteX8" fmla="*/ 266774 w 369594"/>
                    <a:gd name="connsiteY8" fmla="*/ 72309 h 581022"/>
                    <a:gd name="connsiteX9" fmla="*/ 244977 w 369594"/>
                    <a:gd name="connsiteY9" fmla="*/ 31723 h 581022"/>
                    <a:gd name="connsiteX10" fmla="*/ 215038 w 369594"/>
                    <a:gd name="connsiteY10" fmla="*/ 9217 h 581022"/>
                    <a:gd name="connsiteX11" fmla="*/ 178699 w 369594"/>
                    <a:gd name="connsiteY11" fmla="*/ 103 h 581022"/>
                    <a:gd name="connsiteX12" fmla="*/ 141682 w 369594"/>
                    <a:gd name="connsiteY12" fmla="*/ 5825 h 581022"/>
                    <a:gd name="connsiteX13" fmla="*/ 109797 w 369594"/>
                    <a:gd name="connsiteY13" fmla="*/ 25499 h 581022"/>
                    <a:gd name="connsiteX14" fmla="*/ 79741 w 369594"/>
                    <a:gd name="connsiteY14" fmla="*/ 111125 h 581022"/>
                    <a:gd name="connsiteX15" fmla="*/ 90950 w 369594"/>
                    <a:gd name="connsiteY15" fmla="*/ 172388 h 581022"/>
                    <a:gd name="connsiteX16" fmla="*/ 119619 w 369594"/>
                    <a:gd name="connsiteY16" fmla="*/ 212502 h 581022"/>
                    <a:gd name="connsiteX17" fmla="*/ 126934 w 369594"/>
                    <a:gd name="connsiteY17" fmla="*/ 220407 h 581022"/>
                    <a:gd name="connsiteX18" fmla="*/ 125637 w 369594"/>
                    <a:gd name="connsiteY18" fmla="*/ 246776 h 581022"/>
                    <a:gd name="connsiteX19" fmla="*/ 90478 w 369594"/>
                    <a:gd name="connsiteY19" fmla="*/ 256805 h 581022"/>
                    <a:gd name="connsiteX20" fmla="*/ 82750 w 369594"/>
                    <a:gd name="connsiteY20" fmla="*/ 256805 h 581022"/>
                    <a:gd name="connsiteX21" fmla="*/ 10308 w 369594"/>
                    <a:gd name="connsiteY21" fmla="*/ 290283 h 581022"/>
                    <a:gd name="connsiteX22" fmla="*/ 50393 w 369594"/>
                    <a:gd name="connsiteY22" fmla="*/ 560966 h 581022"/>
                    <a:gd name="connsiteX23" fmla="*/ 75140 w 369594"/>
                    <a:gd name="connsiteY23" fmla="*/ 581023 h 581022"/>
                    <a:gd name="connsiteX24" fmla="*/ 252409 w 369594"/>
                    <a:gd name="connsiteY24" fmla="*/ 581023 h 581022"/>
                    <a:gd name="connsiteX25" fmla="*/ 311843 w 369594"/>
                    <a:gd name="connsiteY25" fmla="*/ 580521 h 581022"/>
                    <a:gd name="connsiteX26" fmla="*/ 323671 w 369594"/>
                    <a:gd name="connsiteY26" fmla="*/ 576244 h 581022"/>
                    <a:gd name="connsiteX27" fmla="*/ 331871 w 369594"/>
                    <a:gd name="connsiteY27" fmla="*/ 566688 h 581022"/>
                    <a:gd name="connsiteX28" fmla="*/ 365231 w 369594"/>
                    <a:gd name="connsiteY28" fmla="*/ 297598 h 581022"/>
                    <a:gd name="connsiteX29" fmla="*/ 335765 w 369594"/>
                    <a:gd name="connsiteY29" fmla="*/ 264828 h 581022"/>
                    <a:gd name="connsiteX30" fmla="*/ 293084 w 369594"/>
                    <a:gd name="connsiteY30" fmla="*/ 253885 h 581022"/>
                    <a:gd name="connsiteX31" fmla="*/ 304499 w 369594"/>
                    <a:gd name="connsiteY31" fmla="*/ 548046 h 581022"/>
                    <a:gd name="connsiteX32" fmla="*/ 134751 w 369594"/>
                    <a:gd name="connsiteY32" fmla="*/ 548046 h 581022"/>
                    <a:gd name="connsiteX33" fmla="*/ 81127 w 369594"/>
                    <a:gd name="connsiteY33" fmla="*/ 548046 h 581022"/>
                    <a:gd name="connsiteX34" fmla="*/ 38447 w 369594"/>
                    <a:gd name="connsiteY34" fmla="*/ 308128 h 581022"/>
                    <a:gd name="connsiteX35" fmla="*/ 83251 w 369594"/>
                    <a:gd name="connsiteY35" fmla="*/ 289693 h 581022"/>
                    <a:gd name="connsiteX36" fmla="*/ 92159 w 369594"/>
                    <a:gd name="connsiteY36" fmla="*/ 289693 h 581022"/>
                    <a:gd name="connsiteX37" fmla="*/ 153776 w 369594"/>
                    <a:gd name="connsiteY37" fmla="*/ 265123 h 581022"/>
                    <a:gd name="connsiteX38" fmla="*/ 155073 w 369594"/>
                    <a:gd name="connsiteY38" fmla="*/ 201854 h 581022"/>
                    <a:gd name="connsiteX39" fmla="*/ 144248 w 369594"/>
                    <a:gd name="connsiteY39" fmla="*/ 189938 h 581022"/>
                    <a:gd name="connsiteX40" fmla="*/ 122097 w 369594"/>
                    <a:gd name="connsiteY40" fmla="*/ 159852 h 581022"/>
                    <a:gd name="connsiteX41" fmla="*/ 113278 w 369594"/>
                    <a:gd name="connsiteY41" fmla="*/ 110417 h 581022"/>
                    <a:gd name="connsiteX42" fmla="*/ 133306 w 369594"/>
                    <a:gd name="connsiteY42" fmla="*/ 48653 h 581022"/>
                    <a:gd name="connsiteX43" fmla="*/ 152448 w 369594"/>
                    <a:gd name="connsiteY43" fmla="*/ 36648 h 581022"/>
                    <a:gd name="connsiteX44" fmla="*/ 174777 w 369594"/>
                    <a:gd name="connsiteY44" fmla="*/ 33197 h 581022"/>
                    <a:gd name="connsiteX45" fmla="*/ 199553 w 369594"/>
                    <a:gd name="connsiteY45" fmla="*/ 38094 h 581022"/>
                    <a:gd name="connsiteX46" fmla="*/ 219758 w 369594"/>
                    <a:gd name="connsiteY46" fmla="*/ 53255 h 581022"/>
                    <a:gd name="connsiteX47" fmla="*/ 234594 w 369594"/>
                    <a:gd name="connsiteY47" fmla="*/ 81276 h 581022"/>
                    <a:gd name="connsiteX48" fmla="*/ 237190 w 369594"/>
                    <a:gd name="connsiteY48" fmla="*/ 112895 h 581022"/>
                    <a:gd name="connsiteX49" fmla="*/ 225981 w 369594"/>
                    <a:gd name="connsiteY49" fmla="*/ 163038 h 581022"/>
                    <a:gd name="connsiteX50" fmla="*/ 215363 w 369594"/>
                    <a:gd name="connsiteY50" fmla="*/ 178789 h 581022"/>
                    <a:gd name="connsiteX51" fmla="*/ 199022 w 369594"/>
                    <a:gd name="connsiteY51" fmla="*/ 204863 h 581022"/>
                    <a:gd name="connsiteX52" fmla="*/ 195925 w 369594"/>
                    <a:gd name="connsiteY52" fmla="*/ 234506 h 581022"/>
                    <a:gd name="connsiteX53" fmla="*/ 206455 w 369594"/>
                    <a:gd name="connsiteY53" fmla="*/ 262409 h 581022"/>
                    <a:gd name="connsiteX54" fmla="*/ 285209 w 369594"/>
                    <a:gd name="connsiteY54" fmla="*/ 287481 h 581022"/>
                    <a:gd name="connsiteX55" fmla="*/ 292435 w 369594"/>
                    <a:gd name="connsiteY55" fmla="*/ 287481 h 581022"/>
                    <a:gd name="connsiteX56" fmla="*/ 317477 w 369594"/>
                    <a:gd name="connsiteY56" fmla="*/ 292878 h 581022"/>
                    <a:gd name="connsiteX57" fmla="*/ 335116 w 369594"/>
                    <a:gd name="connsiteY57" fmla="*/ 311431 h 581022"/>
                    <a:gd name="connsiteX58" fmla="*/ 304440 w 369594"/>
                    <a:gd name="connsiteY58" fmla="*/ 548046 h 5810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</a:cxnLst>
                  <a:rect l="l" t="t" r="r" b="b"/>
                  <a:pathLst>
                    <a:path w="369594" h="581022">
                      <a:moveTo>
                        <a:pt x="293084" y="253885"/>
                      </a:moveTo>
                      <a:lnTo>
                        <a:pt x="285061" y="253885"/>
                      </a:lnTo>
                      <a:cubicBezTo>
                        <a:pt x="268839" y="253885"/>
                        <a:pt x="241467" y="253885"/>
                        <a:pt x="234152" y="243856"/>
                      </a:cubicBezTo>
                      <a:cubicBezTo>
                        <a:pt x="231438" y="239786"/>
                        <a:pt x="229727" y="235155"/>
                        <a:pt x="229137" y="230318"/>
                      </a:cubicBezTo>
                      <a:cubicBezTo>
                        <a:pt x="228547" y="225480"/>
                        <a:pt x="229078" y="220555"/>
                        <a:pt x="230730" y="215983"/>
                      </a:cubicBezTo>
                      <a:cubicBezTo>
                        <a:pt x="233385" y="210054"/>
                        <a:pt x="237013" y="204597"/>
                        <a:pt x="241467" y="199849"/>
                      </a:cubicBezTo>
                      <a:cubicBezTo>
                        <a:pt x="248192" y="192416"/>
                        <a:pt x="253619" y="183921"/>
                        <a:pt x="257512" y="174689"/>
                      </a:cubicBezTo>
                      <a:cubicBezTo>
                        <a:pt x="263765" y="156372"/>
                        <a:pt x="268101" y="137465"/>
                        <a:pt x="270431" y="118234"/>
                      </a:cubicBezTo>
                      <a:cubicBezTo>
                        <a:pt x="272408" y="102837"/>
                        <a:pt x="271169" y="87204"/>
                        <a:pt x="266774" y="72309"/>
                      </a:cubicBezTo>
                      <a:cubicBezTo>
                        <a:pt x="262409" y="57413"/>
                        <a:pt x="254976" y="43609"/>
                        <a:pt x="244977" y="31723"/>
                      </a:cubicBezTo>
                      <a:cubicBezTo>
                        <a:pt x="236600" y="22284"/>
                        <a:pt x="226424" y="14645"/>
                        <a:pt x="215038" y="9217"/>
                      </a:cubicBezTo>
                      <a:cubicBezTo>
                        <a:pt x="203653" y="3790"/>
                        <a:pt x="191294" y="693"/>
                        <a:pt x="178699" y="103"/>
                      </a:cubicBezTo>
                      <a:cubicBezTo>
                        <a:pt x="166105" y="-487"/>
                        <a:pt x="153510" y="1460"/>
                        <a:pt x="141682" y="5825"/>
                      </a:cubicBezTo>
                      <a:cubicBezTo>
                        <a:pt x="129854" y="10191"/>
                        <a:pt x="119000" y="16886"/>
                        <a:pt x="109797" y="25499"/>
                      </a:cubicBezTo>
                      <a:cubicBezTo>
                        <a:pt x="88826" y="48919"/>
                        <a:pt x="78030" y="79712"/>
                        <a:pt x="79741" y="111125"/>
                      </a:cubicBezTo>
                      <a:cubicBezTo>
                        <a:pt x="79653" y="132067"/>
                        <a:pt x="83458" y="152832"/>
                        <a:pt x="90950" y="172388"/>
                      </a:cubicBezTo>
                      <a:cubicBezTo>
                        <a:pt x="97940" y="187431"/>
                        <a:pt x="107644" y="201028"/>
                        <a:pt x="119619" y="212502"/>
                      </a:cubicBezTo>
                      <a:lnTo>
                        <a:pt x="126934" y="220407"/>
                      </a:lnTo>
                      <a:cubicBezTo>
                        <a:pt x="127937" y="229197"/>
                        <a:pt x="127495" y="238105"/>
                        <a:pt x="125637" y="246776"/>
                      </a:cubicBezTo>
                      <a:cubicBezTo>
                        <a:pt x="119413" y="255183"/>
                        <a:pt x="97675" y="256097"/>
                        <a:pt x="90478" y="256805"/>
                      </a:cubicBezTo>
                      <a:lnTo>
                        <a:pt x="82750" y="256805"/>
                      </a:lnTo>
                      <a:cubicBezTo>
                        <a:pt x="63695" y="256805"/>
                        <a:pt x="31928" y="256805"/>
                        <a:pt x="10308" y="290283"/>
                      </a:cubicBezTo>
                      <a:cubicBezTo>
                        <a:pt x="-21046" y="338508"/>
                        <a:pt x="26944" y="518167"/>
                        <a:pt x="50393" y="560966"/>
                      </a:cubicBezTo>
                      <a:cubicBezTo>
                        <a:pt x="53608" y="566983"/>
                        <a:pt x="61218" y="581023"/>
                        <a:pt x="75140" y="581023"/>
                      </a:cubicBezTo>
                      <a:lnTo>
                        <a:pt x="252409" y="581023"/>
                      </a:lnTo>
                      <a:cubicBezTo>
                        <a:pt x="283881" y="581023"/>
                        <a:pt x="305620" y="581023"/>
                        <a:pt x="311843" y="580521"/>
                      </a:cubicBezTo>
                      <a:cubicBezTo>
                        <a:pt x="316091" y="580138"/>
                        <a:pt x="320161" y="578663"/>
                        <a:pt x="323671" y="576244"/>
                      </a:cubicBezTo>
                      <a:cubicBezTo>
                        <a:pt x="327181" y="573826"/>
                        <a:pt x="330013" y="570522"/>
                        <a:pt x="331871" y="566688"/>
                      </a:cubicBezTo>
                      <a:cubicBezTo>
                        <a:pt x="355232" y="527989"/>
                        <a:pt x="379772" y="328893"/>
                        <a:pt x="365231" y="297598"/>
                      </a:cubicBezTo>
                      <a:cubicBezTo>
                        <a:pt x="358860" y="284000"/>
                        <a:pt x="348595" y="272585"/>
                        <a:pt x="335765" y="264828"/>
                      </a:cubicBezTo>
                      <a:cubicBezTo>
                        <a:pt x="322934" y="257041"/>
                        <a:pt x="308068" y="253236"/>
                        <a:pt x="293084" y="253885"/>
                      </a:cubicBezTo>
                      <a:close/>
                      <a:moveTo>
                        <a:pt x="304499" y="548046"/>
                      </a:moveTo>
                      <a:cubicBezTo>
                        <a:pt x="279841" y="548548"/>
                        <a:pt x="193565" y="548046"/>
                        <a:pt x="134751" y="548046"/>
                      </a:cubicBezTo>
                      <a:lnTo>
                        <a:pt x="81127" y="548046"/>
                      </a:lnTo>
                      <a:cubicBezTo>
                        <a:pt x="59979" y="516781"/>
                        <a:pt x="18301" y="339128"/>
                        <a:pt x="38447" y="308128"/>
                      </a:cubicBezTo>
                      <a:cubicBezTo>
                        <a:pt x="50363" y="289781"/>
                        <a:pt x="65613" y="289781"/>
                        <a:pt x="83251" y="289693"/>
                      </a:cubicBezTo>
                      <a:lnTo>
                        <a:pt x="92159" y="289693"/>
                      </a:lnTo>
                      <a:cubicBezTo>
                        <a:pt x="105992" y="289103"/>
                        <a:pt x="138467" y="287776"/>
                        <a:pt x="153776" y="265123"/>
                      </a:cubicBezTo>
                      <a:cubicBezTo>
                        <a:pt x="162683" y="251879"/>
                        <a:pt x="163804" y="211676"/>
                        <a:pt x="155073" y="201854"/>
                      </a:cubicBezTo>
                      <a:cubicBezTo>
                        <a:pt x="151563" y="197754"/>
                        <a:pt x="147847" y="193743"/>
                        <a:pt x="144248" y="189938"/>
                      </a:cubicBezTo>
                      <a:cubicBezTo>
                        <a:pt x="135134" y="181325"/>
                        <a:pt x="127642" y="171120"/>
                        <a:pt x="122097" y="159852"/>
                      </a:cubicBezTo>
                      <a:cubicBezTo>
                        <a:pt x="116168" y="144072"/>
                        <a:pt x="113160" y="127318"/>
                        <a:pt x="113278" y="110417"/>
                      </a:cubicBezTo>
                      <a:cubicBezTo>
                        <a:pt x="111626" y="88001"/>
                        <a:pt x="118823" y="65820"/>
                        <a:pt x="133306" y="48653"/>
                      </a:cubicBezTo>
                      <a:cubicBezTo>
                        <a:pt x="138821" y="43403"/>
                        <a:pt x="145340" y="39303"/>
                        <a:pt x="152448" y="36648"/>
                      </a:cubicBezTo>
                      <a:cubicBezTo>
                        <a:pt x="159586" y="33994"/>
                        <a:pt x="167167" y="32814"/>
                        <a:pt x="174777" y="33197"/>
                      </a:cubicBezTo>
                      <a:cubicBezTo>
                        <a:pt x="183301" y="32961"/>
                        <a:pt x="191766" y="34613"/>
                        <a:pt x="199553" y="38094"/>
                      </a:cubicBezTo>
                      <a:cubicBezTo>
                        <a:pt x="207340" y="41574"/>
                        <a:pt x="214242" y="46736"/>
                        <a:pt x="219758" y="53255"/>
                      </a:cubicBezTo>
                      <a:cubicBezTo>
                        <a:pt x="226542" y="61484"/>
                        <a:pt x="231615" y="71040"/>
                        <a:pt x="234594" y="81276"/>
                      </a:cubicBezTo>
                      <a:cubicBezTo>
                        <a:pt x="237603" y="91540"/>
                        <a:pt x="238458" y="102277"/>
                        <a:pt x="237190" y="112895"/>
                      </a:cubicBezTo>
                      <a:cubicBezTo>
                        <a:pt x="235213" y="129944"/>
                        <a:pt x="231438" y="146756"/>
                        <a:pt x="225981" y="163038"/>
                      </a:cubicBezTo>
                      <a:cubicBezTo>
                        <a:pt x="223297" y="168819"/>
                        <a:pt x="219699" y="174128"/>
                        <a:pt x="215363" y="178789"/>
                      </a:cubicBezTo>
                      <a:cubicBezTo>
                        <a:pt x="208402" y="186428"/>
                        <a:pt x="202886" y="195247"/>
                        <a:pt x="199022" y="204863"/>
                      </a:cubicBezTo>
                      <a:cubicBezTo>
                        <a:pt x="195689" y="214361"/>
                        <a:pt x="194627" y="224537"/>
                        <a:pt x="195925" y="234506"/>
                      </a:cubicBezTo>
                      <a:cubicBezTo>
                        <a:pt x="197223" y="244505"/>
                        <a:pt x="200821" y="254062"/>
                        <a:pt x="206455" y="262409"/>
                      </a:cubicBezTo>
                      <a:cubicBezTo>
                        <a:pt x="223799" y="288189"/>
                        <a:pt x="260757" y="287687"/>
                        <a:pt x="285209" y="287481"/>
                      </a:cubicBezTo>
                      <a:lnTo>
                        <a:pt x="292435" y="287481"/>
                      </a:lnTo>
                      <a:cubicBezTo>
                        <a:pt x="301137" y="286714"/>
                        <a:pt x="309867" y="288601"/>
                        <a:pt x="317477" y="292878"/>
                      </a:cubicBezTo>
                      <a:cubicBezTo>
                        <a:pt x="325087" y="297155"/>
                        <a:pt x="331252" y="303615"/>
                        <a:pt x="335116" y="311431"/>
                      </a:cubicBezTo>
                      <a:cubicBezTo>
                        <a:pt x="345144" y="337299"/>
                        <a:pt x="320987" y="516751"/>
                        <a:pt x="304440" y="548046"/>
                      </a:cubicBezTo>
                      <a:close/>
                    </a:path>
                  </a:pathLst>
                </a:custGeom>
                <a:solidFill>
                  <a:srgbClr val="000000"/>
                </a:solidFill>
                <a:ln w="2948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D0D0D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8" name="Полилиния: фигура 27">
                  <a:extLst>
                    <a:ext uri="{FF2B5EF4-FFF2-40B4-BE49-F238E27FC236}">
                      <a16:creationId xmlns:a16="http://schemas.microsoft.com/office/drawing/2014/main" id="{C54B7D57-B30D-4395-B266-D12335B785EB}"/>
                    </a:ext>
                  </a:extLst>
                </p:cNvPr>
                <p:cNvSpPr/>
                <p:nvPr/>
              </p:nvSpPr>
              <p:spPr>
                <a:xfrm>
                  <a:off x="10491629" y="2418533"/>
                  <a:ext cx="389206" cy="1132074"/>
                </a:xfrm>
                <a:custGeom>
                  <a:avLst/>
                  <a:gdLst>
                    <a:gd name="connsiteX0" fmla="*/ 389148 w 389206"/>
                    <a:gd name="connsiteY0" fmla="*/ 396833 h 1132074"/>
                    <a:gd name="connsiteX1" fmla="*/ 387850 w 389206"/>
                    <a:gd name="connsiteY1" fmla="*/ 389695 h 1132074"/>
                    <a:gd name="connsiteX2" fmla="*/ 383662 w 389206"/>
                    <a:gd name="connsiteY2" fmla="*/ 383796 h 1132074"/>
                    <a:gd name="connsiteX3" fmla="*/ 377350 w 389206"/>
                    <a:gd name="connsiteY3" fmla="*/ 380227 h 1132074"/>
                    <a:gd name="connsiteX4" fmla="*/ 370123 w 389206"/>
                    <a:gd name="connsiteY4" fmla="*/ 379696 h 1132074"/>
                    <a:gd name="connsiteX5" fmla="*/ 328446 w 389206"/>
                    <a:gd name="connsiteY5" fmla="*/ 371378 h 1132074"/>
                    <a:gd name="connsiteX6" fmla="*/ 290956 w 389206"/>
                    <a:gd name="connsiteY6" fmla="*/ 323742 h 1132074"/>
                    <a:gd name="connsiteX7" fmla="*/ 290160 w 389206"/>
                    <a:gd name="connsiteY7" fmla="*/ 299969 h 1132074"/>
                    <a:gd name="connsiteX8" fmla="*/ 283730 w 389206"/>
                    <a:gd name="connsiteY8" fmla="*/ 260769 h 1132074"/>
                    <a:gd name="connsiteX9" fmla="*/ 273436 w 389206"/>
                    <a:gd name="connsiteY9" fmla="*/ 253867 h 1132074"/>
                    <a:gd name="connsiteX10" fmla="*/ 261077 w 389206"/>
                    <a:gd name="connsiteY10" fmla="*/ 252834 h 1132074"/>
                    <a:gd name="connsiteX11" fmla="*/ 238041 w 389206"/>
                    <a:gd name="connsiteY11" fmla="*/ 246021 h 1132074"/>
                    <a:gd name="connsiteX12" fmla="*/ 236242 w 389206"/>
                    <a:gd name="connsiteY12" fmla="*/ 229680 h 1132074"/>
                    <a:gd name="connsiteX13" fmla="*/ 287446 w 389206"/>
                    <a:gd name="connsiteY13" fmla="*/ 98748 h 1132074"/>
                    <a:gd name="connsiteX14" fmla="*/ 272993 w 389206"/>
                    <a:gd name="connsiteY14" fmla="*/ 52941 h 1132074"/>
                    <a:gd name="connsiteX15" fmla="*/ 241757 w 389206"/>
                    <a:gd name="connsiteY15" fmla="*/ 16455 h 1132074"/>
                    <a:gd name="connsiteX16" fmla="*/ 141560 w 389206"/>
                    <a:gd name="connsiteY16" fmla="*/ 6426 h 1132074"/>
                    <a:gd name="connsiteX17" fmla="*/ 131738 w 389206"/>
                    <a:gd name="connsiteY17" fmla="*/ 14125 h 1132074"/>
                    <a:gd name="connsiteX18" fmla="*/ 130027 w 389206"/>
                    <a:gd name="connsiteY18" fmla="*/ 26484 h 1132074"/>
                    <a:gd name="connsiteX19" fmla="*/ 131945 w 389206"/>
                    <a:gd name="connsiteY19" fmla="*/ 106683 h 1132074"/>
                    <a:gd name="connsiteX20" fmla="*/ 98467 w 389206"/>
                    <a:gd name="connsiteY20" fmla="*/ 159215 h 1132074"/>
                    <a:gd name="connsiteX21" fmla="*/ 94101 w 389206"/>
                    <a:gd name="connsiteY21" fmla="*/ 167179 h 1132074"/>
                    <a:gd name="connsiteX22" fmla="*/ 94573 w 389206"/>
                    <a:gd name="connsiteY22" fmla="*/ 176263 h 1132074"/>
                    <a:gd name="connsiteX23" fmla="*/ 129349 w 389206"/>
                    <a:gd name="connsiteY23" fmla="*/ 230506 h 1132074"/>
                    <a:gd name="connsiteX24" fmla="*/ 128051 w 389206"/>
                    <a:gd name="connsiteY24" fmla="*/ 244841 h 1132074"/>
                    <a:gd name="connsiteX25" fmla="*/ 82156 w 389206"/>
                    <a:gd name="connsiteY25" fmla="*/ 260267 h 1132074"/>
                    <a:gd name="connsiteX26" fmla="*/ 6706 w 389206"/>
                    <a:gd name="connsiteY26" fmla="*/ 295574 h 1132074"/>
                    <a:gd name="connsiteX27" fmla="*/ 187 w 389206"/>
                    <a:gd name="connsiteY27" fmla="*/ 342590 h 1132074"/>
                    <a:gd name="connsiteX28" fmla="*/ 187 w 389206"/>
                    <a:gd name="connsiteY28" fmla="*/ 354034 h 1132074"/>
                    <a:gd name="connsiteX29" fmla="*/ 2488 w 389206"/>
                    <a:gd name="connsiteY29" fmla="*/ 395624 h 1132074"/>
                    <a:gd name="connsiteX30" fmla="*/ 6676 w 389206"/>
                    <a:gd name="connsiteY30" fmla="*/ 405741 h 1132074"/>
                    <a:gd name="connsiteX31" fmla="*/ 16233 w 389206"/>
                    <a:gd name="connsiteY31" fmla="*/ 411079 h 1132074"/>
                    <a:gd name="connsiteX32" fmla="*/ 55728 w 389206"/>
                    <a:gd name="connsiteY32" fmla="*/ 414088 h 1132074"/>
                    <a:gd name="connsiteX33" fmla="*/ 153123 w 389206"/>
                    <a:gd name="connsiteY33" fmla="*/ 432434 h 1132074"/>
                    <a:gd name="connsiteX34" fmla="*/ 234383 w 389206"/>
                    <a:gd name="connsiteY34" fmla="*/ 731286 h 1132074"/>
                    <a:gd name="connsiteX35" fmla="*/ 235150 w 389206"/>
                    <a:gd name="connsiteY35" fmla="*/ 738129 h 1132074"/>
                    <a:gd name="connsiteX36" fmla="*/ 238631 w 389206"/>
                    <a:gd name="connsiteY36" fmla="*/ 744057 h 1132074"/>
                    <a:gd name="connsiteX37" fmla="*/ 244206 w 389206"/>
                    <a:gd name="connsiteY37" fmla="*/ 748098 h 1132074"/>
                    <a:gd name="connsiteX38" fmla="*/ 250931 w 389206"/>
                    <a:gd name="connsiteY38" fmla="*/ 749514 h 1132074"/>
                    <a:gd name="connsiteX39" fmla="*/ 251727 w 389206"/>
                    <a:gd name="connsiteY39" fmla="*/ 749514 h 1132074"/>
                    <a:gd name="connsiteX40" fmla="*/ 328386 w 389206"/>
                    <a:gd name="connsiteY40" fmla="*/ 734766 h 1132074"/>
                    <a:gd name="connsiteX41" fmla="*/ 271342 w 389206"/>
                    <a:gd name="connsiteY41" fmla="*/ 911475 h 1132074"/>
                    <a:gd name="connsiteX42" fmla="*/ 145808 w 389206"/>
                    <a:gd name="connsiteY42" fmla="*/ 1048277 h 1132074"/>
                    <a:gd name="connsiteX43" fmla="*/ 112330 w 389206"/>
                    <a:gd name="connsiteY43" fmla="*/ 990819 h 1132074"/>
                    <a:gd name="connsiteX44" fmla="*/ 82982 w 389206"/>
                    <a:gd name="connsiteY44" fmla="*/ 1101989 h 1132074"/>
                    <a:gd name="connsiteX45" fmla="*/ 193915 w 389206"/>
                    <a:gd name="connsiteY45" fmla="*/ 1132075 h 1132074"/>
                    <a:gd name="connsiteX46" fmla="*/ 162060 w 389206"/>
                    <a:gd name="connsiteY46" fmla="*/ 1077242 h 1132074"/>
                    <a:gd name="connsiteX47" fmla="*/ 361658 w 389206"/>
                    <a:gd name="connsiteY47" fmla="*/ 678518 h 1132074"/>
                    <a:gd name="connsiteX48" fmla="*/ 366967 w 389206"/>
                    <a:gd name="connsiteY48" fmla="*/ 647754 h 1132074"/>
                    <a:gd name="connsiteX49" fmla="*/ 389207 w 389206"/>
                    <a:gd name="connsiteY49" fmla="*/ 396803 h 1132074"/>
                    <a:gd name="connsiteX50" fmla="*/ 334433 w 389206"/>
                    <a:gd name="connsiteY50" fmla="*/ 642975 h 1132074"/>
                    <a:gd name="connsiteX51" fmla="*/ 330628 w 389206"/>
                    <a:gd name="connsiteY51" fmla="*/ 667634 h 1132074"/>
                    <a:gd name="connsiteX52" fmla="*/ 328711 w 389206"/>
                    <a:gd name="connsiteY52" fmla="*/ 676541 h 1132074"/>
                    <a:gd name="connsiteX53" fmla="*/ 328711 w 389206"/>
                    <a:gd name="connsiteY53" fmla="*/ 677043 h 1132074"/>
                    <a:gd name="connsiteX54" fmla="*/ 268599 w 389206"/>
                    <a:gd name="connsiteY54" fmla="*/ 715240 h 1132074"/>
                    <a:gd name="connsiteX55" fmla="*/ 167104 w 389206"/>
                    <a:gd name="connsiteY55" fmla="*/ 402437 h 1132074"/>
                    <a:gd name="connsiteX56" fmla="*/ 56258 w 389206"/>
                    <a:gd name="connsiteY56" fmla="*/ 379991 h 1132074"/>
                    <a:gd name="connsiteX57" fmla="*/ 34314 w 389206"/>
                    <a:gd name="connsiteY57" fmla="*/ 378988 h 1132074"/>
                    <a:gd name="connsiteX58" fmla="*/ 32809 w 389206"/>
                    <a:gd name="connsiteY58" fmla="*/ 352029 h 1132074"/>
                    <a:gd name="connsiteX59" fmla="*/ 32809 w 389206"/>
                    <a:gd name="connsiteY59" fmla="*/ 340997 h 1132074"/>
                    <a:gd name="connsiteX60" fmla="*/ 35021 w 389206"/>
                    <a:gd name="connsiteY60" fmla="*/ 310912 h 1132074"/>
                    <a:gd name="connsiteX61" fmla="*/ 85135 w 389206"/>
                    <a:gd name="connsiteY61" fmla="*/ 292270 h 1132074"/>
                    <a:gd name="connsiteX62" fmla="*/ 156780 w 389206"/>
                    <a:gd name="connsiteY62" fmla="*/ 259589 h 1132074"/>
                    <a:gd name="connsiteX63" fmla="*/ 152179 w 389206"/>
                    <a:gd name="connsiteY63" fmla="*/ 205553 h 1132074"/>
                    <a:gd name="connsiteX64" fmla="*/ 128936 w 389206"/>
                    <a:gd name="connsiteY64" fmla="*/ 173461 h 1132074"/>
                    <a:gd name="connsiteX65" fmla="*/ 162414 w 389206"/>
                    <a:gd name="connsiteY65" fmla="*/ 117331 h 1132074"/>
                    <a:gd name="connsiteX66" fmla="*/ 164921 w 389206"/>
                    <a:gd name="connsiteY66" fmla="*/ 34418 h 1132074"/>
                    <a:gd name="connsiteX67" fmla="*/ 221051 w 389206"/>
                    <a:gd name="connsiteY67" fmla="*/ 42234 h 1132074"/>
                    <a:gd name="connsiteX68" fmla="*/ 243468 w 389206"/>
                    <a:gd name="connsiteY68" fmla="*/ 68279 h 1132074"/>
                    <a:gd name="connsiteX69" fmla="*/ 254116 w 389206"/>
                    <a:gd name="connsiteY69" fmla="*/ 100961 h 1132074"/>
                    <a:gd name="connsiteX70" fmla="*/ 212439 w 389206"/>
                    <a:gd name="connsiteY70" fmla="*/ 205641 h 1132074"/>
                    <a:gd name="connsiteX71" fmla="*/ 205330 w 389206"/>
                    <a:gd name="connsiteY71" fmla="*/ 252067 h 1132074"/>
                    <a:gd name="connsiteX72" fmla="*/ 256948 w 389206"/>
                    <a:gd name="connsiteY72" fmla="*/ 285663 h 1132074"/>
                    <a:gd name="connsiteX73" fmla="*/ 256948 w 389206"/>
                    <a:gd name="connsiteY73" fmla="*/ 298494 h 1132074"/>
                    <a:gd name="connsiteX74" fmla="*/ 258659 w 389206"/>
                    <a:gd name="connsiteY74" fmla="*/ 330969 h 1132074"/>
                    <a:gd name="connsiteX75" fmla="*/ 314789 w 389206"/>
                    <a:gd name="connsiteY75" fmla="*/ 401139 h 1132074"/>
                    <a:gd name="connsiteX76" fmla="*/ 354874 w 389206"/>
                    <a:gd name="connsiteY76" fmla="*/ 412761 h 1132074"/>
                    <a:gd name="connsiteX77" fmla="*/ 334522 w 389206"/>
                    <a:gd name="connsiteY77" fmla="*/ 642946 h 11320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</a:cxnLst>
                  <a:rect l="l" t="t" r="r" b="b"/>
                  <a:pathLst>
                    <a:path w="389206" h="1132074">
                      <a:moveTo>
                        <a:pt x="389148" y="396833"/>
                      </a:moveTo>
                      <a:cubicBezTo>
                        <a:pt x="389236" y="394385"/>
                        <a:pt x="388794" y="391966"/>
                        <a:pt x="387850" y="389695"/>
                      </a:cubicBezTo>
                      <a:cubicBezTo>
                        <a:pt x="386906" y="387453"/>
                        <a:pt x="385461" y="385418"/>
                        <a:pt x="383662" y="383796"/>
                      </a:cubicBezTo>
                      <a:cubicBezTo>
                        <a:pt x="381833" y="382144"/>
                        <a:pt x="379680" y="380935"/>
                        <a:pt x="377350" y="380227"/>
                      </a:cubicBezTo>
                      <a:cubicBezTo>
                        <a:pt x="375019" y="379519"/>
                        <a:pt x="372542" y="379342"/>
                        <a:pt x="370123" y="379696"/>
                      </a:cubicBezTo>
                      <a:cubicBezTo>
                        <a:pt x="355700" y="381230"/>
                        <a:pt x="341158" y="378309"/>
                        <a:pt x="328446" y="371378"/>
                      </a:cubicBezTo>
                      <a:cubicBezTo>
                        <a:pt x="302991" y="359845"/>
                        <a:pt x="297268" y="350436"/>
                        <a:pt x="290956" y="323742"/>
                      </a:cubicBezTo>
                      <a:cubicBezTo>
                        <a:pt x="289777" y="315867"/>
                        <a:pt x="289511" y="307903"/>
                        <a:pt x="290160" y="299969"/>
                      </a:cubicBezTo>
                      <a:cubicBezTo>
                        <a:pt x="290661" y="285132"/>
                        <a:pt x="291163" y="271092"/>
                        <a:pt x="283730" y="260769"/>
                      </a:cubicBezTo>
                      <a:cubicBezTo>
                        <a:pt x="280928" y="257642"/>
                        <a:pt x="277388" y="255253"/>
                        <a:pt x="273436" y="253867"/>
                      </a:cubicBezTo>
                      <a:cubicBezTo>
                        <a:pt x="269483" y="252480"/>
                        <a:pt x="265236" y="252126"/>
                        <a:pt x="261077" y="252834"/>
                      </a:cubicBezTo>
                      <a:cubicBezTo>
                        <a:pt x="242642" y="252834"/>
                        <a:pt x="238926" y="250534"/>
                        <a:pt x="238041" y="246021"/>
                      </a:cubicBezTo>
                      <a:cubicBezTo>
                        <a:pt x="236979" y="240623"/>
                        <a:pt x="236389" y="235166"/>
                        <a:pt x="236242" y="229680"/>
                      </a:cubicBezTo>
                      <a:cubicBezTo>
                        <a:pt x="276327" y="198297"/>
                        <a:pt x="290750" y="141960"/>
                        <a:pt x="287446" y="98748"/>
                      </a:cubicBezTo>
                      <a:cubicBezTo>
                        <a:pt x="285765" y="82644"/>
                        <a:pt x="280839" y="67070"/>
                        <a:pt x="272993" y="52941"/>
                      </a:cubicBezTo>
                      <a:cubicBezTo>
                        <a:pt x="265148" y="38783"/>
                        <a:pt x="254529" y="26395"/>
                        <a:pt x="241757" y="16455"/>
                      </a:cubicBezTo>
                      <a:cubicBezTo>
                        <a:pt x="205891" y="-11507"/>
                        <a:pt x="147754" y="4126"/>
                        <a:pt x="141560" y="6426"/>
                      </a:cubicBezTo>
                      <a:cubicBezTo>
                        <a:pt x="137431" y="7636"/>
                        <a:pt x="133891" y="10379"/>
                        <a:pt x="131738" y="14125"/>
                      </a:cubicBezTo>
                      <a:cubicBezTo>
                        <a:pt x="129585" y="17871"/>
                        <a:pt x="128966" y="22295"/>
                        <a:pt x="130027" y="26484"/>
                      </a:cubicBezTo>
                      <a:cubicBezTo>
                        <a:pt x="135248" y="47426"/>
                        <a:pt x="138935" y="87953"/>
                        <a:pt x="131945" y="106683"/>
                      </a:cubicBezTo>
                      <a:cubicBezTo>
                        <a:pt x="124630" y="126356"/>
                        <a:pt x="113215" y="144260"/>
                        <a:pt x="98467" y="159215"/>
                      </a:cubicBezTo>
                      <a:cubicBezTo>
                        <a:pt x="96314" y="161427"/>
                        <a:pt x="94780" y="164170"/>
                        <a:pt x="94101" y="167179"/>
                      </a:cubicBezTo>
                      <a:cubicBezTo>
                        <a:pt x="93423" y="170187"/>
                        <a:pt x="93571" y="173343"/>
                        <a:pt x="94573" y="176263"/>
                      </a:cubicBezTo>
                      <a:cubicBezTo>
                        <a:pt x="101063" y="197146"/>
                        <a:pt x="113067" y="215876"/>
                        <a:pt x="129349" y="230506"/>
                      </a:cubicBezTo>
                      <a:cubicBezTo>
                        <a:pt x="129555" y="235314"/>
                        <a:pt x="129113" y="240151"/>
                        <a:pt x="128051" y="244841"/>
                      </a:cubicBezTo>
                      <a:cubicBezTo>
                        <a:pt x="121326" y="255459"/>
                        <a:pt x="106106" y="257878"/>
                        <a:pt x="82156" y="260267"/>
                      </a:cubicBezTo>
                      <a:cubicBezTo>
                        <a:pt x="55905" y="262981"/>
                        <a:pt x="23223" y="266373"/>
                        <a:pt x="6706" y="295574"/>
                      </a:cubicBezTo>
                      <a:cubicBezTo>
                        <a:pt x="-609" y="308493"/>
                        <a:pt x="-226" y="327341"/>
                        <a:pt x="187" y="342590"/>
                      </a:cubicBezTo>
                      <a:lnTo>
                        <a:pt x="187" y="354034"/>
                      </a:lnTo>
                      <a:lnTo>
                        <a:pt x="2488" y="395624"/>
                      </a:lnTo>
                      <a:cubicBezTo>
                        <a:pt x="2694" y="399369"/>
                        <a:pt x="4169" y="402938"/>
                        <a:pt x="6676" y="405741"/>
                      </a:cubicBezTo>
                      <a:cubicBezTo>
                        <a:pt x="9183" y="408543"/>
                        <a:pt x="12546" y="410430"/>
                        <a:pt x="16233" y="411079"/>
                      </a:cubicBezTo>
                      <a:cubicBezTo>
                        <a:pt x="29299" y="412967"/>
                        <a:pt x="42513" y="413970"/>
                        <a:pt x="55728" y="414088"/>
                      </a:cubicBezTo>
                      <a:cubicBezTo>
                        <a:pt x="89146" y="412908"/>
                        <a:pt x="122417" y="419191"/>
                        <a:pt x="153123" y="432434"/>
                      </a:cubicBezTo>
                      <a:cubicBezTo>
                        <a:pt x="240312" y="474436"/>
                        <a:pt x="245415" y="618199"/>
                        <a:pt x="234383" y="731286"/>
                      </a:cubicBezTo>
                      <a:cubicBezTo>
                        <a:pt x="234148" y="733586"/>
                        <a:pt x="234413" y="735917"/>
                        <a:pt x="235150" y="738129"/>
                      </a:cubicBezTo>
                      <a:cubicBezTo>
                        <a:pt x="235888" y="740341"/>
                        <a:pt x="237068" y="742347"/>
                        <a:pt x="238631" y="744057"/>
                      </a:cubicBezTo>
                      <a:cubicBezTo>
                        <a:pt x="240194" y="745768"/>
                        <a:pt x="242082" y="747154"/>
                        <a:pt x="244206" y="748098"/>
                      </a:cubicBezTo>
                      <a:cubicBezTo>
                        <a:pt x="246329" y="749042"/>
                        <a:pt x="248600" y="749514"/>
                        <a:pt x="250931" y="749514"/>
                      </a:cubicBezTo>
                      <a:lnTo>
                        <a:pt x="251727" y="749514"/>
                      </a:lnTo>
                      <a:cubicBezTo>
                        <a:pt x="287712" y="747803"/>
                        <a:pt x="311839" y="744205"/>
                        <a:pt x="328386" y="734766"/>
                      </a:cubicBezTo>
                      <a:cubicBezTo>
                        <a:pt x="322310" y="797091"/>
                        <a:pt x="302843" y="857380"/>
                        <a:pt x="271342" y="911475"/>
                      </a:cubicBezTo>
                      <a:cubicBezTo>
                        <a:pt x="239840" y="965571"/>
                        <a:pt x="197012" y="1012233"/>
                        <a:pt x="145808" y="1048277"/>
                      </a:cubicBezTo>
                      <a:lnTo>
                        <a:pt x="112330" y="990819"/>
                      </a:lnTo>
                      <a:lnTo>
                        <a:pt x="82982" y="1101989"/>
                      </a:lnTo>
                      <a:lnTo>
                        <a:pt x="193915" y="1132075"/>
                      </a:lnTo>
                      <a:lnTo>
                        <a:pt x="162060" y="1077242"/>
                      </a:lnTo>
                      <a:cubicBezTo>
                        <a:pt x="291723" y="987811"/>
                        <a:pt x="370801" y="831099"/>
                        <a:pt x="361658" y="678518"/>
                      </a:cubicBezTo>
                      <a:cubicBezTo>
                        <a:pt x="363663" y="669492"/>
                        <a:pt x="365374" y="659257"/>
                        <a:pt x="366967" y="647754"/>
                      </a:cubicBezTo>
                      <a:cubicBezTo>
                        <a:pt x="378205" y="568941"/>
                        <a:pt x="385520" y="484347"/>
                        <a:pt x="389207" y="396803"/>
                      </a:cubicBezTo>
                      <a:close/>
                      <a:moveTo>
                        <a:pt x="334433" y="642975"/>
                      </a:moveTo>
                      <a:cubicBezTo>
                        <a:pt x="333135" y="652502"/>
                        <a:pt x="331926" y="660525"/>
                        <a:pt x="330628" y="667634"/>
                      </a:cubicBezTo>
                      <a:cubicBezTo>
                        <a:pt x="329153" y="670377"/>
                        <a:pt x="328505" y="673474"/>
                        <a:pt x="328711" y="676541"/>
                      </a:cubicBezTo>
                      <a:lnTo>
                        <a:pt x="328711" y="677043"/>
                      </a:lnTo>
                      <a:cubicBezTo>
                        <a:pt x="321809" y="707129"/>
                        <a:pt x="310276" y="712644"/>
                        <a:pt x="268599" y="715240"/>
                      </a:cubicBezTo>
                      <a:cubicBezTo>
                        <a:pt x="281931" y="546613"/>
                        <a:pt x="247863" y="441430"/>
                        <a:pt x="167104" y="402437"/>
                      </a:cubicBezTo>
                      <a:cubicBezTo>
                        <a:pt x="132269" y="386804"/>
                        <a:pt x="94426" y="379135"/>
                        <a:pt x="56258" y="379991"/>
                      </a:cubicBezTo>
                      <a:cubicBezTo>
                        <a:pt x="48649" y="379991"/>
                        <a:pt x="41216" y="379991"/>
                        <a:pt x="34314" y="378988"/>
                      </a:cubicBezTo>
                      <a:lnTo>
                        <a:pt x="32809" y="352029"/>
                      </a:lnTo>
                      <a:lnTo>
                        <a:pt x="32809" y="340997"/>
                      </a:lnTo>
                      <a:cubicBezTo>
                        <a:pt x="31865" y="330910"/>
                        <a:pt x="32603" y="320763"/>
                        <a:pt x="35021" y="310912"/>
                      </a:cubicBezTo>
                      <a:cubicBezTo>
                        <a:pt x="42543" y="297579"/>
                        <a:pt x="58972" y="294984"/>
                        <a:pt x="85135" y="292270"/>
                      </a:cubicBezTo>
                      <a:cubicBezTo>
                        <a:pt x="111298" y="289557"/>
                        <a:pt x="141354" y="286460"/>
                        <a:pt x="156780" y="259589"/>
                      </a:cubicBezTo>
                      <a:cubicBezTo>
                        <a:pt x="160673" y="252864"/>
                        <a:pt x="168814" y="218177"/>
                        <a:pt x="152179" y="205553"/>
                      </a:cubicBezTo>
                      <a:cubicBezTo>
                        <a:pt x="141855" y="196969"/>
                        <a:pt x="133862" y="185938"/>
                        <a:pt x="128936" y="173461"/>
                      </a:cubicBezTo>
                      <a:cubicBezTo>
                        <a:pt x="143389" y="156914"/>
                        <a:pt x="154715" y="137889"/>
                        <a:pt x="162414" y="117331"/>
                      </a:cubicBezTo>
                      <a:cubicBezTo>
                        <a:pt x="171440" y="93469"/>
                        <a:pt x="168519" y="57189"/>
                        <a:pt x="164921" y="34418"/>
                      </a:cubicBezTo>
                      <a:cubicBezTo>
                        <a:pt x="182147" y="31822"/>
                        <a:pt x="206923" y="31203"/>
                        <a:pt x="221051" y="42234"/>
                      </a:cubicBezTo>
                      <a:cubicBezTo>
                        <a:pt x="230166" y="49343"/>
                        <a:pt x="237805" y="58192"/>
                        <a:pt x="243468" y="68279"/>
                      </a:cubicBezTo>
                      <a:cubicBezTo>
                        <a:pt x="249131" y="78367"/>
                        <a:pt x="252759" y="89487"/>
                        <a:pt x="254116" y="100961"/>
                      </a:cubicBezTo>
                      <a:cubicBezTo>
                        <a:pt x="256712" y="135235"/>
                        <a:pt x="244796" y="182664"/>
                        <a:pt x="212439" y="205641"/>
                      </a:cubicBezTo>
                      <a:cubicBezTo>
                        <a:pt x="208221" y="208650"/>
                        <a:pt x="198222" y="215670"/>
                        <a:pt x="205330" y="252067"/>
                      </a:cubicBezTo>
                      <a:cubicBezTo>
                        <a:pt x="211347" y="282832"/>
                        <a:pt x="241403" y="285545"/>
                        <a:pt x="256948" y="285663"/>
                      </a:cubicBezTo>
                      <a:lnTo>
                        <a:pt x="256948" y="298494"/>
                      </a:lnTo>
                      <a:cubicBezTo>
                        <a:pt x="256122" y="309348"/>
                        <a:pt x="256682" y="320262"/>
                        <a:pt x="258659" y="330969"/>
                      </a:cubicBezTo>
                      <a:cubicBezTo>
                        <a:pt x="266563" y="364358"/>
                        <a:pt x="277388" y="384297"/>
                        <a:pt x="314789" y="401139"/>
                      </a:cubicBezTo>
                      <a:cubicBezTo>
                        <a:pt x="327384" y="407304"/>
                        <a:pt x="340952" y="411227"/>
                        <a:pt x="354874" y="412761"/>
                      </a:cubicBezTo>
                      <a:cubicBezTo>
                        <a:pt x="351452" y="493668"/>
                        <a:pt x="344462" y="570858"/>
                        <a:pt x="334522" y="642946"/>
                      </a:cubicBezTo>
                      <a:close/>
                    </a:path>
                  </a:pathLst>
                </a:custGeom>
                <a:solidFill>
                  <a:srgbClr val="000000"/>
                </a:solidFill>
                <a:ln w="2948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D0D0D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9" name="Полилиния: фигура 28">
                  <a:extLst>
                    <a:ext uri="{FF2B5EF4-FFF2-40B4-BE49-F238E27FC236}">
                      <a16:creationId xmlns:a16="http://schemas.microsoft.com/office/drawing/2014/main" id="{D94331C9-7600-42D5-80C5-48B59AB53436}"/>
                    </a:ext>
                  </a:extLst>
                </p:cNvPr>
                <p:cNvSpPr/>
                <p:nvPr/>
              </p:nvSpPr>
              <p:spPr>
                <a:xfrm>
                  <a:off x="9410517" y="2575586"/>
                  <a:ext cx="369442" cy="1013749"/>
                </a:xfrm>
                <a:custGeom>
                  <a:avLst/>
                  <a:gdLst>
                    <a:gd name="connsiteX0" fmla="*/ 292935 w 369442"/>
                    <a:gd name="connsiteY0" fmla="*/ 253525 h 1013749"/>
                    <a:gd name="connsiteX1" fmla="*/ 285207 w 369442"/>
                    <a:gd name="connsiteY1" fmla="*/ 253525 h 1013749"/>
                    <a:gd name="connsiteX2" fmla="*/ 234298 w 369442"/>
                    <a:gd name="connsiteY2" fmla="*/ 243497 h 1013749"/>
                    <a:gd name="connsiteX3" fmla="*/ 229136 w 369442"/>
                    <a:gd name="connsiteY3" fmla="*/ 229988 h 1013749"/>
                    <a:gd name="connsiteX4" fmla="*/ 230581 w 369442"/>
                    <a:gd name="connsiteY4" fmla="*/ 215623 h 1013749"/>
                    <a:gd name="connsiteX5" fmla="*/ 241288 w 369442"/>
                    <a:gd name="connsiteY5" fmla="*/ 199489 h 1013749"/>
                    <a:gd name="connsiteX6" fmla="*/ 257334 w 369442"/>
                    <a:gd name="connsiteY6" fmla="*/ 174329 h 1013749"/>
                    <a:gd name="connsiteX7" fmla="*/ 270253 w 369442"/>
                    <a:gd name="connsiteY7" fmla="*/ 117874 h 1013749"/>
                    <a:gd name="connsiteX8" fmla="*/ 266655 w 369442"/>
                    <a:gd name="connsiteY8" fmla="*/ 72185 h 1013749"/>
                    <a:gd name="connsiteX9" fmla="*/ 245093 w 369442"/>
                    <a:gd name="connsiteY9" fmla="*/ 31746 h 1013749"/>
                    <a:gd name="connsiteX10" fmla="*/ 213562 w 369442"/>
                    <a:gd name="connsiteY10" fmla="*/ 8032 h 1013749"/>
                    <a:gd name="connsiteX11" fmla="*/ 174952 w 369442"/>
                    <a:gd name="connsiteY11" fmla="*/ 38 h 1013749"/>
                    <a:gd name="connsiteX12" fmla="*/ 139646 w 369442"/>
                    <a:gd name="connsiteY12" fmla="*/ 6203 h 1013749"/>
                    <a:gd name="connsiteX13" fmla="*/ 109619 w 369442"/>
                    <a:gd name="connsiteY13" fmla="*/ 25788 h 1013749"/>
                    <a:gd name="connsiteX14" fmla="*/ 79563 w 369442"/>
                    <a:gd name="connsiteY14" fmla="*/ 111415 h 1013749"/>
                    <a:gd name="connsiteX15" fmla="*/ 90801 w 369442"/>
                    <a:gd name="connsiteY15" fmla="*/ 172677 h 1013749"/>
                    <a:gd name="connsiteX16" fmla="*/ 119471 w 369442"/>
                    <a:gd name="connsiteY16" fmla="*/ 212792 h 1013749"/>
                    <a:gd name="connsiteX17" fmla="*/ 126786 w 369442"/>
                    <a:gd name="connsiteY17" fmla="*/ 220726 h 1013749"/>
                    <a:gd name="connsiteX18" fmla="*/ 125488 w 369442"/>
                    <a:gd name="connsiteY18" fmla="*/ 247095 h 1013749"/>
                    <a:gd name="connsiteX19" fmla="*/ 90329 w 369442"/>
                    <a:gd name="connsiteY19" fmla="*/ 257124 h 1013749"/>
                    <a:gd name="connsiteX20" fmla="*/ 82601 w 369442"/>
                    <a:gd name="connsiteY20" fmla="*/ 257124 h 1013749"/>
                    <a:gd name="connsiteX21" fmla="*/ 10159 w 369442"/>
                    <a:gd name="connsiteY21" fmla="*/ 290601 h 1013749"/>
                    <a:gd name="connsiteX22" fmla="*/ 48032 w 369442"/>
                    <a:gd name="connsiteY22" fmla="*/ 557391 h 1013749"/>
                    <a:gd name="connsiteX23" fmla="*/ 247836 w 369442"/>
                    <a:gd name="connsiteY23" fmla="*/ 958917 h 1013749"/>
                    <a:gd name="connsiteX24" fmla="*/ 215981 w 369442"/>
                    <a:gd name="connsiteY24" fmla="*/ 1013750 h 1013749"/>
                    <a:gd name="connsiteX25" fmla="*/ 326914 w 369442"/>
                    <a:gd name="connsiteY25" fmla="*/ 983664 h 1013749"/>
                    <a:gd name="connsiteX26" fmla="*/ 298068 w 369442"/>
                    <a:gd name="connsiteY26" fmla="*/ 872495 h 1013749"/>
                    <a:gd name="connsiteX27" fmla="*/ 264590 w 369442"/>
                    <a:gd name="connsiteY27" fmla="*/ 929952 h 1013749"/>
                    <a:gd name="connsiteX28" fmla="*/ 80713 w 369442"/>
                    <a:gd name="connsiteY28" fmla="*/ 580752 h 1013749"/>
                    <a:gd name="connsiteX29" fmla="*/ 252674 w 369442"/>
                    <a:gd name="connsiteY29" fmla="*/ 580752 h 1013749"/>
                    <a:gd name="connsiteX30" fmla="*/ 312108 w 369442"/>
                    <a:gd name="connsiteY30" fmla="*/ 580250 h 1013749"/>
                    <a:gd name="connsiteX31" fmla="*/ 323935 w 369442"/>
                    <a:gd name="connsiteY31" fmla="*/ 575973 h 1013749"/>
                    <a:gd name="connsiteX32" fmla="*/ 332135 w 369442"/>
                    <a:gd name="connsiteY32" fmla="*/ 566417 h 1013749"/>
                    <a:gd name="connsiteX33" fmla="*/ 365112 w 369442"/>
                    <a:gd name="connsiteY33" fmla="*/ 297238 h 1013749"/>
                    <a:gd name="connsiteX34" fmla="*/ 335645 w 369442"/>
                    <a:gd name="connsiteY34" fmla="*/ 264468 h 1013749"/>
                    <a:gd name="connsiteX35" fmla="*/ 292965 w 369442"/>
                    <a:gd name="connsiteY35" fmla="*/ 253525 h 1013749"/>
                    <a:gd name="connsiteX36" fmla="*/ 304350 w 369442"/>
                    <a:gd name="connsiteY36" fmla="*/ 547864 h 1013749"/>
                    <a:gd name="connsiteX37" fmla="*/ 134602 w 369442"/>
                    <a:gd name="connsiteY37" fmla="*/ 547864 h 1013749"/>
                    <a:gd name="connsiteX38" fmla="*/ 80979 w 369442"/>
                    <a:gd name="connsiteY38" fmla="*/ 547864 h 1013749"/>
                    <a:gd name="connsiteX39" fmla="*/ 38298 w 369442"/>
                    <a:gd name="connsiteY39" fmla="*/ 308152 h 1013749"/>
                    <a:gd name="connsiteX40" fmla="*/ 83102 w 369442"/>
                    <a:gd name="connsiteY40" fmla="*/ 289717 h 1013749"/>
                    <a:gd name="connsiteX41" fmla="*/ 91833 w 369442"/>
                    <a:gd name="connsiteY41" fmla="*/ 289717 h 1013749"/>
                    <a:gd name="connsiteX42" fmla="*/ 153450 w 369442"/>
                    <a:gd name="connsiteY42" fmla="*/ 265147 h 1013749"/>
                    <a:gd name="connsiteX43" fmla="*/ 154748 w 369442"/>
                    <a:gd name="connsiteY43" fmla="*/ 201878 h 1013749"/>
                    <a:gd name="connsiteX44" fmla="*/ 143923 w 369442"/>
                    <a:gd name="connsiteY44" fmla="*/ 189932 h 1013749"/>
                    <a:gd name="connsiteX45" fmla="*/ 121771 w 369442"/>
                    <a:gd name="connsiteY45" fmla="*/ 159847 h 1013749"/>
                    <a:gd name="connsiteX46" fmla="*/ 112952 w 369442"/>
                    <a:gd name="connsiteY46" fmla="*/ 110412 h 1013749"/>
                    <a:gd name="connsiteX47" fmla="*/ 132980 w 369442"/>
                    <a:gd name="connsiteY47" fmla="*/ 48648 h 1013749"/>
                    <a:gd name="connsiteX48" fmla="*/ 152181 w 369442"/>
                    <a:gd name="connsiteY48" fmla="*/ 36377 h 1013749"/>
                    <a:gd name="connsiteX49" fmla="*/ 174657 w 369442"/>
                    <a:gd name="connsiteY49" fmla="*/ 32808 h 1013749"/>
                    <a:gd name="connsiteX50" fmla="*/ 199434 w 369442"/>
                    <a:gd name="connsiteY50" fmla="*/ 37705 h 1013749"/>
                    <a:gd name="connsiteX51" fmla="*/ 219638 w 369442"/>
                    <a:gd name="connsiteY51" fmla="*/ 52865 h 1013749"/>
                    <a:gd name="connsiteX52" fmla="*/ 234475 w 369442"/>
                    <a:gd name="connsiteY52" fmla="*/ 80857 h 1013749"/>
                    <a:gd name="connsiteX53" fmla="*/ 237070 w 369442"/>
                    <a:gd name="connsiteY53" fmla="*/ 112417 h 1013749"/>
                    <a:gd name="connsiteX54" fmla="*/ 225862 w 369442"/>
                    <a:gd name="connsiteY54" fmla="*/ 162531 h 1013749"/>
                    <a:gd name="connsiteX55" fmla="*/ 215243 w 369442"/>
                    <a:gd name="connsiteY55" fmla="*/ 178282 h 1013749"/>
                    <a:gd name="connsiteX56" fmla="*/ 198903 w 369442"/>
                    <a:gd name="connsiteY56" fmla="*/ 204356 h 1013749"/>
                    <a:gd name="connsiteX57" fmla="*/ 195806 w 369442"/>
                    <a:gd name="connsiteY57" fmla="*/ 233999 h 1013749"/>
                    <a:gd name="connsiteX58" fmla="*/ 206336 w 369442"/>
                    <a:gd name="connsiteY58" fmla="*/ 261902 h 1013749"/>
                    <a:gd name="connsiteX59" fmla="*/ 285591 w 369442"/>
                    <a:gd name="connsiteY59" fmla="*/ 287180 h 1013749"/>
                    <a:gd name="connsiteX60" fmla="*/ 292817 w 369442"/>
                    <a:gd name="connsiteY60" fmla="*/ 287180 h 1013749"/>
                    <a:gd name="connsiteX61" fmla="*/ 317594 w 369442"/>
                    <a:gd name="connsiteY61" fmla="*/ 292932 h 1013749"/>
                    <a:gd name="connsiteX62" fmla="*/ 334908 w 369442"/>
                    <a:gd name="connsiteY62" fmla="*/ 311544 h 1013749"/>
                    <a:gd name="connsiteX63" fmla="*/ 304350 w 369442"/>
                    <a:gd name="connsiteY63" fmla="*/ 547834 h 101374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</a:cxnLst>
                  <a:rect l="l" t="t" r="r" b="b"/>
                  <a:pathLst>
                    <a:path w="369442" h="1013749">
                      <a:moveTo>
                        <a:pt x="292935" y="253525"/>
                      </a:moveTo>
                      <a:lnTo>
                        <a:pt x="285207" y="253525"/>
                      </a:lnTo>
                      <a:cubicBezTo>
                        <a:pt x="268867" y="253525"/>
                        <a:pt x="241613" y="253525"/>
                        <a:pt x="234298" y="243497"/>
                      </a:cubicBezTo>
                      <a:cubicBezTo>
                        <a:pt x="231555" y="239456"/>
                        <a:pt x="229785" y="234825"/>
                        <a:pt x="229136" y="229988"/>
                      </a:cubicBezTo>
                      <a:cubicBezTo>
                        <a:pt x="228487" y="225150"/>
                        <a:pt x="228988" y="220225"/>
                        <a:pt x="230581" y="215623"/>
                      </a:cubicBezTo>
                      <a:cubicBezTo>
                        <a:pt x="233236" y="209695"/>
                        <a:pt x="236864" y="204238"/>
                        <a:pt x="241288" y="199489"/>
                      </a:cubicBezTo>
                      <a:cubicBezTo>
                        <a:pt x="248013" y="192086"/>
                        <a:pt x="253440" y="183561"/>
                        <a:pt x="257334" y="174329"/>
                      </a:cubicBezTo>
                      <a:cubicBezTo>
                        <a:pt x="263617" y="156012"/>
                        <a:pt x="267952" y="137105"/>
                        <a:pt x="270253" y="117874"/>
                      </a:cubicBezTo>
                      <a:cubicBezTo>
                        <a:pt x="272200" y="102566"/>
                        <a:pt x="270990" y="86992"/>
                        <a:pt x="266655" y="72185"/>
                      </a:cubicBezTo>
                      <a:cubicBezTo>
                        <a:pt x="262319" y="57378"/>
                        <a:pt x="254974" y="43604"/>
                        <a:pt x="245093" y="31746"/>
                      </a:cubicBezTo>
                      <a:cubicBezTo>
                        <a:pt x="236451" y="21629"/>
                        <a:pt x="225685" y="13518"/>
                        <a:pt x="213562" y="8032"/>
                      </a:cubicBezTo>
                      <a:cubicBezTo>
                        <a:pt x="201439" y="2546"/>
                        <a:pt x="188255" y="-168"/>
                        <a:pt x="174952" y="38"/>
                      </a:cubicBezTo>
                      <a:cubicBezTo>
                        <a:pt x="162888" y="-316"/>
                        <a:pt x="150884" y="1779"/>
                        <a:pt x="139646" y="6203"/>
                      </a:cubicBezTo>
                      <a:cubicBezTo>
                        <a:pt x="128408" y="10627"/>
                        <a:pt x="118202" y="17293"/>
                        <a:pt x="109619" y="25788"/>
                      </a:cubicBezTo>
                      <a:cubicBezTo>
                        <a:pt x="88648" y="49208"/>
                        <a:pt x="77852" y="80002"/>
                        <a:pt x="79563" y="111415"/>
                      </a:cubicBezTo>
                      <a:cubicBezTo>
                        <a:pt x="79504" y="132357"/>
                        <a:pt x="83309" y="153122"/>
                        <a:pt x="90801" y="172677"/>
                      </a:cubicBezTo>
                      <a:cubicBezTo>
                        <a:pt x="97791" y="187720"/>
                        <a:pt x="107495" y="201318"/>
                        <a:pt x="119471" y="212792"/>
                      </a:cubicBezTo>
                      <a:lnTo>
                        <a:pt x="126786" y="220726"/>
                      </a:lnTo>
                      <a:cubicBezTo>
                        <a:pt x="127788" y="229516"/>
                        <a:pt x="127346" y="238423"/>
                        <a:pt x="125488" y="247095"/>
                      </a:cubicBezTo>
                      <a:cubicBezTo>
                        <a:pt x="119382" y="255531"/>
                        <a:pt x="97526" y="256416"/>
                        <a:pt x="90329" y="257124"/>
                      </a:cubicBezTo>
                      <a:lnTo>
                        <a:pt x="82601" y="257124"/>
                      </a:lnTo>
                      <a:cubicBezTo>
                        <a:pt x="63547" y="257124"/>
                        <a:pt x="31809" y="257124"/>
                        <a:pt x="10159" y="290601"/>
                      </a:cubicBezTo>
                      <a:cubicBezTo>
                        <a:pt x="-19897" y="337323"/>
                        <a:pt x="23993" y="507750"/>
                        <a:pt x="48032" y="557391"/>
                      </a:cubicBezTo>
                      <a:cubicBezTo>
                        <a:pt x="37797" y="710091"/>
                        <a:pt x="117288" y="868690"/>
                        <a:pt x="247836" y="958917"/>
                      </a:cubicBezTo>
                      <a:lnTo>
                        <a:pt x="215981" y="1013750"/>
                      </a:lnTo>
                      <a:lnTo>
                        <a:pt x="326914" y="983664"/>
                      </a:lnTo>
                      <a:lnTo>
                        <a:pt x="298068" y="872495"/>
                      </a:lnTo>
                      <a:lnTo>
                        <a:pt x="264590" y="929952"/>
                      </a:lnTo>
                      <a:cubicBezTo>
                        <a:pt x="150766" y="850461"/>
                        <a:pt x="79504" y="715105"/>
                        <a:pt x="80713" y="580752"/>
                      </a:cubicBezTo>
                      <a:lnTo>
                        <a:pt x="252674" y="580752"/>
                      </a:lnTo>
                      <a:cubicBezTo>
                        <a:pt x="284146" y="580752"/>
                        <a:pt x="305884" y="580752"/>
                        <a:pt x="312108" y="580250"/>
                      </a:cubicBezTo>
                      <a:cubicBezTo>
                        <a:pt x="316355" y="579867"/>
                        <a:pt x="320425" y="578392"/>
                        <a:pt x="323935" y="575973"/>
                      </a:cubicBezTo>
                      <a:cubicBezTo>
                        <a:pt x="327445" y="573555"/>
                        <a:pt x="330277" y="570251"/>
                        <a:pt x="332135" y="566417"/>
                      </a:cubicBezTo>
                      <a:cubicBezTo>
                        <a:pt x="354876" y="527807"/>
                        <a:pt x="379623" y="328622"/>
                        <a:pt x="365112" y="297238"/>
                      </a:cubicBezTo>
                      <a:cubicBezTo>
                        <a:pt x="358740" y="283641"/>
                        <a:pt x="348476" y="272226"/>
                        <a:pt x="335645" y="264468"/>
                      </a:cubicBezTo>
                      <a:cubicBezTo>
                        <a:pt x="322815" y="256681"/>
                        <a:pt x="307949" y="252876"/>
                        <a:pt x="292965" y="253525"/>
                      </a:cubicBezTo>
                      <a:close/>
                      <a:moveTo>
                        <a:pt x="304350" y="547864"/>
                      </a:moveTo>
                      <a:cubicBezTo>
                        <a:pt x="279692" y="548365"/>
                        <a:pt x="193417" y="547864"/>
                        <a:pt x="134602" y="547864"/>
                      </a:cubicBezTo>
                      <a:lnTo>
                        <a:pt x="80979" y="547864"/>
                      </a:lnTo>
                      <a:cubicBezTo>
                        <a:pt x="59830" y="516893"/>
                        <a:pt x="18153" y="339122"/>
                        <a:pt x="38298" y="308152"/>
                      </a:cubicBezTo>
                      <a:cubicBezTo>
                        <a:pt x="50215" y="289894"/>
                        <a:pt x="65464" y="289805"/>
                        <a:pt x="83102" y="289717"/>
                      </a:cubicBezTo>
                      <a:lnTo>
                        <a:pt x="91833" y="289717"/>
                      </a:lnTo>
                      <a:cubicBezTo>
                        <a:pt x="105667" y="289127"/>
                        <a:pt x="138141" y="287799"/>
                        <a:pt x="153450" y="265147"/>
                      </a:cubicBezTo>
                      <a:cubicBezTo>
                        <a:pt x="162358" y="251903"/>
                        <a:pt x="163478" y="211700"/>
                        <a:pt x="154748" y="201878"/>
                      </a:cubicBezTo>
                      <a:cubicBezTo>
                        <a:pt x="151238" y="197778"/>
                        <a:pt x="147521" y="193767"/>
                        <a:pt x="143923" y="189932"/>
                      </a:cubicBezTo>
                      <a:cubicBezTo>
                        <a:pt x="134808" y="181320"/>
                        <a:pt x="127317" y="171114"/>
                        <a:pt x="121771" y="159847"/>
                      </a:cubicBezTo>
                      <a:cubicBezTo>
                        <a:pt x="115843" y="144066"/>
                        <a:pt x="112834" y="127283"/>
                        <a:pt x="112952" y="110412"/>
                      </a:cubicBezTo>
                      <a:cubicBezTo>
                        <a:pt x="111300" y="87995"/>
                        <a:pt x="118497" y="65814"/>
                        <a:pt x="132980" y="48648"/>
                      </a:cubicBezTo>
                      <a:cubicBezTo>
                        <a:pt x="138466" y="43279"/>
                        <a:pt x="145014" y="39120"/>
                        <a:pt x="152181" y="36377"/>
                      </a:cubicBezTo>
                      <a:cubicBezTo>
                        <a:pt x="159349" y="33664"/>
                        <a:pt x="167018" y="32425"/>
                        <a:pt x="174657" y="32808"/>
                      </a:cubicBezTo>
                      <a:cubicBezTo>
                        <a:pt x="183182" y="32572"/>
                        <a:pt x="191647" y="34224"/>
                        <a:pt x="199434" y="37705"/>
                      </a:cubicBezTo>
                      <a:cubicBezTo>
                        <a:pt x="207221" y="41185"/>
                        <a:pt x="214123" y="46347"/>
                        <a:pt x="219638" y="52865"/>
                      </a:cubicBezTo>
                      <a:cubicBezTo>
                        <a:pt x="226422" y="61095"/>
                        <a:pt x="231466" y="70622"/>
                        <a:pt x="234475" y="80857"/>
                      </a:cubicBezTo>
                      <a:cubicBezTo>
                        <a:pt x="237483" y="91092"/>
                        <a:pt x="238368" y="101828"/>
                        <a:pt x="237070" y="112417"/>
                      </a:cubicBezTo>
                      <a:cubicBezTo>
                        <a:pt x="235094" y="129466"/>
                        <a:pt x="231348" y="146279"/>
                        <a:pt x="225862" y="162531"/>
                      </a:cubicBezTo>
                      <a:cubicBezTo>
                        <a:pt x="223178" y="168312"/>
                        <a:pt x="219579" y="173621"/>
                        <a:pt x="215243" y="178282"/>
                      </a:cubicBezTo>
                      <a:cubicBezTo>
                        <a:pt x="208282" y="185921"/>
                        <a:pt x="202767" y="194740"/>
                        <a:pt x="198903" y="204356"/>
                      </a:cubicBezTo>
                      <a:cubicBezTo>
                        <a:pt x="195570" y="213853"/>
                        <a:pt x="194508" y="224029"/>
                        <a:pt x="195806" y="233999"/>
                      </a:cubicBezTo>
                      <a:cubicBezTo>
                        <a:pt x="197104" y="243998"/>
                        <a:pt x="200702" y="253555"/>
                        <a:pt x="206336" y="261902"/>
                      </a:cubicBezTo>
                      <a:cubicBezTo>
                        <a:pt x="224181" y="287180"/>
                        <a:pt x="261139" y="287180"/>
                        <a:pt x="285591" y="287180"/>
                      </a:cubicBezTo>
                      <a:lnTo>
                        <a:pt x="292817" y="287180"/>
                      </a:lnTo>
                      <a:cubicBezTo>
                        <a:pt x="301460" y="286590"/>
                        <a:pt x="310072" y="288596"/>
                        <a:pt x="317594" y="292932"/>
                      </a:cubicBezTo>
                      <a:cubicBezTo>
                        <a:pt x="325086" y="297268"/>
                        <a:pt x="331132" y="303757"/>
                        <a:pt x="334908" y="311544"/>
                      </a:cubicBezTo>
                      <a:cubicBezTo>
                        <a:pt x="344730" y="337293"/>
                        <a:pt x="320868" y="516274"/>
                        <a:pt x="304350" y="547834"/>
                      </a:cubicBezTo>
                      <a:close/>
                    </a:path>
                  </a:pathLst>
                </a:custGeom>
                <a:solidFill>
                  <a:srgbClr val="000000"/>
                </a:solidFill>
                <a:ln w="2948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D0D0D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30" name="Полилиния: фигура 29">
                  <a:extLst>
                    <a:ext uri="{FF2B5EF4-FFF2-40B4-BE49-F238E27FC236}">
                      <a16:creationId xmlns:a16="http://schemas.microsoft.com/office/drawing/2014/main" id="{4DB51B40-4C87-4695-B3C9-00A2079101F1}"/>
                    </a:ext>
                  </a:extLst>
                </p:cNvPr>
                <p:cNvSpPr/>
                <p:nvPr/>
              </p:nvSpPr>
              <p:spPr>
                <a:xfrm>
                  <a:off x="9141588" y="2080803"/>
                  <a:ext cx="2020578" cy="2005124"/>
                </a:xfrm>
                <a:custGeom>
                  <a:avLst/>
                  <a:gdLst>
                    <a:gd name="connsiteX0" fmla="*/ 1010289 w 2020578"/>
                    <a:gd name="connsiteY0" fmla="*/ 0 h 2005124"/>
                    <a:gd name="connsiteX1" fmla="*/ 0 w 2020578"/>
                    <a:gd name="connsiteY1" fmla="*/ 1002562 h 2005124"/>
                    <a:gd name="connsiteX2" fmla="*/ 1010289 w 2020578"/>
                    <a:gd name="connsiteY2" fmla="*/ 2005124 h 2005124"/>
                    <a:gd name="connsiteX3" fmla="*/ 2020579 w 2020578"/>
                    <a:gd name="connsiteY3" fmla="*/ 1002562 h 2005124"/>
                    <a:gd name="connsiteX4" fmla="*/ 1010289 w 2020578"/>
                    <a:gd name="connsiteY4" fmla="*/ 0 h 2005124"/>
                    <a:gd name="connsiteX5" fmla="*/ 1212513 w 2020578"/>
                    <a:gd name="connsiteY5" fmla="*/ 1827854 h 2005124"/>
                    <a:gd name="connsiteX6" fmla="*/ 1204283 w 2020578"/>
                    <a:gd name="connsiteY6" fmla="*/ 1953182 h 2005124"/>
                    <a:gd name="connsiteX7" fmla="*/ 843550 w 2020578"/>
                    <a:gd name="connsiteY7" fmla="*/ 1958403 h 2005124"/>
                    <a:gd name="connsiteX8" fmla="*/ 829923 w 2020578"/>
                    <a:gd name="connsiteY8" fmla="*/ 1827382 h 2005124"/>
                    <a:gd name="connsiteX9" fmla="*/ 819894 w 2020578"/>
                    <a:gd name="connsiteY9" fmla="*/ 1441401 h 2005124"/>
                    <a:gd name="connsiteX10" fmla="*/ 883428 w 2020578"/>
                    <a:gd name="connsiteY10" fmla="*/ 1414736 h 2005124"/>
                    <a:gd name="connsiteX11" fmla="*/ 895050 w 2020578"/>
                    <a:gd name="connsiteY11" fmla="*/ 1414736 h 2005124"/>
                    <a:gd name="connsiteX12" fmla="*/ 972210 w 2020578"/>
                    <a:gd name="connsiteY12" fmla="*/ 1384651 h 2005124"/>
                    <a:gd name="connsiteX13" fmla="*/ 974305 w 2020578"/>
                    <a:gd name="connsiteY13" fmla="*/ 1307549 h 2005124"/>
                    <a:gd name="connsiteX14" fmla="*/ 960176 w 2020578"/>
                    <a:gd name="connsiteY14" fmla="*/ 1292004 h 2005124"/>
                    <a:gd name="connsiteX15" fmla="*/ 930120 w 2020578"/>
                    <a:gd name="connsiteY15" fmla="*/ 1251212 h 2005124"/>
                    <a:gd name="connsiteX16" fmla="*/ 918086 w 2020578"/>
                    <a:gd name="connsiteY16" fmla="*/ 1184138 h 2005124"/>
                    <a:gd name="connsiteX17" fmla="*/ 946254 w 2020578"/>
                    <a:gd name="connsiteY17" fmla="*/ 1098807 h 2005124"/>
                    <a:gd name="connsiteX18" fmla="*/ 973331 w 2020578"/>
                    <a:gd name="connsiteY18" fmla="*/ 1081404 h 2005124"/>
                    <a:gd name="connsiteX19" fmla="*/ 1005098 w 2020578"/>
                    <a:gd name="connsiteY19" fmla="*/ 1076243 h 2005124"/>
                    <a:gd name="connsiteX20" fmla="*/ 1039962 w 2020578"/>
                    <a:gd name="connsiteY20" fmla="*/ 1083351 h 2005124"/>
                    <a:gd name="connsiteX21" fmla="*/ 1068426 w 2020578"/>
                    <a:gd name="connsiteY21" fmla="*/ 1104706 h 2005124"/>
                    <a:gd name="connsiteX22" fmla="*/ 1089250 w 2020578"/>
                    <a:gd name="connsiteY22" fmla="*/ 1143611 h 2005124"/>
                    <a:gd name="connsiteX23" fmla="*/ 1092789 w 2020578"/>
                    <a:gd name="connsiteY23" fmla="*/ 1187619 h 2005124"/>
                    <a:gd name="connsiteX24" fmla="*/ 1077658 w 2020578"/>
                    <a:gd name="connsiteY24" fmla="*/ 1254279 h 2005124"/>
                    <a:gd name="connsiteX25" fmla="*/ 1062822 w 2020578"/>
                    <a:gd name="connsiteY25" fmla="*/ 1276549 h 2005124"/>
                    <a:gd name="connsiteX26" fmla="*/ 1042174 w 2020578"/>
                    <a:gd name="connsiteY26" fmla="*/ 1309348 h 2005124"/>
                    <a:gd name="connsiteX27" fmla="*/ 1038370 w 2020578"/>
                    <a:gd name="connsiteY27" fmla="*/ 1346070 h 2005124"/>
                    <a:gd name="connsiteX28" fmla="*/ 1051407 w 2020578"/>
                    <a:gd name="connsiteY28" fmla="*/ 1380610 h 2005124"/>
                    <a:gd name="connsiteX29" fmla="*/ 1151014 w 2020578"/>
                    <a:gd name="connsiteY29" fmla="*/ 1411285 h 2005124"/>
                    <a:gd name="connsiteX30" fmla="*/ 1161043 w 2020578"/>
                    <a:gd name="connsiteY30" fmla="*/ 1411285 h 2005124"/>
                    <a:gd name="connsiteX31" fmla="*/ 1196408 w 2020578"/>
                    <a:gd name="connsiteY31" fmla="*/ 1419633 h 2005124"/>
                    <a:gd name="connsiteX32" fmla="*/ 1221155 w 2020578"/>
                    <a:gd name="connsiteY32" fmla="*/ 1446267 h 2005124"/>
                    <a:gd name="connsiteX33" fmla="*/ 1212542 w 2020578"/>
                    <a:gd name="connsiteY33" fmla="*/ 1827854 h 2005124"/>
                    <a:gd name="connsiteX34" fmla="*/ 1238174 w 2020578"/>
                    <a:gd name="connsiteY34" fmla="*/ 1945749 h 2005124"/>
                    <a:gd name="connsiteX35" fmla="*/ 1245990 w 2020578"/>
                    <a:gd name="connsiteY35" fmla="*/ 1824934 h 2005124"/>
                    <a:gd name="connsiteX36" fmla="*/ 1251388 w 2020578"/>
                    <a:gd name="connsiteY36" fmla="*/ 1432522 h 2005124"/>
                    <a:gd name="connsiteX37" fmla="*/ 1161190 w 2020578"/>
                    <a:gd name="connsiteY37" fmla="*/ 1377896 h 2005124"/>
                    <a:gd name="connsiteX38" fmla="*/ 1151161 w 2020578"/>
                    <a:gd name="connsiteY38" fmla="*/ 1377896 h 2005124"/>
                    <a:gd name="connsiteX39" fmla="*/ 1079428 w 2020578"/>
                    <a:gd name="connsiteY39" fmla="*/ 1361762 h 2005124"/>
                    <a:gd name="connsiteX40" fmla="*/ 1071788 w 2020578"/>
                    <a:gd name="connsiteY40" fmla="*/ 1341587 h 2005124"/>
                    <a:gd name="connsiteX41" fmla="*/ 1074030 w 2020578"/>
                    <a:gd name="connsiteY41" fmla="*/ 1320143 h 2005124"/>
                    <a:gd name="connsiteX42" fmla="*/ 1089073 w 2020578"/>
                    <a:gd name="connsiteY42" fmla="*/ 1297284 h 2005124"/>
                    <a:gd name="connsiteX43" fmla="*/ 1109100 w 2020578"/>
                    <a:gd name="connsiteY43" fmla="*/ 1265606 h 2005124"/>
                    <a:gd name="connsiteX44" fmla="*/ 1125943 w 2020578"/>
                    <a:gd name="connsiteY44" fmla="*/ 1192132 h 2005124"/>
                    <a:gd name="connsiteX45" fmla="*/ 1121312 w 2020578"/>
                    <a:gd name="connsiteY45" fmla="*/ 1134054 h 2005124"/>
                    <a:gd name="connsiteX46" fmla="*/ 1093881 w 2020578"/>
                    <a:gd name="connsiteY46" fmla="*/ 1082673 h 2005124"/>
                    <a:gd name="connsiteX47" fmla="*/ 1055949 w 2020578"/>
                    <a:gd name="connsiteY47" fmla="*/ 1054239 h 2005124"/>
                    <a:gd name="connsiteX48" fmla="*/ 1009936 w 2020578"/>
                    <a:gd name="connsiteY48" fmla="*/ 1042794 h 2005124"/>
                    <a:gd name="connsiteX49" fmla="*/ 963096 w 2020578"/>
                    <a:gd name="connsiteY49" fmla="*/ 1050168 h 2005124"/>
                    <a:gd name="connsiteX50" fmla="*/ 922805 w 2020578"/>
                    <a:gd name="connsiteY50" fmla="*/ 1075181 h 2005124"/>
                    <a:gd name="connsiteX51" fmla="*/ 885227 w 2020578"/>
                    <a:gd name="connsiteY51" fmla="*/ 1184463 h 2005124"/>
                    <a:gd name="connsiteX52" fmla="*/ 899857 w 2020578"/>
                    <a:gd name="connsiteY52" fmla="*/ 1263275 h 2005124"/>
                    <a:gd name="connsiteX53" fmla="*/ 936639 w 2020578"/>
                    <a:gd name="connsiteY53" fmla="*/ 1314215 h 2005124"/>
                    <a:gd name="connsiteX54" fmla="*/ 947464 w 2020578"/>
                    <a:gd name="connsiteY54" fmla="*/ 1325954 h 2005124"/>
                    <a:gd name="connsiteX55" fmla="*/ 945369 w 2020578"/>
                    <a:gd name="connsiteY55" fmla="*/ 1366068 h 2005124"/>
                    <a:gd name="connsiteX56" fmla="*/ 894371 w 2020578"/>
                    <a:gd name="connsiteY56" fmla="*/ 1381495 h 2005124"/>
                    <a:gd name="connsiteX57" fmla="*/ 884343 w 2020578"/>
                    <a:gd name="connsiteY57" fmla="*/ 1381495 h 2005124"/>
                    <a:gd name="connsiteX58" fmla="*/ 793053 w 2020578"/>
                    <a:gd name="connsiteY58" fmla="*/ 1423290 h 2005124"/>
                    <a:gd name="connsiteX59" fmla="*/ 797359 w 2020578"/>
                    <a:gd name="connsiteY59" fmla="*/ 1827530 h 2005124"/>
                    <a:gd name="connsiteX60" fmla="*/ 810190 w 2020578"/>
                    <a:gd name="connsiteY60" fmla="*/ 1952061 h 2005124"/>
                    <a:gd name="connsiteX61" fmla="*/ 33183 w 2020578"/>
                    <a:gd name="connsiteY61" fmla="*/ 1002562 h 2005124"/>
                    <a:gd name="connsiteX62" fmla="*/ 1010172 w 2020578"/>
                    <a:gd name="connsiteY62" fmla="*/ 32888 h 2005124"/>
                    <a:gd name="connsiteX63" fmla="*/ 1987190 w 2020578"/>
                    <a:gd name="connsiteY63" fmla="*/ 1002562 h 2005124"/>
                    <a:gd name="connsiteX64" fmla="*/ 1238439 w 2020578"/>
                    <a:gd name="connsiteY64" fmla="*/ 1945779 h 2005124"/>
                    <a:gd name="connsiteX65" fmla="*/ 1238144 w 2020578"/>
                    <a:gd name="connsiteY65" fmla="*/ 1945779 h 200512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</a:cxnLst>
                  <a:rect l="l" t="t" r="r" b="b"/>
                  <a:pathLst>
                    <a:path w="2020578" h="2005124">
                      <a:moveTo>
                        <a:pt x="1010289" y="0"/>
                      </a:moveTo>
                      <a:cubicBezTo>
                        <a:pt x="453232" y="0"/>
                        <a:pt x="0" y="449840"/>
                        <a:pt x="0" y="1002562"/>
                      </a:cubicBezTo>
                      <a:cubicBezTo>
                        <a:pt x="0" y="1555284"/>
                        <a:pt x="453232" y="2005124"/>
                        <a:pt x="1010289" y="2005124"/>
                      </a:cubicBezTo>
                      <a:cubicBezTo>
                        <a:pt x="1567347" y="2005124"/>
                        <a:pt x="2020579" y="1555284"/>
                        <a:pt x="2020579" y="1002562"/>
                      </a:cubicBezTo>
                      <a:cubicBezTo>
                        <a:pt x="2020579" y="449840"/>
                        <a:pt x="1567317" y="0"/>
                        <a:pt x="1010289" y="0"/>
                      </a:cubicBezTo>
                      <a:close/>
                      <a:moveTo>
                        <a:pt x="1212513" y="1827854"/>
                      </a:moveTo>
                      <a:cubicBezTo>
                        <a:pt x="1209829" y="1873838"/>
                        <a:pt x="1207085" y="1915604"/>
                        <a:pt x="1204283" y="1953182"/>
                      </a:cubicBezTo>
                      <a:cubicBezTo>
                        <a:pt x="1085386" y="1977044"/>
                        <a:pt x="963096" y="1978814"/>
                        <a:pt x="843550" y="1958403"/>
                      </a:cubicBezTo>
                      <a:cubicBezTo>
                        <a:pt x="838831" y="1917699"/>
                        <a:pt x="834229" y="1873573"/>
                        <a:pt x="829923" y="1827382"/>
                      </a:cubicBezTo>
                      <a:cubicBezTo>
                        <a:pt x="807477" y="1586756"/>
                        <a:pt x="809069" y="1458538"/>
                        <a:pt x="819894" y="1441401"/>
                      </a:cubicBezTo>
                      <a:cubicBezTo>
                        <a:pt x="837238" y="1414825"/>
                        <a:pt x="859979" y="1414736"/>
                        <a:pt x="883428" y="1414736"/>
                      </a:cubicBezTo>
                      <a:lnTo>
                        <a:pt x="895050" y="1414736"/>
                      </a:lnTo>
                      <a:cubicBezTo>
                        <a:pt x="912599" y="1414028"/>
                        <a:pt x="953569" y="1412318"/>
                        <a:pt x="972210" y="1384651"/>
                      </a:cubicBezTo>
                      <a:cubicBezTo>
                        <a:pt x="983330" y="1368103"/>
                        <a:pt x="983242" y="1317990"/>
                        <a:pt x="974305" y="1307549"/>
                      </a:cubicBezTo>
                      <a:cubicBezTo>
                        <a:pt x="969703" y="1302239"/>
                        <a:pt x="964896" y="1297019"/>
                        <a:pt x="960176" y="1292004"/>
                      </a:cubicBezTo>
                      <a:cubicBezTo>
                        <a:pt x="947817" y="1280294"/>
                        <a:pt x="937612" y="1266490"/>
                        <a:pt x="930120" y="1251212"/>
                      </a:cubicBezTo>
                      <a:cubicBezTo>
                        <a:pt x="922038" y="1229768"/>
                        <a:pt x="917968" y="1207056"/>
                        <a:pt x="918086" y="1184138"/>
                      </a:cubicBezTo>
                      <a:cubicBezTo>
                        <a:pt x="917378" y="1148861"/>
                        <a:pt x="928114" y="1117773"/>
                        <a:pt x="946254" y="1098807"/>
                      </a:cubicBezTo>
                      <a:cubicBezTo>
                        <a:pt x="953982" y="1091197"/>
                        <a:pt x="963185" y="1085298"/>
                        <a:pt x="973331" y="1081404"/>
                      </a:cubicBezTo>
                      <a:cubicBezTo>
                        <a:pt x="983448" y="1077511"/>
                        <a:pt x="994273" y="1075771"/>
                        <a:pt x="1005098" y="1076243"/>
                      </a:cubicBezTo>
                      <a:cubicBezTo>
                        <a:pt x="1017103" y="1076007"/>
                        <a:pt x="1029019" y="1078425"/>
                        <a:pt x="1039962" y="1083351"/>
                      </a:cubicBezTo>
                      <a:cubicBezTo>
                        <a:pt x="1050905" y="1088277"/>
                        <a:pt x="1060639" y="1095562"/>
                        <a:pt x="1068426" y="1104706"/>
                      </a:cubicBezTo>
                      <a:cubicBezTo>
                        <a:pt x="1077953" y="1116091"/>
                        <a:pt x="1085061" y="1129365"/>
                        <a:pt x="1089250" y="1143611"/>
                      </a:cubicBezTo>
                      <a:cubicBezTo>
                        <a:pt x="1093438" y="1157887"/>
                        <a:pt x="1094647" y="1172871"/>
                        <a:pt x="1092789" y="1187619"/>
                      </a:cubicBezTo>
                      <a:cubicBezTo>
                        <a:pt x="1090076" y="1210301"/>
                        <a:pt x="1085002" y="1232659"/>
                        <a:pt x="1077658" y="1254279"/>
                      </a:cubicBezTo>
                      <a:cubicBezTo>
                        <a:pt x="1073912" y="1262450"/>
                        <a:pt x="1068927" y="1269941"/>
                        <a:pt x="1062822" y="1276549"/>
                      </a:cubicBezTo>
                      <a:cubicBezTo>
                        <a:pt x="1054061" y="1286164"/>
                        <a:pt x="1047071" y="1297284"/>
                        <a:pt x="1042174" y="1309348"/>
                      </a:cubicBezTo>
                      <a:cubicBezTo>
                        <a:pt x="1038075" y="1321117"/>
                        <a:pt x="1036747" y="1333711"/>
                        <a:pt x="1038370" y="1346070"/>
                      </a:cubicBezTo>
                      <a:cubicBezTo>
                        <a:pt x="1039962" y="1358458"/>
                        <a:pt x="1044446" y="1370286"/>
                        <a:pt x="1051407" y="1380610"/>
                      </a:cubicBezTo>
                      <a:cubicBezTo>
                        <a:pt x="1072762" y="1412200"/>
                        <a:pt x="1119837" y="1411698"/>
                        <a:pt x="1151014" y="1411285"/>
                      </a:cubicBezTo>
                      <a:lnTo>
                        <a:pt x="1161043" y="1411285"/>
                      </a:lnTo>
                      <a:cubicBezTo>
                        <a:pt x="1173401" y="1410518"/>
                        <a:pt x="1185701" y="1413409"/>
                        <a:pt x="1196408" y="1419633"/>
                      </a:cubicBezTo>
                      <a:cubicBezTo>
                        <a:pt x="1207115" y="1425856"/>
                        <a:pt x="1215728" y="1435118"/>
                        <a:pt x="1221155" y="1446267"/>
                      </a:cubicBezTo>
                      <a:cubicBezTo>
                        <a:pt x="1226877" y="1464614"/>
                        <a:pt x="1225166" y="1615308"/>
                        <a:pt x="1212542" y="1827854"/>
                      </a:cubicBezTo>
                      <a:close/>
                      <a:moveTo>
                        <a:pt x="1238174" y="1945749"/>
                      </a:moveTo>
                      <a:cubicBezTo>
                        <a:pt x="1241477" y="1899146"/>
                        <a:pt x="1244191" y="1855522"/>
                        <a:pt x="1245990" y="1824934"/>
                      </a:cubicBezTo>
                      <a:cubicBezTo>
                        <a:pt x="1248085" y="1788153"/>
                        <a:pt x="1266018" y="1464614"/>
                        <a:pt x="1251388" y="1432522"/>
                      </a:cubicBezTo>
                      <a:cubicBezTo>
                        <a:pt x="1235165" y="1397422"/>
                        <a:pt x="1202986" y="1378073"/>
                        <a:pt x="1161190" y="1377896"/>
                      </a:cubicBezTo>
                      <a:lnTo>
                        <a:pt x="1151161" y="1377896"/>
                      </a:lnTo>
                      <a:cubicBezTo>
                        <a:pt x="1127122" y="1377896"/>
                        <a:pt x="1091049" y="1378604"/>
                        <a:pt x="1079428" y="1361762"/>
                      </a:cubicBezTo>
                      <a:cubicBezTo>
                        <a:pt x="1075357" y="1355715"/>
                        <a:pt x="1072732" y="1348813"/>
                        <a:pt x="1071788" y="1341587"/>
                      </a:cubicBezTo>
                      <a:cubicBezTo>
                        <a:pt x="1070844" y="1334360"/>
                        <a:pt x="1071611" y="1327016"/>
                        <a:pt x="1074030" y="1320143"/>
                      </a:cubicBezTo>
                      <a:cubicBezTo>
                        <a:pt x="1077717" y="1311737"/>
                        <a:pt x="1082820" y="1304009"/>
                        <a:pt x="1089073" y="1297284"/>
                      </a:cubicBezTo>
                      <a:cubicBezTo>
                        <a:pt x="1097479" y="1287934"/>
                        <a:pt x="1104263" y="1277197"/>
                        <a:pt x="1109100" y="1265606"/>
                      </a:cubicBezTo>
                      <a:cubicBezTo>
                        <a:pt x="1117271" y="1241773"/>
                        <a:pt x="1122904" y="1217144"/>
                        <a:pt x="1125943" y="1192132"/>
                      </a:cubicBezTo>
                      <a:cubicBezTo>
                        <a:pt x="1128420" y="1172664"/>
                        <a:pt x="1126857" y="1152873"/>
                        <a:pt x="1121312" y="1134054"/>
                      </a:cubicBezTo>
                      <a:cubicBezTo>
                        <a:pt x="1115796" y="1115207"/>
                        <a:pt x="1106446" y="1097716"/>
                        <a:pt x="1093881" y="1082673"/>
                      </a:cubicBezTo>
                      <a:cubicBezTo>
                        <a:pt x="1083262" y="1070756"/>
                        <a:pt x="1070373" y="1061082"/>
                        <a:pt x="1055949" y="1054239"/>
                      </a:cubicBezTo>
                      <a:cubicBezTo>
                        <a:pt x="1041526" y="1047396"/>
                        <a:pt x="1025893" y="1043502"/>
                        <a:pt x="1009936" y="1042794"/>
                      </a:cubicBezTo>
                      <a:cubicBezTo>
                        <a:pt x="993978" y="1042086"/>
                        <a:pt x="978080" y="1044594"/>
                        <a:pt x="963096" y="1050168"/>
                      </a:cubicBezTo>
                      <a:cubicBezTo>
                        <a:pt x="948142" y="1055714"/>
                        <a:pt x="934426" y="1064238"/>
                        <a:pt x="922805" y="1075181"/>
                      </a:cubicBezTo>
                      <a:cubicBezTo>
                        <a:pt x="898058" y="1100459"/>
                        <a:pt x="884313" y="1140248"/>
                        <a:pt x="885227" y="1184463"/>
                      </a:cubicBezTo>
                      <a:cubicBezTo>
                        <a:pt x="885227" y="1211392"/>
                        <a:pt x="890183" y="1238116"/>
                        <a:pt x="899857" y="1263275"/>
                      </a:cubicBezTo>
                      <a:cubicBezTo>
                        <a:pt x="908824" y="1282389"/>
                        <a:pt x="921301" y="1299673"/>
                        <a:pt x="936639" y="1314215"/>
                      </a:cubicBezTo>
                      <a:cubicBezTo>
                        <a:pt x="940444" y="1318226"/>
                        <a:pt x="944042" y="1322149"/>
                        <a:pt x="947464" y="1325954"/>
                      </a:cubicBezTo>
                      <a:cubicBezTo>
                        <a:pt x="949322" y="1339345"/>
                        <a:pt x="948614" y="1352943"/>
                        <a:pt x="945369" y="1366068"/>
                      </a:cubicBezTo>
                      <a:cubicBezTo>
                        <a:pt x="936167" y="1379813"/>
                        <a:pt x="905786" y="1381023"/>
                        <a:pt x="894371" y="1381495"/>
                      </a:cubicBezTo>
                      <a:lnTo>
                        <a:pt x="884343" y="1381495"/>
                      </a:lnTo>
                      <a:cubicBezTo>
                        <a:pt x="858799" y="1381495"/>
                        <a:pt x="820219" y="1381495"/>
                        <a:pt x="793053" y="1423290"/>
                      </a:cubicBezTo>
                      <a:cubicBezTo>
                        <a:pt x="767805" y="1461989"/>
                        <a:pt x="784942" y="1693177"/>
                        <a:pt x="797359" y="1827530"/>
                      </a:cubicBezTo>
                      <a:cubicBezTo>
                        <a:pt x="800869" y="1864931"/>
                        <a:pt x="805264" y="1907729"/>
                        <a:pt x="810190" y="1952061"/>
                      </a:cubicBezTo>
                      <a:cubicBezTo>
                        <a:pt x="366957" y="1860034"/>
                        <a:pt x="33183" y="1469451"/>
                        <a:pt x="33183" y="1002562"/>
                      </a:cubicBezTo>
                      <a:cubicBezTo>
                        <a:pt x="33183" y="467892"/>
                        <a:pt x="471461" y="32888"/>
                        <a:pt x="1010172" y="32888"/>
                      </a:cubicBezTo>
                      <a:cubicBezTo>
                        <a:pt x="1548883" y="32888"/>
                        <a:pt x="1987190" y="467892"/>
                        <a:pt x="1987190" y="1002562"/>
                      </a:cubicBezTo>
                      <a:cubicBezTo>
                        <a:pt x="1987278" y="1459629"/>
                        <a:pt x="1667426" y="1843517"/>
                        <a:pt x="1238439" y="1945779"/>
                      </a:cubicBezTo>
                      <a:lnTo>
                        <a:pt x="1238144" y="1945779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2948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D0D0D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35" name="Полилиния: фигура 34">
                  <a:extLst>
                    <a:ext uri="{FF2B5EF4-FFF2-40B4-BE49-F238E27FC236}">
                      <a16:creationId xmlns:a16="http://schemas.microsoft.com/office/drawing/2014/main" id="{27F67ACD-56B8-4584-AF29-348D3DDE1E0E}"/>
                    </a:ext>
                  </a:extLst>
                </p:cNvPr>
                <p:cNvSpPr/>
                <p:nvPr/>
              </p:nvSpPr>
              <p:spPr>
                <a:xfrm>
                  <a:off x="9675491" y="2958774"/>
                  <a:ext cx="165943" cy="166002"/>
                </a:xfrm>
                <a:custGeom>
                  <a:avLst/>
                  <a:gdLst>
                    <a:gd name="connsiteX0" fmla="*/ 82972 w 165943"/>
                    <a:gd name="connsiteY0" fmla="*/ 166002 h 166002"/>
                    <a:gd name="connsiteX1" fmla="*/ 165943 w 165943"/>
                    <a:gd name="connsiteY1" fmla="*/ 83001 h 166002"/>
                    <a:gd name="connsiteX2" fmla="*/ 82972 w 165943"/>
                    <a:gd name="connsiteY2" fmla="*/ 0 h 166002"/>
                    <a:gd name="connsiteX3" fmla="*/ 0 w 165943"/>
                    <a:gd name="connsiteY3" fmla="*/ 83001 h 166002"/>
                    <a:gd name="connsiteX4" fmla="*/ 82972 w 165943"/>
                    <a:gd name="connsiteY4" fmla="*/ 166002 h 16600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65943" h="166002">
                      <a:moveTo>
                        <a:pt x="82972" y="166002"/>
                      </a:moveTo>
                      <a:cubicBezTo>
                        <a:pt x="128808" y="166002"/>
                        <a:pt x="165943" y="128838"/>
                        <a:pt x="165943" y="83001"/>
                      </a:cubicBezTo>
                      <a:cubicBezTo>
                        <a:pt x="165943" y="37165"/>
                        <a:pt x="128808" y="0"/>
                        <a:pt x="82972" y="0"/>
                      </a:cubicBezTo>
                      <a:cubicBezTo>
                        <a:pt x="37135" y="0"/>
                        <a:pt x="0" y="37165"/>
                        <a:pt x="0" y="83001"/>
                      </a:cubicBezTo>
                      <a:cubicBezTo>
                        <a:pt x="0" y="128838"/>
                        <a:pt x="37135" y="166002"/>
                        <a:pt x="82972" y="166002"/>
                      </a:cubicBezTo>
                      <a:close/>
                    </a:path>
                  </a:pathLst>
                </a:custGeom>
                <a:solidFill>
                  <a:schemeClr val="accent1"/>
                </a:solidFill>
                <a:ln w="2948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D0D0D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36" name="Полилиния: фигура 35">
                  <a:extLst>
                    <a:ext uri="{FF2B5EF4-FFF2-40B4-BE49-F238E27FC236}">
                      <a16:creationId xmlns:a16="http://schemas.microsoft.com/office/drawing/2014/main" id="{789C0DB5-5502-4DD3-B92C-812CFB143A9B}"/>
                    </a:ext>
                  </a:extLst>
                </p:cNvPr>
                <p:cNvSpPr/>
                <p:nvPr/>
              </p:nvSpPr>
              <p:spPr>
                <a:xfrm>
                  <a:off x="10029322" y="2652667"/>
                  <a:ext cx="165943" cy="166002"/>
                </a:xfrm>
                <a:custGeom>
                  <a:avLst/>
                  <a:gdLst>
                    <a:gd name="connsiteX0" fmla="*/ 82972 w 165943"/>
                    <a:gd name="connsiteY0" fmla="*/ 166002 h 166002"/>
                    <a:gd name="connsiteX1" fmla="*/ 165943 w 165943"/>
                    <a:gd name="connsiteY1" fmla="*/ 83001 h 166002"/>
                    <a:gd name="connsiteX2" fmla="*/ 82972 w 165943"/>
                    <a:gd name="connsiteY2" fmla="*/ 0 h 166002"/>
                    <a:gd name="connsiteX3" fmla="*/ 0 w 165943"/>
                    <a:gd name="connsiteY3" fmla="*/ 83001 h 166002"/>
                    <a:gd name="connsiteX4" fmla="*/ 82972 w 165943"/>
                    <a:gd name="connsiteY4" fmla="*/ 166002 h 16600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65943" h="166002">
                      <a:moveTo>
                        <a:pt x="82972" y="166002"/>
                      </a:moveTo>
                      <a:cubicBezTo>
                        <a:pt x="128808" y="166002"/>
                        <a:pt x="165943" y="128838"/>
                        <a:pt x="165943" y="83001"/>
                      </a:cubicBezTo>
                      <a:cubicBezTo>
                        <a:pt x="165943" y="37165"/>
                        <a:pt x="128808" y="0"/>
                        <a:pt x="82972" y="0"/>
                      </a:cubicBezTo>
                      <a:cubicBezTo>
                        <a:pt x="37135" y="0"/>
                        <a:pt x="0" y="37165"/>
                        <a:pt x="0" y="83001"/>
                      </a:cubicBezTo>
                      <a:cubicBezTo>
                        <a:pt x="0" y="128838"/>
                        <a:pt x="37135" y="166002"/>
                        <a:pt x="82972" y="166002"/>
                      </a:cubicBezTo>
                      <a:close/>
                    </a:path>
                  </a:pathLst>
                </a:custGeom>
                <a:solidFill>
                  <a:schemeClr val="accent1"/>
                </a:solidFill>
                <a:ln w="2948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D0D0D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44" name="Полилиния: фигура 43">
                  <a:extLst>
                    <a:ext uri="{FF2B5EF4-FFF2-40B4-BE49-F238E27FC236}">
                      <a16:creationId xmlns:a16="http://schemas.microsoft.com/office/drawing/2014/main" id="{078BBF57-DAF4-4DC3-84D0-5FDB2E9ACFB9}"/>
                    </a:ext>
                  </a:extLst>
                </p:cNvPr>
                <p:cNvSpPr/>
                <p:nvPr/>
              </p:nvSpPr>
              <p:spPr>
                <a:xfrm>
                  <a:off x="10364807" y="2361249"/>
                  <a:ext cx="165943" cy="166002"/>
                </a:xfrm>
                <a:custGeom>
                  <a:avLst/>
                  <a:gdLst>
                    <a:gd name="connsiteX0" fmla="*/ 82972 w 165943"/>
                    <a:gd name="connsiteY0" fmla="*/ 166002 h 166002"/>
                    <a:gd name="connsiteX1" fmla="*/ 165943 w 165943"/>
                    <a:gd name="connsiteY1" fmla="*/ 83001 h 166002"/>
                    <a:gd name="connsiteX2" fmla="*/ 82972 w 165943"/>
                    <a:gd name="connsiteY2" fmla="*/ 0 h 166002"/>
                    <a:gd name="connsiteX3" fmla="*/ 0 w 165943"/>
                    <a:gd name="connsiteY3" fmla="*/ 83001 h 166002"/>
                    <a:gd name="connsiteX4" fmla="*/ 82972 w 165943"/>
                    <a:gd name="connsiteY4" fmla="*/ 166002 h 16600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65943" h="166002">
                      <a:moveTo>
                        <a:pt x="82972" y="166002"/>
                      </a:moveTo>
                      <a:cubicBezTo>
                        <a:pt x="128808" y="166002"/>
                        <a:pt x="165943" y="128838"/>
                        <a:pt x="165943" y="83001"/>
                      </a:cubicBezTo>
                      <a:cubicBezTo>
                        <a:pt x="165943" y="37165"/>
                        <a:pt x="128808" y="0"/>
                        <a:pt x="82972" y="0"/>
                      </a:cubicBezTo>
                      <a:cubicBezTo>
                        <a:pt x="37135" y="0"/>
                        <a:pt x="0" y="37165"/>
                        <a:pt x="0" y="83001"/>
                      </a:cubicBezTo>
                      <a:cubicBezTo>
                        <a:pt x="0" y="128838"/>
                        <a:pt x="37135" y="166002"/>
                        <a:pt x="82972" y="166002"/>
                      </a:cubicBezTo>
                      <a:close/>
                    </a:path>
                  </a:pathLst>
                </a:custGeom>
                <a:solidFill>
                  <a:schemeClr val="accent1"/>
                </a:solidFill>
                <a:ln w="2948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D0D0D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</p:grpSp>
        </p:grpSp>
        <p:sp>
          <p:nvSpPr>
            <p:cNvPr id="99" name="Motion design">
              <a:extLst>
                <a:ext uri="{FF2B5EF4-FFF2-40B4-BE49-F238E27FC236}">
                  <a16:creationId xmlns:a16="http://schemas.microsoft.com/office/drawing/2014/main" id="{FCFB55BB-A6B2-478B-B4D1-3C55972C2A86}"/>
                </a:ext>
              </a:extLst>
            </p:cNvPr>
            <p:cNvSpPr txBox="1"/>
            <p:nvPr/>
          </p:nvSpPr>
          <p:spPr>
            <a:xfrm>
              <a:off x="2717854" y="2225943"/>
              <a:ext cx="3397823" cy="535018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</a:ext>
            </a:extLst>
          </p:spPr>
          <p:txBody>
            <a:bodyPr wrap="square" lIns="0" tIns="0" rIns="0" bIns="0" anchor="ctr">
              <a:spAutoFit/>
            </a:bodyPr>
            <a:lstStyle>
              <a:lvl1pPr>
                <a:lnSpc>
                  <a:spcPct val="130000"/>
                </a:lnSpc>
                <a:defRPr sz="3000">
                  <a:latin typeface="+mn-lt"/>
                  <a:ea typeface="+mn-ea"/>
                  <a:cs typeface="+mn-cs"/>
                  <a:sym typeface="Poppins SemiBold"/>
                </a:defRPr>
              </a:lvl1pPr>
            </a:lstStyle>
            <a:p>
              <a:pPr marL="285750" indent="-285750" defTabSz="309563" hangingPunct="0">
                <a:buClr>
                  <a:schemeClr val="accent1"/>
                </a:buClr>
                <a:buFont typeface="Arial" panose="020B0604020202020204" pitchFamily="34" charset="0"/>
                <a:buChar char="•"/>
                <a:defRPr/>
              </a:pPr>
              <a:r>
                <a:rPr lang="ru-RU" sz="1400" dirty="0">
                  <a:solidFill>
                    <a:srgbClr val="0D0D0D"/>
                  </a:solidFill>
                  <a:latin typeface="SB Sans Text Light" panose="020B0303040504020204" pitchFamily="34" charset="-52"/>
                  <a:ea typeface="Roboto Light" panose="02000000000000000000" pitchFamily="2" charset="0"/>
                  <a:cs typeface="SB Sans Text Light" panose="020B0303040504020204" pitchFamily="34" charset="-52"/>
                </a:rPr>
                <a:t>отбирает измененные записи</a:t>
              </a:r>
              <a:br>
                <a:rPr lang="ru-RU" sz="1400" dirty="0">
                  <a:solidFill>
                    <a:srgbClr val="0D0D0D"/>
                  </a:solidFill>
                  <a:latin typeface="SB Sans Text Light" panose="020B0303040504020204" pitchFamily="34" charset="-52"/>
                  <a:ea typeface="Roboto Light" panose="02000000000000000000" pitchFamily="2" charset="0"/>
                  <a:cs typeface="SB Sans Text Light" panose="020B0303040504020204" pitchFamily="34" charset="-52"/>
                </a:rPr>
              </a:br>
              <a:r>
                <a:rPr lang="ru-RU" sz="1400" dirty="0">
                  <a:solidFill>
                    <a:srgbClr val="0D0D0D"/>
                  </a:solidFill>
                  <a:latin typeface="SB Sans Text Light" panose="020B0303040504020204" pitchFamily="34" charset="-52"/>
                  <a:ea typeface="Roboto Light" panose="02000000000000000000" pitchFamily="2" charset="0"/>
                  <a:cs typeface="SB Sans Text Light" panose="020B0303040504020204" pitchFamily="34" charset="-52"/>
                </a:rPr>
                <a:t>за нужный период. </a:t>
              </a:r>
            </a:p>
          </p:txBody>
        </p:sp>
      </p:grpSp>
      <p:grpSp>
        <p:nvGrpSpPr>
          <p:cNvPr id="16" name="Группа 15">
            <a:extLst>
              <a:ext uri="{FF2B5EF4-FFF2-40B4-BE49-F238E27FC236}">
                <a16:creationId xmlns:a16="http://schemas.microsoft.com/office/drawing/2014/main" id="{0976CABF-6516-4404-88F8-42D2B33E0E5C}"/>
              </a:ext>
            </a:extLst>
          </p:cNvPr>
          <p:cNvGrpSpPr/>
          <p:nvPr/>
        </p:nvGrpSpPr>
        <p:grpSpPr>
          <a:xfrm>
            <a:off x="2997263" y="3742185"/>
            <a:ext cx="6514840" cy="1865439"/>
            <a:chOff x="654740" y="3777669"/>
            <a:chExt cx="6514840" cy="1865439"/>
          </a:xfrm>
        </p:grpSpPr>
        <p:sp>
          <p:nvSpPr>
            <p:cNvPr id="64" name="Shape_фон">
              <a:extLst>
                <a:ext uri="{FF2B5EF4-FFF2-40B4-BE49-F238E27FC236}">
                  <a16:creationId xmlns:a16="http://schemas.microsoft.com/office/drawing/2014/main" id="{39AF9E01-56B6-4B2A-8C7E-A0C47DA93C66}"/>
                </a:ext>
              </a:extLst>
            </p:cNvPr>
            <p:cNvSpPr/>
            <p:nvPr/>
          </p:nvSpPr>
          <p:spPr>
            <a:xfrm>
              <a:off x="2183409" y="3999934"/>
              <a:ext cx="4659884" cy="1496984"/>
            </a:xfrm>
            <a:prstGeom prst="roundRect">
              <a:avLst>
                <a:gd name="adj" fmla="val 8571"/>
              </a:avLst>
            </a:prstGeom>
            <a:solidFill>
              <a:schemeClr val="bg1"/>
            </a:solidFill>
            <a:ln w="12700" cap="flat">
              <a:noFill/>
              <a:prstDash val="solid"/>
              <a:miter/>
            </a:ln>
            <a:effectLst>
              <a:outerShdw blurRad="1003300" sx="102000" sy="102000" algn="ctr" rotWithShape="0">
                <a:schemeClr val="tx1">
                  <a:alpha val="20000"/>
                </a:schemeClr>
              </a:outerShdw>
            </a:effectLst>
          </p:spPr>
          <p:txBody>
            <a:bodyPr lIns="0" tIns="0" rIns="0" bIns="0" anchor="ctr"/>
            <a:lstStyle/>
            <a:p>
              <a:pPr marL="0" marR="0" lvl="0" indent="0" algn="ctr" defTabSz="309563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itchFamily="2" charset="0"/>
                <a:ea typeface="Roboto" pitchFamily="2" charset="0"/>
                <a:cs typeface="Poppins Bold"/>
                <a:sym typeface="Poppins Bold"/>
              </a:endParaRPr>
            </a:p>
          </p:txBody>
        </p:sp>
        <p:sp>
          <p:nvSpPr>
            <p:cNvPr id="66" name="Shape_фон">
              <a:extLst>
                <a:ext uri="{FF2B5EF4-FFF2-40B4-BE49-F238E27FC236}">
                  <a16:creationId xmlns:a16="http://schemas.microsoft.com/office/drawing/2014/main" id="{76DC8635-936E-41E5-A7A9-F484FC8B544F}"/>
                </a:ext>
              </a:extLst>
            </p:cNvPr>
            <p:cNvSpPr/>
            <p:nvPr/>
          </p:nvSpPr>
          <p:spPr>
            <a:xfrm>
              <a:off x="654740" y="3777669"/>
              <a:ext cx="1858478" cy="1865439"/>
            </a:xfrm>
            <a:prstGeom prst="roundRect">
              <a:avLst>
                <a:gd name="adj" fmla="val 8571"/>
              </a:avLst>
            </a:prstGeom>
            <a:solidFill>
              <a:schemeClr val="bg1"/>
            </a:solidFill>
            <a:ln w="12700" cap="flat">
              <a:noFill/>
              <a:prstDash val="solid"/>
              <a:miter/>
            </a:ln>
            <a:effectLst>
              <a:outerShdw blurRad="1003300" sx="102000" sy="102000" algn="ctr" rotWithShape="0">
                <a:schemeClr val="tx1">
                  <a:alpha val="20000"/>
                </a:schemeClr>
              </a:outerShdw>
            </a:effectLst>
          </p:spPr>
          <p:txBody>
            <a:bodyPr lIns="0" tIns="0" rIns="0" bIns="0" anchor="ctr"/>
            <a:lstStyle/>
            <a:p>
              <a:pPr marL="0" marR="0" lvl="0" indent="0" algn="ctr" defTabSz="309563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itchFamily="2" charset="0"/>
                <a:ea typeface="Roboto" pitchFamily="2" charset="0"/>
                <a:cs typeface="Poppins Bold"/>
                <a:sym typeface="Poppins Bold"/>
              </a:endParaRPr>
            </a:p>
          </p:txBody>
        </p:sp>
        <p:sp>
          <p:nvSpPr>
            <p:cNvPr id="67" name="Описание">
              <a:extLst>
                <a:ext uri="{FF2B5EF4-FFF2-40B4-BE49-F238E27FC236}">
                  <a16:creationId xmlns:a16="http://schemas.microsoft.com/office/drawing/2014/main" id="{090C038F-15B3-45A0-B786-424857E33963}"/>
                </a:ext>
              </a:extLst>
            </p:cNvPr>
            <p:cNvSpPr txBox="1"/>
            <p:nvPr/>
          </p:nvSpPr>
          <p:spPr>
            <a:xfrm>
              <a:off x="1047904" y="3976883"/>
              <a:ext cx="1072152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400" i="0" u="none" strike="noStrike" kern="1200" cap="none" spc="0" normalizeH="0" baseline="0" noProof="0" dirty="0" err="1">
                  <a:ln>
                    <a:noFill/>
                  </a:ln>
                  <a:solidFill>
                    <a:srgbClr val="0D0D0D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SB Sans Text" panose="020B0503040504020204" pitchFamily="34" charset="-52"/>
                  <a:ea typeface="Roboto Light" panose="02000000000000000000" pitchFamily="2" charset="0"/>
                  <a:cs typeface="SB Sans Text" panose="020B0503040504020204" pitchFamily="34" charset="-52"/>
                </a:rPr>
                <a:t>СберНПФ</a:t>
              </a:r>
              <a:endParaRPr kumimoji="0" lang="ru-RU" sz="1400" i="0" u="none" strike="noStrike" kern="1200" cap="none" spc="0" normalizeH="0" baseline="0" noProof="0" dirty="0">
                <a:ln>
                  <a:noFill/>
                </a:ln>
                <a:solidFill>
                  <a:srgbClr val="0D0D0D">
                    <a:lumMod val="75000"/>
                    <a:lumOff val="25000"/>
                  </a:srgbClr>
                </a:solidFill>
                <a:effectLst/>
                <a:uLnTx/>
                <a:uFillTx/>
                <a:latin typeface="SB Sans Text" panose="020B0503040504020204" pitchFamily="34" charset="-52"/>
                <a:ea typeface="Roboto Light" panose="02000000000000000000" pitchFamily="2" charset="0"/>
                <a:cs typeface="SB Sans Text" panose="020B0503040504020204" pitchFamily="34" charset="-52"/>
              </a:endParaRPr>
            </a:p>
          </p:txBody>
        </p:sp>
        <p:grpSp>
          <p:nvGrpSpPr>
            <p:cNvPr id="8" name="Рисунок 97">
              <a:extLst>
                <a:ext uri="{FF2B5EF4-FFF2-40B4-BE49-F238E27FC236}">
                  <a16:creationId xmlns:a16="http://schemas.microsoft.com/office/drawing/2014/main" id="{300C8757-6B33-4F0D-B3B3-3E198F20402B}"/>
                </a:ext>
              </a:extLst>
            </p:cNvPr>
            <p:cNvGrpSpPr/>
            <p:nvPr/>
          </p:nvGrpSpPr>
          <p:grpSpPr>
            <a:xfrm>
              <a:off x="1078052" y="4388957"/>
              <a:ext cx="1011854" cy="1011852"/>
              <a:chOff x="3432974" y="6049020"/>
              <a:chExt cx="473234" cy="473233"/>
            </a:xfrm>
            <a:solidFill>
              <a:srgbClr val="21A038"/>
            </a:solidFill>
          </p:grpSpPr>
          <p:pic>
            <p:nvPicPr>
              <p:cNvPr id="13" name="Рисунок 12">
                <a:extLst>
                  <a:ext uri="{FF2B5EF4-FFF2-40B4-BE49-F238E27FC236}">
                    <a16:creationId xmlns:a16="http://schemas.microsoft.com/office/drawing/2014/main" id="{3AA590B1-8DD0-4B5F-B01D-94E9BCCB132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3432974" y="6049020"/>
                <a:ext cx="473234" cy="473233"/>
              </a:xfrm>
              <a:custGeom>
                <a:avLst/>
                <a:gdLst>
                  <a:gd name="connsiteX0" fmla="*/ -169 w 473234"/>
                  <a:gd name="connsiteY0" fmla="*/ -169 h 473233"/>
                  <a:gd name="connsiteX1" fmla="*/ 473065 w 473234"/>
                  <a:gd name="connsiteY1" fmla="*/ -169 h 473233"/>
                  <a:gd name="connsiteX2" fmla="*/ 473065 w 473234"/>
                  <a:gd name="connsiteY2" fmla="*/ 473065 h 473233"/>
                  <a:gd name="connsiteX3" fmla="*/ -169 w 473234"/>
                  <a:gd name="connsiteY3" fmla="*/ 473065 h 4732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73234" h="473233">
                    <a:moveTo>
                      <a:pt x="-169" y="-169"/>
                    </a:moveTo>
                    <a:lnTo>
                      <a:pt x="473065" y="-169"/>
                    </a:lnTo>
                    <a:lnTo>
                      <a:pt x="473065" y="473065"/>
                    </a:lnTo>
                    <a:lnTo>
                      <a:pt x="-169" y="473065"/>
                    </a:lnTo>
                    <a:close/>
                  </a:path>
                </a:pathLst>
              </a:custGeom>
            </p:spPr>
          </p:pic>
          <p:sp>
            <p:nvSpPr>
              <p:cNvPr id="14" name="Полилиния: фигура 13">
                <a:extLst>
                  <a:ext uri="{FF2B5EF4-FFF2-40B4-BE49-F238E27FC236}">
                    <a16:creationId xmlns:a16="http://schemas.microsoft.com/office/drawing/2014/main" id="{CB07FC5C-379E-4F38-9706-3D0B4D202DF7}"/>
                  </a:ext>
                </a:extLst>
              </p:cNvPr>
              <p:cNvSpPr/>
              <p:nvPr/>
            </p:nvSpPr>
            <p:spPr>
              <a:xfrm>
                <a:off x="3582374" y="6145853"/>
                <a:ext cx="295665" cy="199164"/>
              </a:xfrm>
              <a:custGeom>
                <a:avLst/>
                <a:gdLst>
                  <a:gd name="connsiteX0" fmla="*/ 267840 w 295665"/>
                  <a:gd name="connsiteY0" fmla="*/ -381 h 199164"/>
                  <a:gd name="connsiteX1" fmla="*/ 295266 w 295665"/>
                  <a:gd name="connsiteY1" fmla="*/ 45053 h 199164"/>
                  <a:gd name="connsiteX2" fmla="*/ 86712 w 295665"/>
                  <a:gd name="connsiteY2" fmla="*/ 198784 h 199164"/>
                  <a:gd name="connsiteX3" fmla="*/ -399 w 295665"/>
                  <a:gd name="connsiteY3" fmla="*/ 144128 h 199164"/>
                  <a:gd name="connsiteX4" fmla="*/ -399 w 295665"/>
                  <a:gd name="connsiteY4" fmla="*/ 78461 h 199164"/>
                  <a:gd name="connsiteX5" fmla="*/ 86712 w 295665"/>
                  <a:gd name="connsiteY5" fmla="*/ 133072 h 1991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95665" h="199164">
                    <a:moveTo>
                      <a:pt x="267840" y="-381"/>
                    </a:moveTo>
                    <a:cubicBezTo>
                      <a:pt x="278719" y="13645"/>
                      <a:pt x="287924" y="28892"/>
                      <a:pt x="295266" y="45053"/>
                    </a:cubicBezTo>
                    <a:lnTo>
                      <a:pt x="86712" y="198784"/>
                    </a:lnTo>
                    <a:lnTo>
                      <a:pt x="-399" y="144128"/>
                    </a:lnTo>
                    <a:lnTo>
                      <a:pt x="-399" y="78461"/>
                    </a:lnTo>
                    <a:lnTo>
                      <a:pt x="86712" y="133072"/>
                    </a:lnTo>
                    <a:close/>
                  </a:path>
                </a:pathLst>
              </a:custGeom>
              <a:solidFill>
                <a:srgbClr val="21A038"/>
              </a:solidFill>
              <a:ln w="15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</p:grpSp>
        <p:sp>
          <p:nvSpPr>
            <p:cNvPr id="100" name="Motion design">
              <a:extLst>
                <a:ext uri="{FF2B5EF4-FFF2-40B4-BE49-F238E27FC236}">
                  <a16:creationId xmlns:a16="http://schemas.microsoft.com/office/drawing/2014/main" id="{618ABDFA-948C-49F9-B24E-7C27B691E940}"/>
                </a:ext>
              </a:extLst>
            </p:cNvPr>
            <p:cNvSpPr txBox="1"/>
            <p:nvPr/>
          </p:nvSpPr>
          <p:spPr>
            <a:xfrm>
              <a:off x="2717854" y="4623263"/>
              <a:ext cx="4451726" cy="254942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</a:ext>
            </a:extLst>
          </p:spPr>
          <p:txBody>
            <a:bodyPr wrap="square" lIns="0" tIns="0" rIns="0" bIns="0" anchor="ctr">
              <a:spAutoFit/>
            </a:bodyPr>
            <a:lstStyle>
              <a:lvl1pPr>
                <a:lnSpc>
                  <a:spcPct val="130000"/>
                </a:lnSpc>
                <a:defRPr sz="3000">
                  <a:latin typeface="+mn-lt"/>
                  <a:ea typeface="+mn-ea"/>
                  <a:cs typeface="+mn-cs"/>
                  <a:sym typeface="Poppins SemiBold"/>
                </a:defRPr>
              </a:lvl1pPr>
            </a:lstStyle>
            <a:p>
              <a:pPr marL="342900" indent="-342900" defTabSz="309563" hangingPunct="0">
                <a:buClr>
                  <a:schemeClr val="bg2"/>
                </a:buClr>
                <a:buFont typeface="Arial" panose="020B0604020202020204" pitchFamily="34" charset="0"/>
                <a:buChar char="•"/>
                <a:defRPr/>
              </a:pPr>
              <a:r>
                <a:rPr lang="ru-RU" sz="1400" dirty="0">
                  <a:solidFill>
                    <a:srgbClr val="0D0D0D"/>
                  </a:solidFill>
                  <a:latin typeface="SB Sans Text Light" panose="020B0303040504020204" pitchFamily="34" charset="-52"/>
                  <a:ea typeface="Roboto Light" panose="02000000000000000000" pitchFamily="2" charset="0"/>
                  <a:cs typeface="SB Sans Text Light" panose="020B0303040504020204" pitchFamily="34" charset="-52"/>
                </a:rPr>
                <a:t>всё остальное ;)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805829763"/>
      </p:ext>
    </p:extLst>
  </p:cSld>
  <p:clrMapOvr>
    <a:masterClrMapping/>
  </p:clrMapOvr>
  <p:transition spd="slow">
    <p:push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5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42" presetClass="path" presetSubtype="0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1719 -0.00023 L -8.33333E-7 -1.48148E-6 " pathEditMode="relative" rAng="0" ptsTypes="AA">
                                      <p:cBhvr>
                                        <p:cTn id="9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859" y="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" name="Rounded Rectangle">
            <a:extLst>
              <a:ext uri="{FF2B5EF4-FFF2-40B4-BE49-F238E27FC236}">
                <a16:creationId xmlns:a16="http://schemas.microsoft.com/office/drawing/2014/main" id="{F3E05046-0B50-45FE-A0D3-2340808D1A0B}"/>
              </a:ext>
            </a:extLst>
          </p:cNvPr>
          <p:cNvSpPr/>
          <p:nvPr/>
        </p:nvSpPr>
        <p:spPr>
          <a:xfrm>
            <a:off x="0" y="2579435"/>
            <a:ext cx="12192000" cy="1785141"/>
          </a:xfrm>
          <a:prstGeom prst="roundRect">
            <a:avLst>
              <a:gd name="adj" fmla="val 0"/>
            </a:avLst>
          </a:prstGeom>
          <a:solidFill>
            <a:schemeClr val="bg1">
              <a:alpha val="96000"/>
            </a:schemeClr>
          </a:solidFill>
          <a:ln w="12700" cap="flat">
            <a:noFill/>
            <a:prstDash val="solid"/>
            <a:miter/>
          </a:ln>
          <a:effectLst>
            <a:outerShdw blurRad="1003300" sx="102000" sy="102000" algn="ctr" rotWithShape="0">
              <a:schemeClr val="tx1">
                <a:alpha val="20000"/>
              </a:schemeClr>
            </a:outerShdw>
          </a:effectLst>
        </p:spPr>
        <p:txBody>
          <a:bodyPr lIns="0" tIns="0" rIns="0" bIns="0" anchor="ctr"/>
          <a:lstStyle/>
          <a:p>
            <a:pPr marL="0" marR="0" lvl="0" indent="0" algn="ctr" defTabSz="309563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" pitchFamily="2" charset="0"/>
              <a:ea typeface="Roboto" pitchFamily="2" charset="0"/>
              <a:cs typeface="Poppins Bold"/>
              <a:sym typeface="Poppins Bold"/>
            </a:endParaRPr>
          </a:p>
        </p:txBody>
      </p:sp>
      <p:sp>
        <p:nvSpPr>
          <p:cNvPr id="41" name="Заголовок">
            <a:extLst>
              <a:ext uri="{FF2B5EF4-FFF2-40B4-BE49-F238E27FC236}">
                <a16:creationId xmlns:a16="http://schemas.microsoft.com/office/drawing/2014/main" id="{C2DC1C9A-4F65-42B1-86E3-6E4D91075984}"/>
              </a:ext>
            </a:extLst>
          </p:cNvPr>
          <p:cNvSpPr txBox="1"/>
          <p:nvPr/>
        </p:nvSpPr>
        <p:spPr>
          <a:xfrm>
            <a:off x="507066" y="376044"/>
            <a:ext cx="12306109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4400" dirty="0">
                <a:solidFill>
                  <a:srgbClr val="0D0D0D">
                    <a:lumMod val="75000"/>
                    <a:lumOff val="25000"/>
                  </a:srgbClr>
                </a:solidFill>
                <a:latin typeface="SB Sans Text Medium" panose="020B0603040504020204" pitchFamily="34" charset="-52"/>
                <a:ea typeface="Roboto" pitchFamily="2" charset="0"/>
                <a:cs typeface="SB Sans Text Medium" panose="020B0603040504020204" pitchFamily="34" charset="-52"/>
              </a:rPr>
              <a:t>Зачем </a:t>
            </a:r>
            <a:r>
              <a:rPr lang="ru-RU" sz="4400" dirty="0">
                <a:solidFill>
                  <a:schemeClr val="accent1"/>
                </a:solidFill>
                <a:latin typeface="SB Sans Text Medium" panose="020B0603040504020204" pitchFamily="34" charset="-52"/>
                <a:ea typeface="Roboto" pitchFamily="2" charset="0"/>
                <a:cs typeface="SB Sans Text Medium" panose="020B0603040504020204" pitchFamily="34" charset="-52"/>
              </a:rPr>
              <a:t>«Единый клиент» </a:t>
            </a:r>
            <a:r>
              <a:rPr lang="ru-RU" sz="4400" dirty="0">
                <a:solidFill>
                  <a:srgbClr val="0D0D0D">
                    <a:lumMod val="75000"/>
                    <a:lumOff val="25000"/>
                  </a:srgbClr>
                </a:solidFill>
                <a:latin typeface="SB Sans Text Medium" panose="020B0603040504020204" pitchFamily="34" charset="-52"/>
                <a:ea typeface="Roboto" pitchFamily="2" charset="0"/>
                <a:cs typeface="SB Sans Text Medium" panose="020B0603040504020204" pitchFamily="34" charset="-52"/>
              </a:rPr>
              <a:t>в </a:t>
            </a:r>
            <a:r>
              <a:rPr lang="ru-RU" sz="4400" dirty="0" err="1">
                <a:solidFill>
                  <a:srgbClr val="0D0D0D">
                    <a:lumMod val="75000"/>
                    <a:lumOff val="25000"/>
                  </a:srgbClr>
                </a:solidFill>
                <a:latin typeface="SB Sans Text Medium" panose="020B0603040504020204" pitchFamily="34" charset="-52"/>
                <a:ea typeface="Roboto" pitchFamily="2" charset="0"/>
                <a:cs typeface="SB Sans Text Medium" panose="020B0603040504020204" pitchFamily="34" charset="-52"/>
              </a:rPr>
              <a:t>СберНПФ</a:t>
            </a:r>
            <a:r>
              <a:rPr lang="ru-RU" sz="4400" dirty="0">
                <a:solidFill>
                  <a:srgbClr val="0D0D0D">
                    <a:lumMod val="75000"/>
                    <a:lumOff val="25000"/>
                  </a:srgbClr>
                </a:solidFill>
                <a:latin typeface="SB Sans Text Medium" panose="020B0603040504020204" pitchFamily="34" charset="-52"/>
                <a:ea typeface="Roboto" pitchFamily="2" charset="0"/>
                <a:cs typeface="SB Sans Text Medium" panose="020B0603040504020204" pitchFamily="34" charset="-52"/>
              </a:rPr>
              <a:t>?</a:t>
            </a:r>
          </a:p>
        </p:txBody>
      </p:sp>
      <p:grpSp>
        <p:nvGrpSpPr>
          <p:cNvPr id="42" name="CDIConf_Black">
            <a:extLst>
              <a:ext uri="{FF2B5EF4-FFF2-40B4-BE49-F238E27FC236}">
                <a16:creationId xmlns:a16="http://schemas.microsoft.com/office/drawing/2014/main" id="{F3F1710A-CB9B-4080-B969-0477C48F22E5}"/>
              </a:ext>
            </a:extLst>
          </p:cNvPr>
          <p:cNvGrpSpPr/>
          <p:nvPr/>
        </p:nvGrpSpPr>
        <p:grpSpPr>
          <a:xfrm>
            <a:off x="9284984" y="6140223"/>
            <a:ext cx="2270483" cy="296171"/>
            <a:chOff x="7406975" y="5855999"/>
            <a:chExt cx="2270483" cy="296171"/>
          </a:xfrm>
        </p:grpSpPr>
        <p:sp>
          <p:nvSpPr>
            <p:cNvPr id="45" name="Полилиния: фигура 44">
              <a:extLst>
                <a:ext uri="{FF2B5EF4-FFF2-40B4-BE49-F238E27FC236}">
                  <a16:creationId xmlns:a16="http://schemas.microsoft.com/office/drawing/2014/main" id="{13A11B35-F320-4F31-908D-85B2D024FD4B}"/>
                </a:ext>
              </a:extLst>
            </p:cNvPr>
            <p:cNvSpPr/>
            <p:nvPr/>
          </p:nvSpPr>
          <p:spPr>
            <a:xfrm>
              <a:off x="7406975" y="5878280"/>
              <a:ext cx="1394458" cy="273890"/>
            </a:xfrm>
            <a:custGeom>
              <a:avLst/>
              <a:gdLst>
                <a:gd name="connsiteX0" fmla="*/ 157354 w 1394458"/>
                <a:gd name="connsiteY0" fmla="*/ 188093 h 273890"/>
                <a:gd name="connsiteX1" fmla="*/ 200773 w 1394458"/>
                <a:gd name="connsiteY1" fmla="*/ 188093 h 273890"/>
                <a:gd name="connsiteX2" fmla="*/ 186877 w 1394458"/>
                <a:gd name="connsiteY2" fmla="*/ 232383 h 273890"/>
                <a:gd name="connsiteX3" fmla="*/ 153706 w 1394458"/>
                <a:gd name="connsiteY3" fmla="*/ 262777 h 273890"/>
                <a:gd name="connsiteX4" fmla="*/ 101775 w 1394458"/>
                <a:gd name="connsiteY4" fmla="*/ 273891 h 273890"/>
                <a:gd name="connsiteX5" fmla="*/ 59572 w 1394458"/>
                <a:gd name="connsiteY5" fmla="*/ 265554 h 273890"/>
                <a:gd name="connsiteX6" fmla="*/ 27442 w 1394458"/>
                <a:gd name="connsiteY6" fmla="*/ 241585 h 273890"/>
                <a:gd name="connsiteX7" fmla="*/ 6950 w 1394458"/>
                <a:gd name="connsiteY7" fmla="*/ 203896 h 273890"/>
                <a:gd name="connsiteX8" fmla="*/ 0 w 1394458"/>
                <a:gd name="connsiteY8" fmla="*/ 154577 h 273890"/>
                <a:gd name="connsiteX9" fmla="*/ 0 w 1394458"/>
                <a:gd name="connsiteY9" fmla="*/ 133560 h 273890"/>
                <a:gd name="connsiteX10" fmla="*/ 7121 w 1394458"/>
                <a:gd name="connsiteY10" fmla="*/ 84236 h 273890"/>
                <a:gd name="connsiteX11" fmla="*/ 27962 w 1394458"/>
                <a:gd name="connsiteY11" fmla="*/ 46552 h 273890"/>
                <a:gd name="connsiteX12" fmla="*/ 60438 w 1394458"/>
                <a:gd name="connsiteY12" fmla="*/ 22408 h 273890"/>
                <a:gd name="connsiteX13" fmla="*/ 103336 w 1394458"/>
                <a:gd name="connsiteY13" fmla="*/ 14071 h 273890"/>
                <a:gd name="connsiteX14" fmla="*/ 154397 w 1394458"/>
                <a:gd name="connsiteY14" fmla="*/ 25185 h 273890"/>
                <a:gd name="connsiteX15" fmla="*/ 186702 w 1394458"/>
                <a:gd name="connsiteY15" fmla="*/ 55924 h 273890"/>
                <a:gd name="connsiteX16" fmla="*/ 200943 w 1394458"/>
                <a:gd name="connsiteY16" fmla="*/ 100905 h 273890"/>
                <a:gd name="connsiteX17" fmla="*/ 157524 w 1394458"/>
                <a:gd name="connsiteY17" fmla="*/ 100905 h 273890"/>
                <a:gd name="connsiteX18" fmla="*/ 149883 w 1394458"/>
                <a:gd name="connsiteY18" fmla="*/ 72943 h 273890"/>
                <a:gd name="connsiteX19" fmla="*/ 132865 w 1394458"/>
                <a:gd name="connsiteY19" fmla="*/ 55229 h 273890"/>
                <a:gd name="connsiteX20" fmla="*/ 103341 w 1394458"/>
                <a:gd name="connsiteY20" fmla="*/ 48974 h 273890"/>
                <a:gd name="connsiteX21" fmla="*/ 77291 w 1394458"/>
                <a:gd name="connsiteY21" fmla="*/ 54533 h 273890"/>
                <a:gd name="connsiteX22" fmla="*/ 58706 w 1394458"/>
                <a:gd name="connsiteY22" fmla="*/ 70861 h 273890"/>
                <a:gd name="connsiteX23" fmla="*/ 47417 w 1394458"/>
                <a:gd name="connsiteY23" fmla="*/ 97432 h 273890"/>
                <a:gd name="connsiteX24" fmla="*/ 43769 w 1394458"/>
                <a:gd name="connsiteY24" fmla="*/ 133210 h 273890"/>
                <a:gd name="connsiteX25" fmla="*/ 43769 w 1394458"/>
                <a:gd name="connsiteY25" fmla="*/ 154572 h 273890"/>
                <a:gd name="connsiteX26" fmla="*/ 47067 w 1394458"/>
                <a:gd name="connsiteY26" fmla="*/ 189304 h 273890"/>
                <a:gd name="connsiteX27" fmla="*/ 57490 w 1394458"/>
                <a:gd name="connsiteY27" fmla="*/ 215875 h 273890"/>
                <a:gd name="connsiteX28" fmla="*/ 75550 w 1394458"/>
                <a:gd name="connsiteY28" fmla="*/ 233069 h 273890"/>
                <a:gd name="connsiteX29" fmla="*/ 101775 w 1394458"/>
                <a:gd name="connsiteY29" fmla="*/ 239149 h 273890"/>
                <a:gd name="connsiteX30" fmla="*/ 131824 w 1394458"/>
                <a:gd name="connsiteY30" fmla="*/ 233244 h 273890"/>
                <a:gd name="connsiteX31" fmla="*/ 149363 w 1394458"/>
                <a:gd name="connsiteY31" fmla="*/ 216050 h 273890"/>
                <a:gd name="connsiteX32" fmla="*/ 157354 w 1394458"/>
                <a:gd name="connsiteY32" fmla="*/ 188088 h 273890"/>
                <a:gd name="connsiteX33" fmla="*/ 313837 w 1394458"/>
                <a:gd name="connsiteY33" fmla="*/ 270418 h 273890"/>
                <a:gd name="connsiteX34" fmla="*/ 259825 w 1394458"/>
                <a:gd name="connsiteY34" fmla="*/ 270418 h 273890"/>
                <a:gd name="connsiteX35" fmla="*/ 260170 w 1394458"/>
                <a:gd name="connsiteY35" fmla="*/ 235856 h 273890"/>
                <a:gd name="connsiteX36" fmla="*/ 313837 w 1394458"/>
                <a:gd name="connsiteY36" fmla="*/ 235856 h 273890"/>
                <a:gd name="connsiteX37" fmla="*/ 353088 w 1394458"/>
                <a:gd name="connsiteY37" fmla="*/ 225608 h 273890"/>
                <a:gd name="connsiteX38" fmla="*/ 377057 w 1394458"/>
                <a:gd name="connsiteY38" fmla="*/ 196255 h 273890"/>
                <a:gd name="connsiteX39" fmla="*/ 385218 w 1394458"/>
                <a:gd name="connsiteY39" fmla="*/ 150754 h 273890"/>
                <a:gd name="connsiteX40" fmla="*/ 385218 w 1394458"/>
                <a:gd name="connsiteY40" fmla="*/ 137033 h 273890"/>
                <a:gd name="connsiteX41" fmla="*/ 380530 w 1394458"/>
                <a:gd name="connsiteY41" fmla="*/ 100734 h 273890"/>
                <a:gd name="connsiteX42" fmla="*/ 366984 w 1394458"/>
                <a:gd name="connsiteY42" fmla="*/ 74163 h 273890"/>
                <a:gd name="connsiteX43" fmla="*/ 345102 w 1394458"/>
                <a:gd name="connsiteY43" fmla="*/ 57840 h 273890"/>
                <a:gd name="connsiteX44" fmla="*/ 315403 w 1394458"/>
                <a:gd name="connsiteY44" fmla="*/ 52281 h 273890"/>
                <a:gd name="connsiteX45" fmla="*/ 258784 w 1394458"/>
                <a:gd name="connsiteY45" fmla="*/ 52281 h 273890"/>
                <a:gd name="connsiteX46" fmla="*/ 258784 w 1394458"/>
                <a:gd name="connsiteY46" fmla="*/ 17544 h 273890"/>
                <a:gd name="connsiteX47" fmla="*/ 315403 w 1394458"/>
                <a:gd name="connsiteY47" fmla="*/ 17544 h 273890"/>
                <a:gd name="connsiteX48" fmla="*/ 361429 w 1394458"/>
                <a:gd name="connsiteY48" fmla="*/ 26055 h 273890"/>
                <a:gd name="connsiteX49" fmla="*/ 397383 w 1394458"/>
                <a:gd name="connsiteY49" fmla="*/ 50195 h 273890"/>
                <a:gd name="connsiteX50" fmla="*/ 420826 w 1394458"/>
                <a:gd name="connsiteY50" fmla="*/ 88054 h 273890"/>
                <a:gd name="connsiteX51" fmla="*/ 428988 w 1394458"/>
                <a:gd name="connsiteY51" fmla="*/ 137378 h 273890"/>
                <a:gd name="connsiteX52" fmla="*/ 428988 w 1394458"/>
                <a:gd name="connsiteY52" fmla="*/ 150754 h 273890"/>
                <a:gd name="connsiteX53" fmla="*/ 420826 w 1394458"/>
                <a:gd name="connsiteY53" fmla="*/ 200078 h 273890"/>
                <a:gd name="connsiteX54" fmla="*/ 397383 w 1394458"/>
                <a:gd name="connsiteY54" fmla="*/ 237938 h 273890"/>
                <a:gd name="connsiteX55" fmla="*/ 360909 w 1394458"/>
                <a:gd name="connsiteY55" fmla="*/ 262077 h 273890"/>
                <a:gd name="connsiteX56" fmla="*/ 313842 w 1394458"/>
                <a:gd name="connsiteY56" fmla="*/ 270413 h 273890"/>
                <a:gd name="connsiteX57" fmla="*/ 283964 w 1394458"/>
                <a:gd name="connsiteY57" fmla="*/ 17544 h 273890"/>
                <a:gd name="connsiteX58" fmla="*/ 283964 w 1394458"/>
                <a:gd name="connsiteY58" fmla="*/ 270418 h 273890"/>
                <a:gd name="connsiteX59" fmla="*/ 240369 w 1394458"/>
                <a:gd name="connsiteY59" fmla="*/ 270418 h 273890"/>
                <a:gd name="connsiteX60" fmla="*/ 240369 w 1394458"/>
                <a:gd name="connsiteY60" fmla="*/ 17544 h 273890"/>
                <a:gd name="connsiteX61" fmla="*/ 283964 w 1394458"/>
                <a:gd name="connsiteY61" fmla="*/ 17544 h 273890"/>
                <a:gd name="connsiteX62" fmla="*/ 519299 w 1394458"/>
                <a:gd name="connsiteY62" fmla="*/ 17544 h 273890"/>
                <a:gd name="connsiteX63" fmla="*/ 519299 w 1394458"/>
                <a:gd name="connsiteY63" fmla="*/ 270418 h 273890"/>
                <a:gd name="connsiteX64" fmla="*/ 475705 w 1394458"/>
                <a:gd name="connsiteY64" fmla="*/ 270418 h 273890"/>
                <a:gd name="connsiteX65" fmla="*/ 475705 w 1394458"/>
                <a:gd name="connsiteY65" fmla="*/ 17544 h 273890"/>
                <a:gd name="connsiteX66" fmla="*/ 519299 w 1394458"/>
                <a:gd name="connsiteY66" fmla="*/ 17544 h 273890"/>
                <a:gd name="connsiteX67" fmla="*/ 811424 w 1394458"/>
                <a:gd name="connsiteY67" fmla="*/ 188093 h 273890"/>
                <a:gd name="connsiteX68" fmla="*/ 854843 w 1394458"/>
                <a:gd name="connsiteY68" fmla="*/ 188093 h 273890"/>
                <a:gd name="connsiteX69" fmla="*/ 840947 w 1394458"/>
                <a:gd name="connsiteY69" fmla="*/ 232383 h 273890"/>
                <a:gd name="connsiteX70" fmla="*/ 807776 w 1394458"/>
                <a:gd name="connsiteY70" fmla="*/ 262777 h 273890"/>
                <a:gd name="connsiteX71" fmla="*/ 755845 w 1394458"/>
                <a:gd name="connsiteY71" fmla="*/ 273891 h 273890"/>
                <a:gd name="connsiteX72" fmla="*/ 713642 w 1394458"/>
                <a:gd name="connsiteY72" fmla="*/ 265554 h 273890"/>
                <a:gd name="connsiteX73" fmla="*/ 681512 w 1394458"/>
                <a:gd name="connsiteY73" fmla="*/ 241585 h 273890"/>
                <a:gd name="connsiteX74" fmla="*/ 661021 w 1394458"/>
                <a:gd name="connsiteY74" fmla="*/ 203896 h 273890"/>
                <a:gd name="connsiteX75" fmla="*/ 654075 w 1394458"/>
                <a:gd name="connsiteY75" fmla="*/ 154572 h 273890"/>
                <a:gd name="connsiteX76" fmla="*/ 654075 w 1394458"/>
                <a:gd name="connsiteY76" fmla="*/ 133555 h 273890"/>
                <a:gd name="connsiteX77" fmla="*/ 661196 w 1394458"/>
                <a:gd name="connsiteY77" fmla="*/ 84231 h 273890"/>
                <a:gd name="connsiteX78" fmla="*/ 682037 w 1394458"/>
                <a:gd name="connsiteY78" fmla="*/ 46547 h 273890"/>
                <a:gd name="connsiteX79" fmla="*/ 714513 w 1394458"/>
                <a:gd name="connsiteY79" fmla="*/ 22403 h 273890"/>
                <a:gd name="connsiteX80" fmla="*/ 757411 w 1394458"/>
                <a:gd name="connsiteY80" fmla="*/ 14066 h 273890"/>
                <a:gd name="connsiteX81" fmla="*/ 808472 w 1394458"/>
                <a:gd name="connsiteY81" fmla="*/ 25180 h 273890"/>
                <a:gd name="connsiteX82" fmla="*/ 840777 w 1394458"/>
                <a:gd name="connsiteY82" fmla="*/ 55919 h 273890"/>
                <a:gd name="connsiteX83" fmla="*/ 855018 w 1394458"/>
                <a:gd name="connsiteY83" fmla="*/ 100900 h 273890"/>
                <a:gd name="connsiteX84" fmla="*/ 811599 w 1394458"/>
                <a:gd name="connsiteY84" fmla="*/ 100900 h 273890"/>
                <a:gd name="connsiteX85" fmla="*/ 803958 w 1394458"/>
                <a:gd name="connsiteY85" fmla="*/ 72938 h 273890"/>
                <a:gd name="connsiteX86" fmla="*/ 786940 w 1394458"/>
                <a:gd name="connsiteY86" fmla="*/ 55224 h 273890"/>
                <a:gd name="connsiteX87" fmla="*/ 757416 w 1394458"/>
                <a:gd name="connsiteY87" fmla="*/ 48969 h 273890"/>
                <a:gd name="connsiteX88" fmla="*/ 731366 w 1394458"/>
                <a:gd name="connsiteY88" fmla="*/ 54528 h 273890"/>
                <a:gd name="connsiteX89" fmla="*/ 712781 w 1394458"/>
                <a:gd name="connsiteY89" fmla="*/ 70856 h 273890"/>
                <a:gd name="connsiteX90" fmla="*/ 701492 w 1394458"/>
                <a:gd name="connsiteY90" fmla="*/ 97427 h 273890"/>
                <a:gd name="connsiteX91" fmla="*/ 697844 w 1394458"/>
                <a:gd name="connsiteY91" fmla="*/ 133205 h 273890"/>
                <a:gd name="connsiteX92" fmla="*/ 697844 w 1394458"/>
                <a:gd name="connsiteY92" fmla="*/ 154567 h 273890"/>
                <a:gd name="connsiteX93" fmla="*/ 701142 w 1394458"/>
                <a:gd name="connsiteY93" fmla="*/ 189299 h 273890"/>
                <a:gd name="connsiteX94" fmla="*/ 711565 w 1394458"/>
                <a:gd name="connsiteY94" fmla="*/ 215870 h 273890"/>
                <a:gd name="connsiteX95" fmla="*/ 729629 w 1394458"/>
                <a:gd name="connsiteY95" fmla="*/ 233064 h 273890"/>
                <a:gd name="connsiteX96" fmla="*/ 755855 w 1394458"/>
                <a:gd name="connsiteY96" fmla="*/ 239144 h 273890"/>
                <a:gd name="connsiteX97" fmla="*/ 785904 w 1394458"/>
                <a:gd name="connsiteY97" fmla="*/ 233239 h 273890"/>
                <a:gd name="connsiteX98" fmla="*/ 803443 w 1394458"/>
                <a:gd name="connsiteY98" fmla="*/ 216046 h 273890"/>
                <a:gd name="connsiteX99" fmla="*/ 811434 w 1394458"/>
                <a:gd name="connsiteY99" fmla="*/ 188084 h 273890"/>
                <a:gd name="connsiteX100" fmla="*/ 882285 w 1394458"/>
                <a:gd name="connsiteY100" fmla="*/ 178541 h 273890"/>
                <a:gd name="connsiteX101" fmla="*/ 882285 w 1394458"/>
                <a:gd name="connsiteY101" fmla="*/ 174548 h 273890"/>
                <a:gd name="connsiteX102" fmla="*/ 888190 w 1394458"/>
                <a:gd name="connsiteY102" fmla="*/ 136858 h 273890"/>
                <a:gd name="connsiteX103" fmla="*/ 905208 w 1394458"/>
                <a:gd name="connsiteY103" fmla="*/ 106464 h 273890"/>
                <a:gd name="connsiteX104" fmla="*/ 932650 w 1394458"/>
                <a:gd name="connsiteY104" fmla="*/ 86318 h 273890"/>
                <a:gd name="connsiteX105" fmla="*/ 969469 w 1394458"/>
                <a:gd name="connsiteY105" fmla="*/ 79022 h 273890"/>
                <a:gd name="connsiteX106" fmla="*/ 1006288 w 1394458"/>
                <a:gd name="connsiteY106" fmla="*/ 86318 h 273890"/>
                <a:gd name="connsiteX107" fmla="*/ 1033899 w 1394458"/>
                <a:gd name="connsiteY107" fmla="*/ 106464 h 273890"/>
                <a:gd name="connsiteX108" fmla="*/ 1051093 w 1394458"/>
                <a:gd name="connsiteY108" fmla="*/ 136858 h 273890"/>
                <a:gd name="connsiteX109" fmla="*/ 1056998 w 1394458"/>
                <a:gd name="connsiteY109" fmla="*/ 174548 h 273890"/>
                <a:gd name="connsiteX110" fmla="*/ 1056998 w 1394458"/>
                <a:gd name="connsiteY110" fmla="*/ 178541 h 273890"/>
                <a:gd name="connsiteX111" fmla="*/ 1051093 w 1394458"/>
                <a:gd name="connsiteY111" fmla="*/ 216230 h 273890"/>
                <a:gd name="connsiteX112" fmla="*/ 1033899 w 1394458"/>
                <a:gd name="connsiteY112" fmla="*/ 246624 h 273890"/>
                <a:gd name="connsiteX113" fmla="*/ 1006458 w 1394458"/>
                <a:gd name="connsiteY113" fmla="*/ 266770 h 273890"/>
                <a:gd name="connsiteX114" fmla="*/ 969814 w 1394458"/>
                <a:gd name="connsiteY114" fmla="*/ 273891 h 273890"/>
                <a:gd name="connsiteX115" fmla="*/ 932820 w 1394458"/>
                <a:gd name="connsiteY115" fmla="*/ 266770 h 273890"/>
                <a:gd name="connsiteX116" fmla="*/ 905378 w 1394458"/>
                <a:gd name="connsiteY116" fmla="*/ 246624 h 273890"/>
                <a:gd name="connsiteX117" fmla="*/ 888185 w 1394458"/>
                <a:gd name="connsiteY117" fmla="*/ 216230 h 273890"/>
                <a:gd name="connsiteX118" fmla="*/ 882280 w 1394458"/>
                <a:gd name="connsiteY118" fmla="*/ 178541 h 273890"/>
                <a:gd name="connsiteX119" fmla="*/ 924143 w 1394458"/>
                <a:gd name="connsiteY119" fmla="*/ 174548 h 273890"/>
                <a:gd name="connsiteX120" fmla="*/ 924143 w 1394458"/>
                <a:gd name="connsiteY120" fmla="*/ 178541 h 273890"/>
                <a:gd name="connsiteX121" fmla="*/ 926750 w 1394458"/>
                <a:gd name="connsiteY121" fmla="*/ 202510 h 273890"/>
                <a:gd name="connsiteX122" fmla="*/ 934911 w 1394458"/>
                <a:gd name="connsiteY122" fmla="*/ 222310 h 273890"/>
                <a:gd name="connsiteX123" fmla="*/ 949152 w 1394458"/>
                <a:gd name="connsiteY123" fmla="*/ 235681 h 273890"/>
                <a:gd name="connsiteX124" fmla="*/ 969819 w 1394458"/>
                <a:gd name="connsiteY124" fmla="*/ 240545 h 273890"/>
                <a:gd name="connsiteX125" fmla="*/ 989965 w 1394458"/>
                <a:gd name="connsiteY125" fmla="*/ 235681 h 273890"/>
                <a:gd name="connsiteX126" fmla="*/ 1004206 w 1394458"/>
                <a:gd name="connsiteY126" fmla="*/ 222310 h 273890"/>
                <a:gd name="connsiteX127" fmla="*/ 1012367 w 1394458"/>
                <a:gd name="connsiteY127" fmla="*/ 202510 h 273890"/>
                <a:gd name="connsiteX128" fmla="*/ 1015145 w 1394458"/>
                <a:gd name="connsiteY128" fmla="*/ 178541 h 273890"/>
                <a:gd name="connsiteX129" fmla="*/ 1015145 w 1394458"/>
                <a:gd name="connsiteY129" fmla="*/ 174548 h 273890"/>
                <a:gd name="connsiteX130" fmla="*/ 1012367 w 1394458"/>
                <a:gd name="connsiteY130" fmla="*/ 150929 h 273890"/>
                <a:gd name="connsiteX131" fmla="*/ 1004031 w 1394458"/>
                <a:gd name="connsiteY131" fmla="*/ 130958 h 273890"/>
                <a:gd name="connsiteX132" fmla="*/ 989790 w 1394458"/>
                <a:gd name="connsiteY132" fmla="*/ 117412 h 273890"/>
                <a:gd name="connsiteX133" fmla="*/ 969469 w 1394458"/>
                <a:gd name="connsiteY133" fmla="*/ 112378 h 273890"/>
                <a:gd name="connsiteX134" fmla="*/ 948977 w 1394458"/>
                <a:gd name="connsiteY134" fmla="*/ 117412 h 273890"/>
                <a:gd name="connsiteX135" fmla="*/ 934911 w 1394458"/>
                <a:gd name="connsiteY135" fmla="*/ 130958 h 273890"/>
                <a:gd name="connsiteX136" fmla="*/ 926750 w 1394458"/>
                <a:gd name="connsiteY136" fmla="*/ 150929 h 273890"/>
                <a:gd name="connsiteX137" fmla="*/ 924143 w 1394458"/>
                <a:gd name="connsiteY137" fmla="*/ 174548 h 273890"/>
                <a:gd name="connsiteX138" fmla="*/ 1133598 w 1394458"/>
                <a:gd name="connsiteY138" fmla="*/ 122617 h 273890"/>
                <a:gd name="connsiteX139" fmla="*/ 1133598 w 1394458"/>
                <a:gd name="connsiteY139" fmla="*/ 270418 h 273890"/>
                <a:gd name="connsiteX140" fmla="*/ 1091745 w 1394458"/>
                <a:gd name="connsiteY140" fmla="*/ 270418 h 273890"/>
                <a:gd name="connsiteX141" fmla="*/ 1091745 w 1394458"/>
                <a:gd name="connsiteY141" fmla="*/ 82495 h 273890"/>
                <a:gd name="connsiteX142" fmla="*/ 1131171 w 1394458"/>
                <a:gd name="connsiteY142" fmla="*/ 82495 h 273890"/>
                <a:gd name="connsiteX143" fmla="*/ 1133603 w 1394458"/>
                <a:gd name="connsiteY143" fmla="*/ 122617 h 273890"/>
                <a:gd name="connsiteX144" fmla="*/ 1126132 w 1394458"/>
                <a:gd name="connsiteY144" fmla="*/ 169509 h 273890"/>
                <a:gd name="connsiteX145" fmla="*/ 1112586 w 1394458"/>
                <a:gd name="connsiteY145" fmla="*/ 169334 h 273890"/>
                <a:gd name="connsiteX146" fmla="*/ 1118145 w 1394458"/>
                <a:gd name="connsiteY146" fmla="*/ 132690 h 273890"/>
                <a:gd name="connsiteX147" fmla="*/ 1133428 w 1394458"/>
                <a:gd name="connsiteY147" fmla="*/ 104032 h 273890"/>
                <a:gd name="connsiteX148" fmla="*/ 1157046 w 1394458"/>
                <a:gd name="connsiteY148" fmla="*/ 85623 h 273890"/>
                <a:gd name="connsiteX149" fmla="*/ 1187615 w 1394458"/>
                <a:gd name="connsiteY149" fmla="*/ 79022 h 273890"/>
                <a:gd name="connsiteX150" fmla="*/ 1212105 w 1394458"/>
                <a:gd name="connsiteY150" fmla="*/ 82840 h 273890"/>
                <a:gd name="connsiteX151" fmla="*/ 1231034 w 1394458"/>
                <a:gd name="connsiteY151" fmla="*/ 94825 h 273890"/>
                <a:gd name="connsiteX152" fmla="*/ 1243189 w 1394458"/>
                <a:gd name="connsiteY152" fmla="*/ 116532 h 273890"/>
                <a:gd name="connsiteX153" fmla="*/ 1247357 w 1394458"/>
                <a:gd name="connsiteY153" fmla="*/ 149013 h 273890"/>
                <a:gd name="connsiteX154" fmla="*/ 1247357 w 1394458"/>
                <a:gd name="connsiteY154" fmla="*/ 270413 h 273890"/>
                <a:gd name="connsiteX155" fmla="*/ 1205329 w 1394458"/>
                <a:gd name="connsiteY155" fmla="*/ 270413 h 273890"/>
                <a:gd name="connsiteX156" fmla="*/ 1205329 w 1394458"/>
                <a:gd name="connsiteY156" fmla="*/ 148837 h 273890"/>
                <a:gd name="connsiteX157" fmla="*/ 1201336 w 1394458"/>
                <a:gd name="connsiteY157" fmla="*/ 127476 h 273890"/>
                <a:gd name="connsiteX158" fmla="*/ 1190047 w 1394458"/>
                <a:gd name="connsiteY158" fmla="*/ 116187 h 273890"/>
                <a:gd name="connsiteX159" fmla="*/ 1171813 w 1394458"/>
                <a:gd name="connsiteY159" fmla="*/ 112714 h 273890"/>
                <a:gd name="connsiteX160" fmla="*/ 1152533 w 1394458"/>
                <a:gd name="connsiteY160" fmla="*/ 117228 h 273890"/>
                <a:gd name="connsiteX161" fmla="*/ 1138116 w 1394458"/>
                <a:gd name="connsiteY161" fmla="*/ 129557 h 273890"/>
                <a:gd name="connsiteX162" fmla="*/ 1129259 w 1394458"/>
                <a:gd name="connsiteY162" fmla="*/ 147621 h 273890"/>
                <a:gd name="connsiteX163" fmla="*/ 1126132 w 1394458"/>
                <a:gd name="connsiteY163" fmla="*/ 169504 h 273890"/>
                <a:gd name="connsiteX164" fmla="*/ 1346701 w 1394458"/>
                <a:gd name="connsiteY164" fmla="*/ 270418 h 273890"/>
                <a:gd name="connsiteX165" fmla="*/ 1304843 w 1394458"/>
                <a:gd name="connsiteY165" fmla="*/ 270418 h 273890"/>
                <a:gd name="connsiteX166" fmla="*/ 1304843 w 1394458"/>
                <a:gd name="connsiteY166" fmla="*/ 64436 h 273890"/>
                <a:gd name="connsiteX167" fmla="*/ 1312659 w 1394458"/>
                <a:gd name="connsiteY167" fmla="*/ 29178 h 273890"/>
                <a:gd name="connsiteX168" fmla="*/ 1335412 w 1394458"/>
                <a:gd name="connsiteY168" fmla="*/ 7471 h 273890"/>
                <a:gd name="connsiteX169" fmla="*/ 1370319 w 1394458"/>
                <a:gd name="connsiteY169" fmla="*/ 0 h 273890"/>
                <a:gd name="connsiteX170" fmla="*/ 1382649 w 1394458"/>
                <a:gd name="connsiteY170" fmla="*/ 871 h 273890"/>
                <a:gd name="connsiteX171" fmla="*/ 1394458 w 1394458"/>
                <a:gd name="connsiteY171" fmla="*/ 3127 h 273890"/>
                <a:gd name="connsiteX172" fmla="*/ 1393418 w 1394458"/>
                <a:gd name="connsiteY172" fmla="*/ 35433 h 273890"/>
                <a:gd name="connsiteX173" fmla="*/ 1385776 w 1394458"/>
                <a:gd name="connsiteY173" fmla="*/ 34217 h 273890"/>
                <a:gd name="connsiteX174" fmla="*/ 1377095 w 1394458"/>
                <a:gd name="connsiteY174" fmla="*/ 33872 h 273890"/>
                <a:gd name="connsiteX175" fmla="*/ 1360596 w 1394458"/>
                <a:gd name="connsiteY175" fmla="*/ 37519 h 273890"/>
                <a:gd name="connsiteX176" fmla="*/ 1350178 w 1394458"/>
                <a:gd name="connsiteY176" fmla="*/ 47767 h 273890"/>
                <a:gd name="connsiteX177" fmla="*/ 1346706 w 1394458"/>
                <a:gd name="connsiteY177" fmla="*/ 64441 h 273890"/>
                <a:gd name="connsiteX178" fmla="*/ 1346706 w 1394458"/>
                <a:gd name="connsiteY178" fmla="*/ 270423 h 273890"/>
                <a:gd name="connsiteX179" fmla="*/ 1385431 w 1394458"/>
                <a:gd name="connsiteY179" fmla="*/ 82500 h 273890"/>
                <a:gd name="connsiteX180" fmla="*/ 1385431 w 1394458"/>
                <a:gd name="connsiteY180" fmla="*/ 113069 h 273890"/>
                <a:gd name="connsiteX181" fmla="*/ 1276015 w 1394458"/>
                <a:gd name="connsiteY181" fmla="*/ 113069 h 273890"/>
                <a:gd name="connsiteX182" fmla="*/ 1276015 w 1394458"/>
                <a:gd name="connsiteY182" fmla="*/ 82500 h 273890"/>
                <a:gd name="connsiteX183" fmla="*/ 1385431 w 1394458"/>
                <a:gd name="connsiteY183" fmla="*/ 82500 h 2738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</a:cxnLst>
              <a:rect l="l" t="t" r="r" b="b"/>
              <a:pathLst>
                <a:path w="1394458" h="273890">
                  <a:moveTo>
                    <a:pt x="157354" y="188093"/>
                  </a:moveTo>
                  <a:lnTo>
                    <a:pt x="200773" y="188093"/>
                  </a:lnTo>
                  <a:cubicBezTo>
                    <a:pt x="199382" y="204650"/>
                    <a:pt x="194752" y="219411"/>
                    <a:pt x="186877" y="232383"/>
                  </a:cubicBezTo>
                  <a:cubicBezTo>
                    <a:pt x="179003" y="245233"/>
                    <a:pt x="167947" y="255365"/>
                    <a:pt x="153706" y="262777"/>
                  </a:cubicBezTo>
                  <a:cubicBezTo>
                    <a:pt x="139465" y="270185"/>
                    <a:pt x="122155" y="273891"/>
                    <a:pt x="101775" y="273891"/>
                  </a:cubicBezTo>
                  <a:cubicBezTo>
                    <a:pt x="86143" y="273891"/>
                    <a:pt x="72077" y="271114"/>
                    <a:pt x="59572" y="265554"/>
                  </a:cubicBezTo>
                  <a:cubicBezTo>
                    <a:pt x="47067" y="259878"/>
                    <a:pt x="36357" y="251892"/>
                    <a:pt x="27442" y="241585"/>
                  </a:cubicBezTo>
                  <a:cubicBezTo>
                    <a:pt x="18526" y="231162"/>
                    <a:pt x="11697" y="218604"/>
                    <a:pt x="6950" y="203896"/>
                  </a:cubicBezTo>
                  <a:cubicBezTo>
                    <a:pt x="2315" y="189192"/>
                    <a:pt x="0" y="172753"/>
                    <a:pt x="0" y="154577"/>
                  </a:cubicBezTo>
                  <a:lnTo>
                    <a:pt x="0" y="133560"/>
                  </a:lnTo>
                  <a:cubicBezTo>
                    <a:pt x="0" y="115379"/>
                    <a:pt x="2374" y="98940"/>
                    <a:pt x="7121" y="84236"/>
                  </a:cubicBezTo>
                  <a:cubicBezTo>
                    <a:pt x="11984" y="69533"/>
                    <a:pt x="18930" y="56970"/>
                    <a:pt x="27962" y="46552"/>
                  </a:cubicBezTo>
                  <a:cubicBezTo>
                    <a:pt x="36994" y="36017"/>
                    <a:pt x="47816" y="27967"/>
                    <a:pt x="60438" y="22408"/>
                  </a:cubicBezTo>
                  <a:cubicBezTo>
                    <a:pt x="73171" y="16848"/>
                    <a:pt x="87471" y="14071"/>
                    <a:pt x="103336" y="14071"/>
                  </a:cubicBezTo>
                  <a:cubicBezTo>
                    <a:pt x="123482" y="14071"/>
                    <a:pt x="140506" y="17777"/>
                    <a:pt x="154397" y="25185"/>
                  </a:cubicBezTo>
                  <a:cubicBezTo>
                    <a:pt x="168293" y="32597"/>
                    <a:pt x="179056" y="42840"/>
                    <a:pt x="186702" y="55924"/>
                  </a:cubicBezTo>
                  <a:cubicBezTo>
                    <a:pt x="194460" y="69008"/>
                    <a:pt x="199207" y="84003"/>
                    <a:pt x="200943" y="100905"/>
                  </a:cubicBezTo>
                  <a:lnTo>
                    <a:pt x="157524" y="100905"/>
                  </a:lnTo>
                  <a:cubicBezTo>
                    <a:pt x="156367" y="90019"/>
                    <a:pt x="153818" y="80700"/>
                    <a:pt x="149883" y="72943"/>
                  </a:cubicBezTo>
                  <a:cubicBezTo>
                    <a:pt x="146065" y="65185"/>
                    <a:pt x="140389" y="59280"/>
                    <a:pt x="132865" y="55229"/>
                  </a:cubicBezTo>
                  <a:cubicBezTo>
                    <a:pt x="125340" y="51060"/>
                    <a:pt x="115496" y="48974"/>
                    <a:pt x="103341" y="48974"/>
                  </a:cubicBezTo>
                  <a:cubicBezTo>
                    <a:pt x="93385" y="48974"/>
                    <a:pt x="84698" y="50827"/>
                    <a:pt x="77291" y="54533"/>
                  </a:cubicBezTo>
                  <a:cubicBezTo>
                    <a:pt x="69878" y="58239"/>
                    <a:pt x="63687" y="63682"/>
                    <a:pt x="58706" y="70861"/>
                  </a:cubicBezTo>
                  <a:cubicBezTo>
                    <a:pt x="53730" y="78040"/>
                    <a:pt x="49966" y="86897"/>
                    <a:pt x="47417" y="97432"/>
                  </a:cubicBezTo>
                  <a:cubicBezTo>
                    <a:pt x="44985" y="107850"/>
                    <a:pt x="43769" y="119776"/>
                    <a:pt x="43769" y="133210"/>
                  </a:cubicBezTo>
                  <a:lnTo>
                    <a:pt x="43769" y="154572"/>
                  </a:lnTo>
                  <a:cubicBezTo>
                    <a:pt x="43769" y="167305"/>
                    <a:pt x="44869" y="178886"/>
                    <a:pt x="47067" y="189304"/>
                  </a:cubicBezTo>
                  <a:cubicBezTo>
                    <a:pt x="49382" y="199611"/>
                    <a:pt x="52855" y="208468"/>
                    <a:pt x="57490" y="215875"/>
                  </a:cubicBezTo>
                  <a:cubicBezTo>
                    <a:pt x="62237" y="223288"/>
                    <a:pt x="68259" y="229017"/>
                    <a:pt x="75550" y="233069"/>
                  </a:cubicBezTo>
                  <a:cubicBezTo>
                    <a:pt x="82845" y="237120"/>
                    <a:pt x="91585" y="239149"/>
                    <a:pt x="101775" y="239149"/>
                  </a:cubicBezTo>
                  <a:cubicBezTo>
                    <a:pt x="114163" y="239149"/>
                    <a:pt x="124178" y="237179"/>
                    <a:pt x="131824" y="233244"/>
                  </a:cubicBezTo>
                  <a:cubicBezTo>
                    <a:pt x="139582" y="229309"/>
                    <a:pt x="145428" y="223575"/>
                    <a:pt x="149363" y="216050"/>
                  </a:cubicBezTo>
                  <a:cubicBezTo>
                    <a:pt x="153414" y="208409"/>
                    <a:pt x="156080" y="199090"/>
                    <a:pt x="157354" y="188088"/>
                  </a:cubicBezTo>
                  <a:close/>
                  <a:moveTo>
                    <a:pt x="313837" y="270418"/>
                  </a:moveTo>
                  <a:lnTo>
                    <a:pt x="259825" y="270418"/>
                  </a:lnTo>
                  <a:lnTo>
                    <a:pt x="260170" y="235856"/>
                  </a:lnTo>
                  <a:lnTo>
                    <a:pt x="313837" y="235856"/>
                  </a:lnTo>
                  <a:cubicBezTo>
                    <a:pt x="329469" y="235856"/>
                    <a:pt x="342553" y="232441"/>
                    <a:pt x="353088" y="225608"/>
                  </a:cubicBezTo>
                  <a:cubicBezTo>
                    <a:pt x="363740" y="218779"/>
                    <a:pt x="371731" y="208993"/>
                    <a:pt x="377057" y="196255"/>
                  </a:cubicBezTo>
                  <a:cubicBezTo>
                    <a:pt x="382499" y="183521"/>
                    <a:pt x="385218" y="168351"/>
                    <a:pt x="385218" y="150754"/>
                  </a:cubicBezTo>
                  <a:lnTo>
                    <a:pt x="385218" y="137033"/>
                  </a:lnTo>
                  <a:cubicBezTo>
                    <a:pt x="385218" y="123371"/>
                    <a:pt x="383657" y="111269"/>
                    <a:pt x="380530" y="100734"/>
                  </a:cubicBezTo>
                  <a:cubicBezTo>
                    <a:pt x="377519" y="90199"/>
                    <a:pt x="373005" y="81342"/>
                    <a:pt x="366984" y="74163"/>
                  </a:cubicBezTo>
                  <a:cubicBezTo>
                    <a:pt x="361079" y="66984"/>
                    <a:pt x="353784" y="61542"/>
                    <a:pt x="345102" y="57840"/>
                  </a:cubicBezTo>
                  <a:cubicBezTo>
                    <a:pt x="336532" y="54134"/>
                    <a:pt x="326634" y="52281"/>
                    <a:pt x="315403" y="52281"/>
                  </a:cubicBezTo>
                  <a:lnTo>
                    <a:pt x="258784" y="52281"/>
                  </a:lnTo>
                  <a:lnTo>
                    <a:pt x="258784" y="17544"/>
                  </a:lnTo>
                  <a:lnTo>
                    <a:pt x="315403" y="17544"/>
                  </a:lnTo>
                  <a:cubicBezTo>
                    <a:pt x="332193" y="17544"/>
                    <a:pt x="347534" y="20379"/>
                    <a:pt x="361429" y="26055"/>
                  </a:cubicBezTo>
                  <a:cubicBezTo>
                    <a:pt x="375325" y="31615"/>
                    <a:pt x="387310" y="39660"/>
                    <a:pt x="397383" y="50195"/>
                  </a:cubicBezTo>
                  <a:cubicBezTo>
                    <a:pt x="407572" y="60730"/>
                    <a:pt x="415389" y="73351"/>
                    <a:pt x="420826" y="88054"/>
                  </a:cubicBezTo>
                  <a:cubicBezTo>
                    <a:pt x="426269" y="102758"/>
                    <a:pt x="428988" y="119202"/>
                    <a:pt x="428988" y="137378"/>
                  </a:cubicBezTo>
                  <a:lnTo>
                    <a:pt x="428988" y="150754"/>
                  </a:lnTo>
                  <a:cubicBezTo>
                    <a:pt x="428988" y="168930"/>
                    <a:pt x="426269" y="185374"/>
                    <a:pt x="420826" y="200078"/>
                  </a:cubicBezTo>
                  <a:cubicBezTo>
                    <a:pt x="415384" y="214781"/>
                    <a:pt x="407568" y="227403"/>
                    <a:pt x="397383" y="237938"/>
                  </a:cubicBezTo>
                  <a:cubicBezTo>
                    <a:pt x="387193" y="248356"/>
                    <a:pt x="375038" y="256405"/>
                    <a:pt x="360909" y="262077"/>
                  </a:cubicBezTo>
                  <a:cubicBezTo>
                    <a:pt x="346896" y="267636"/>
                    <a:pt x="331211" y="270413"/>
                    <a:pt x="313842" y="270413"/>
                  </a:cubicBezTo>
                  <a:close/>
                  <a:moveTo>
                    <a:pt x="283964" y="17544"/>
                  </a:moveTo>
                  <a:lnTo>
                    <a:pt x="283964" y="270418"/>
                  </a:lnTo>
                  <a:lnTo>
                    <a:pt x="240369" y="270418"/>
                  </a:lnTo>
                  <a:lnTo>
                    <a:pt x="240369" y="17544"/>
                  </a:lnTo>
                  <a:lnTo>
                    <a:pt x="283964" y="17544"/>
                  </a:lnTo>
                  <a:close/>
                  <a:moveTo>
                    <a:pt x="519299" y="17544"/>
                  </a:moveTo>
                  <a:lnTo>
                    <a:pt x="519299" y="270418"/>
                  </a:lnTo>
                  <a:lnTo>
                    <a:pt x="475705" y="270418"/>
                  </a:lnTo>
                  <a:lnTo>
                    <a:pt x="475705" y="17544"/>
                  </a:lnTo>
                  <a:lnTo>
                    <a:pt x="519299" y="17544"/>
                  </a:lnTo>
                  <a:close/>
                  <a:moveTo>
                    <a:pt x="811424" y="188093"/>
                  </a:moveTo>
                  <a:lnTo>
                    <a:pt x="854843" y="188093"/>
                  </a:lnTo>
                  <a:cubicBezTo>
                    <a:pt x="853452" y="204650"/>
                    <a:pt x="848822" y="219411"/>
                    <a:pt x="840947" y="232383"/>
                  </a:cubicBezTo>
                  <a:cubicBezTo>
                    <a:pt x="833073" y="245233"/>
                    <a:pt x="822017" y="255365"/>
                    <a:pt x="807776" y="262777"/>
                  </a:cubicBezTo>
                  <a:cubicBezTo>
                    <a:pt x="793535" y="270185"/>
                    <a:pt x="776225" y="273891"/>
                    <a:pt x="755845" y="273891"/>
                  </a:cubicBezTo>
                  <a:cubicBezTo>
                    <a:pt x="740213" y="273891"/>
                    <a:pt x="726147" y="271114"/>
                    <a:pt x="713642" y="265554"/>
                  </a:cubicBezTo>
                  <a:cubicBezTo>
                    <a:pt x="701137" y="259878"/>
                    <a:pt x="690427" y="251892"/>
                    <a:pt x="681512" y="241585"/>
                  </a:cubicBezTo>
                  <a:cubicBezTo>
                    <a:pt x="672596" y="231162"/>
                    <a:pt x="665768" y="218604"/>
                    <a:pt x="661021" y="203896"/>
                  </a:cubicBezTo>
                  <a:cubicBezTo>
                    <a:pt x="656390" y="189192"/>
                    <a:pt x="654075" y="172748"/>
                    <a:pt x="654075" y="154572"/>
                  </a:cubicBezTo>
                  <a:lnTo>
                    <a:pt x="654075" y="133555"/>
                  </a:lnTo>
                  <a:cubicBezTo>
                    <a:pt x="654075" y="115374"/>
                    <a:pt x="656449" y="98935"/>
                    <a:pt x="661196" y="84231"/>
                  </a:cubicBezTo>
                  <a:cubicBezTo>
                    <a:pt x="666059" y="69528"/>
                    <a:pt x="673005" y="56965"/>
                    <a:pt x="682037" y="46547"/>
                  </a:cubicBezTo>
                  <a:cubicBezTo>
                    <a:pt x="691069" y="36012"/>
                    <a:pt x="701891" y="27962"/>
                    <a:pt x="714513" y="22403"/>
                  </a:cubicBezTo>
                  <a:cubicBezTo>
                    <a:pt x="727246" y="16843"/>
                    <a:pt x="741546" y="14066"/>
                    <a:pt x="757411" y="14066"/>
                  </a:cubicBezTo>
                  <a:cubicBezTo>
                    <a:pt x="777557" y="14066"/>
                    <a:pt x="794581" y="17772"/>
                    <a:pt x="808472" y="25180"/>
                  </a:cubicBezTo>
                  <a:cubicBezTo>
                    <a:pt x="822368" y="32592"/>
                    <a:pt x="833131" y="42836"/>
                    <a:pt x="840777" y="55919"/>
                  </a:cubicBezTo>
                  <a:cubicBezTo>
                    <a:pt x="848535" y="69003"/>
                    <a:pt x="853282" y="83998"/>
                    <a:pt x="855018" y="100900"/>
                  </a:cubicBezTo>
                  <a:lnTo>
                    <a:pt x="811599" y="100900"/>
                  </a:lnTo>
                  <a:cubicBezTo>
                    <a:pt x="810442" y="90015"/>
                    <a:pt x="807893" y="80695"/>
                    <a:pt x="803958" y="72938"/>
                  </a:cubicBezTo>
                  <a:cubicBezTo>
                    <a:pt x="800140" y="65180"/>
                    <a:pt x="794464" y="59275"/>
                    <a:pt x="786940" y="55224"/>
                  </a:cubicBezTo>
                  <a:cubicBezTo>
                    <a:pt x="779415" y="51055"/>
                    <a:pt x="769571" y="48969"/>
                    <a:pt x="757416" y="48969"/>
                  </a:cubicBezTo>
                  <a:cubicBezTo>
                    <a:pt x="747460" y="48969"/>
                    <a:pt x="738773" y="50822"/>
                    <a:pt x="731366" y="54528"/>
                  </a:cubicBezTo>
                  <a:cubicBezTo>
                    <a:pt x="723953" y="58234"/>
                    <a:pt x="717762" y="63677"/>
                    <a:pt x="712781" y="70856"/>
                  </a:cubicBezTo>
                  <a:cubicBezTo>
                    <a:pt x="707801" y="78035"/>
                    <a:pt x="704041" y="86892"/>
                    <a:pt x="701492" y="97427"/>
                  </a:cubicBezTo>
                  <a:cubicBezTo>
                    <a:pt x="699060" y="107845"/>
                    <a:pt x="697844" y="119771"/>
                    <a:pt x="697844" y="133205"/>
                  </a:cubicBezTo>
                  <a:lnTo>
                    <a:pt x="697844" y="154567"/>
                  </a:lnTo>
                  <a:cubicBezTo>
                    <a:pt x="697844" y="167300"/>
                    <a:pt x="698944" y="178881"/>
                    <a:pt x="701142" y="189299"/>
                  </a:cubicBezTo>
                  <a:cubicBezTo>
                    <a:pt x="703457" y="199606"/>
                    <a:pt x="706930" y="208463"/>
                    <a:pt x="711565" y="215870"/>
                  </a:cubicBezTo>
                  <a:cubicBezTo>
                    <a:pt x="716312" y="223283"/>
                    <a:pt x="722334" y="229012"/>
                    <a:pt x="729629" y="233064"/>
                  </a:cubicBezTo>
                  <a:cubicBezTo>
                    <a:pt x="736925" y="237116"/>
                    <a:pt x="745665" y="239144"/>
                    <a:pt x="755855" y="239144"/>
                  </a:cubicBezTo>
                  <a:cubicBezTo>
                    <a:pt x="768243" y="239144"/>
                    <a:pt x="778258" y="237174"/>
                    <a:pt x="785904" y="233239"/>
                  </a:cubicBezTo>
                  <a:cubicBezTo>
                    <a:pt x="793661" y="229304"/>
                    <a:pt x="799508" y="223570"/>
                    <a:pt x="803443" y="216046"/>
                  </a:cubicBezTo>
                  <a:cubicBezTo>
                    <a:pt x="807494" y="208405"/>
                    <a:pt x="810159" y="199085"/>
                    <a:pt x="811434" y="188084"/>
                  </a:cubicBezTo>
                  <a:close/>
                  <a:moveTo>
                    <a:pt x="882285" y="178541"/>
                  </a:moveTo>
                  <a:lnTo>
                    <a:pt x="882285" y="174548"/>
                  </a:lnTo>
                  <a:cubicBezTo>
                    <a:pt x="882285" y="161002"/>
                    <a:pt x="884255" y="148439"/>
                    <a:pt x="888190" y="136858"/>
                  </a:cubicBezTo>
                  <a:cubicBezTo>
                    <a:pt x="892124" y="125165"/>
                    <a:pt x="897800" y="115034"/>
                    <a:pt x="905208" y="106464"/>
                  </a:cubicBezTo>
                  <a:cubicBezTo>
                    <a:pt x="912732" y="97782"/>
                    <a:pt x="921881" y="91065"/>
                    <a:pt x="932650" y="86318"/>
                  </a:cubicBezTo>
                  <a:cubicBezTo>
                    <a:pt x="943535" y="81454"/>
                    <a:pt x="955806" y="79022"/>
                    <a:pt x="969469" y="79022"/>
                  </a:cubicBezTo>
                  <a:cubicBezTo>
                    <a:pt x="983131" y="79022"/>
                    <a:pt x="995519" y="81454"/>
                    <a:pt x="1006288" y="86318"/>
                  </a:cubicBezTo>
                  <a:cubicBezTo>
                    <a:pt x="1017173" y="91065"/>
                    <a:pt x="1026375" y="97782"/>
                    <a:pt x="1033899" y="106464"/>
                  </a:cubicBezTo>
                  <a:cubicBezTo>
                    <a:pt x="1041424" y="115034"/>
                    <a:pt x="1047158" y="125165"/>
                    <a:pt x="1051093" y="136858"/>
                  </a:cubicBezTo>
                  <a:cubicBezTo>
                    <a:pt x="1055028" y="148439"/>
                    <a:pt x="1056998" y="160997"/>
                    <a:pt x="1056998" y="174548"/>
                  </a:cubicBezTo>
                  <a:lnTo>
                    <a:pt x="1056998" y="178541"/>
                  </a:lnTo>
                  <a:cubicBezTo>
                    <a:pt x="1056998" y="192086"/>
                    <a:pt x="1055028" y="204650"/>
                    <a:pt x="1051093" y="216230"/>
                  </a:cubicBezTo>
                  <a:cubicBezTo>
                    <a:pt x="1047153" y="227806"/>
                    <a:pt x="1041424" y="237938"/>
                    <a:pt x="1033899" y="246624"/>
                  </a:cubicBezTo>
                  <a:cubicBezTo>
                    <a:pt x="1026375" y="255194"/>
                    <a:pt x="1017226" y="261906"/>
                    <a:pt x="1006458" y="266770"/>
                  </a:cubicBezTo>
                  <a:cubicBezTo>
                    <a:pt x="995689" y="271517"/>
                    <a:pt x="983476" y="273891"/>
                    <a:pt x="969814" y="273891"/>
                  </a:cubicBezTo>
                  <a:cubicBezTo>
                    <a:pt x="956151" y="273891"/>
                    <a:pt x="943705" y="271517"/>
                    <a:pt x="932820" y="266770"/>
                  </a:cubicBezTo>
                  <a:cubicBezTo>
                    <a:pt x="922051" y="261906"/>
                    <a:pt x="912907" y="255189"/>
                    <a:pt x="905378" y="246624"/>
                  </a:cubicBezTo>
                  <a:cubicBezTo>
                    <a:pt x="897854" y="237942"/>
                    <a:pt x="892119" y="227811"/>
                    <a:pt x="888185" y="216230"/>
                  </a:cubicBezTo>
                  <a:cubicBezTo>
                    <a:pt x="884245" y="204650"/>
                    <a:pt x="882280" y="192086"/>
                    <a:pt x="882280" y="178541"/>
                  </a:cubicBezTo>
                  <a:close/>
                  <a:moveTo>
                    <a:pt x="924143" y="174548"/>
                  </a:moveTo>
                  <a:lnTo>
                    <a:pt x="924143" y="178541"/>
                  </a:lnTo>
                  <a:cubicBezTo>
                    <a:pt x="924143" y="186994"/>
                    <a:pt x="925013" y="194980"/>
                    <a:pt x="926750" y="202510"/>
                  </a:cubicBezTo>
                  <a:cubicBezTo>
                    <a:pt x="928486" y="210034"/>
                    <a:pt x="931210" y="216634"/>
                    <a:pt x="934911" y="222310"/>
                  </a:cubicBezTo>
                  <a:cubicBezTo>
                    <a:pt x="938617" y="227981"/>
                    <a:pt x="943365" y="232441"/>
                    <a:pt x="949152" y="235681"/>
                  </a:cubicBezTo>
                  <a:cubicBezTo>
                    <a:pt x="954940" y="238925"/>
                    <a:pt x="961832" y="240545"/>
                    <a:pt x="969819" y="240545"/>
                  </a:cubicBezTo>
                  <a:cubicBezTo>
                    <a:pt x="977805" y="240545"/>
                    <a:pt x="984293" y="238925"/>
                    <a:pt x="989965" y="235681"/>
                  </a:cubicBezTo>
                  <a:cubicBezTo>
                    <a:pt x="995753" y="232441"/>
                    <a:pt x="1000500" y="227981"/>
                    <a:pt x="1004206" y="222310"/>
                  </a:cubicBezTo>
                  <a:cubicBezTo>
                    <a:pt x="1007912" y="216634"/>
                    <a:pt x="1010631" y="210039"/>
                    <a:pt x="1012367" y="202510"/>
                  </a:cubicBezTo>
                  <a:cubicBezTo>
                    <a:pt x="1014220" y="194985"/>
                    <a:pt x="1015145" y="186994"/>
                    <a:pt x="1015145" y="178541"/>
                  </a:cubicBezTo>
                  <a:lnTo>
                    <a:pt x="1015145" y="174548"/>
                  </a:lnTo>
                  <a:cubicBezTo>
                    <a:pt x="1015145" y="166211"/>
                    <a:pt x="1014220" y="158336"/>
                    <a:pt x="1012367" y="150929"/>
                  </a:cubicBezTo>
                  <a:cubicBezTo>
                    <a:pt x="1010631" y="143405"/>
                    <a:pt x="1007854" y="136746"/>
                    <a:pt x="1004031" y="130958"/>
                  </a:cubicBezTo>
                  <a:cubicBezTo>
                    <a:pt x="1000325" y="125170"/>
                    <a:pt x="995578" y="120652"/>
                    <a:pt x="989790" y="117412"/>
                  </a:cubicBezTo>
                  <a:cubicBezTo>
                    <a:pt x="984118" y="114056"/>
                    <a:pt x="977343" y="112378"/>
                    <a:pt x="969469" y="112378"/>
                  </a:cubicBezTo>
                  <a:cubicBezTo>
                    <a:pt x="961594" y="112378"/>
                    <a:pt x="954765" y="114056"/>
                    <a:pt x="948977" y="117412"/>
                  </a:cubicBezTo>
                  <a:cubicBezTo>
                    <a:pt x="943301" y="120657"/>
                    <a:pt x="938613" y="125170"/>
                    <a:pt x="934911" y="130958"/>
                  </a:cubicBezTo>
                  <a:cubicBezTo>
                    <a:pt x="931205" y="136746"/>
                    <a:pt x="928486" y="143405"/>
                    <a:pt x="926750" y="150929"/>
                  </a:cubicBezTo>
                  <a:cubicBezTo>
                    <a:pt x="925013" y="158341"/>
                    <a:pt x="924143" y="166211"/>
                    <a:pt x="924143" y="174548"/>
                  </a:cubicBezTo>
                  <a:close/>
                  <a:moveTo>
                    <a:pt x="1133598" y="122617"/>
                  </a:moveTo>
                  <a:lnTo>
                    <a:pt x="1133598" y="270418"/>
                  </a:lnTo>
                  <a:lnTo>
                    <a:pt x="1091745" y="270418"/>
                  </a:lnTo>
                  <a:lnTo>
                    <a:pt x="1091745" y="82495"/>
                  </a:lnTo>
                  <a:lnTo>
                    <a:pt x="1131171" y="82495"/>
                  </a:lnTo>
                  <a:lnTo>
                    <a:pt x="1133603" y="122617"/>
                  </a:lnTo>
                  <a:close/>
                  <a:moveTo>
                    <a:pt x="1126132" y="169509"/>
                  </a:moveTo>
                  <a:lnTo>
                    <a:pt x="1112586" y="169334"/>
                  </a:lnTo>
                  <a:cubicBezTo>
                    <a:pt x="1112703" y="156016"/>
                    <a:pt x="1114556" y="143803"/>
                    <a:pt x="1118145" y="132690"/>
                  </a:cubicBezTo>
                  <a:cubicBezTo>
                    <a:pt x="1121852" y="121576"/>
                    <a:pt x="1126944" y="112023"/>
                    <a:pt x="1133428" y="104032"/>
                  </a:cubicBezTo>
                  <a:cubicBezTo>
                    <a:pt x="1140028" y="96041"/>
                    <a:pt x="1147902" y="89908"/>
                    <a:pt x="1157046" y="85623"/>
                  </a:cubicBezTo>
                  <a:cubicBezTo>
                    <a:pt x="1166195" y="81226"/>
                    <a:pt x="1176385" y="79022"/>
                    <a:pt x="1187615" y="79022"/>
                  </a:cubicBezTo>
                  <a:cubicBezTo>
                    <a:pt x="1196647" y="79022"/>
                    <a:pt x="1204809" y="80297"/>
                    <a:pt x="1212105" y="82840"/>
                  </a:cubicBezTo>
                  <a:cubicBezTo>
                    <a:pt x="1219517" y="85272"/>
                    <a:pt x="1225825" y="89265"/>
                    <a:pt x="1231034" y="94825"/>
                  </a:cubicBezTo>
                  <a:cubicBezTo>
                    <a:pt x="1236360" y="100384"/>
                    <a:pt x="1240412" y="107617"/>
                    <a:pt x="1243189" y="116532"/>
                  </a:cubicBezTo>
                  <a:cubicBezTo>
                    <a:pt x="1245966" y="125331"/>
                    <a:pt x="1247357" y="136157"/>
                    <a:pt x="1247357" y="149013"/>
                  </a:cubicBezTo>
                  <a:lnTo>
                    <a:pt x="1247357" y="270413"/>
                  </a:lnTo>
                  <a:lnTo>
                    <a:pt x="1205329" y="270413"/>
                  </a:lnTo>
                  <a:lnTo>
                    <a:pt x="1205329" y="148837"/>
                  </a:lnTo>
                  <a:cubicBezTo>
                    <a:pt x="1205329" y="139805"/>
                    <a:pt x="1203996" y="132685"/>
                    <a:pt x="1201336" y="127476"/>
                  </a:cubicBezTo>
                  <a:cubicBezTo>
                    <a:pt x="1198787" y="122150"/>
                    <a:pt x="1195028" y="118385"/>
                    <a:pt x="1190047" y="116187"/>
                  </a:cubicBezTo>
                  <a:cubicBezTo>
                    <a:pt x="1185183" y="113872"/>
                    <a:pt x="1179104" y="112714"/>
                    <a:pt x="1171813" y="112714"/>
                  </a:cubicBezTo>
                  <a:cubicBezTo>
                    <a:pt x="1164522" y="112714"/>
                    <a:pt x="1158209" y="114217"/>
                    <a:pt x="1152533" y="117228"/>
                  </a:cubicBezTo>
                  <a:cubicBezTo>
                    <a:pt x="1146861" y="120238"/>
                    <a:pt x="1142056" y="124348"/>
                    <a:pt x="1138116" y="129557"/>
                  </a:cubicBezTo>
                  <a:cubicBezTo>
                    <a:pt x="1134293" y="134766"/>
                    <a:pt x="1131341" y="140788"/>
                    <a:pt x="1129259" y="147621"/>
                  </a:cubicBezTo>
                  <a:cubicBezTo>
                    <a:pt x="1127178" y="154450"/>
                    <a:pt x="1126132" y="161746"/>
                    <a:pt x="1126132" y="169504"/>
                  </a:cubicBezTo>
                  <a:close/>
                  <a:moveTo>
                    <a:pt x="1346701" y="270418"/>
                  </a:moveTo>
                  <a:lnTo>
                    <a:pt x="1304843" y="270418"/>
                  </a:lnTo>
                  <a:lnTo>
                    <a:pt x="1304843" y="64436"/>
                  </a:lnTo>
                  <a:cubicBezTo>
                    <a:pt x="1304843" y="50428"/>
                    <a:pt x="1307450" y="38672"/>
                    <a:pt x="1312659" y="29178"/>
                  </a:cubicBezTo>
                  <a:cubicBezTo>
                    <a:pt x="1317985" y="19567"/>
                    <a:pt x="1325567" y="12330"/>
                    <a:pt x="1335412" y="7471"/>
                  </a:cubicBezTo>
                  <a:cubicBezTo>
                    <a:pt x="1345256" y="2490"/>
                    <a:pt x="1356890" y="0"/>
                    <a:pt x="1370319" y="0"/>
                  </a:cubicBezTo>
                  <a:cubicBezTo>
                    <a:pt x="1374488" y="0"/>
                    <a:pt x="1378597" y="292"/>
                    <a:pt x="1382649" y="871"/>
                  </a:cubicBezTo>
                  <a:cubicBezTo>
                    <a:pt x="1386701" y="1333"/>
                    <a:pt x="1390640" y="2087"/>
                    <a:pt x="1394458" y="3127"/>
                  </a:cubicBezTo>
                  <a:lnTo>
                    <a:pt x="1393418" y="35433"/>
                  </a:lnTo>
                  <a:cubicBezTo>
                    <a:pt x="1391102" y="34854"/>
                    <a:pt x="1388554" y="34450"/>
                    <a:pt x="1385776" y="34217"/>
                  </a:cubicBezTo>
                  <a:cubicBezTo>
                    <a:pt x="1383116" y="33983"/>
                    <a:pt x="1380217" y="33872"/>
                    <a:pt x="1377095" y="33872"/>
                  </a:cubicBezTo>
                  <a:cubicBezTo>
                    <a:pt x="1370728" y="33872"/>
                    <a:pt x="1365227" y="35088"/>
                    <a:pt x="1360596" y="37519"/>
                  </a:cubicBezTo>
                  <a:cubicBezTo>
                    <a:pt x="1356083" y="39835"/>
                    <a:pt x="1352605" y="43249"/>
                    <a:pt x="1350178" y="47767"/>
                  </a:cubicBezTo>
                  <a:cubicBezTo>
                    <a:pt x="1347863" y="52286"/>
                    <a:pt x="1346706" y="57840"/>
                    <a:pt x="1346706" y="64441"/>
                  </a:cubicBezTo>
                  <a:lnTo>
                    <a:pt x="1346706" y="270423"/>
                  </a:lnTo>
                  <a:close/>
                  <a:moveTo>
                    <a:pt x="1385431" y="82500"/>
                  </a:moveTo>
                  <a:lnTo>
                    <a:pt x="1385431" y="113069"/>
                  </a:lnTo>
                  <a:lnTo>
                    <a:pt x="1276015" y="113069"/>
                  </a:lnTo>
                  <a:lnTo>
                    <a:pt x="1276015" y="82500"/>
                  </a:lnTo>
                  <a:lnTo>
                    <a:pt x="1385431" y="82500"/>
                  </a:lnTo>
                  <a:close/>
                </a:path>
              </a:pathLst>
            </a:custGeom>
            <a:solidFill>
              <a:srgbClr val="EE3431"/>
            </a:solidFill>
            <a:ln w="4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6" name="Полилиния: фигура 45">
              <a:extLst>
                <a:ext uri="{FF2B5EF4-FFF2-40B4-BE49-F238E27FC236}">
                  <a16:creationId xmlns:a16="http://schemas.microsoft.com/office/drawing/2014/main" id="{EB80AEA3-6D76-4813-B83E-E98064CA7762}"/>
                </a:ext>
              </a:extLst>
            </p:cNvPr>
            <p:cNvSpPr/>
            <p:nvPr/>
          </p:nvSpPr>
          <p:spPr>
            <a:xfrm>
              <a:off x="7406975" y="5855999"/>
              <a:ext cx="1394458" cy="273890"/>
            </a:xfrm>
            <a:custGeom>
              <a:avLst/>
              <a:gdLst>
                <a:gd name="connsiteX0" fmla="*/ 157354 w 1394458"/>
                <a:gd name="connsiteY0" fmla="*/ 188093 h 273890"/>
                <a:gd name="connsiteX1" fmla="*/ 200773 w 1394458"/>
                <a:gd name="connsiteY1" fmla="*/ 188093 h 273890"/>
                <a:gd name="connsiteX2" fmla="*/ 186877 w 1394458"/>
                <a:gd name="connsiteY2" fmla="*/ 232383 h 273890"/>
                <a:gd name="connsiteX3" fmla="*/ 153706 w 1394458"/>
                <a:gd name="connsiteY3" fmla="*/ 262777 h 273890"/>
                <a:gd name="connsiteX4" fmla="*/ 101775 w 1394458"/>
                <a:gd name="connsiteY4" fmla="*/ 273891 h 273890"/>
                <a:gd name="connsiteX5" fmla="*/ 59572 w 1394458"/>
                <a:gd name="connsiteY5" fmla="*/ 265554 h 273890"/>
                <a:gd name="connsiteX6" fmla="*/ 27442 w 1394458"/>
                <a:gd name="connsiteY6" fmla="*/ 241585 h 273890"/>
                <a:gd name="connsiteX7" fmla="*/ 6950 w 1394458"/>
                <a:gd name="connsiteY7" fmla="*/ 203901 h 273890"/>
                <a:gd name="connsiteX8" fmla="*/ 0 w 1394458"/>
                <a:gd name="connsiteY8" fmla="*/ 154572 h 273890"/>
                <a:gd name="connsiteX9" fmla="*/ 0 w 1394458"/>
                <a:gd name="connsiteY9" fmla="*/ 133555 h 273890"/>
                <a:gd name="connsiteX10" fmla="*/ 7121 w 1394458"/>
                <a:gd name="connsiteY10" fmla="*/ 84231 h 273890"/>
                <a:gd name="connsiteX11" fmla="*/ 27962 w 1394458"/>
                <a:gd name="connsiteY11" fmla="*/ 46542 h 273890"/>
                <a:gd name="connsiteX12" fmla="*/ 60438 w 1394458"/>
                <a:gd name="connsiteY12" fmla="*/ 22403 h 273890"/>
                <a:gd name="connsiteX13" fmla="*/ 103336 w 1394458"/>
                <a:gd name="connsiteY13" fmla="*/ 14066 h 273890"/>
                <a:gd name="connsiteX14" fmla="*/ 154397 w 1394458"/>
                <a:gd name="connsiteY14" fmla="*/ 25180 h 273890"/>
                <a:gd name="connsiteX15" fmla="*/ 186702 w 1394458"/>
                <a:gd name="connsiteY15" fmla="*/ 55919 h 273890"/>
                <a:gd name="connsiteX16" fmla="*/ 200943 w 1394458"/>
                <a:gd name="connsiteY16" fmla="*/ 100900 h 273890"/>
                <a:gd name="connsiteX17" fmla="*/ 157524 w 1394458"/>
                <a:gd name="connsiteY17" fmla="*/ 100900 h 273890"/>
                <a:gd name="connsiteX18" fmla="*/ 149883 w 1394458"/>
                <a:gd name="connsiteY18" fmla="*/ 72938 h 273890"/>
                <a:gd name="connsiteX19" fmla="*/ 132865 w 1394458"/>
                <a:gd name="connsiteY19" fmla="*/ 55224 h 273890"/>
                <a:gd name="connsiteX20" fmla="*/ 103341 w 1394458"/>
                <a:gd name="connsiteY20" fmla="*/ 48969 h 273890"/>
                <a:gd name="connsiteX21" fmla="*/ 77291 w 1394458"/>
                <a:gd name="connsiteY21" fmla="*/ 54528 h 273890"/>
                <a:gd name="connsiteX22" fmla="*/ 58706 w 1394458"/>
                <a:gd name="connsiteY22" fmla="*/ 70856 h 273890"/>
                <a:gd name="connsiteX23" fmla="*/ 47417 w 1394458"/>
                <a:gd name="connsiteY23" fmla="*/ 97427 h 273890"/>
                <a:gd name="connsiteX24" fmla="*/ 43769 w 1394458"/>
                <a:gd name="connsiteY24" fmla="*/ 133205 h 273890"/>
                <a:gd name="connsiteX25" fmla="*/ 43769 w 1394458"/>
                <a:gd name="connsiteY25" fmla="*/ 154567 h 273890"/>
                <a:gd name="connsiteX26" fmla="*/ 47067 w 1394458"/>
                <a:gd name="connsiteY26" fmla="*/ 189304 h 273890"/>
                <a:gd name="connsiteX27" fmla="*/ 57490 w 1394458"/>
                <a:gd name="connsiteY27" fmla="*/ 215875 h 273890"/>
                <a:gd name="connsiteX28" fmla="*/ 75550 w 1394458"/>
                <a:gd name="connsiteY28" fmla="*/ 233069 h 273890"/>
                <a:gd name="connsiteX29" fmla="*/ 101775 w 1394458"/>
                <a:gd name="connsiteY29" fmla="*/ 239149 h 273890"/>
                <a:gd name="connsiteX30" fmla="*/ 131824 w 1394458"/>
                <a:gd name="connsiteY30" fmla="*/ 233244 h 273890"/>
                <a:gd name="connsiteX31" fmla="*/ 149363 w 1394458"/>
                <a:gd name="connsiteY31" fmla="*/ 216050 h 273890"/>
                <a:gd name="connsiteX32" fmla="*/ 157354 w 1394458"/>
                <a:gd name="connsiteY32" fmla="*/ 188088 h 273890"/>
                <a:gd name="connsiteX33" fmla="*/ 313837 w 1394458"/>
                <a:gd name="connsiteY33" fmla="*/ 270418 h 273890"/>
                <a:gd name="connsiteX34" fmla="*/ 259825 w 1394458"/>
                <a:gd name="connsiteY34" fmla="*/ 270418 h 273890"/>
                <a:gd name="connsiteX35" fmla="*/ 260170 w 1394458"/>
                <a:gd name="connsiteY35" fmla="*/ 235856 h 273890"/>
                <a:gd name="connsiteX36" fmla="*/ 313837 w 1394458"/>
                <a:gd name="connsiteY36" fmla="*/ 235856 h 273890"/>
                <a:gd name="connsiteX37" fmla="*/ 353088 w 1394458"/>
                <a:gd name="connsiteY37" fmla="*/ 225608 h 273890"/>
                <a:gd name="connsiteX38" fmla="*/ 377057 w 1394458"/>
                <a:gd name="connsiteY38" fmla="*/ 196255 h 273890"/>
                <a:gd name="connsiteX39" fmla="*/ 385218 w 1394458"/>
                <a:gd name="connsiteY39" fmla="*/ 150754 h 273890"/>
                <a:gd name="connsiteX40" fmla="*/ 385218 w 1394458"/>
                <a:gd name="connsiteY40" fmla="*/ 137033 h 273890"/>
                <a:gd name="connsiteX41" fmla="*/ 380530 w 1394458"/>
                <a:gd name="connsiteY41" fmla="*/ 100734 h 273890"/>
                <a:gd name="connsiteX42" fmla="*/ 366984 w 1394458"/>
                <a:gd name="connsiteY42" fmla="*/ 74163 h 273890"/>
                <a:gd name="connsiteX43" fmla="*/ 345102 w 1394458"/>
                <a:gd name="connsiteY43" fmla="*/ 57840 h 273890"/>
                <a:gd name="connsiteX44" fmla="*/ 315403 w 1394458"/>
                <a:gd name="connsiteY44" fmla="*/ 52281 h 273890"/>
                <a:gd name="connsiteX45" fmla="*/ 258784 w 1394458"/>
                <a:gd name="connsiteY45" fmla="*/ 52281 h 273890"/>
                <a:gd name="connsiteX46" fmla="*/ 258784 w 1394458"/>
                <a:gd name="connsiteY46" fmla="*/ 17544 h 273890"/>
                <a:gd name="connsiteX47" fmla="*/ 315403 w 1394458"/>
                <a:gd name="connsiteY47" fmla="*/ 17544 h 273890"/>
                <a:gd name="connsiteX48" fmla="*/ 361429 w 1394458"/>
                <a:gd name="connsiteY48" fmla="*/ 26055 h 273890"/>
                <a:gd name="connsiteX49" fmla="*/ 397383 w 1394458"/>
                <a:gd name="connsiteY49" fmla="*/ 50195 h 273890"/>
                <a:gd name="connsiteX50" fmla="*/ 420826 w 1394458"/>
                <a:gd name="connsiteY50" fmla="*/ 88054 h 273890"/>
                <a:gd name="connsiteX51" fmla="*/ 428988 w 1394458"/>
                <a:gd name="connsiteY51" fmla="*/ 137378 h 273890"/>
                <a:gd name="connsiteX52" fmla="*/ 428988 w 1394458"/>
                <a:gd name="connsiteY52" fmla="*/ 150754 h 273890"/>
                <a:gd name="connsiteX53" fmla="*/ 420826 w 1394458"/>
                <a:gd name="connsiteY53" fmla="*/ 200078 h 273890"/>
                <a:gd name="connsiteX54" fmla="*/ 397383 w 1394458"/>
                <a:gd name="connsiteY54" fmla="*/ 237938 h 273890"/>
                <a:gd name="connsiteX55" fmla="*/ 360909 w 1394458"/>
                <a:gd name="connsiteY55" fmla="*/ 262077 h 273890"/>
                <a:gd name="connsiteX56" fmla="*/ 313842 w 1394458"/>
                <a:gd name="connsiteY56" fmla="*/ 270413 h 273890"/>
                <a:gd name="connsiteX57" fmla="*/ 283964 w 1394458"/>
                <a:gd name="connsiteY57" fmla="*/ 17544 h 273890"/>
                <a:gd name="connsiteX58" fmla="*/ 283964 w 1394458"/>
                <a:gd name="connsiteY58" fmla="*/ 270418 h 273890"/>
                <a:gd name="connsiteX59" fmla="*/ 240369 w 1394458"/>
                <a:gd name="connsiteY59" fmla="*/ 270418 h 273890"/>
                <a:gd name="connsiteX60" fmla="*/ 240369 w 1394458"/>
                <a:gd name="connsiteY60" fmla="*/ 17544 h 273890"/>
                <a:gd name="connsiteX61" fmla="*/ 283964 w 1394458"/>
                <a:gd name="connsiteY61" fmla="*/ 17544 h 273890"/>
                <a:gd name="connsiteX62" fmla="*/ 519299 w 1394458"/>
                <a:gd name="connsiteY62" fmla="*/ 17544 h 273890"/>
                <a:gd name="connsiteX63" fmla="*/ 519299 w 1394458"/>
                <a:gd name="connsiteY63" fmla="*/ 270418 h 273890"/>
                <a:gd name="connsiteX64" fmla="*/ 475705 w 1394458"/>
                <a:gd name="connsiteY64" fmla="*/ 270418 h 273890"/>
                <a:gd name="connsiteX65" fmla="*/ 475705 w 1394458"/>
                <a:gd name="connsiteY65" fmla="*/ 17544 h 273890"/>
                <a:gd name="connsiteX66" fmla="*/ 519299 w 1394458"/>
                <a:gd name="connsiteY66" fmla="*/ 17544 h 273890"/>
                <a:gd name="connsiteX67" fmla="*/ 811424 w 1394458"/>
                <a:gd name="connsiteY67" fmla="*/ 188093 h 273890"/>
                <a:gd name="connsiteX68" fmla="*/ 854843 w 1394458"/>
                <a:gd name="connsiteY68" fmla="*/ 188093 h 273890"/>
                <a:gd name="connsiteX69" fmla="*/ 840947 w 1394458"/>
                <a:gd name="connsiteY69" fmla="*/ 232383 h 273890"/>
                <a:gd name="connsiteX70" fmla="*/ 807776 w 1394458"/>
                <a:gd name="connsiteY70" fmla="*/ 262777 h 273890"/>
                <a:gd name="connsiteX71" fmla="*/ 755845 w 1394458"/>
                <a:gd name="connsiteY71" fmla="*/ 273891 h 273890"/>
                <a:gd name="connsiteX72" fmla="*/ 713642 w 1394458"/>
                <a:gd name="connsiteY72" fmla="*/ 265554 h 273890"/>
                <a:gd name="connsiteX73" fmla="*/ 681512 w 1394458"/>
                <a:gd name="connsiteY73" fmla="*/ 241585 h 273890"/>
                <a:gd name="connsiteX74" fmla="*/ 661021 w 1394458"/>
                <a:gd name="connsiteY74" fmla="*/ 203901 h 273890"/>
                <a:gd name="connsiteX75" fmla="*/ 654075 w 1394458"/>
                <a:gd name="connsiteY75" fmla="*/ 154577 h 273890"/>
                <a:gd name="connsiteX76" fmla="*/ 654075 w 1394458"/>
                <a:gd name="connsiteY76" fmla="*/ 133560 h 273890"/>
                <a:gd name="connsiteX77" fmla="*/ 661196 w 1394458"/>
                <a:gd name="connsiteY77" fmla="*/ 84236 h 273890"/>
                <a:gd name="connsiteX78" fmla="*/ 682037 w 1394458"/>
                <a:gd name="connsiteY78" fmla="*/ 46547 h 273890"/>
                <a:gd name="connsiteX79" fmla="*/ 714513 w 1394458"/>
                <a:gd name="connsiteY79" fmla="*/ 22408 h 273890"/>
                <a:gd name="connsiteX80" fmla="*/ 757411 w 1394458"/>
                <a:gd name="connsiteY80" fmla="*/ 14071 h 273890"/>
                <a:gd name="connsiteX81" fmla="*/ 808472 w 1394458"/>
                <a:gd name="connsiteY81" fmla="*/ 25185 h 273890"/>
                <a:gd name="connsiteX82" fmla="*/ 840777 w 1394458"/>
                <a:gd name="connsiteY82" fmla="*/ 55924 h 273890"/>
                <a:gd name="connsiteX83" fmla="*/ 855018 w 1394458"/>
                <a:gd name="connsiteY83" fmla="*/ 100905 h 273890"/>
                <a:gd name="connsiteX84" fmla="*/ 811599 w 1394458"/>
                <a:gd name="connsiteY84" fmla="*/ 100905 h 273890"/>
                <a:gd name="connsiteX85" fmla="*/ 803958 w 1394458"/>
                <a:gd name="connsiteY85" fmla="*/ 72943 h 273890"/>
                <a:gd name="connsiteX86" fmla="*/ 786940 w 1394458"/>
                <a:gd name="connsiteY86" fmla="*/ 55229 h 273890"/>
                <a:gd name="connsiteX87" fmla="*/ 757416 w 1394458"/>
                <a:gd name="connsiteY87" fmla="*/ 48974 h 273890"/>
                <a:gd name="connsiteX88" fmla="*/ 731366 w 1394458"/>
                <a:gd name="connsiteY88" fmla="*/ 54533 h 273890"/>
                <a:gd name="connsiteX89" fmla="*/ 712781 w 1394458"/>
                <a:gd name="connsiteY89" fmla="*/ 70861 h 273890"/>
                <a:gd name="connsiteX90" fmla="*/ 701492 w 1394458"/>
                <a:gd name="connsiteY90" fmla="*/ 97432 h 273890"/>
                <a:gd name="connsiteX91" fmla="*/ 697844 w 1394458"/>
                <a:gd name="connsiteY91" fmla="*/ 133210 h 273890"/>
                <a:gd name="connsiteX92" fmla="*/ 697844 w 1394458"/>
                <a:gd name="connsiteY92" fmla="*/ 154572 h 273890"/>
                <a:gd name="connsiteX93" fmla="*/ 701142 w 1394458"/>
                <a:gd name="connsiteY93" fmla="*/ 189309 h 273890"/>
                <a:gd name="connsiteX94" fmla="*/ 711565 w 1394458"/>
                <a:gd name="connsiteY94" fmla="*/ 215880 h 273890"/>
                <a:gd name="connsiteX95" fmla="*/ 729629 w 1394458"/>
                <a:gd name="connsiteY95" fmla="*/ 233074 h 273890"/>
                <a:gd name="connsiteX96" fmla="*/ 755855 w 1394458"/>
                <a:gd name="connsiteY96" fmla="*/ 239154 h 273890"/>
                <a:gd name="connsiteX97" fmla="*/ 785904 w 1394458"/>
                <a:gd name="connsiteY97" fmla="*/ 233249 h 273890"/>
                <a:gd name="connsiteX98" fmla="*/ 803443 w 1394458"/>
                <a:gd name="connsiteY98" fmla="*/ 216055 h 273890"/>
                <a:gd name="connsiteX99" fmla="*/ 811434 w 1394458"/>
                <a:gd name="connsiteY99" fmla="*/ 188093 h 273890"/>
                <a:gd name="connsiteX100" fmla="*/ 882285 w 1394458"/>
                <a:gd name="connsiteY100" fmla="*/ 178541 h 273890"/>
                <a:gd name="connsiteX101" fmla="*/ 882285 w 1394458"/>
                <a:gd name="connsiteY101" fmla="*/ 174548 h 273890"/>
                <a:gd name="connsiteX102" fmla="*/ 888190 w 1394458"/>
                <a:gd name="connsiteY102" fmla="*/ 136858 h 273890"/>
                <a:gd name="connsiteX103" fmla="*/ 905208 w 1394458"/>
                <a:gd name="connsiteY103" fmla="*/ 106464 h 273890"/>
                <a:gd name="connsiteX104" fmla="*/ 932650 w 1394458"/>
                <a:gd name="connsiteY104" fmla="*/ 86318 h 273890"/>
                <a:gd name="connsiteX105" fmla="*/ 969469 w 1394458"/>
                <a:gd name="connsiteY105" fmla="*/ 79022 h 273890"/>
                <a:gd name="connsiteX106" fmla="*/ 1006288 w 1394458"/>
                <a:gd name="connsiteY106" fmla="*/ 86318 h 273890"/>
                <a:gd name="connsiteX107" fmla="*/ 1033899 w 1394458"/>
                <a:gd name="connsiteY107" fmla="*/ 106464 h 273890"/>
                <a:gd name="connsiteX108" fmla="*/ 1051093 w 1394458"/>
                <a:gd name="connsiteY108" fmla="*/ 136858 h 273890"/>
                <a:gd name="connsiteX109" fmla="*/ 1056998 w 1394458"/>
                <a:gd name="connsiteY109" fmla="*/ 174548 h 273890"/>
                <a:gd name="connsiteX110" fmla="*/ 1056998 w 1394458"/>
                <a:gd name="connsiteY110" fmla="*/ 178541 h 273890"/>
                <a:gd name="connsiteX111" fmla="*/ 1051093 w 1394458"/>
                <a:gd name="connsiteY111" fmla="*/ 216226 h 273890"/>
                <a:gd name="connsiteX112" fmla="*/ 1033899 w 1394458"/>
                <a:gd name="connsiteY112" fmla="*/ 246619 h 273890"/>
                <a:gd name="connsiteX113" fmla="*/ 1006458 w 1394458"/>
                <a:gd name="connsiteY113" fmla="*/ 266765 h 273890"/>
                <a:gd name="connsiteX114" fmla="*/ 969814 w 1394458"/>
                <a:gd name="connsiteY114" fmla="*/ 273886 h 273890"/>
                <a:gd name="connsiteX115" fmla="*/ 932820 w 1394458"/>
                <a:gd name="connsiteY115" fmla="*/ 266765 h 273890"/>
                <a:gd name="connsiteX116" fmla="*/ 905378 w 1394458"/>
                <a:gd name="connsiteY116" fmla="*/ 246619 h 273890"/>
                <a:gd name="connsiteX117" fmla="*/ 888185 w 1394458"/>
                <a:gd name="connsiteY117" fmla="*/ 216226 h 273890"/>
                <a:gd name="connsiteX118" fmla="*/ 882280 w 1394458"/>
                <a:gd name="connsiteY118" fmla="*/ 178541 h 273890"/>
                <a:gd name="connsiteX119" fmla="*/ 924143 w 1394458"/>
                <a:gd name="connsiteY119" fmla="*/ 174548 h 273890"/>
                <a:gd name="connsiteX120" fmla="*/ 924143 w 1394458"/>
                <a:gd name="connsiteY120" fmla="*/ 178541 h 273890"/>
                <a:gd name="connsiteX121" fmla="*/ 926750 w 1394458"/>
                <a:gd name="connsiteY121" fmla="*/ 202510 h 273890"/>
                <a:gd name="connsiteX122" fmla="*/ 934911 w 1394458"/>
                <a:gd name="connsiteY122" fmla="*/ 222310 h 273890"/>
                <a:gd name="connsiteX123" fmla="*/ 949152 w 1394458"/>
                <a:gd name="connsiteY123" fmla="*/ 235681 h 273890"/>
                <a:gd name="connsiteX124" fmla="*/ 969819 w 1394458"/>
                <a:gd name="connsiteY124" fmla="*/ 240545 h 273890"/>
                <a:gd name="connsiteX125" fmla="*/ 989965 w 1394458"/>
                <a:gd name="connsiteY125" fmla="*/ 235681 h 273890"/>
                <a:gd name="connsiteX126" fmla="*/ 1004206 w 1394458"/>
                <a:gd name="connsiteY126" fmla="*/ 222310 h 273890"/>
                <a:gd name="connsiteX127" fmla="*/ 1012367 w 1394458"/>
                <a:gd name="connsiteY127" fmla="*/ 202510 h 273890"/>
                <a:gd name="connsiteX128" fmla="*/ 1015145 w 1394458"/>
                <a:gd name="connsiteY128" fmla="*/ 178541 h 273890"/>
                <a:gd name="connsiteX129" fmla="*/ 1015145 w 1394458"/>
                <a:gd name="connsiteY129" fmla="*/ 174548 h 273890"/>
                <a:gd name="connsiteX130" fmla="*/ 1012367 w 1394458"/>
                <a:gd name="connsiteY130" fmla="*/ 150929 h 273890"/>
                <a:gd name="connsiteX131" fmla="*/ 1004031 w 1394458"/>
                <a:gd name="connsiteY131" fmla="*/ 130958 h 273890"/>
                <a:gd name="connsiteX132" fmla="*/ 989790 w 1394458"/>
                <a:gd name="connsiteY132" fmla="*/ 117412 h 273890"/>
                <a:gd name="connsiteX133" fmla="*/ 969469 w 1394458"/>
                <a:gd name="connsiteY133" fmla="*/ 112373 h 273890"/>
                <a:gd name="connsiteX134" fmla="*/ 948977 w 1394458"/>
                <a:gd name="connsiteY134" fmla="*/ 117412 h 273890"/>
                <a:gd name="connsiteX135" fmla="*/ 934911 w 1394458"/>
                <a:gd name="connsiteY135" fmla="*/ 130958 h 273890"/>
                <a:gd name="connsiteX136" fmla="*/ 926750 w 1394458"/>
                <a:gd name="connsiteY136" fmla="*/ 150929 h 273890"/>
                <a:gd name="connsiteX137" fmla="*/ 924143 w 1394458"/>
                <a:gd name="connsiteY137" fmla="*/ 174548 h 273890"/>
                <a:gd name="connsiteX138" fmla="*/ 1133598 w 1394458"/>
                <a:gd name="connsiteY138" fmla="*/ 122617 h 273890"/>
                <a:gd name="connsiteX139" fmla="*/ 1133598 w 1394458"/>
                <a:gd name="connsiteY139" fmla="*/ 270418 h 273890"/>
                <a:gd name="connsiteX140" fmla="*/ 1091745 w 1394458"/>
                <a:gd name="connsiteY140" fmla="*/ 270418 h 273890"/>
                <a:gd name="connsiteX141" fmla="*/ 1091745 w 1394458"/>
                <a:gd name="connsiteY141" fmla="*/ 82495 h 273890"/>
                <a:gd name="connsiteX142" fmla="*/ 1131171 w 1394458"/>
                <a:gd name="connsiteY142" fmla="*/ 82495 h 273890"/>
                <a:gd name="connsiteX143" fmla="*/ 1133603 w 1394458"/>
                <a:gd name="connsiteY143" fmla="*/ 122617 h 273890"/>
                <a:gd name="connsiteX144" fmla="*/ 1126132 w 1394458"/>
                <a:gd name="connsiteY144" fmla="*/ 169509 h 273890"/>
                <a:gd name="connsiteX145" fmla="*/ 1112586 w 1394458"/>
                <a:gd name="connsiteY145" fmla="*/ 169334 h 273890"/>
                <a:gd name="connsiteX146" fmla="*/ 1118145 w 1394458"/>
                <a:gd name="connsiteY146" fmla="*/ 132690 h 273890"/>
                <a:gd name="connsiteX147" fmla="*/ 1133428 w 1394458"/>
                <a:gd name="connsiteY147" fmla="*/ 104032 h 273890"/>
                <a:gd name="connsiteX148" fmla="*/ 1157046 w 1394458"/>
                <a:gd name="connsiteY148" fmla="*/ 85623 h 273890"/>
                <a:gd name="connsiteX149" fmla="*/ 1187615 w 1394458"/>
                <a:gd name="connsiteY149" fmla="*/ 79022 h 273890"/>
                <a:gd name="connsiteX150" fmla="*/ 1212105 w 1394458"/>
                <a:gd name="connsiteY150" fmla="*/ 82840 h 273890"/>
                <a:gd name="connsiteX151" fmla="*/ 1231034 w 1394458"/>
                <a:gd name="connsiteY151" fmla="*/ 94825 h 273890"/>
                <a:gd name="connsiteX152" fmla="*/ 1243189 w 1394458"/>
                <a:gd name="connsiteY152" fmla="*/ 116532 h 273890"/>
                <a:gd name="connsiteX153" fmla="*/ 1247357 w 1394458"/>
                <a:gd name="connsiteY153" fmla="*/ 149008 h 273890"/>
                <a:gd name="connsiteX154" fmla="*/ 1247357 w 1394458"/>
                <a:gd name="connsiteY154" fmla="*/ 270408 h 273890"/>
                <a:gd name="connsiteX155" fmla="*/ 1205329 w 1394458"/>
                <a:gd name="connsiteY155" fmla="*/ 270408 h 273890"/>
                <a:gd name="connsiteX156" fmla="*/ 1205329 w 1394458"/>
                <a:gd name="connsiteY156" fmla="*/ 148833 h 273890"/>
                <a:gd name="connsiteX157" fmla="*/ 1201336 w 1394458"/>
                <a:gd name="connsiteY157" fmla="*/ 127471 h 273890"/>
                <a:gd name="connsiteX158" fmla="*/ 1190047 w 1394458"/>
                <a:gd name="connsiteY158" fmla="*/ 116182 h 273890"/>
                <a:gd name="connsiteX159" fmla="*/ 1171813 w 1394458"/>
                <a:gd name="connsiteY159" fmla="*/ 112709 h 273890"/>
                <a:gd name="connsiteX160" fmla="*/ 1152533 w 1394458"/>
                <a:gd name="connsiteY160" fmla="*/ 117223 h 273890"/>
                <a:gd name="connsiteX161" fmla="*/ 1138116 w 1394458"/>
                <a:gd name="connsiteY161" fmla="*/ 129552 h 273890"/>
                <a:gd name="connsiteX162" fmla="*/ 1129259 w 1394458"/>
                <a:gd name="connsiteY162" fmla="*/ 147617 h 273890"/>
                <a:gd name="connsiteX163" fmla="*/ 1126132 w 1394458"/>
                <a:gd name="connsiteY163" fmla="*/ 169499 h 273890"/>
                <a:gd name="connsiteX164" fmla="*/ 1346701 w 1394458"/>
                <a:gd name="connsiteY164" fmla="*/ 270418 h 273890"/>
                <a:gd name="connsiteX165" fmla="*/ 1304843 w 1394458"/>
                <a:gd name="connsiteY165" fmla="*/ 270418 h 273890"/>
                <a:gd name="connsiteX166" fmla="*/ 1304843 w 1394458"/>
                <a:gd name="connsiteY166" fmla="*/ 64436 h 273890"/>
                <a:gd name="connsiteX167" fmla="*/ 1312659 w 1394458"/>
                <a:gd name="connsiteY167" fmla="*/ 29178 h 273890"/>
                <a:gd name="connsiteX168" fmla="*/ 1335412 w 1394458"/>
                <a:gd name="connsiteY168" fmla="*/ 7471 h 273890"/>
                <a:gd name="connsiteX169" fmla="*/ 1370319 w 1394458"/>
                <a:gd name="connsiteY169" fmla="*/ 0 h 273890"/>
                <a:gd name="connsiteX170" fmla="*/ 1382649 w 1394458"/>
                <a:gd name="connsiteY170" fmla="*/ 871 h 273890"/>
                <a:gd name="connsiteX171" fmla="*/ 1394458 w 1394458"/>
                <a:gd name="connsiteY171" fmla="*/ 3127 h 273890"/>
                <a:gd name="connsiteX172" fmla="*/ 1393418 w 1394458"/>
                <a:gd name="connsiteY172" fmla="*/ 35433 h 273890"/>
                <a:gd name="connsiteX173" fmla="*/ 1385776 w 1394458"/>
                <a:gd name="connsiteY173" fmla="*/ 34217 h 273890"/>
                <a:gd name="connsiteX174" fmla="*/ 1377095 w 1394458"/>
                <a:gd name="connsiteY174" fmla="*/ 33867 h 273890"/>
                <a:gd name="connsiteX175" fmla="*/ 1360596 w 1394458"/>
                <a:gd name="connsiteY175" fmla="*/ 37515 h 273890"/>
                <a:gd name="connsiteX176" fmla="*/ 1350178 w 1394458"/>
                <a:gd name="connsiteY176" fmla="*/ 47763 h 273890"/>
                <a:gd name="connsiteX177" fmla="*/ 1346706 w 1394458"/>
                <a:gd name="connsiteY177" fmla="*/ 64436 h 273890"/>
                <a:gd name="connsiteX178" fmla="*/ 1346706 w 1394458"/>
                <a:gd name="connsiteY178" fmla="*/ 270418 h 273890"/>
                <a:gd name="connsiteX179" fmla="*/ 1385431 w 1394458"/>
                <a:gd name="connsiteY179" fmla="*/ 82500 h 273890"/>
                <a:gd name="connsiteX180" fmla="*/ 1385431 w 1394458"/>
                <a:gd name="connsiteY180" fmla="*/ 113069 h 273890"/>
                <a:gd name="connsiteX181" fmla="*/ 1276015 w 1394458"/>
                <a:gd name="connsiteY181" fmla="*/ 113069 h 273890"/>
                <a:gd name="connsiteX182" fmla="*/ 1276015 w 1394458"/>
                <a:gd name="connsiteY182" fmla="*/ 82500 h 273890"/>
                <a:gd name="connsiteX183" fmla="*/ 1385431 w 1394458"/>
                <a:gd name="connsiteY183" fmla="*/ 82500 h 2738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</a:cxnLst>
              <a:rect l="l" t="t" r="r" b="b"/>
              <a:pathLst>
                <a:path w="1394458" h="273890">
                  <a:moveTo>
                    <a:pt x="157354" y="188093"/>
                  </a:moveTo>
                  <a:lnTo>
                    <a:pt x="200773" y="188093"/>
                  </a:lnTo>
                  <a:cubicBezTo>
                    <a:pt x="199382" y="204650"/>
                    <a:pt x="194752" y="219411"/>
                    <a:pt x="186877" y="232383"/>
                  </a:cubicBezTo>
                  <a:cubicBezTo>
                    <a:pt x="179003" y="245233"/>
                    <a:pt x="167947" y="255365"/>
                    <a:pt x="153706" y="262777"/>
                  </a:cubicBezTo>
                  <a:cubicBezTo>
                    <a:pt x="139465" y="270185"/>
                    <a:pt x="122155" y="273891"/>
                    <a:pt x="101775" y="273891"/>
                  </a:cubicBezTo>
                  <a:cubicBezTo>
                    <a:pt x="86143" y="273891"/>
                    <a:pt x="72077" y="271114"/>
                    <a:pt x="59572" y="265554"/>
                  </a:cubicBezTo>
                  <a:cubicBezTo>
                    <a:pt x="47067" y="259878"/>
                    <a:pt x="36357" y="251892"/>
                    <a:pt x="27442" y="241585"/>
                  </a:cubicBezTo>
                  <a:cubicBezTo>
                    <a:pt x="18526" y="231167"/>
                    <a:pt x="11697" y="218604"/>
                    <a:pt x="6950" y="203901"/>
                  </a:cubicBezTo>
                  <a:cubicBezTo>
                    <a:pt x="2315" y="189192"/>
                    <a:pt x="0" y="172753"/>
                    <a:pt x="0" y="154572"/>
                  </a:cubicBezTo>
                  <a:lnTo>
                    <a:pt x="0" y="133555"/>
                  </a:lnTo>
                  <a:cubicBezTo>
                    <a:pt x="0" y="115379"/>
                    <a:pt x="2374" y="98935"/>
                    <a:pt x="7121" y="84231"/>
                  </a:cubicBezTo>
                  <a:cubicBezTo>
                    <a:pt x="11984" y="69528"/>
                    <a:pt x="18930" y="56965"/>
                    <a:pt x="27962" y="46542"/>
                  </a:cubicBezTo>
                  <a:cubicBezTo>
                    <a:pt x="36994" y="36007"/>
                    <a:pt x="47816" y="27957"/>
                    <a:pt x="60438" y="22403"/>
                  </a:cubicBezTo>
                  <a:cubicBezTo>
                    <a:pt x="73171" y="16843"/>
                    <a:pt x="87471" y="14066"/>
                    <a:pt x="103336" y="14066"/>
                  </a:cubicBezTo>
                  <a:cubicBezTo>
                    <a:pt x="123482" y="14066"/>
                    <a:pt x="140506" y="17772"/>
                    <a:pt x="154397" y="25180"/>
                  </a:cubicBezTo>
                  <a:cubicBezTo>
                    <a:pt x="168293" y="32592"/>
                    <a:pt x="179056" y="42836"/>
                    <a:pt x="186702" y="55919"/>
                  </a:cubicBezTo>
                  <a:cubicBezTo>
                    <a:pt x="194460" y="69003"/>
                    <a:pt x="199207" y="83998"/>
                    <a:pt x="200943" y="100900"/>
                  </a:cubicBezTo>
                  <a:lnTo>
                    <a:pt x="157524" y="100900"/>
                  </a:lnTo>
                  <a:cubicBezTo>
                    <a:pt x="156367" y="90015"/>
                    <a:pt x="153818" y="80695"/>
                    <a:pt x="149883" y="72938"/>
                  </a:cubicBezTo>
                  <a:cubicBezTo>
                    <a:pt x="146065" y="65180"/>
                    <a:pt x="140389" y="59275"/>
                    <a:pt x="132865" y="55224"/>
                  </a:cubicBezTo>
                  <a:cubicBezTo>
                    <a:pt x="125340" y="51055"/>
                    <a:pt x="115496" y="48969"/>
                    <a:pt x="103341" y="48969"/>
                  </a:cubicBezTo>
                  <a:cubicBezTo>
                    <a:pt x="93385" y="48969"/>
                    <a:pt x="84698" y="50822"/>
                    <a:pt x="77291" y="54528"/>
                  </a:cubicBezTo>
                  <a:cubicBezTo>
                    <a:pt x="69878" y="58234"/>
                    <a:pt x="63687" y="63677"/>
                    <a:pt x="58706" y="70856"/>
                  </a:cubicBezTo>
                  <a:cubicBezTo>
                    <a:pt x="53730" y="78035"/>
                    <a:pt x="49966" y="86892"/>
                    <a:pt x="47417" y="97427"/>
                  </a:cubicBezTo>
                  <a:cubicBezTo>
                    <a:pt x="44985" y="107845"/>
                    <a:pt x="43769" y="119771"/>
                    <a:pt x="43769" y="133205"/>
                  </a:cubicBezTo>
                  <a:lnTo>
                    <a:pt x="43769" y="154567"/>
                  </a:lnTo>
                  <a:cubicBezTo>
                    <a:pt x="43769" y="167305"/>
                    <a:pt x="44869" y="178881"/>
                    <a:pt x="47067" y="189304"/>
                  </a:cubicBezTo>
                  <a:cubicBezTo>
                    <a:pt x="49382" y="199611"/>
                    <a:pt x="52855" y="208468"/>
                    <a:pt x="57490" y="215875"/>
                  </a:cubicBezTo>
                  <a:cubicBezTo>
                    <a:pt x="62237" y="223288"/>
                    <a:pt x="68259" y="229017"/>
                    <a:pt x="75550" y="233069"/>
                  </a:cubicBezTo>
                  <a:cubicBezTo>
                    <a:pt x="82845" y="237120"/>
                    <a:pt x="91585" y="239149"/>
                    <a:pt x="101775" y="239149"/>
                  </a:cubicBezTo>
                  <a:cubicBezTo>
                    <a:pt x="114163" y="239149"/>
                    <a:pt x="124178" y="237179"/>
                    <a:pt x="131824" y="233244"/>
                  </a:cubicBezTo>
                  <a:cubicBezTo>
                    <a:pt x="139582" y="229304"/>
                    <a:pt x="145428" y="223575"/>
                    <a:pt x="149363" y="216050"/>
                  </a:cubicBezTo>
                  <a:cubicBezTo>
                    <a:pt x="153414" y="208409"/>
                    <a:pt x="156080" y="199090"/>
                    <a:pt x="157354" y="188088"/>
                  </a:cubicBezTo>
                  <a:close/>
                  <a:moveTo>
                    <a:pt x="313837" y="270418"/>
                  </a:moveTo>
                  <a:lnTo>
                    <a:pt x="259825" y="270418"/>
                  </a:lnTo>
                  <a:lnTo>
                    <a:pt x="260170" y="235856"/>
                  </a:lnTo>
                  <a:lnTo>
                    <a:pt x="313837" y="235856"/>
                  </a:lnTo>
                  <a:cubicBezTo>
                    <a:pt x="329469" y="235856"/>
                    <a:pt x="342553" y="232441"/>
                    <a:pt x="353088" y="225608"/>
                  </a:cubicBezTo>
                  <a:cubicBezTo>
                    <a:pt x="363740" y="218779"/>
                    <a:pt x="371731" y="208993"/>
                    <a:pt x="377057" y="196255"/>
                  </a:cubicBezTo>
                  <a:cubicBezTo>
                    <a:pt x="382499" y="183516"/>
                    <a:pt x="385218" y="168351"/>
                    <a:pt x="385218" y="150754"/>
                  </a:cubicBezTo>
                  <a:lnTo>
                    <a:pt x="385218" y="137033"/>
                  </a:lnTo>
                  <a:cubicBezTo>
                    <a:pt x="385218" y="123371"/>
                    <a:pt x="383657" y="111269"/>
                    <a:pt x="380530" y="100734"/>
                  </a:cubicBezTo>
                  <a:cubicBezTo>
                    <a:pt x="377519" y="90199"/>
                    <a:pt x="373005" y="81342"/>
                    <a:pt x="366984" y="74163"/>
                  </a:cubicBezTo>
                  <a:cubicBezTo>
                    <a:pt x="361079" y="66984"/>
                    <a:pt x="353784" y="61542"/>
                    <a:pt x="345102" y="57840"/>
                  </a:cubicBezTo>
                  <a:cubicBezTo>
                    <a:pt x="336532" y="54134"/>
                    <a:pt x="326634" y="52281"/>
                    <a:pt x="315403" y="52281"/>
                  </a:cubicBezTo>
                  <a:lnTo>
                    <a:pt x="258784" y="52281"/>
                  </a:lnTo>
                  <a:lnTo>
                    <a:pt x="258784" y="17544"/>
                  </a:lnTo>
                  <a:lnTo>
                    <a:pt x="315403" y="17544"/>
                  </a:lnTo>
                  <a:cubicBezTo>
                    <a:pt x="332193" y="17544"/>
                    <a:pt x="347534" y="20379"/>
                    <a:pt x="361429" y="26055"/>
                  </a:cubicBezTo>
                  <a:cubicBezTo>
                    <a:pt x="375325" y="31615"/>
                    <a:pt x="387310" y="39660"/>
                    <a:pt x="397383" y="50195"/>
                  </a:cubicBezTo>
                  <a:cubicBezTo>
                    <a:pt x="407572" y="60730"/>
                    <a:pt x="415389" y="73351"/>
                    <a:pt x="420826" y="88054"/>
                  </a:cubicBezTo>
                  <a:cubicBezTo>
                    <a:pt x="426269" y="102758"/>
                    <a:pt x="428988" y="119202"/>
                    <a:pt x="428988" y="137378"/>
                  </a:cubicBezTo>
                  <a:lnTo>
                    <a:pt x="428988" y="150754"/>
                  </a:lnTo>
                  <a:cubicBezTo>
                    <a:pt x="428988" y="168930"/>
                    <a:pt x="426269" y="185374"/>
                    <a:pt x="420826" y="200078"/>
                  </a:cubicBezTo>
                  <a:cubicBezTo>
                    <a:pt x="415384" y="214781"/>
                    <a:pt x="407568" y="227403"/>
                    <a:pt x="397383" y="237938"/>
                  </a:cubicBezTo>
                  <a:cubicBezTo>
                    <a:pt x="387193" y="248356"/>
                    <a:pt x="375038" y="256405"/>
                    <a:pt x="360909" y="262077"/>
                  </a:cubicBezTo>
                  <a:cubicBezTo>
                    <a:pt x="346896" y="267636"/>
                    <a:pt x="331211" y="270413"/>
                    <a:pt x="313842" y="270413"/>
                  </a:cubicBezTo>
                  <a:close/>
                  <a:moveTo>
                    <a:pt x="283964" y="17544"/>
                  </a:moveTo>
                  <a:lnTo>
                    <a:pt x="283964" y="270418"/>
                  </a:lnTo>
                  <a:lnTo>
                    <a:pt x="240369" y="270418"/>
                  </a:lnTo>
                  <a:lnTo>
                    <a:pt x="240369" y="17544"/>
                  </a:lnTo>
                  <a:lnTo>
                    <a:pt x="283964" y="17544"/>
                  </a:lnTo>
                  <a:close/>
                  <a:moveTo>
                    <a:pt x="519299" y="17544"/>
                  </a:moveTo>
                  <a:lnTo>
                    <a:pt x="519299" y="270418"/>
                  </a:lnTo>
                  <a:lnTo>
                    <a:pt x="475705" y="270418"/>
                  </a:lnTo>
                  <a:lnTo>
                    <a:pt x="475705" y="17544"/>
                  </a:lnTo>
                  <a:lnTo>
                    <a:pt x="519299" y="17544"/>
                  </a:lnTo>
                  <a:close/>
                  <a:moveTo>
                    <a:pt x="811424" y="188093"/>
                  </a:moveTo>
                  <a:lnTo>
                    <a:pt x="854843" y="188093"/>
                  </a:lnTo>
                  <a:cubicBezTo>
                    <a:pt x="853452" y="204650"/>
                    <a:pt x="848822" y="219411"/>
                    <a:pt x="840947" y="232383"/>
                  </a:cubicBezTo>
                  <a:cubicBezTo>
                    <a:pt x="833073" y="245233"/>
                    <a:pt x="822017" y="255365"/>
                    <a:pt x="807776" y="262777"/>
                  </a:cubicBezTo>
                  <a:cubicBezTo>
                    <a:pt x="793535" y="270185"/>
                    <a:pt x="776225" y="273891"/>
                    <a:pt x="755845" y="273891"/>
                  </a:cubicBezTo>
                  <a:cubicBezTo>
                    <a:pt x="740213" y="273891"/>
                    <a:pt x="726147" y="271114"/>
                    <a:pt x="713642" y="265554"/>
                  </a:cubicBezTo>
                  <a:cubicBezTo>
                    <a:pt x="701137" y="259878"/>
                    <a:pt x="690427" y="251892"/>
                    <a:pt x="681512" y="241585"/>
                  </a:cubicBezTo>
                  <a:cubicBezTo>
                    <a:pt x="672596" y="231167"/>
                    <a:pt x="665768" y="218604"/>
                    <a:pt x="661021" y="203901"/>
                  </a:cubicBezTo>
                  <a:cubicBezTo>
                    <a:pt x="656390" y="189197"/>
                    <a:pt x="654075" y="172753"/>
                    <a:pt x="654075" y="154577"/>
                  </a:cubicBezTo>
                  <a:lnTo>
                    <a:pt x="654075" y="133560"/>
                  </a:lnTo>
                  <a:cubicBezTo>
                    <a:pt x="654075" y="115384"/>
                    <a:pt x="656449" y="98940"/>
                    <a:pt x="661196" y="84236"/>
                  </a:cubicBezTo>
                  <a:cubicBezTo>
                    <a:pt x="666059" y="69533"/>
                    <a:pt x="673005" y="56970"/>
                    <a:pt x="682037" y="46547"/>
                  </a:cubicBezTo>
                  <a:cubicBezTo>
                    <a:pt x="691069" y="36012"/>
                    <a:pt x="701891" y="27962"/>
                    <a:pt x="714513" y="22408"/>
                  </a:cubicBezTo>
                  <a:cubicBezTo>
                    <a:pt x="727246" y="16848"/>
                    <a:pt x="741546" y="14071"/>
                    <a:pt x="757411" y="14071"/>
                  </a:cubicBezTo>
                  <a:cubicBezTo>
                    <a:pt x="777557" y="14071"/>
                    <a:pt x="794581" y="17777"/>
                    <a:pt x="808472" y="25185"/>
                  </a:cubicBezTo>
                  <a:cubicBezTo>
                    <a:pt x="822368" y="32597"/>
                    <a:pt x="833131" y="42840"/>
                    <a:pt x="840777" y="55924"/>
                  </a:cubicBezTo>
                  <a:cubicBezTo>
                    <a:pt x="848535" y="69008"/>
                    <a:pt x="853282" y="84003"/>
                    <a:pt x="855018" y="100905"/>
                  </a:cubicBezTo>
                  <a:lnTo>
                    <a:pt x="811599" y="100905"/>
                  </a:lnTo>
                  <a:cubicBezTo>
                    <a:pt x="810442" y="90019"/>
                    <a:pt x="807893" y="80700"/>
                    <a:pt x="803958" y="72943"/>
                  </a:cubicBezTo>
                  <a:cubicBezTo>
                    <a:pt x="800140" y="65185"/>
                    <a:pt x="794464" y="59280"/>
                    <a:pt x="786940" y="55229"/>
                  </a:cubicBezTo>
                  <a:cubicBezTo>
                    <a:pt x="779415" y="51060"/>
                    <a:pt x="769571" y="48974"/>
                    <a:pt x="757416" y="48974"/>
                  </a:cubicBezTo>
                  <a:cubicBezTo>
                    <a:pt x="747460" y="48974"/>
                    <a:pt x="738773" y="50827"/>
                    <a:pt x="731366" y="54533"/>
                  </a:cubicBezTo>
                  <a:cubicBezTo>
                    <a:pt x="723953" y="58239"/>
                    <a:pt x="717762" y="63682"/>
                    <a:pt x="712781" y="70861"/>
                  </a:cubicBezTo>
                  <a:cubicBezTo>
                    <a:pt x="707801" y="78040"/>
                    <a:pt x="704041" y="86897"/>
                    <a:pt x="701492" y="97432"/>
                  </a:cubicBezTo>
                  <a:cubicBezTo>
                    <a:pt x="699060" y="107850"/>
                    <a:pt x="697844" y="119776"/>
                    <a:pt x="697844" y="133210"/>
                  </a:cubicBezTo>
                  <a:lnTo>
                    <a:pt x="697844" y="154572"/>
                  </a:lnTo>
                  <a:cubicBezTo>
                    <a:pt x="697844" y="167310"/>
                    <a:pt x="698944" y="178886"/>
                    <a:pt x="701142" y="189309"/>
                  </a:cubicBezTo>
                  <a:cubicBezTo>
                    <a:pt x="703457" y="199616"/>
                    <a:pt x="706930" y="208473"/>
                    <a:pt x="711565" y="215880"/>
                  </a:cubicBezTo>
                  <a:cubicBezTo>
                    <a:pt x="716312" y="223293"/>
                    <a:pt x="722334" y="229022"/>
                    <a:pt x="729629" y="233074"/>
                  </a:cubicBezTo>
                  <a:cubicBezTo>
                    <a:pt x="736925" y="237125"/>
                    <a:pt x="745665" y="239154"/>
                    <a:pt x="755855" y="239154"/>
                  </a:cubicBezTo>
                  <a:cubicBezTo>
                    <a:pt x="768243" y="239154"/>
                    <a:pt x="778258" y="237184"/>
                    <a:pt x="785904" y="233249"/>
                  </a:cubicBezTo>
                  <a:cubicBezTo>
                    <a:pt x="793661" y="229309"/>
                    <a:pt x="799508" y="223580"/>
                    <a:pt x="803443" y="216055"/>
                  </a:cubicBezTo>
                  <a:cubicBezTo>
                    <a:pt x="807494" y="208414"/>
                    <a:pt x="810159" y="199095"/>
                    <a:pt x="811434" y="188093"/>
                  </a:cubicBezTo>
                  <a:close/>
                  <a:moveTo>
                    <a:pt x="882285" y="178541"/>
                  </a:moveTo>
                  <a:lnTo>
                    <a:pt x="882285" y="174548"/>
                  </a:lnTo>
                  <a:cubicBezTo>
                    <a:pt x="882285" y="161002"/>
                    <a:pt x="884255" y="148439"/>
                    <a:pt x="888190" y="136858"/>
                  </a:cubicBezTo>
                  <a:cubicBezTo>
                    <a:pt x="892124" y="125165"/>
                    <a:pt x="897800" y="115034"/>
                    <a:pt x="905208" y="106464"/>
                  </a:cubicBezTo>
                  <a:cubicBezTo>
                    <a:pt x="912732" y="97782"/>
                    <a:pt x="921881" y="91065"/>
                    <a:pt x="932650" y="86318"/>
                  </a:cubicBezTo>
                  <a:cubicBezTo>
                    <a:pt x="943535" y="81454"/>
                    <a:pt x="955806" y="79022"/>
                    <a:pt x="969469" y="79022"/>
                  </a:cubicBezTo>
                  <a:cubicBezTo>
                    <a:pt x="983131" y="79022"/>
                    <a:pt x="995519" y="81454"/>
                    <a:pt x="1006288" y="86318"/>
                  </a:cubicBezTo>
                  <a:cubicBezTo>
                    <a:pt x="1017173" y="91065"/>
                    <a:pt x="1026375" y="97782"/>
                    <a:pt x="1033899" y="106464"/>
                  </a:cubicBezTo>
                  <a:cubicBezTo>
                    <a:pt x="1041424" y="115034"/>
                    <a:pt x="1047158" y="125165"/>
                    <a:pt x="1051093" y="136858"/>
                  </a:cubicBezTo>
                  <a:cubicBezTo>
                    <a:pt x="1055028" y="148434"/>
                    <a:pt x="1056998" y="160997"/>
                    <a:pt x="1056998" y="174548"/>
                  </a:cubicBezTo>
                  <a:lnTo>
                    <a:pt x="1056998" y="178541"/>
                  </a:lnTo>
                  <a:cubicBezTo>
                    <a:pt x="1056998" y="192086"/>
                    <a:pt x="1055028" y="204650"/>
                    <a:pt x="1051093" y="216226"/>
                  </a:cubicBezTo>
                  <a:cubicBezTo>
                    <a:pt x="1047153" y="227806"/>
                    <a:pt x="1041424" y="237938"/>
                    <a:pt x="1033899" y="246619"/>
                  </a:cubicBezTo>
                  <a:cubicBezTo>
                    <a:pt x="1026375" y="255189"/>
                    <a:pt x="1017226" y="261902"/>
                    <a:pt x="1006458" y="266765"/>
                  </a:cubicBezTo>
                  <a:cubicBezTo>
                    <a:pt x="995689" y="271512"/>
                    <a:pt x="983476" y="273886"/>
                    <a:pt x="969814" y="273886"/>
                  </a:cubicBezTo>
                  <a:cubicBezTo>
                    <a:pt x="956151" y="273886"/>
                    <a:pt x="943705" y="271512"/>
                    <a:pt x="932820" y="266765"/>
                  </a:cubicBezTo>
                  <a:cubicBezTo>
                    <a:pt x="922051" y="261902"/>
                    <a:pt x="912907" y="255189"/>
                    <a:pt x="905378" y="246619"/>
                  </a:cubicBezTo>
                  <a:cubicBezTo>
                    <a:pt x="897854" y="237938"/>
                    <a:pt x="892119" y="227806"/>
                    <a:pt x="888185" y="216226"/>
                  </a:cubicBezTo>
                  <a:cubicBezTo>
                    <a:pt x="884245" y="204650"/>
                    <a:pt x="882280" y="192086"/>
                    <a:pt x="882280" y="178541"/>
                  </a:cubicBezTo>
                  <a:close/>
                  <a:moveTo>
                    <a:pt x="924143" y="174548"/>
                  </a:moveTo>
                  <a:lnTo>
                    <a:pt x="924143" y="178541"/>
                  </a:lnTo>
                  <a:cubicBezTo>
                    <a:pt x="924143" y="186994"/>
                    <a:pt x="925013" y="194980"/>
                    <a:pt x="926750" y="202510"/>
                  </a:cubicBezTo>
                  <a:cubicBezTo>
                    <a:pt x="928486" y="210034"/>
                    <a:pt x="931210" y="216634"/>
                    <a:pt x="934911" y="222310"/>
                  </a:cubicBezTo>
                  <a:cubicBezTo>
                    <a:pt x="938617" y="227981"/>
                    <a:pt x="943365" y="232441"/>
                    <a:pt x="949152" y="235681"/>
                  </a:cubicBezTo>
                  <a:cubicBezTo>
                    <a:pt x="954940" y="238925"/>
                    <a:pt x="961832" y="240545"/>
                    <a:pt x="969819" y="240545"/>
                  </a:cubicBezTo>
                  <a:cubicBezTo>
                    <a:pt x="977805" y="240545"/>
                    <a:pt x="984293" y="238925"/>
                    <a:pt x="989965" y="235681"/>
                  </a:cubicBezTo>
                  <a:cubicBezTo>
                    <a:pt x="995753" y="232441"/>
                    <a:pt x="1000500" y="227981"/>
                    <a:pt x="1004206" y="222310"/>
                  </a:cubicBezTo>
                  <a:cubicBezTo>
                    <a:pt x="1007912" y="216634"/>
                    <a:pt x="1010631" y="210039"/>
                    <a:pt x="1012367" y="202510"/>
                  </a:cubicBezTo>
                  <a:cubicBezTo>
                    <a:pt x="1014220" y="194985"/>
                    <a:pt x="1015145" y="186994"/>
                    <a:pt x="1015145" y="178541"/>
                  </a:cubicBezTo>
                  <a:lnTo>
                    <a:pt x="1015145" y="174548"/>
                  </a:lnTo>
                  <a:cubicBezTo>
                    <a:pt x="1015145" y="166211"/>
                    <a:pt x="1014220" y="158336"/>
                    <a:pt x="1012367" y="150929"/>
                  </a:cubicBezTo>
                  <a:cubicBezTo>
                    <a:pt x="1010631" y="143405"/>
                    <a:pt x="1007854" y="136746"/>
                    <a:pt x="1004031" y="130958"/>
                  </a:cubicBezTo>
                  <a:cubicBezTo>
                    <a:pt x="1000325" y="125170"/>
                    <a:pt x="995578" y="120652"/>
                    <a:pt x="989790" y="117412"/>
                  </a:cubicBezTo>
                  <a:cubicBezTo>
                    <a:pt x="984118" y="114056"/>
                    <a:pt x="977343" y="112373"/>
                    <a:pt x="969469" y="112373"/>
                  </a:cubicBezTo>
                  <a:cubicBezTo>
                    <a:pt x="961594" y="112373"/>
                    <a:pt x="954765" y="114051"/>
                    <a:pt x="948977" y="117412"/>
                  </a:cubicBezTo>
                  <a:cubicBezTo>
                    <a:pt x="943301" y="120657"/>
                    <a:pt x="938613" y="125170"/>
                    <a:pt x="934911" y="130958"/>
                  </a:cubicBezTo>
                  <a:cubicBezTo>
                    <a:pt x="931205" y="136746"/>
                    <a:pt x="928486" y="143405"/>
                    <a:pt x="926750" y="150929"/>
                  </a:cubicBezTo>
                  <a:cubicBezTo>
                    <a:pt x="925013" y="158336"/>
                    <a:pt x="924143" y="166211"/>
                    <a:pt x="924143" y="174548"/>
                  </a:cubicBezTo>
                  <a:close/>
                  <a:moveTo>
                    <a:pt x="1133598" y="122617"/>
                  </a:moveTo>
                  <a:lnTo>
                    <a:pt x="1133598" y="270418"/>
                  </a:lnTo>
                  <a:lnTo>
                    <a:pt x="1091745" y="270418"/>
                  </a:lnTo>
                  <a:lnTo>
                    <a:pt x="1091745" y="82495"/>
                  </a:lnTo>
                  <a:lnTo>
                    <a:pt x="1131171" y="82495"/>
                  </a:lnTo>
                  <a:lnTo>
                    <a:pt x="1133603" y="122617"/>
                  </a:lnTo>
                  <a:close/>
                  <a:moveTo>
                    <a:pt x="1126132" y="169509"/>
                  </a:moveTo>
                  <a:lnTo>
                    <a:pt x="1112586" y="169334"/>
                  </a:lnTo>
                  <a:cubicBezTo>
                    <a:pt x="1112703" y="156016"/>
                    <a:pt x="1114556" y="143803"/>
                    <a:pt x="1118145" y="132690"/>
                  </a:cubicBezTo>
                  <a:cubicBezTo>
                    <a:pt x="1121852" y="121576"/>
                    <a:pt x="1126944" y="112023"/>
                    <a:pt x="1133428" y="104032"/>
                  </a:cubicBezTo>
                  <a:cubicBezTo>
                    <a:pt x="1140028" y="96046"/>
                    <a:pt x="1147902" y="89908"/>
                    <a:pt x="1157046" y="85623"/>
                  </a:cubicBezTo>
                  <a:cubicBezTo>
                    <a:pt x="1166195" y="81226"/>
                    <a:pt x="1176385" y="79022"/>
                    <a:pt x="1187615" y="79022"/>
                  </a:cubicBezTo>
                  <a:cubicBezTo>
                    <a:pt x="1196647" y="79022"/>
                    <a:pt x="1204809" y="80297"/>
                    <a:pt x="1212105" y="82840"/>
                  </a:cubicBezTo>
                  <a:cubicBezTo>
                    <a:pt x="1219517" y="85272"/>
                    <a:pt x="1225825" y="89265"/>
                    <a:pt x="1231034" y="94825"/>
                  </a:cubicBezTo>
                  <a:cubicBezTo>
                    <a:pt x="1236360" y="100384"/>
                    <a:pt x="1240412" y="107617"/>
                    <a:pt x="1243189" y="116532"/>
                  </a:cubicBezTo>
                  <a:cubicBezTo>
                    <a:pt x="1245966" y="125331"/>
                    <a:pt x="1247357" y="136157"/>
                    <a:pt x="1247357" y="149008"/>
                  </a:cubicBezTo>
                  <a:lnTo>
                    <a:pt x="1247357" y="270408"/>
                  </a:lnTo>
                  <a:lnTo>
                    <a:pt x="1205329" y="270408"/>
                  </a:lnTo>
                  <a:lnTo>
                    <a:pt x="1205329" y="148833"/>
                  </a:lnTo>
                  <a:cubicBezTo>
                    <a:pt x="1205329" y="139800"/>
                    <a:pt x="1203996" y="132680"/>
                    <a:pt x="1201336" y="127471"/>
                  </a:cubicBezTo>
                  <a:cubicBezTo>
                    <a:pt x="1198787" y="122145"/>
                    <a:pt x="1195028" y="118380"/>
                    <a:pt x="1190047" y="116182"/>
                  </a:cubicBezTo>
                  <a:cubicBezTo>
                    <a:pt x="1185183" y="113867"/>
                    <a:pt x="1179104" y="112709"/>
                    <a:pt x="1171813" y="112709"/>
                  </a:cubicBezTo>
                  <a:cubicBezTo>
                    <a:pt x="1164522" y="112709"/>
                    <a:pt x="1158209" y="114212"/>
                    <a:pt x="1152533" y="117223"/>
                  </a:cubicBezTo>
                  <a:cubicBezTo>
                    <a:pt x="1146861" y="120233"/>
                    <a:pt x="1142056" y="124343"/>
                    <a:pt x="1138116" y="129552"/>
                  </a:cubicBezTo>
                  <a:cubicBezTo>
                    <a:pt x="1134293" y="134762"/>
                    <a:pt x="1131341" y="140783"/>
                    <a:pt x="1129259" y="147617"/>
                  </a:cubicBezTo>
                  <a:cubicBezTo>
                    <a:pt x="1127178" y="154445"/>
                    <a:pt x="1126132" y="161741"/>
                    <a:pt x="1126132" y="169499"/>
                  </a:cubicBezTo>
                  <a:close/>
                  <a:moveTo>
                    <a:pt x="1346701" y="270418"/>
                  </a:moveTo>
                  <a:lnTo>
                    <a:pt x="1304843" y="270418"/>
                  </a:lnTo>
                  <a:lnTo>
                    <a:pt x="1304843" y="64436"/>
                  </a:lnTo>
                  <a:cubicBezTo>
                    <a:pt x="1304843" y="50428"/>
                    <a:pt x="1307450" y="38672"/>
                    <a:pt x="1312659" y="29178"/>
                  </a:cubicBezTo>
                  <a:cubicBezTo>
                    <a:pt x="1317985" y="19567"/>
                    <a:pt x="1325567" y="12330"/>
                    <a:pt x="1335412" y="7471"/>
                  </a:cubicBezTo>
                  <a:cubicBezTo>
                    <a:pt x="1345256" y="2490"/>
                    <a:pt x="1356890" y="0"/>
                    <a:pt x="1370319" y="0"/>
                  </a:cubicBezTo>
                  <a:cubicBezTo>
                    <a:pt x="1374488" y="0"/>
                    <a:pt x="1378597" y="292"/>
                    <a:pt x="1382649" y="871"/>
                  </a:cubicBezTo>
                  <a:cubicBezTo>
                    <a:pt x="1386701" y="1333"/>
                    <a:pt x="1390640" y="2087"/>
                    <a:pt x="1394458" y="3127"/>
                  </a:cubicBezTo>
                  <a:lnTo>
                    <a:pt x="1393418" y="35433"/>
                  </a:lnTo>
                  <a:cubicBezTo>
                    <a:pt x="1391102" y="34854"/>
                    <a:pt x="1388554" y="34450"/>
                    <a:pt x="1385776" y="34217"/>
                  </a:cubicBezTo>
                  <a:cubicBezTo>
                    <a:pt x="1383116" y="33983"/>
                    <a:pt x="1380217" y="33867"/>
                    <a:pt x="1377095" y="33867"/>
                  </a:cubicBezTo>
                  <a:cubicBezTo>
                    <a:pt x="1370728" y="33867"/>
                    <a:pt x="1365227" y="35083"/>
                    <a:pt x="1360596" y="37515"/>
                  </a:cubicBezTo>
                  <a:cubicBezTo>
                    <a:pt x="1356083" y="39830"/>
                    <a:pt x="1352605" y="43244"/>
                    <a:pt x="1350178" y="47763"/>
                  </a:cubicBezTo>
                  <a:cubicBezTo>
                    <a:pt x="1347863" y="52281"/>
                    <a:pt x="1346706" y="57836"/>
                    <a:pt x="1346706" y="64436"/>
                  </a:cubicBezTo>
                  <a:lnTo>
                    <a:pt x="1346706" y="270418"/>
                  </a:lnTo>
                  <a:close/>
                  <a:moveTo>
                    <a:pt x="1385431" y="82500"/>
                  </a:moveTo>
                  <a:lnTo>
                    <a:pt x="1385431" y="113069"/>
                  </a:lnTo>
                  <a:lnTo>
                    <a:pt x="1276015" y="113069"/>
                  </a:lnTo>
                  <a:lnTo>
                    <a:pt x="1276015" y="82500"/>
                  </a:lnTo>
                  <a:lnTo>
                    <a:pt x="1385431" y="82500"/>
                  </a:lnTo>
                  <a:close/>
                </a:path>
              </a:pathLst>
            </a:custGeom>
            <a:solidFill>
              <a:schemeClr val="tx1"/>
            </a:solidFill>
            <a:ln w="4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7" name="Полилиния: фигура 46">
              <a:extLst>
                <a:ext uri="{FF2B5EF4-FFF2-40B4-BE49-F238E27FC236}">
                  <a16:creationId xmlns:a16="http://schemas.microsoft.com/office/drawing/2014/main" id="{0E6F0FB0-99D0-4190-B058-29B8184B7C5F}"/>
                </a:ext>
              </a:extLst>
            </p:cNvPr>
            <p:cNvSpPr/>
            <p:nvPr/>
          </p:nvSpPr>
          <p:spPr>
            <a:xfrm>
              <a:off x="8902858" y="5892336"/>
              <a:ext cx="774600" cy="259834"/>
            </a:xfrm>
            <a:custGeom>
              <a:avLst/>
              <a:gdLst>
                <a:gd name="connsiteX0" fmla="*/ 174372 w 774600"/>
                <a:gd name="connsiteY0" fmla="*/ 223015 h 259834"/>
                <a:gd name="connsiteX1" fmla="*/ 174372 w 774600"/>
                <a:gd name="connsiteY1" fmla="*/ 256362 h 259834"/>
                <a:gd name="connsiteX2" fmla="*/ 4859 w 774600"/>
                <a:gd name="connsiteY2" fmla="*/ 256362 h 259834"/>
                <a:gd name="connsiteX3" fmla="*/ 4859 w 774600"/>
                <a:gd name="connsiteY3" fmla="*/ 227704 h 259834"/>
                <a:gd name="connsiteX4" fmla="*/ 87193 w 774600"/>
                <a:gd name="connsiteY4" fmla="*/ 137913 h 259834"/>
                <a:gd name="connsiteX5" fmla="*/ 108541 w 774600"/>
                <a:gd name="connsiteY5" fmla="*/ 111513 h 259834"/>
                <a:gd name="connsiteX6" fmla="*/ 119499 w 774600"/>
                <a:gd name="connsiteY6" fmla="*/ 91542 h 259834"/>
                <a:gd name="connsiteX7" fmla="*/ 122797 w 774600"/>
                <a:gd name="connsiteY7" fmla="*/ 73998 h 259834"/>
                <a:gd name="connsiteX8" fmla="*/ 118278 w 774600"/>
                <a:gd name="connsiteY8" fmla="*/ 52981 h 259834"/>
                <a:gd name="connsiteX9" fmla="*/ 105413 w 774600"/>
                <a:gd name="connsiteY9" fmla="*/ 38565 h 259834"/>
                <a:gd name="connsiteX10" fmla="*/ 84752 w 774600"/>
                <a:gd name="connsiteY10" fmla="*/ 33181 h 259834"/>
                <a:gd name="connsiteX11" fmla="*/ 61138 w 774600"/>
                <a:gd name="connsiteY11" fmla="*/ 39261 h 259834"/>
                <a:gd name="connsiteX12" fmla="*/ 46712 w 774600"/>
                <a:gd name="connsiteY12" fmla="*/ 56109 h 259834"/>
                <a:gd name="connsiteX13" fmla="*/ 41853 w 774600"/>
                <a:gd name="connsiteY13" fmla="*/ 80423 h 259834"/>
                <a:gd name="connsiteX14" fmla="*/ 0 w 774600"/>
                <a:gd name="connsiteY14" fmla="*/ 80423 h 259834"/>
                <a:gd name="connsiteX15" fmla="*/ 10083 w 774600"/>
                <a:gd name="connsiteY15" fmla="*/ 40131 h 259834"/>
                <a:gd name="connsiteX16" fmla="*/ 39261 w 774600"/>
                <a:gd name="connsiteY16" fmla="*/ 10953 h 259834"/>
                <a:gd name="connsiteX17" fmla="*/ 85272 w 774600"/>
                <a:gd name="connsiteY17" fmla="*/ 10 h 259834"/>
                <a:gd name="connsiteX18" fmla="*/ 128346 w 774600"/>
                <a:gd name="connsiteY18" fmla="*/ 8521 h 259834"/>
                <a:gd name="connsiteX19" fmla="*/ 155277 w 774600"/>
                <a:gd name="connsiteY19" fmla="*/ 32660 h 259834"/>
                <a:gd name="connsiteX20" fmla="*/ 164654 w 774600"/>
                <a:gd name="connsiteY20" fmla="*/ 69655 h 259834"/>
                <a:gd name="connsiteX21" fmla="*/ 160827 w 774600"/>
                <a:gd name="connsiteY21" fmla="*/ 93103 h 259834"/>
                <a:gd name="connsiteX22" fmla="*/ 149888 w 774600"/>
                <a:gd name="connsiteY22" fmla="*/ 116376 h 259834"/>
                <a:gd name="connsiteX23" fmla="*/ 133400 w 774600"/>
                <a:gd name="connsiteY23" fmla="*/ 139475 h 259834"/>
                <a:gd name="connsiteX24" fmla="*/ 112378 w 774600"/>
                <a:gd name="connsiteY24" fmla="*/ 162748 h 259834"/>
                <a:gd name="connsiteX25" fmla="*/ 57675 w 774600"/>
                <a:gd name="connsiteY25" fmla="*/ 223015 h 259834"/>
                <a:gd name="connsiteX26" fmla="*/ 174377 w 774600"/>
                <a:gd name="connsiteY26" fmla="*/ 223015 h 259834"/>
                <a:gd name="connsiteX27" fmla="*/ 371848 w 774600"/>
                <a:gd name="connsiteY27" fmla="*/ 108735 h 259834"/>
                <a:gd name="connsiteX28" fmla="*/ 371848 w 774600"/>
                <a:gd name="connsiteY28" fmla="*/ 150068 h 259834"/>
                <a:gd name="connsiteX29" fmla="*/ 365938 w 774600"/>
                <a:gd name="connsiteY29" fmla="*/ 200783 h 259834"/>
                <a:gd name="connsiteX30" fmla="*/ 349260 w 774600"/>
                <a:gd name="connsiteY30" fmla="*/ 234650 h 259834"/>
                <a:gd name="connsiteX31" fmla="*/ 323035 w 774600"/>
                <a:gd name="connsiteY31" fmla="*/ 253755 h 259834"/>
                <a:gd name="connsiteX32" fmla="*/ 289168 w 774600"/>
                <a:gd name="connsiteY32" fmla="*/ 259834 h 259834"/>
                <a:gd name="connsiteX33" fmla="*/ 261381 w 774600"/>
                <a:gd name="connsiteY33" fmla="*/ 256011 h 259834"/>
                <a:gd name="connsiteX34" fmla="*/ 238468 w 774600"/>
                <a:gd name="connsiteY34" fmla="*/ 244027 h 259834"/>
                <a:gd name="connsiteX35" fmla="*/ 220914 w 774600"/>
                <a:gd name="connsiteY35" fmla="*/ 223011 h 259834"/>
                <a:gd name="connsiteX36" fmla="*/ 209800 w 774600"/>
                <a:gd name="connsiteY36" fmla="*/ 191921 h 259834"/>
                <a:gd name="connsiteX37" fmla="*/ 205972 w 774600"/>
                <a:gd name="connsiteY37" fmla="*/ 150063 h 259834"/>
                <a:gd name="connsiteX38" fmla="*/ 205972 w 774600"/>
                <a:gd name="connsiteY38" fmla="*/ 108730 h 259834"/>
                <a:gd name="connsiteX39" fmla="*/ 211882 w 774600"/>
                <a:gd name="connsiteY39" fmla="*/ 58366 h 259834"/>
                <a:gd name="connsiteX40" fmla="*/ 228730 w 774600"/>
                <a:gd name="connsiteY40" fmla="*/ 24844 h 259834"/>
                <a:gd name="connsiteX41" fmla="*/ 254786 w 774600"/>
                <a:gd name="connsiteY41" fmla="*/ 5914 h 259834"/>
                <a:gd name="connsiteX42" fmla="*/ 288827 w 774600"/>
                <a:gd name="connsiteY42" fmla="*/ 10 h 259834"/>
                <a:gd name="connsiteX43" fmla="*/ 316614 w 774600"/>
                <a:gd name="connsiteY43" fmla="*/ 3833 h 259834"/>
                <a:gd name="connsiteX44" fmla="*/ 339542 w 774600"/>
                <a:gd name="connsiteY44" fmla="*/ 15467 h 259834"/>
                <a:gd name="connsiteX45" fmla="*/ 356906 w 774600"/>
                <a:gd name="connsiteY45" fmla="*/ 36308 h 259834"/>
                <a:gd name="connsiteX46" fmla="*/ 368020 w 774600"/>
                <a:gd name="connsiteY46" fmla="*/ 67048 h 259834"/>
                <a:gd name="connsiteX47" fmla="*/ 371848 w 774600"/>
                <a:gd name="connsiteY47" fmla="*/ 108730 h 259834"/>
                <a:gd name="connsiteX48" fmla="*/ 329995 w 774600"/>
                <a:gd name="connsiteY48" fmla="*/ 155978 h 259834"/>
                <a:gd name="connsiteX49" fmla="*/ 329995 w 774600"/>
                <a:gd name="connsiteY49" fmla="*/ 102485 h 259834"/>
                <a:gd name="connsiteX50" fmla="*/ 328258 w 774600"/>
                <a:gd name="connsiteY50" fmla="*/ 75914 h 259834"/>
                <a:gd name="connsiteX51" fmla="*/ 323039 w 774600"/>
                <a:gd name="connsiteY51" fmla="*/ 56289 h 259834"/>
                <a:gd name="connsiteX52" fmla="*/ 314708 w 774600"/>
                <a:gd name="connsiteY52" fmla="*/ 43088 h 259834"/>
                <a:gd name="connsiteX53" fmla="*/ 303234 w 774600"/>
                <a:gd name="connsiteY53" fmla="*/ 35623 h 259834"/>
                <a:gd name="connsiteX54" fmla="*/ 288823 w 774600"/>
                <a:gd name="connsiteY54" fmla="*/ 33191 h 259834"/>
                <a:gd name="connsiteX55" fmla="*/ 271459 w 774600"/>
                <a:gd name="connsiteY55" fmla="*/ 37014 h 259834"/>
                <a:gd name="connsiteX56" fmla="*/ 258613 w 774600"/>
                <a:gd name="connsiteY56" fmla="*/ 48823 h 259834"/>
                <a:gd name="connsiteX57" fmla="*/ 250608 w 774600"/>
                <a:gd name="connsiteY57" fmla="*/ 70360 h 259834"/>
                <a:gd name="connsiteX58" fmla="*/ 248015 w 774600"/>
                <a:gd name="connsiteY58" fmla="*/ 102490 h 259834"/>
                <a:gd name="connsiteX59" fmla="*/ 248015 w 774600"/>
                <a:gd name="connsiteY59" fmla="*/ 155982 h 259834"/>
                <a:gd name="connsiteX60" fmla="*/ 249752 w 774600"/>
                <a:gd name="connsiteY60" fmla="*/ 182904 h 259834"/>
                <a:gd name="connsiteX61" fmla="*/ 254956 w 774600"/>
                <a:gd name="connsiteY61" fmla="*/ 202874 h 259834"/>
                <a:gd name="connsiteX62" fmla="*/ 263302 w 774600"/>
                <a:gd name="connsiteY62" fmla="*/ 216420 h 259834"/>
                <a:gd name="connsiteX63" fmla="*/ 274756 w 774600"/>
                <a:gd name="connsiteY63" fmla="*/ 224061 h 259834"/>
                <a:gd name="connsiteX64" fmla="*/ 289168 w 774600"/>
                <a:gd name="connsiteY64" fmla="*/ 226493 h 259834"/>
                <a:gd name="connsiteX65" fmla="*/ 306721 w 774600"/>
                <a:gd name="connsiteY65" fmla="*/ 222670 h 259834"/>
                <a:gd name="connsiteX66" fmla="*/ 319567 w 774600"/>
                <a:gd name="connsiteY66" fmla="*/ 210511 h 259834"/>
                <a:gd name="connsiteX67" fmla="*/ 327383 w 774600"/>
                <a:gd name="connsiteY67" fmla="*/ 188453 h 259834"/>
                <a:gd name="connsiteX68" fmla="*/ 329995 w 774600"/>
                <a:gd name="connsiteY68" fmla="*/ 155978 h 259834"/>
                <a:gd name="connsiteX69" fmla="*/ 578701 w 774600"/>
                <a:gd name="connsiteY69" fmla="*/ 223015 h 259834"/>
                <a:gd name="connsiteX70" fmla="*/ 578701 w 774600"/>
                <a:gd name="connsiteY70" fmla="*/ 256362 h 259834"/>
                <a:gd name="connsiteX71" fmla="*/ 409187 w 774600"/>
                <a:gd name="connsiteY71" fmla="*/ 256362 h 259834"/>
                <a:gd name="connsiteX72" fmla="*/ 409187 w 774600"/>
                <a:gd name="connsiteY72" fmla="*/ 227704 h 259834"/>
                <a:gd name="connsiteX73" fmla="*/ 491507 w 774600"/>
                <a:gd name="connsiteY73" fmla="*/ 137913 h 259834"/>
                <a:gd name="connsiteX74" fmla="*/ 512874 w 774600"/>
                <a:gd name="connsiteY74" fmla="*/ 111513 h 259834"/>
                <a:gd name="connsiteX75" fmla="*/ 523813 w 774600"/>
                <a:gd name="connsiteY75" fmla="*/ 91542 h 259834"/>
                <a:gd name="connsiteX76" fmla="*/ 527110 w 774600"/>
                <a:gd name="connsiteY76" fmla="*/ 73998 h 259834"/>
                <a:gd name="connsiteX77" fmla="*/ 522592 w 774600"/>
                <a:gd name="connsiteY77" fmla="*/ 52981 h 259834"/>
                <a:gd name="connsiteX78" fmla="*/ 509746 w 774600"/>
                <a:gd name="connsiteY78" fmla="*/ 38565 h 259834"/>
                <a:gd name="connsiteX79" fmla="*/ 489085 w 774600"/>
                <a:gd name="connsiteY79" fmla="*/ 33181 h 259834"/>
                <a:gd name="connsiteX80" fmla="*/ 465452 w 774600"/>
                <a:gd name="connsiteY80" fmla="*/ 39261 h 259834"/>
                <a:gd name="connsiteX81" fmla="*/ 451040 w 774600"/>
                <a:gd name="connsiteY81" fmla="*/ 56109 h 259834"/>
                <a:gd name="connsiteX82" fmla="*/ 446181 w 774600"/>
                <a:gd name="connsiteY82" fmla="*/ 80423 h 259834"/>
                <a:gd name="connsiteX83" fmla="*/ 404328 w 774600"/>
                <a:gd name="connsiteY83" fmla="*/ 80423 h 259834"/>
                <a:gd name="connsiteX84" fmla="*/ 414391 w 774600"/>
                <a:gd name="connsiteY84" fmla="*/ 40131 h 259834"/>
                <a:gd name="connsiteX85" fmla="*/ 443569 w 774600"/>
                <a:gd name="connsiteY85" fmla="*/ 10953 h 259834"/>
                <a:gd name="connsiteX86" fmla="*/ 489596 w 774600"/>
                <a:gd name="connsiteY86" fmla="*/ 10 h 259834"/>
                <a:gd name="connsiteX87" fmla="*/ 532670 w 774600"/>
                <a:gd name="connsiteY87" fmla="*/ 8521 h 259834"/>
                <a:gd name="connsiteX88" fmla="*/ 559581 w 774600"/>
                <a:gd name="connsiteY88" fmla="*/ 32660 h 259834"/>
                <a:gd name="connsiteX89" fmla="*/ 568958 w 774600"/>
                <a:gd name="connsiteY89" fmla="*/ 69655 h 259834"/>
                <a:gd name="connsiteX90" fmla="*/ 565145 w 774600"/>
                <a:gd name="connsiteY90" fmla="*/ 93103 h 259834"/>
                <a:gd name="connsiteX91" fmla="*/ 554207 w 774600"/>
                <a:gd name="connsiteY91" fmla="*/ 116376 h 259834"/>
                <a:gd name="connsiteX92" fmla="*/ 537704 w 774600"/>
                <a:gd name="connsiteY92" fmla="*/ 139475 h 259834"/>
                <a:gd name="connsiteX93" fmla="*/ 516697 w 774600"/>
                <a:gd name="connsiteY93" fmla="*/ 162748 h 259834"/>
                <a:gd name="connsiteX94" fmla="*/ 461979 w 774600"/>
                <a:gd name="connsiteY94" fmla="*/ 223015 h 259834"/>
                <a:gd name="connsiteX95" fmla="*/ 578701 w 774600"/>
                <a:gd name="connsiteY95" fmla="*/ 223015 h 259834"/>
                <a:gd name="connsiteX96" fmla="*/ 660505 w 774600"/>
                <a:gd name="connsiteY96" fmla="*/ 110992 h 259834"/>
                <a:gd name="connsiteX97" fmla="*/ 685510 w 774600"/>
                <a:gd name="connsiteY97" fmla="*/ 110992 h 259834"/>
                <a:gd name="connsiteX98" fmla="*/ 709639 w 774600"/>
                <a:gd name="connsiteY98" fmla="*/ 105953 h 259834"/>
                <a:gd name="connsiteX99" fmla="*/ 724065 w 774600"/>
                <a:gd name="connsiteY99" fmla="*/ 92057 h 259834"/>
                <a:gd name="connsiteX100" fmla="*/ 728754 w 774600"/>
                <a:gd name="connsiteY100" fmla="*/ 71736 h 259834"/>
                <a:gd name="connsiteX101" fmla="*/ 724411 w 774600"/>
                <a:gd name="connsiteY101" fmla="*/ 51240 h 259834"/>
                <a:gd name="connsiteX102" fmla="*/ 711565 w 774600"/>
                <a:gd name="connsiteY102" fmla="*/ 37865 h 259834"/>
                <a:gd name="connsiteX103" fmla="*/ 689858 w 774600"/>
                <a:gd name="connsiteY103" fmla="*/ 33176 h 259834"/>
                <a:gd name="connsiteX104" fmla="*/ 669712 w 774600"/>
                <a:gd name="connsiteY104" fmla="*/ 37690 h 259834"/>
                <a:gd name="connsiteX105" fmla="*/ 655626 w 774600"/>
                <a:gd name="connsiteY105" fmla="*/ 50195 h 259834"/>
                <a:gd name="connsiteX106" fmla="*/ 650422 w 774600"/>
                <a:gd name="connsiteY106" fmla="*/ 69300 h 259834"/>
                <a:gd name="connsiteX107" fmla="*/ 608394 w 774600"/>
                <a:gd name="connsiteY107" fmla="*/ 69300 h 259834"/>
                <a:gd name="connsiteX108" fmla="*/ 618992 w 774600"/>
                <a:gd name="connsiteY108" fmla="*/ 33521 h 259834"/>
                <a:gd name="connsiteX109" fmla="*/ 647810 w 774600"/>
                <a:gd name="connsiteY109" fmla="*/ 9032 h 259834"/>
                <a:gd name="connsiteX110" fmla="*/ 689148 w 774600"/>
                <a:gd name="connsiteY110" fmla="*/ 0 h 259834"/>
                <a:gd name="connsiteX111" fmla="*/ 731876 w 774600"/>
                <a:gd name="connsiteY111" fmla="*/ 8161 h 259834"/>
                <a:gd name="connsiteX112" fmla="*/ 760524 w 774600"/>
                <a:gd name="connsiteY112" fmla="*/ 32130 h 259834"/>
                <a:gd name="connsiteX113" fmla="*/ 770777 w 774600"/>
                <a:gd name="connsiteY113" fmla="*/ 71731 h 259834"/>
                <a:gd name="connsiteX114" fmla="*/ 765743 w 774600"/>
                <a:gd name="connsiteY114" fmla="*/ 93614 h 259834"/>
                <a:gd name="connsiteX115" fmla="*/ 750802 w 774600"/>
                <a:gd name="connsiteY115" fmla="*/ 113935 h 259834"/>
                <a:gd name="connsiteX116" fmla="*/ 726137 w 774600"/>
                <a:gd name="connsiteY116" fmla="*/ 128696 h 259834"/>
                <a:gd name="connsiteX117" fmla="*/ 691925 w 774600"/>
                <a:gd name="connsiteY117" fmla="*/ 134256 h 259834"/>
                <a:gd name="connsiteX118" fmla="*/ 660495 w 774600"/>
                <a:gd name="connsiteY118" fmla="*/ 134256 h 259834"/>
                <a:gd name="connsiteX119" fmla="*/ 660495 w 774600"/>
                <a:gd name="connsiteY119" fmla="*/ 110982 h 259834"/>
                <a:gd name="connsiteX120" fmla="*/ 660505 w 774600"/>
                <a:gd name="connsiteY120" fmla="*/ 143643 h 259834"/>
                <a:gd name="connsiteX121" fmla="*/ 660505 w 774600"/>
                <a:gd name="connsiteY121" fmla="*/ 120715 h 259834"/>
                <a:gd name="connsiteX122" fmla="*/ 691935 w 774600"/>
                <a:gd name="connsiteY122" fmla="*/ 120715 h 259834"/>
                <a:gd name="connsiteX123" fmla="*/ 729790 w 774600"/>
                <a:gd name="connsiteY123" fmla="*/ 125924 h 259834"/>
                <a:gd name="connsiteX124" fmla="*/ 755500 w 774600"/>
                <a:gd name="connsiteY124" fmla="*/ 140340 h 259834"/>
                <a:gd name="connsiteX125" fmla="*/ 769911 w 774600"/>
                <a:gd name="connsiteY125" fmla="*/ 161007 h 259834"/>
                <a:gd name="connsiteX126" fmla="*/ 774600 w 774600"/>
                <a:gd name="connsiteY126" fmla="*/ 185671 h 259834"/>
                <a:gd name="connsiteX127" fmla="*/ 768175 w 774600"/>
                <a:gd name="connsiteY127" fmla="*/ 217281 h 259834"/>
                <a:gd name="connsiteX128" fmla="*/ 750296 w 774600"/>
                <a:gd name="connsiteY128" fmla="*/ 240554 h 259834"/>
                <a:gd name="connsiteX129" fmla="*/ 723024 w 774600"/>
                <a:gd name="connsiteY129" fmla="*/ 254971 h 259834"/>
                <a:gd name="connsiteX130" fmla="*/ 689328 w 774600"/>
                <a:gd name="connsiteY130" fmla="*/ 259834 h 259834"/>
                <a:gd name="connsiteX131" fmla="*/ 658068 w 774600"/>
                <a:gd name="connsiteY131" fmla="*/ 255316 h 259834"/>
                <a:gd name="connsiteX132" fmla="*/ 631327 w 774600"/>
                <a:gd name="connsiteY132" fmla="*/ 241945 h 259834"/>
                <a:gd name="connsiteX133" fmla="*/ 612572 w 774600"/>
                <a:gd name="connsiteY133" fmla="*/ 219543 h 259834"/>
                <a:gd name="connsiteX134" fmla="*/ 605787 w 774600"/>
                <a:gd name="connsiteY134" fmla="*/ 188283 h 259834"/>
                <a:gd name="connsiteX135" fmla="*/ 647640 w 774600"/>
                <a:gd name="connsiteY135" fmla="*/ 188283 h 259834"/>
                <a:gd name="connsiteX136" fmla="*/ 652859 w 774600"/>
                <a:gd name="connsiteY136" fmla="*/ 208254 h 259834"/>
                <a:gd name="connsiteX137" fmla="*/ 667786 w 774600"/>
                <a:gd name="connsiteY137" fmla="*/ 221624 h 259834"/>
                <a:gd name="connsiteX138" fmla="*/ 690028 w 774600"/>
                <a:gd name="connsiteY138" fmla="*/ 226488 h 259834"/>
                <a:gd name="connsiteX139" fmla="*/ 712767 w 774600"/>
                <a:gd name="connsiteY139" fmla="*/ 221799 h 259834"/>
                <a:gd name="connsiteX140" fmla="*/ 727363 w 774600"/>
                <a:gd name="connsiteY140" fmla="*/ 207904 h 259834"/>
                <a:gd name="connsiteX141" fmla="*/ 732567 w 774600"/>
                <a:gd name="connsiteY141" fmla="*/ 185671 h 259834"/>
                <a:gd name="connsiteX142" fmla="*/ 726847 w 774600"/>
                <a:gd name="connsiteY142" fmla="*/ 161702 h 259834"/>
                <a:gd name="connsiteX143" fmla="*/ 710515 w 774600"/>
                <a:gd name="connsiteY143" fmla="*/ 148157 h 259834"/>
                <a:gd name="connsiteX144" fmla="*/ 685510 w 774600"/>
                <a:gd name="connsiteY144" fmla="*/ 143643 h 259834"/>
                <a:gd name="connsiteX145" fmla="*/ 660505 w 774600"/>
                <a:gd name="connsiteY145" fmla="*/ 143643 h 2598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</a:cxnLst>
              <a:rect l="l" t="t" r="r" b="b"/>
              <a:pathLst>
                <a:path w="774600" h="259834">
                  <a:moveTo>
                    <a:pt x="174372" y="223015"/>
                  </a:moveTo>
                  <a:lnTo>
                    <a:pt x="174372" y="256362"/>
                  </a:lnTo>
                  <a:lnTo>
                    <a:pt x="4859" y="256362"/>
                  </a:lnTo>
                  <a:lnTo>
                    <a:pt x="4859" y="227704"/>
                  </a:lnTo>
                  <a:lnTo>
                    <a:pt x="87193" y="137913"/>
                  </a:lnTo>
                  <a:cubicBezTo>
                    <a:pt x="96211" y="127724"/>
                    <a:pt x="103336" y="118925"/>
                    <a:pt x="108541" y="111513"/>
                  </a:cubicBezTo>
                  <a:cubicBezTo>
                    <a:pt x="113760" y="104100"/>
                    <a:pt x="117403" y="97446"/>
                    <a:pt x="119499" y="91542"/>
                  </a:cubicBezTo>
                  <a:cubicBezTo>
                    <a:pt x="121697" y="85520"/>
                    <a:pt x="122797" y="79674"/>
                    <a:pt x="122797" y="73998"/>
                  </a:cubicBezTo>
                  <a:cubicBezTo>
                    <a:pt x="122797" y="66012"/>
                    <a:pt x="121284" y="59003"/>
                    <a:pt x="118278" y="52981"/>
                  </a:cubicBezTo>
                  <a:cubicBezTo>
                    <a:pt x="115374" y="46843"/>
                    <a:pt x="111099" y="42038"/>
                    <a:pt x="105413" y="38565"/>
                  </a:cubicBezTo>
                  <a:cubicBezTo>
                    <a:pt x="99747" y="34976"/>
                    <a:pt x="92860" y="33181"/>
                    <a:pt x="84752" y="33181"/>
                  </a:cubicBezTo>
                  <a:cubicBezTo>
                    <a:pt x="75374" y="33181"/>
                    <a:pt x="67510" y="35209"/>
                    <a:pt x="61138" y="39261"/>
                  </a:cubicBezTo>
                  <a:cubicBezTo>
                    <a:pt x="54766" y="43312"/>
                    <a:pt x="49956" y="48930"/>
                    <a:pt x="46712" y="56109"/>
                  </a:cubicBezTo>
                  <a:cubicBezTo>
                    <a:pt x="43482" y="63171"/>
                    <a:pt x="41853" y="71279"/>
                    <a:pt x="41853" y="80423"/>
                  </a:cubicBezTo>
                  <a:lnTo>
                    <a:pt x="0" y="80423"/>
                  </a:lnTo>
                  <a:cubicBezTo>
                    <a:pt x="0" y="65720"/>
                    <a:pt x="3366" y="52286"/>
                    <a:pt x="10083" y="40131"/>
                  </a:cubicBezTo>
                  <a:cubicBezTo>
                    <a:pt x="16800" y="27860"/>
                    <a:pt x="26517" y="18132"/>
                    <a:pt x="39261" y="10953"/>
                  </a:cubicBezTo>
                  <a:cubicBezTo>
                    <a:pt x="51989" y="3658"/>
                    <a:pt x="67325" y="10"/>
                    <a:pt x="85272" y="10"/>
                  </a:cubicBezTo>
                  <a:cubicBezTo>
                    <a:pt x="102189" y="10"/>
                    <a:pt x="116546" y="2845"/>
                    <a:pt x="128346" y="8521"/>
                  </a:cubicBezTo>
                  <a:cubicBezTo>
                    <a:pt x="140160" y="14193"/>
                    <a:pt x="149129" y="22242"/>
                    <a:pt x="155277" y="32660"/>
                  </a:cubicBezTo>
                  <a:cubicBezTo>
                    <a:pt x="161527" y="43079"/>
                    <a:pt x="164654" y="55413"/>
                    <a:pt x="164654" y="69655"/>
                  </a:cubicBezTo>
                  <a:cubicBezTo>
                    <a:pt x="164654" y="77529"/>
                    <a:pt x="163385" y="85345"/>
                    <a:pt x="160827" y="93103"/>
                  </a:cubicBezTo>
                  <a:cubicBezTo>
                    <a:pt x="158283" y="100861"/>
                    <a:pt x="154645" y="108619"/>
                    <a:pt x="149888" y="116376"/>
                  </a:cubicBezTo>
                  <a:cubicBezTo>
                    <a:pt x="145267" y="124017"/>
                    <a:pt x="139757" y="131717"/>
                    <a:pt x="133400" y="139475"/>
                  </a:cubicBezTo>
                  <a:cubicBezTo>
                    <a:pt x="127028" y="147116"/>
                    <a:pt x="120019" y="154873"/>
                    <a:pt x="112378" y="162748"/>
                  </a:cubicBezTo>
                  <a:lnTo>
                    <a:pt x="57675" y="223015"/>
                  </a:lnTo>
                  <a:lnTo>
                    <a:pt x="174377" y="223015"/>
                  </a:lnTo>
                  <a:close/>
                  <a:moveTo>
                    <a:pt x="371848" y="108735"/>
                  </a:moveTo>
                  <a:lnTo>
                    <a:pt x="371848" y="150068"/>
                  </a:lnTo>
                  <a:cubicBezTo>
                    <a:pt x="371848" y="169869"/>
                    <a:pt x="369873" y="186770"/>
                    <a:pt x="365938" y="200783"/>
                  </a:cubicBezTo>
                  <a:cubicBezTo>
                    <a:pt x="362125" y="214674"/>
                    <a:pt x="356561" y="225963"/>
                    <a:pt x="349260" y="234650"/>
                  </a:cubicBezTo>
                  <a:cubicBezTo>
                    <a:pt x="341960" y="243332"/>
                    <a:pt x="333219" y="249703"/>
                    <a:pt x="323035" y="253755"/>
                  </a:cubicBezTo>
                  <a:cubicBezTo>
                    <a:pt x="312971" y="257806"/>
                    <a:pt x="301668" y="259834"/>
                    <a:pt x="289168" y="259834"/>
                  </a:cubicBezTo>
                  <a:cubicBezTo>
                    <a:pt x="279221" y="259834"/>
                    <a:pt x="269951" y="258560"/>
                    <a:pt x="261381" y="256011"/>
                  </a:cubicBezTo>
                  <a:cubicBezTo>
                    <a:pt x="252933" y="253463"/>
                    <a:pt x="245287" y="249470"/>
                    <a:pt x="238468" y="244027"/>
                  </a:cubicBezTo>
                  <a:cubicBezTo>
                    <a:pt x="231634" y="238584"/>
                    <a:pt x="225773" y="231581"/>
                    <a:pt x="220914" y="223011"/>
                  </a:cubicBezTo>
                  <a:cubicBezTo>
                    <a:pt x="216172" y="214329"/>
                    <a:pt x="212466" y="203964"/>
                    <a:pt x="209800" y="191921"/>
                  </a:cubicBezTo>
                  <a:cubicBezTo>
                    <a:pt x="207256" y="179878"/>
                    <a:pt x="205972" y="165929"/>
                    <a:pt x="205972" y="150063"/>
                  </a:cubicBezTo>
                  <a:lnTo>
                    <a:pt x="205972" y="108730"/>
                  </a:lnTo>
                  <a:cubicBezTo>
                    <a:pt x="205972" y="88813"/>
                    <a:pt x="207947" y="72028"/>
                    <a:pt x="211882" y="58366"/>
                  </a:cubicBezTo>
                  <a:cubicBezTo>
                    <a:pt x="215831" y="44587"/>
                    <a:pt x="221430" y="33414"/>
                    <a:pt x="228730" y="24844"/>
                  </a:cubicBezTo>
                  <a:cubicBezTo>
                    <a:pt x="236031" y="16162"/>
                    <a:pt x="244722" y="9849"/>
                    <a:pt x="254786" y="5914"/>
                  </a:cubicBezTo>
                  <a:cubicBezTo>
                    <a:pt x="264970" y="1980"/>
                    <a:pt x="276323" y="10"/>
                    <a:pt x="288827" y="10"/>
                  </a:cubicBezTo>
                  <a:cubicBezTo>
                    <a:pt x="298910" y="10"/>
                    <a:pt x="308166" y="1284"/>
                    <a:pt x="316614" y="3833"/>
                  </a:cubicBezTo>
                  <a:cubicBezTo>
                    <a:pt x="325184" y="6265"/>
                    <a:pt x="332825" y="10141"/>
                    <a:pt x="339542" y="15467"/>
                  </a:cubicBezTo>
                  <a:cubicBezTo>
                    <a:pt x="346376" y="20793"/>
                    <a:pt x="352164" y="27743"/>
                    <a:pt x="356906" y="36308"/>
                  </a:cubicBezTo>
                  <a:cubicBezTo>
                    <a:pt x="361765" y="44762"/>
                    <a:pt x="365476" y="55010"/>
                    <a:pt x="368020" y="67048"/>
                  </a:cubicBezTo>
                  <a:cubicBezTo>
                    <a:pt x="370578" y="78974"/>
                    <a:pt x="371848" y="92870"/>
                    <a:pt x="371848" y="108730"/>
                  </a:cubicBezTo>
                  <a:close/>
                  <a:moveTo>
                    <a:pt x="329995" y="155978"/>
                  </a:moveTo>
                  <a:lnTo>
                    <a:pt x="329995" y="102485"/>
                  </a:lnTo>
                  <a:cubicBezTo>
                    <a:pt x="329995" y="92412"/>
                    <a:pt x="329411" y="83555"/>
                    <a:pt x="328258" y="75914"/>
                  </a:cubicBezTo>
                  <a:cubicBezTo>
                    <a:pt x="327091" y="68157"/>
                    <a:pt x="325355" y="61615"/>
                    <a:pt x="323039" y="56289"/>
                  </a:cubicBezTo>
                  <a:cubicBezTo>
                    <a:pt x="320841" y="50846"/>
                    <a:pt x="318059" y="46445"/>
                    <a:pt x="314708" y="43088"/>
                  </a:cubicBezTo>
                  <a:cubicBezTo>
                    <a:pt x="311342" y="39616"/>
                    <a:pt x="307529" y="37125"/>
                    <a:pt x="303234" y="35623"/>
                  </a:cubicBezTo>
                  <a:cubicBezTo>
                    <a:pt x="298959" y="34003"/>
                    <a:pt x="294148" y="33191"/>
                    <a:pt x="288823" y="33191"/>
                  </a:cubicBezTo>
                  <a:cubicBezTo>
                    <a:pt x="282349" y="33191"/>
                    <a:pt x="276542" y="34465"/>
                    <a:pt x="271459" y="37014"/>
                  </a:cubicBezTo>
                  <a:cubicBezTo>
                    <a:pt x="266357" y="39445"/>
                    <a:pt x="262081" y="43380"/>
                    <a:pt x="258613" y="48823"/>
                  </a:cubicBezTo>
                  <a:cubicBezTo>
                    <a:pt x="255126" y="54266"/>
                    <a:pt x="252466" y="61445"/>
                    <a:pt x="250608" y="70360"/>
                  </a:cubicBezTo>
                  <a:cubicBezTo>
                    <a:pt x="248871" y="79159"/>
                    <a:pt x="248015" y="89869"/>
                    <a:pt x="248015" y="102490"/>
                  </a:cubicBezTo>
                  <a:lnTo>
                    <a:pt x="248015" y="155982"/>
                  </a:lnTo>
                  <a:cubicBezTo>
                    <a:pt x="248015" y="166172"/>
                    <a:pt x="248584" y="175146"/>
                    <a:pt x="249752" y="182904"/>
                  </a:cubicBezTo>
                  <a:cubicBezTo>
                    <a:pt x="250904" y="190661"/>
                    <a:pt x="252636" y="197320"/>
                    <a:pt x="254956" y="202874"/>
                  </a:cubicBezTo>
                  <a:cubicBezTo>
                    <a:pt x="257276" y="208317"/>
                    <a:pt x="260058" y="212831"/>
                    <a:pt x="263302" y="216420"/>
                  </a:cubicBezTo>
                  <a:cubicBezTo>
                    <a:pt x="266653" y="219893"/>
                    <a:pt x="270481" y="222441"/>
                    <a:pt x="274756" y="224061"/>
                  </a:cubicBezTo>
                  <a:cubicBezTo>
                    <a:pt x="279153" y="225681"/>
                    <a:pt x="283964" y="226493"/>
                    <a:pt x="289168" y="226493"/>
                  </a:cubicBezTo>
                  <a:cubicBezTo>
                    <a:pt x="295778" y="226493"/>
                    <a:pt x="301619" y="225219"/>
                    <a:pt x="306721" y="222670"/>
                  </a:cubicBezTo>
                  <a:cubicBezTo>
                    <a:pt x="311804" y="220121"/>
                    <a:pt x="316099" y="216070"/>
                    <a:pt x="319567" y="210511"/>
                  </a:cubicBezTo>
                  <a:cubicBezTo>
                    <a:pt x="323035" y="204839"/>
                    <a:pt x="325646" y="197485"/>
                    <a:pt x="327383" y="188453"/>
                  </a:cubicBezTo>
                  <a:cubicBezTo>
                    <a:pt x="329119" y="179421"/>
                    <a:pt x="329995" y="168594"/>
                    <a:pt x="329995" y="155978"/>
                  </a:cubicBezTo>
                  <a:close/>
                  <a:moveTo>
                    <a:pt x="578701" y="223015"/>
                  </a:moveTo>
                  <a:lnTo>
                    <a:pt x="578701" y="256362"/>
                  </a:lnTo>
                  <a:lnTo>
                    <a:pt x="409187" y="256362"/>
                  </a:lnTo>
                  <a:lnTo>
                    <a:pt x="409187" y="227704"/>
                  </a:lnTo>
                  <a:lnTo>
                    <a:pt x="491507" y="137913"/>
                  </a:lnTo>
                  <a:cubicBezTo>
                    <a:pt x="500539" y="127724"/>
                    <a:pt x="507670" y="118925"/>
                    <a:pt x="512874" y="111513"/>
                  </a:cubicBezTo>
                  <a:cubicBezTo>
                    <a:pt x="518078" y="104100"/>
                    <a:pt x="521736" y="97446"/>
                    <a:pt x="523813" y="91542"/>
                  </a:cubicBezTo>
                  <a:cubicBezTo>
                    <a:pt x="526011" y="85520"/>
                    <a:pt x="527110" y="79674"/>
                    <a:pt x="527110" y="73998"/>
                  </a:cubicBezTo>
                  <a:cubicBezTo>
                    <a:pt x="527110" y="66012"/>
                    <a:pt x="525617" y="59003"/>
                    <a:pt x="522592" y="52981"/>
                  </a:cubicBezTo>
                  <a:cubicBezTo>
                    <a:pt x="519708" y="46843"/>
                    <a:pt x="515413" y="42038"/>
                    <a:pt x="509746" y="38565"/>
                  </a:cubicBezTo>
                  <a:cubicBezTo>
                    <a:pt x="504080" y="34976"/>
                    <a:pt x="497193" y="33181"/>
                    <a:pt x="489085" y="33181"/>
                  </a:cubicBezTo>
                  <a:cubicBezTo>
                    <a:pt x="479708" y="33181"/>
                    <a:pt x="471823" y="35209"/>
                    <a:pt x="465452" y="39261"/>
                  </a:cubicBezTo>
                  <a:cubicBezTo>
                    <a:pt x="459095" y="43312"/>
                    <a:pt x="454289" y="48930"/>
                    <a:pt x="451040" y="56109"/>
                  </a:cubicBezTo>
                  <a:cubicBezTo>
                    <a:pt x="447796" y="63171"/>
                    <a:pt x="446181" y="71279"/>
                    <a:pt x="446181" y="80423"/>
                  </a:cubicBezTo>
                  <a:lnTo>
                    <a:pt x="404328" y="80423"/>
                  </a:lnTo>
                  <a:cubicBezTo>
                    <a:pt x="404328" y="65720"/>
                    <a:pt x="407679" y="52286"/>
                    <a:pt x="414391" y="40131"/>
                  </a:cubicBezTo>
                  <a:cubicBezTo>
                    <a:pt x="421108" y="27860"/>
                    <a:pt x="430846" y="18132"/>
                    <a:pt x="443569" y="10953"/>
                  </a:cubicBezTo>
                  <a:cubicBezTo>
                    <a:pt x="456313" y="3658"/>
                    <a:pt x="471648" y="10"/>
                    <a:pt x="489596" y="10"/>
                  </a:cubicBezTo>
                  <a:cubicBezTo>
                    <a:pt x="506497" y="10"/>
                    <a:pt x="520855" y="2845"/>
                    <a:pt x="532670" y="8521"/>
                  </a:cubicBezTo>
                  <a:cubicBezTo>
                    <a:pt x="544484" y="14193"/>
                    <a:pt x="553453" y="22242"/>
                    <a:pt x="559581" y="32660"/>
                  </a:cubicBezTo>
                  <a:cubicBezTo>
                    <a:pt x="565831" y="43079"/>
                    <a:pt x="568958" y="55413"/>
                    <a:pt x="568958" y="69655"/>
                  </a:cubicBezTo>
                  <a:cubicBezTo>
                    <a:pt x="568958" y="77529"/>
                    <a:pt x="567689" y="85345"/>
                    <a:pt x="565145" y="93103"/>
                  </a:cubicBezTo>
                  <a:cubicBezTo>
                    <a:pt x="562601" y="100861"/>
                    <a:pt x="558944" y="108619"/>
                    <a:pt x="554207" y="116376"/>
                  </a:cubicBezTo>
                  <a:cubicBezTo>
                    <a:pt x="549571" y="124017"/>
                    <a:pt x="544075" y="131717"/>
                    <a:pt x="537704" y="139475"/>
                  </a:cubicBezTo>
                  <a:cubicBezTo>
                    <a:pt x="531332" y="147116"/>
                    <a:pt x="524323" y="154873"/>
                    <a:pt x="516697" y="162748"/>
                  </a:cubicBezTo>
                  <a:lnTo>
                    <a:pt x="461979" y="223015"/>
                  </a:lnTo>
                  <a:lnTo>
                    <a:pt x="578701" y="223015"/>
                  </a:lnTo>
                  <a:close/>
                  <a:moveTo>
                    <a:pt x="660505" y="110992"/>
                  </a:moveTo>
                  <a:lnTo>
                    <a:pt x="685510" y="110992"/>
                  </a:lnTo>
                  <a:cubicBezTo>
                    <a:pt x="695233" y="110992"/>
                    <a:pt x="703287" y="109314"/>
                    <a:pt x="709639" y="105953"/>
                  </a:cubicBezTo>
                  <a:cubicBezTo>
                    <a:pt x="716132" y="102597"/>
                    <a:pt x="720943" y="97962"/>
                    <a:pt x="724065" y="92057"/>
                  </a:cubicBezTo>
                  <a:cubicBezTo>
                    <a:pt x="727188" y="86153"/>
                    <a:pt x="728754" y="79377"/>
                    <a:pt x="728754" y="71736"/>
                  </a:cubicBezTo>
                  <a:cubicBezTo>
                    <a:pt x="728754" y="64095"/>
                    <a:pt x="727295" y="56916"/>
                    <a:pt x="724411" y="51240"/>
                  </a:cubicBezTo>
                  <a:cubicBezTo>
                    <a:pt x="721628" y="45452"/>
                    <a:pt x="717353" y="40992"/>
                    <a:pt x="711565" y="37865"/>
                  </a:cubicBezTo>
                  <a:cubicBezTo>
                    <a:pt x="705879" y="34737"/>
                    <a:pt x="698652" y="33176"/>
                    <a:pt x="689858" y="33176"/>
                  </a:cubicBezTo>
                  <a:cubicBezTo>
                    <a:pt x="682441" y="33176"/>
                    <a:pt x="675724" y="34684"/>
                    <a:pt x="669712" y="37690"/>
                  </a:cubicBezTo>
                  <a:cubicBezTo>
                    <a:pt x="663803" y="40584"/>
                    <a:pt x="659114" y="44752"/>
                    <a:pt x="655626" y="50195"/>
                  </a:cubicBezTo>
                  <a:cubicBezTo>
                    <a:pt x="652159" y="55520"/>
                    <a:pt x="650422" y="61887"/>
                    <a:pt x="650422" y="69300"/>
                  </a:cubicBezTo>
                  <a:lnTo>
                    <a:pt x="608394" y="69300"/>
                  </a:lnTo>
                  <a:cubicBezTo>
                    <a:pt x="608394" y="55871"/>
                    <a:pt x="611916" y="43945"/>
                    <a:pt x="618992" y="33521"/>
                  </a:cubicBezTo>
                  <a:cubicBezTo>
                    <a:pt x="626050" y="23103"/>
                    <a:pt x="635670" y="14937"/>
                    <a:pt x="647810" y="9032"/>
                  </a:cubicBezTo>
                  <a:cubicBezTo>
                    <a:pt x="660092" y="3011"/>
                    <a:pt x="673866" y="0"/>
                    <a:pt x="689148" y="0"/>
                  </a:cubicBezTo>
                  <a:cubicBezTo>
                    <a:pt x="705480" y="0"/>
                    <a:pt x="719717" y="2724"/>
                    <a:pt x="731876" y="8161"/>
                  </a:cubicBezTo>
                  <a:cubicBezTo>
                    <a:pt x="744138" y="13487"/>
                    <a:pt x="753705" y="21479"/>
                    <a:pt x="760524" y="32130"/>
                  </a:cubicBezTo>
                  <a:cubicBezTo>
                    <a:pt x="767358" y="42782"/>
                    <a:pt x="770777" y="55982"/>
                    <a:pt x="770777" y="71731"/>
                  </a:cubicBezTo>
                  <a:cubicBezTo>
                    <a:pt x="770777" y="78910"/>
                    <a:pt x="769094" y="86206"/>
                    <a:pt x="765743" y="93614"/>
                  </a:cubicBezTo>
                  <a:cubicBezTo>
                    <a:pt x="762378" y="101026"/>
                    <a:pt x="757397" y="107797"/>
                    <a:pt x="750802" y="113935"/>
                  </a:cubicBezTo>
                  <a:cubicBezTo>
                    <a:pt x="744206" y="119956"/>
                    <a:pt x="735982" y="124873"/>
                    <a:pt x="726137" y="128696"/>
                  </a:cubicBezTo>
                  <a:cubicBezTo>
                    <a:pt x="716298" y="132403"/>
                    <a:pt x="704892" y="134256"/>
                    <a:pt x="691925" y="134256"/>
                  </a:cubicBezTo>
                  <a:lnTo>
                    <a:pt x="660495" y="134256"/>
                  </a:lnTo>
                  <a:lnTo>
                    <a:pt x="660495" y="110982"/>
                  </a:lnTo>
                  <a:close/>
                  <a:moveTo>
                    <a:pt x="660505" y="143643"/>
                  </a:moveTo>
                  <a:lnTo>
                    <a:pt x="660505" y="120715"/>
                  </a:lnTo>
                  <a:lnTo>
                    <a:pt x="691935" y="120715"/>
                  </a:lnTo>
                  <a:cubicBezTo>
                    <a:pt x="706755" y="120715"/>
                    <a:pt x="719381" y="122451"/>
                    <a:pt x="729790" y="125924"/>
                  </a:cubicBezTo>
                  <a:cubicBezTo>
                    <a:pt x="740335" y="129397"/>
                    <a:pt x="748905" y="134202"/>
                    <a:pt x="755500" y="140340"/>
                  </a:cubicBezTo>
                  <a:cubicBezTo>
                    <a:pt x="762095" y="146362"/>
                    <a:pt x="766906" y="153249"/>
                    <a:pt x="769911" y="161007"/>
                  </a:cubicBezTo>
                  <a:cubicBezTo>
                    <a:pt x="773039" y="168764"/>
                    <a:pt x="774600" y="176984"/>
                    <a:pt x="774600" y="185671"/>
                  </a:cubicBezTo>
                  <a:cubicBezTo>
                    <a:pt x="774600" y="197480"/>
                    <a:pt x="772470" y="208015"/>
                    <a:pt x="768175" y="217281"/>
                  </a:cubicBezTo>
                  <a:cubicBezTo>
                    <a:pt x="764016" y="226430"/>
                    <a:pt x="758044" y="234188"/>
                    <a:pt x="750296" y="240554"/>
                  </a:cubicBezTo>
                  <a:cubicBezTo>
                    <a:pt x="742533" y="246921"/>
                    <a:pt x="733447" y="251726"/>
                    <a:pt x="723024" y="254971"/>
                  </a:cubicBezTo>
                  <a:cubicBezTo>
                    <a:pt x="712718" y="258215"/>
                    <a:pt x="701487" y="259834"/>
                    <a:pt x="689328" y="259834"/>
                  </a:cubicBezTo>
                  <a:cubicBezTo>
                    <a:pt x="678457" y="259834"/>
                    <a:pt x="668029" y="258327"/>
                    <a:pt x="658068" y="255316"/>
                  </a:cubicBezTo>
                  <a:cubicBezTo>
                    <a:pt x="648107" y="252305"/>
                    <a:pt x="639192" y="247850"/>
                    <a:pt x="631327" y="241945"/>
                  </a:cubicBezTo>
                  <a:cubicBezTo>
                    <a:pt x="623443" y="235924"/>
                    <a:pt x="617193" y="228458"/>
                    <a:pt x="612572" y="219543"/>
                  </a:cubicBezTo>
                  <a:cubicBezTo>
                    <a:pt x="608054" y="210511"/>
                    <a:pt x="605787" y="200092"/>
                    <a:pt x="605787" y="188283"/>
                  </a:cubicBezTo>
                  <a:lnTo>
                    <a:pt x="647640" y="188283"/>
                  </a:lnTo>
                  <a:cubicBezTo>
                    <a:pt x="647640" y="195807"/>
                    <a:pt x="649377" y="202466"/>
                    <a:pt x="652859" y="208254"/>
                  </a:cubicBezTo>
                  <a:cubicBezTo>
                    <a:pt x="656449" y="213925"/>
                    <a:pt x="661429" y="218385"/>
                    <a:pt x="667786" y="221624"/>
                  </a:cubicBezTo>
                  <a:cubicBezTo>
                    <a:pt x="674279" y="224869"/>
                    <a:pt x="681682" y="226488"/>
                    <a:pt x="690028" y="226488"/>
                  </a:cubicBezTo>
                  <a:cubicBezTo>
                    <a:pt x="698822" y="226488"/>
                    <a:pt x="706415" y="224927"/>
                    <a:pt x="712767" y="221799"/>
                  </a:cubicBezTo>
                  <a:cubicBezTo>
                    <a:pt x="719138" y="218672"/>
                    <a:pt x="723997" y="214042"/>
                    <a:pt x="727363" y="207904"/>
                  </a:cubicBezTo>
                  <a:cubicBezTo>
                    <a:pt x="730831" y="201765"/>
                    <a:pt x="732567" y="194358"/>
                    <a:pt x="732567" y="185671"/>
                  </a:cubicBezTo>
                  <a:cubicBezTo>
                    <a:pt x="732567" y="175827"/>
                    <a:pt x="730660" y="167840"/>
                    <a:pt x="726847" y="161702"/>
                  </a:cubicBezTo>
                  <a:cubicBezTo>
                    <a:pt x="723019" y="155564"/>
                    <a:pt x="717572" y="151050"/>
                    <a:pt x="710515" y="148157"/>
                  </a:cubicBezTo>
                  <a:cubicBezTo>
                    <a:pt x="703457" y="145146"/>
                    <a:pt x="695111" y="143643"/>
                    <a:pt x="685510" y="143643"/>
                  </a:cubicBezTo>
                  <a:lnTo>
                    <a:pt x="660505" y="143643"/>
                  </a:lnTo>
                  <a:close/>
                </a:path>
              </a:pathLst>
            </a:custGeom>
            <a:solidFill>
              <a:srgbClr val="EE3431"/>
            </a:solidFill>
            <a:ln w="4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8" name="Полилиния: фигура 47">
              <a:extLst>
                <a:ext uri="{FF2B5EF4-FFF2-40B4-BE49-F238E27FC236}">
                  <a16:creationId xmlns:a16="http://schemas.microsoft.com/office/drawing/2014/main" id="{C3ADAD60-17B9-4A06-AE0E-BCB35AB4E7E8}"/>
                </a:ext>
              </a:extLst>
            </p:cNvPr>
            <p:cNvSpPr/>
            <p:nvPr/>
          </p:nvSpPr>
          <p:spPr>
            <a:xfrm>
              <a:off x="8902858" y="5870060"/>
              <a:ext cx="774600" cy="259829"/>
            </a:xfrm>
            <a:custGeom>
              <a:avLst/>
              <a:gdLst>
                <a:gd name="connsiteX0" fmla="*/ 174372 w 774600"/>
                <a:gd name="connsiteY0" fmla="*/ 223011 h 259829"/>
                <a:gd name="connsiteX1" fmla="*/ 174372 w 774600"/>
                <a:gd name="connsiteY1" fmla="*/ 256357 h 259829"/>
                <a:gd name="connsiteX2" fmla="*/ 4859 w 774600"/>
                <a:gd name="connsiteY2" fmla="*/ 256357 h 259829"/>
                <a:gd name="connsiteX3" fmla="*/ 4859 w 774600"/>
                <a:gd name="connsiteY3" fmla="*/ 227699 h 259829"/>
                <a:gd name="connsiteX4" fmla="*/ 87193 w 774600"/>
                <a:gd name="connsiteY4" fmla="*/ 137908 h 259829"/>
                <a:gd name="connsiteX5" fmla="*/ 108541 w 774600"/>
                <a:gd name="connsiteY5" fmla="*/ 111508 h 259829"/>
                <a:gd name="connsiteX6" fmla="*/ 119499 w 774600"/>
                <a:gd name="connsiteY6" fmla="*/ 91537 h 259829"/>
                <a:gd name="connsiteX7" fmla="*/ 122797 w 774600"/>
                <a:gd name="connsiteY7" fmla="*/ 73993 h 259829"/>
                <a:gd name="connsiteX8" fmla="*/ 118278 w 774600"/>
                <a:gd name="connsiteY8" fmla="*/ 52977 h 259829"/>
                <a:gd name="connsiteX9" fmla="*/ 105413 w 774600"/>
                <a:gd name="connsiteY9" fmla="*/ 38560 h 259829"/>
                <a:gd name="connsiteX10" fmla="*/ 84752 w 774600"/>
                <a:gd name="connsiteY10" fmla="*/ 33176 h 259829"/>
                <a:gd name="connsiteX11" fmla="*/ 61138 w 774600"/>
                <a:gd name="connsiteY11" fmla="*/ 39256 h 259829"/>
                <a:gd name="connsiteX12" fmla="*/ 46712 w 774600"/>
                <a:gd name="connsiteY12" fmla="*/ 56104 h 259829"/>
                <a:gd name="connsiteX13" fmla="*/ 41853 w 774600"/>
                <a:gd name="connsiteY13" fmla="*/ 80418 h 259829"/>
                <a:gd name="connsiteX14" fmla="*/ 0 w 774600"/>
                <a:gd name="connsiteY14" fmla="*/ 80418 h 259829"/>
                <a:gd name="connsiteX15" fmla="*/ 10083 w 774600"/>
                <a:gd name="connsiteY15" fmla="*/ 40126 h 259829"/>
                <a:gd name="connsiteX16" fmla="*/ 39261 w 774600"/>
                <a:gd name="connsiteY16" fmla="*/ 10948 h 259829"/>
                <a:gd name="connsiteX17" fmla="*/ 85272 w 774600"/>
                <a:gd name="connsiteY17" fmla="*/ 5 h 259829"/>
                <a:gd name="connsiteX18" fmla="*/ 128346 w 774600"/>
                <a:gd name="connsiteY18" fmla="*/ 8517 h 259829"/>
                <a:gd name="connsiteX19" fmla="*/ 155277 w 774600"/>
                <a:gd name="connsiteY19" fmla="*/ 32660 h 259829"/>
                <a:gd name="connsiteX20" fmla="*/ 164654 w 774600"/>
                <a:gd name="connsiteY20" fmla="*/ 69655 h 259829"/>
                <a:gd name="connsiteX21" fmla="*/ 160827 w 774600"/>
                <a:gd name="connsiteY21" fmla="*/ 93103 h 259829"/>
                <a:gd name="connsiteX22" fmla="*/ 149888 w 774600"/>
                <a:gd name="connsiteY22" fmla="*/ 116376 h 259829"/>
                <a:gd name="connsiteX23" fmla="*/ 133400 w 774600"/>
                <a:gd name="connsiteY23" fmla="*/ 139475 h 259829"/>
                <a:gd name="connsiteX24" fmla="*/ 112378 w 774600"/>
                <a:gd name="connsiteY24" fmla="*/ 162748 h 259829"/>
                <a:gd name="connsiteX25" fmla="*/ 57675 w 774600"/>
                <a:gd name="connsiteY25" fmla="*/ 223015 h 259829"/>
                <a:gd name="connsiteX26" fmla="*/ 174377 w 774600"/>
                <a:gd name="connsiteY26" fmla="*/ 223015 h 259829"/>
                <a:gd name="connsiteX27" fmla="*/ 371848 w 774600"/>
                <a:gd name="connsiteY27" fmla="*/ 108730 h 259829"/>
                <a:gd name="connsiteX28" fmla="*/ 371848 w 774600"/>
                <a:gd name="connsiteY28" fmla="*/ 150063 h 259829"/>
                <a:gd name="connsiteX29" fmla="*/ 365938 w 774600"/>
                <a:gd name="connsiteY29" fmla="*/ 200778 h 259829"/>
                <a:gd name="connsiteX30" fmla="*/ 349260 w 774600"/>
                <a:gd name="connsiteY30" fmla="*/ 234645 h 259829"/>
                <a:gd name="connsiteX31" fmla="*/ 323035 w 774600"/>
                <a:gd name="connsiteY31" fmla="*/ 253750 h 259829"/>
                <a:gd name="connsiteX32" fmla="*/ 289168 w 774600"/>
                <a:gd name="connsiteY32" fmla="*/ 259830 h 259829"/>
                <a:gd name="connsiteX33" fmla="*/ 261381 w 774600"/>
                <a:gd name="connsiteY33" fmla="*/ 256011 h 259829"/>
                <a:gd name="connsiteX34" fmla="*/ 238468 w 774600"/>
                <a:gd name="connsiteY34" fmla="*/ 244027 h 259829"/>
                <a:gd name="connsiteX35" fmla="*/ 220914 w 774600"/>
                <a:gd name="connsiteY35" fmla="*/ 223011 h 259829"/>
                <a:gd name="connsiteX36" fmla="*/ 209800 w 774600"/>
                <a:gd name="connsiteY36" fmla="*/ 191921 h 259829"/>
                <a:gd name="connsiteX37" fmla="*/ 205972 w 774600"/>
                <a:gd name="connsiteY37" fmla="*/ 150063 h 259829"/>
                <a:gd name="connsiteX38" fmla="*/ 205972 w 774600"/>
                <a:gd name="connsiteY38" fmla="*/ 108730 h 259829"/>
                <a:gd name="connsiteX39" fmla="*/ 211882 w 774600"/>
                <a:gd name="connsiteY39" fmla="*/ 58366 h 259829"/>
                <a:gd name="connsiteX40" fmla="*/ 228730 w 774600"/>
                <a:gd name="connsiteY40" fmla="*/ 24844 h 259829"/>
                <a:gd name="connsiteX41" fmla="*/ 254786 w 774600"/>
                <a:gd name="connsiteY41" fmla="*/ 5914 h 259829"/>
                <a:gd name="connsiteX42" fmla="*/ 288827 w 774600"/>
                <a:gd name="connsiteY42" fmla="*/ 10 h 259829"/>
                <a:gd name="connsiteX43" fmla="*/ 316614 w 774600"/>
                <a:gd name="connsiteY43" fmla="*/ 3833 h 259829"/>
                <a:gd name="connsiteX44" fmla="*/ 339542 w 774600"/>
                <a:gd name="connsiteY44" fmla="*/ 15467 h 259829"/>
                <a:gd name="connsiteX45" fmla="*/ 356906 w 774600"/>
                <a:gd name="connsiteY45" fmla="*/ 36308 h 259829"/>
                <a:gd name="connsiteX46" fmla="*/ 368020 w 774600"/>
                <a:gd name="connsiteY46" fmla="*/ 67048 h 259829"/>
                <a:gd name="connsiteX47" fmla="*/ 371848 w 774600"/>
                <a:gd name="connsiteY47" fmla="*/ 108730 h 259829"/>
                <a:gd name="connsiteX48" fmla="*/ 329995 w 774600"/>
                <a:gd name="connsiteY48" fmla="*/ 155968 h 259829"/>
                <a:gd name="connsiteX49" fmla="*/ 329995 w 774600"/>
                <a:gd name="connsiteY49" fmla="*/ 102476 h 259829"/>
                <a:gd name="connsiteX50" fmla="*/ 328258 w 774600"/>
                <a:gd name="connsiteY50" fmla="*/ 75905 h 259829"/>
                <a:gd name="connsiteX51" fmla="*/ 323039 w 774600"/>
                <a:gd name="connsiteY51" fmla="*/ 56279 h 259829"/>
                <a:gd name="connsiteX52" fmla="*/ 314708 w 774600"/>
                <a:gd name="connsiteY52" fmla="*/ 43079 h 259829"/>
                <a:gd name="connsiteX53" fmla="*/ 303234 w 774600"/>
                <a:gd name="connsiteY53" fmla="*/ 35613 h 259829"/>
                <a:gd name="connsiteX54" fmla="*/ 288823 w 774600"/>
                <a:gd name="connsiteY54" fmla="*/ 33181 h 259829"/>
                <a:gd name="connsiteX55" fmla="*/ 271459 w 774600"/>
                <a:gd name="connsiteY55" fmla="*/ 37004 h 259829"/>
                <a:gd name="connsiteX56" fmla="*/ 258613 w 774600"/>
                <a:gd name="connsiteY56" fmla="*/ 48813 h 259829"/>
                <a:gd name="connsiteX57" fmla="*/ 250608 w 774600"/>
                <a:gd name="connsiteY57" fmla="*/ 70350 h 259829"/>
                <a:gd name="connsiteX58" fmla="*/ 248015 w 774600"/>
                <a:gd name="connsiteY58" fmla="*/ 102480 h 259829"/>
                <a:gd name="connsiteX59" fmla="*/ 248015 w 774600"/>
                <a:gd name="connsiteY59" fmla="*/ 155973 h 259829"/>
                <a:gd name="connsiteX60" fmla="*/ 249752 w 774600"/>
                <a:gd name="connsiteY60" fmla="*/ 182894 h 259829"/>
                <a:gd name="connsiteX61" fmla="*/ 254956 w 774600"/>
                <a:gd name="connsiteY61" fmla="*/ 202865 h 259829"/>
                <a:gd name="connsiteX62" fmla="*/ 263302 w 774600"/>
                <a:gd name="connsiteY62" fmla="*/ 216410 h 259829"/>
                <a:gd name="connsiteX63" fmla="*/ 274756 w 774600"/>
                <a:gd name="connsiteY63" fmla="*/ 224051 h 259829"/>
                <a:gd name="connsiteX64" fmla="*/ 289168 w 774600"/>
                <a:gd name="connsiteY64" fmla="*/ 226483 h 259829"/>
                <a:gd name="connsiteX65" fmla="*/ 306721 w 774600"/>
                <a:gd name="connsiteY65" fmla="*/ 222660 h 259829"/>
                <a:gd name="connsiteX66" fmla="*/ 319567 w 774600"/>
                <a:gd name="connsiteY66" fmla="*/ 210501 h 259829"/>
                <a:gd name="connsiteX67" fmla="*/ 327383 w 774600"/>
                <a:gd name="connsiteY67" fmla="*/ 188443 h 259829"/>
                <a:gd name="connsiteX68" fmla="*/ 329995 w 774600"/>
                <a:gd name="connsiteY68" fmla="*/ 155963 h 259829"/>
                <a:gd name="connsiteX69" fmla="*/ 578701 w 774600"/>
                <a:gd name="connsiteY69" fmla="*/ 223006 h 259829"/>
                <a:gd name="connsiteX70" fmla="*/ 578701 w 774600"/>
                <a:gd name="connsiteY70" fmla="*/ 256352 h 259829"/>
                <a:gd name="connsiteX71" fmla="*/ 409187 w 774600"/>
                <a:gd name="connsiteY71" fmla="*/ 256352 h 259829"/>
                <a:gd name="connsiteX72" fmla="*/ 409187 w 774600"/>
                <a:gd name="connsiteY72" fmla="*/ 227694 h 259829"/>
                <a:gd name="connsiteX73" fmla="*/ 491507 w 774600"/>
                <a:gd name="connsiteY73" fmla="*/ 137904 h 259829"/>
                <a:gd name="connsiteX74" fmla="*/ 512874 w 774600"/>
                <a:gd name="connsiteY74" fmla="*/ 111503 h 259829"/>
                <a:gd name="connsiteX75" fmla="*/ 523813 w 774600"/>
                <a:gd name="connsiteY75" fmla="*/ 91532 h 259829"/>
                <a:gd name="connsiteX76" fmla="*/ 527110 w 774600"/>
                <a:gd name="connsiteY76" fmla="*/ 73988 h 259829"/>
                <a:gd name="connsiteX77" fmla="*/ 522592 w 774600"/>
                <a:gd name="connsiteY77" fmla="*/ 52972 h 259829"/>
                <a:gd name="connsiteX78" fmla="*/ 509746 w 774600"/>
                <a:gd name="connsiteY78" fmla="*/ 38555 h 259829"/>
                <a:gd name="connsiteX79" fmla="*/ 489085 w 774600"/>
                <a:gd name="connsiteY79" fmla="*/ 33171 h 259829"/>
                <a:gd name="connsiteX80" fmla="*/ 465452 w 774600"/>
                <a:gd name="connsiteY80" fmla="*/ 39251 h 259829"/>
                <a:gd name="connsiteX81" fmla="*/ 451040 w 774600"/>
                <a:gd name="connsiteY81" fmla="*/ 56099 h 259829"/>
                <a:gd name="connsiteX82" fmla="*/ 446181 w 774600"/>
                <a:gd name="connsiteY82" fmla="*/ 80413 h 259829"/>
                <a:gd name="connsiteX83" fmla="*/ 404328 w 774600"/>
                <a:gd name="connsiteY83" fmla="*/ 80413 h 259829"/>
                <a:gd name="connsiteX84" fmla="*/ 414391 w 774600"/>
                <a:gd name="connsiteY84" fmla="*/ 40122 h 259829"/>
                <a:gd name="connsiteX85" fmla="*/ 443569 w 774600"/>
                <a:gd name="connsiteY85" fmla="*/ 10944 h 259829"/>
                <a:gd name="connsiteX86" fmla="*/ 489596 w 774600"/>
                <a:gd name="connsiteY86" fmla="*/ 0 h 259829"/>
                <a:gd name="connsiteX87" fmla="*/ 532670 w 774600"/>
                <a:gd name="connsiteY87" fmla="*/ 8512 h 259829"/>
                <a:gd name="connsiteX88" fmla="*/ 559581 w 774600"/>
                <a:gd name="connsiteY88" fmla="*/ 32656 h 259829"/>
                <a:gd name="connsiteX89" fmla="*/ 568958 w 774600"/>
                <a:gd name="connsiteY89" fmla="*/ 69650 h 259829"/>
                <a:gd name="connsiteX90" fmla="*/ 565145 w 774600"/>
                <a:gd name="connsiteY90" fmla="*/ 93098 h 259829"/>
                <a:gd name="connsiteX91" fmla="*/ 554207 w 774600"/>
                <a:gd name="connsiteY91" fmla="*/ 116372 h 259829"/>
                <a:gd name="connsiteX92" fmla="*/ 537704 w 774600"/>
                <a:gd name="connsiteY92" fmla="*/ 139470 h 259829"/>
                <a:gd name="connsiteX93" fmla="*/ 516697 w 774600"/>
                <a:gd name="connsiteY93" fmla="*/ 162743 h 259829"/>
                <a:gd name="connsiteX94" fmla="*/ 461979 w 774600"/>
                <a:gd name="connsiteY94" fmla="*/ 223011 h 259829"/>
                <a:gd name="connsiteX95" fmla="*/ 578701 w 774600"/>
                <a:gd name="connsiteY95" fmla="*/ 223011 h 259829"/>
                <a:gd name="connsiteX96" fmla="*/ 660505 w 774600"/>
                <a:gd name="connsiteY96" fmla="*/ 110982 h 259829"/>
                <a:gd name="connsiteX97" fmla="*/ 685510 w 774600"/>
                <a:gd name="connsiteY97" fmla="*/ 110982 h 259829"/>
                <a:gd name="connsiteX98" fmla="*/ 709639 w 774600"/>
                <a:gd name="connsiteY98" fmla="*/ 105948 h 259829"/>
                <a:gd name="connsiteX99" fmla="*/ 724065 w 774600"/>
                <a:gd name="connsiteY99" fmla="*/ 92052 h 259829"/>
                <a:gd name="connsiteX100" fmla="*/ 728754 w 774600"/>
                <a:gd name="connsiteY100" fmla="*/ 71731 h 259829"/>
                <a:gd name="connsiteX101" fmla="*/ 724411 w 774600"/>
                <a:gd name="connsiteY101" fmla="*/ 51240 h 259829"/>
                <a:gd name="connsiteX102" fmla="*/ 711565 w 774600"/>
                <a:gd name="connsiteY102" fmla="*/ 37865 h 259829"/>
                <a:gd name="connsiteX103" fmla="*/ 689858 w 774600"/>
                <a:gd name="connsiteY103" fmla="*/ 33176 h 259829"/>
                <a:gd name="connsiteX104" fmla="*/ 669712 w 774600"/>
                <a:gd name="connsiteY104" fmla="*/ 37690 h 259829"/>
                <a:gd name="connsiteX105" fmla="*/ 655626 w 774600"/>
                <a:gd name="connsiteY105" fmla="*/ 50195 h 259829"/>
                <a:gd name="connsiteX106" fmla="*/ 650422 w 774600"/>
                <a:gd name="connsiteY106" fmla="*/ 69300 h 259829"/>
                <a:gd name="connsiteX107" fmla="*/ 608394 w 774600"/>
                <a:gd name="connsiteY107" fmla="*/ 69300 h 259829"/>
                <a:gd name="connsiteX108" fmla="*/ 618992 w 774600"/>
                <a:gd name="connsiteY108" fmla="*/ 33521 h 259829"/>
                <a:gd name="connsiteX109" fmla="*/ 647810 w 774600"/>
                <a:gd name="connsiteY109" fmla="*/ 9032 h 259829"/>
                <a:gd name="connsiteX110" fmla="*/ 689148 w 774600"/>
                <a:gd name="connsiteY110" fmla="*/ 0 h 259829"/>
                <a:gd name="connsiteX111" fmla="*/ 731876 w 774600"/>
                <a:gd name="connsiteY111" fmla="*/ 8161 h 259829"/>
                <a:gd name="connsiteX112" fmla="*/ 760524 w 774600"/>
                <a:gd name="connsiteY112" fmla="*/ 32130 h 259829"/>
                <a:gd name="connsiteX113" fmla="*/ 770777 w 774600"/>
                <a:gd name="connsiteY113" fmla="*/ 71727 h 259829"/>
                <a:gd name="connsiteX114" fmla="*/ 765743 w 774600"/>
                <a:gd name="connsiteY114" fmla="*/ 93609 h 259829"/>
                <a:gd name="connsiteX115" fmla="*/ 750802 w 774600"/>
                <a:gd name="connsiteY115" fmla="*/ 113930 h 259829"/>
                <a:gd name="connsiteX116" fmla="*/ 726137 w 774600"/>
                <a:gd name="connsiteY116" fmla="*/ 128692 h 259829"/>
                <a:gd name="connsiteX117" fmla="*/ 691925 w 774600"/>
                <a:gd name="connsiteY117" fmla="*/ 134251 h 259829"/>
                <a:gd name="connsiteX118" fmla="*/ 660495 w 774600"/>
                <a:gd name="connsiteY118" fmla="*/ 134251 h 259829"/>
                <a:gd name="connsiteX119" fmla="*/ 660495 w 774600"/>
                <a:gd name="connsiteY119" fmla="*/ 110978 h 259829"/>
                <a:gd name="connsiteX120" fmla="*/ 660505 w 774600"/>
                <a:gd name="connsiteY120" fmla="*/ 143633 h 259829"/>
                <a:gd name="connsiteX121" fmla="*/ 660505 w 774600"/>
                <a:gd name="connsiteY121" fmla="*/ 120705 h 259829"/>
                <a:gd name="connsiteX122" fmla="*/ 691935 w 774600"/>
                <a:gd name="connsiteY122" fmla="*/ 120705 h 259829"/>
                <a:gd name="connsiteX123" fmla="*/ 729790 w 774600"/>
                <a:gd name="connsiteY123" fmla="*/ 125914 h 259829"/>
                <a:gd name="connsiteX124" fmla="*/ 755500 w 774600"/>
                <a:gd name="connsiteY124" fmla="*/ 140331 h 259829"/>
                <a:gd name="connsiteX125" fmla="*/ 769911 w 774600"/>
                <a:gd name="connsiteY125" fmla="*/ 160997 h 259829"/>
                <a:gd name="connsiteX126" fmla="*/ 774600 w 774600"/>
                <a:gd name="connsiteY126" fmla="*/ 185661 h 259829"/>
                <a:gd name="connsiteX127" fmla="*/ 768175 w 774600"/>
                <a:gd name="connsiteY127" fmla="*/ 217271 h 259829"/>
                <a:gd name="connsiteX128" fmla="*/ 750296 w 774600"/>
                <a:gd name="connsiteY128" fmla="*/ 240545 h 259829"/>
                <a:gd name="connsiteX129" fmla="*/ 723024 w 774600"/>
                <a:gd name="connsiteY129" fmla="*/ 254961 h 259829"/>
                <a:gd name="connsiteX130" fmla="*/ 689328 w 774600"/>
                <a:gd name="connsiteY130" fmla="*/ 259825 h 259829"/>
                <a:gd name="connsiteX131" fmla="*/ 658068 w 774600"/>
                <a:gd name="connsiteY131" fmla="*/ 255311 h 259829"/>
                <a:gd name="connsiteX132" fmla="*/ 631327 w 774600"/>
                <a:gd name="connsiteY132" fmla="*/ 241940 h 259829"/>
                <a:gd name="connsiteX133" fmla="*/ 612572 w 774600"/>
                <a:gd name="connsiteY133" fmla="*/ 219538 h 259829"/>
                <a:gd name="connsiteX134" fmla="*/ 605787 w 774600"/>
                <a:gd name="connsiteY134" fmla="*/ 188273 h 259829"/>
                <a:gd name="connsiteX135" fmla="*/ 647640 w 774600"/>
                <a:gd name="connsiteY135" fmla="*/ 188273 h 259829"/>
                <a:gd name="connsiteX136" fmla="*/ 652859 w 774600"/>
                <a:gd name="connsiteY136" fmla="*/ 208249 h 259829"/>
                <a:gd name="connsiteX137" fmla="*/ 667786 w 774600"/>
                <a:gd name="connsiteY137" fmla="*/ 221619 h 259829"/>
                <a:gd name="connsiteX138" fmla="*/ 690028 w 774600"/>
                <a:gd name="connsiteY138" fmla="*/ 226483 h 259829"/>
                <a:gd name="connsiteX139" fmla="*/ 712767 w 774600"/>
                <a:gd name="connsiteY139" fmla="*/ 221795 h 259829"/>
                <a:gd name="connsiteX140" fmla="*/ 727363 w 774600"/>
                <a:gd name="connsiteY140" fmla="*/ 207899 h 259829"/>
                <a:gd name="connsiteX141" fmla="*/ 732567 w 774600"/>
                <a:gd name="connsiteY141" fmla="*/ 185671 h 259829"/>
                <a:gd name="connsiteX142" fmla="*/ 726847 w 774600"/>
                <a:gd name="connsiteY142" fmla="*/ 161702 h 259829"/>
                <a:gd name="connsiteX143" fmla="*/ 710515 w 774600"/>
                <a:gd name="connsiteY143" fmla="*/ 148157 h 259829"/>
                <a:gd name="connsiteX144" fmla="*/ 685510 w 774600"/>
                <a:gd name="connsiteY144" fmla="*/ 143643 h 259829"/>
                <a:gd name="connsiteX145" fmla="*/ 660505 w 774600"/>
                <a:gd name="connsiteY145" fmla="*/ 143643 h 2598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</a:cxnLst>
              <a:rect l="l" t="t" r="r" b="b"/>
              <a:pathLst>
                <a:path w="774600" h="259829">
                  <a:moveTo>
                    <a:pt x="174372" y="223011"/>
                  </a:moveTo>
                  <a:lnTo>
                    <a:pt x="174372" y="256357"/>
                  </a:lnTo>
                  <a:lnTo>
                    <a:pt x="4859" y="256357"/>
                  </a:lnTo>
                  <a:lnTo>
                    <a:pt x="4859" y="227699"/>
                  </a:lnTo>
                  <a:lnTo>
                    <a:pt x="87193" y="137908"/>
                  </a:lnTo>
                  <a:cubicBezTo>
                    <a:pt x="96211" y="127719"/>
                    <a:pt x="103336" y="118920"/>
                    <a:pt x="108541" y="111508"/>
                  </a:cubicBezTo>
                  <a:cubicBezTo>
                    <a:pt x="113760" y="104095"/>
                    <a:pt x="117403" y="97442"/>
                    <a:pt x="119499" y="91537"/>
                  </a:cubicBezTo>
                  <a:cubicBezTo>
                    <a:pt x="121697" y="85516"/>
                    <a:pt x="122797" y="79669"/>
                    <a:pt x="122797" y="73993"/>
                  </a:cubicBezTo>
                  <a:cubicBezTo>
                    <a:pt x="122797" y="66002"/>
                    <a:pt x="121284" y="58998"/>
                    <a:pt x="118278" y="52977"/>
                  </a:cubicBezTo>
                  <a:cubicBezTo>
                    <a:pt x="115374" y="46838"/>
                    <a:pt x="111099" y="42033"/>
                    <a:pt x="105413" y="38560"/>
                  </a:cubicBezTo>
                  <a:cubicBezTo>
                    <a:pt x="99747" y="34971"/>
                    <a:pt x="92860" y="33176"/>
                    <a:pt x="84752" y="33176"/>
                  </a:cubicBezTo>
                  <a:cubicBezTo>
                    <a:pt x="75374" y="33176"/>
                    <a:pt x="67510" y="35204"/>
                    <a:pt x="61138" y="39256"/>
                  </a:cubicBezTo>
                  <a:cubicBezTo>
                    <a:pt x="54766" y="43307"/>
                    <a:pt x="49956" y="48925"/>
                    <a:pt x="46712" y="56104"/>
                  </a:cubicBezTo>
                  <a:cubicBezTo>
                    <a:pt x="43482" y="63166"/>
                    <a:pt x="41853" y="71274"/>
                    <a:pt x="41853" y="80418"/>
                  </a:cubicBezTo>
                  <a:lnTo>
                    <a:pt x="0" y="80418"/>
                  </a:lnTo>
                  <a:cubicBezTo>
                    <a:pt x="0" y="65715"/>
                    <a:pt x="3366" y="52281"/>
                    <a:pt x="10083" y="40126"/>
                  </a:cubicBezTo>
                  <a:cubicBezTo>
                    <a:pt x="16800" y="27855"/>
                    <a:pt x="26517" y="18127"/>
                    <a:pt x="39261" y="10948"/>
                  </a:cubicBezTo>
                  <a:cubicBezTo>
                    <a:pt x="51989" y="3653"/>
                    <a:pt x="67325" y="5"/>
                    <a:pt x="85272" y="5"/>
                  </a:cubicBezTo>
                  <a:cubicBezTo>
                    <a:pt x="102189" y="5"/>
                    <a:pt x="116546" y="2840"/>
                    <a:pt x="128346" y="8517"/>
                  </a:cubicBezTo>
                  <a:cubicBezTo>
                    <a:pt x="140160" y="14193"/>
                    <a:pt x="149129" y="22237"/>
                    <a:pt x="155277" y="32660"/>
                  </a:cubicBezTo>
                  <a:cubicBezTo>
                    <a:pt x="161527" y="43079"/>
                    <a:pt x="164654" y="55413"/>
                    <a:pt x="164654" y="69655"/>
                  </a:cubicBezTo>
                  <a:cubicBezTo>
                    <a:pt x="164654" y="77529"/>
                    <a:pt x="163385" y="85345"/>
                    <a:pt x="160827" y="93103"/>
                  </a:cubicBezTo>
                  <a:cubicBezTo>
                    <a:pt x="158283" y="100861"/>
                    <a:pt x="154645" y="108619"/>
                    <a:pt x="149888" y="116376"/>
                  </a:cubicBezTo>
                  <a:cubicBezTo>
                    <a:pt x="145267" y="124017"/>
                    <a:pt x="139757" y="131717"/>
                    <a:pt x="133400" y="139475"/>
                  </a:cubicBezTo>
                  <a:cubicBezTo>
                    <a:pt x="127028" y="147116"/>
                    <a:pt x="120019" y="154873"/>
                    <a:pt x="112378" y="162748"/>
                  </a:cubicBezTo>
                  <a:lnTo>
                    <a:pt x="57675" y="223015"/>
                  </a:lnTo>
                  <a:lnTo>
                    <a:pt x="174377" y="223015"/>
                  </a:lnTo>
                  <a:close/>
                  <a:moveTo>
                    <a:pt x="371848" y="108730"/>
                  </a:moveTo>
                  <a:lnTo>
                    <a:pt x="371848" y="150063"/>
                  </a:lnTo>
                  <a:cubicBezTo>
                    <a:pt x="371848" y="169864"/>
                    <a:pt x="369873" y="186765"/>
                    <a:pt x="365938" y="200778"/>
                  </a:cubicBezTo>
                  <a:cubicBezTo>
                    <a:pt x="362125" y="214674"/>
                    <a:pt x="356561" y="225963"/>
                    <a:pt x="349260" y="234645"/>
                  </a:cubicBezTo>
                  <a:cubicBezTo>
                    <a:pt x="341960" y="243327"/>
                    <a:pt x="333219" y="249698"/>
                    <a:pt x="323035" y="253750"/>
                  </a:cubicBezTo>
                  <a:cubicBezTo>
                    <a:pt x="312971" y="257801"/>
                    <a:pt x="301668" y="259830"/>
                    <a:pt x="289168" y="259830"/>
                  </a:cubicBezTo>
                  <a:cubicBezTo>
                    <a:pt x="279221" y="259830"/>
                    <a:pt x="269951" y="258555"/>
                    <a:pt x="261381" y="256011"/>
                  </a:cubicBezTo>
                  <a:cubicBezTo>
                    <a:pt x="252933" y="253463"/>
                    <a:pt x="245287" y="249470"/>
                    <a:pt x="238468" y="244027"/>
                  </a:cubicBezTo>
                  <a:cubicBezTo>
                    <a:pt x="231634" y="238584"/>
                    <a:pt x="225773" y="231581"/>
                    <a:pt x="220914" y="223011"/>
                  </a:cubicBezTo>
                  <a:cubicBezTo>
                    <a:pt x="216172" y="214329"/>
                    <a:pt x="212466" y="203964"/>
                    <a:pt x="209800" y="191921"/>
                  </a:cubicBezTo>
                  <a:cubicBezTo>
                    <a:pt x="207256" y="179878"/>
                    <a:pt x="205972" y="165929"/>
                    <a:pt x="205972" y="150063"/>
                  </a:cubicBezTo>
                  <a:lnTo>
                    <a:pt x="205972" y="108730"/>
                  </a:lnTo>
                  <a:cubicBezTo>
                    <a:pt x="205972" y="88813"/>
                    <a:pt x="207947" y="72028"/>
                    <a:pt x="211882" y="58366"/>
                  </a:cubicBezTo>
                  <a:cubicBezTo>
                    <a:pt x="215831" y="44587"/>
                    <a:pt x="221430" y="33414"/>
                    <a:pt x="228730" y="24844"/>
                  </a:cubicBezTo>
                  <a:cubicBezTo>
                    <a:pt x="236031" y="16162"/>
                    <a:pt x="244722" y="9849"/>
                    <a:pt x="254786" y="5914"/>
                  </a:cubicBezTo>
                  <a:cubicBezTo>
                    <a:pt x="264970" y="1975"/>
                    <a:pt x="276323" y="10"/>
                    <a:pt x="288827" y="10"/>
                  </a:cubicBezTo>
                  <a:cubicBezTo>
                    <a:pt x="298910" y="10"/>
                    <a:pt x="308166" y="1284"/>
                    <a:pt x="316614" y="3833"/>
                  </a:cubicBezTo>
                  <a:cubicBezTo>
                    <a:pt x="325184" y="6265"/>
                    <a:pt x="332825" y="10141"/>
                    <a:pt x="339542" y="15467"/>
                  </a:cubicBezTo>
                  <a:cubicBezTo>
                    <a:pt x="346376" y="20793"/>
                    <a:pt x="352164" y="27738"/>
                    <a:pt x="356906" y="36308"/>
                  </a:cubicBezTo>
                  <a:cubicBezTo>
                    <a:pt x="361765" y="44762"/>
                    <a:pt x="365476" y="55010"/>
                    <a:pt x="368020" y="67048"/>
                  </a:cubicBezTo>
                  <a:cubicBezTo>
                    <a:pt x="370578" y="78974"/>
                    <a:pt x="371848" y="92870"/>
                    <a:pt x="371848" y="108730"/>
                  </a:cubicBezTo>
                  <a:close/>
                  <a:moveTo>
                    <a:pt x="329995" y="155968"/>
                  </a:moveTo>
                  <a:lnTo>
                    <a:pt x="329995" y="102476"/>
                  </a:lnTo>
                  <a:cubicBezTo>
                    <a:pt x="329995" y="92403"/>
                    <a:pt x="329411" y="83546"/>
                    <a:pt x="328258" y="75905"/>
                  </a:cubicBezTo>
                  <a:cubicBezTo>
                    <a:pt x="327091" y="68147"/>
                    <a:pt x="325355" y="61605"/>
                    <a:pt x="323039" y="56279"/>
                  </a:cubicBezTo>
                  <a:cubicBezTo>
                    <a:pt x="320841" y="50837"/>
                    <a:pt x="318059" y="46440"/>
                    <a:pt x="314708" y="43079"/>
                  </a:cubicBezTo>
                  <a:cubicBezTo>
                    <a:pt x="311342" y="39606"/>
                    <a:pt x="307529" y="37116"/>
                    <a:pt x="303234" y="35613"/>
                  </a:cubicBezTo>
                  <a:cubicBezTo>
                    <a:pt x="298959" y="33993"/>
                    <a:pt x="294148" y="33181"/>
                    <a:pt x="288823" y="33181"/>
                  </a:cubicBezTo>
                  <a:cubicBezTo>
                    <a:pt x="282349" y="33181"/>
                    <a:pt x="276542" y="34455"/>
                    <a:pt x="271459" y="37004"/>
                  </a:cubicBezTo>
                  <a:cubicBezTo>
                    <a:pt x="266357" y="39436"/>
                    <a:pt x="262081" y="43371"/>
                    <a:pt x="258613" y="48813"/>
                  </a:cubicBezTo>
                  <a:cubicBezTo>
                    <a:pt x="255126" y="54256"/>
                    <a:pt x="252466" y="61435"/>
                    <a:pt x="250608" y="70350"/>
                  </a:cubicBezTo>
                  <a:cubicBezTo>
                    <a:pt x="248871" y="79149"/>
                    <a:pt x="248015" y="89859"/>
                    <a:pt x="248015" y="102480"/>
                  </a:cubicBezTo>
                  <a:lnTo>
                    <a:pt x="248015" y="155973"/>
                  </a:lnTo>
                  <a:cubicBezTo>
                    <a:pt x="248015" y="166162"/>
                    <a:pt x="248584" y="175136"/>
                    <a:pt x="249752" y="182894"/>
                  </a:cubicBezTo>
                  <a:cubicBezTo>
                    <a:pt x="250904" y="190652"/>
                    <a:pt x="252636" y="197310"/>
                    <a:pt x="254956" y="202865"/>
                  </a:cubicBezTo>
                  <a:cubicBezTo>
                    <a:pt x="257276" y="208307"/>
                    <a:pt x="260058" y="212821"/>
                    <a:pt x="263302" y="216410"/>
                  </a:cubicBezTo>
                  <a:cubicBezTo>
                    <a:pt x="266653" y="219883"/>
                    <a:pt x="270481" y="222432"/>
                    <a:pt x="274756" y="224051"/>
                  </a:cubicBezTo>
                  <a:cubicBezTo>
                    <a:pt x="279153" y="225671"/>
                    <a:pt x="283964" y="226483"/>
                    <a:pt x="289168" y="226483"/>
                  </a:cubicBezTo>
                  <a:cubicBezTo>
                    <a:pt x="295778" y="226483"/>
                    <a:pt x="301619" y="225209"/>
                    <a:pt x="306721" y="222660"/>
                  </a:cubicBezTo>
                  <a:cubicBezTo>
                    <a:pt x="311804" y="220112"/>
                    <a:pt x="316099" y="216060"/>
                    <a:pt x="319567" y="210501"/>
                  </a:cubicBezTo>
                  <a:cubicBezTo>
                    <a:pt x="323035" y="204830"/>
                    <a:pt x="325646" y="197476"/>
                    <a:pt x="327383" y="188443"/>
                  </a:cubicBezTo>
                  <a:cubicBezTo>
                    <a:pt x="329119" y="179411"/>
                    <a:pt x="329995" y="168585"/>
                    <a:pt x="329995" y="155963"/>
                  </a:cubicBezTo>
                  <a:close/>
                  <a:moveTo>
                    <a:pt x="578701" y="223006"/>
                  </a:moveTo>
                  <a:lnTo>
                    <a:pt x="578701" y="256352"/>
                  </a:lnTo>
                  <a:lnTo>
                    <a:pt x="409187" y="256352"/>
                  </a:lnTo>
                  <a:lnTo>
                    <a:pt x="409187" y="227694"/>
                  </a:lnTo>
                  <a:lnTo>
                    <a:pt x="491507" y="137904"/>
                  </a:lnTo>
                  <a:cubicBezTo>
                    <a:pt x="500539" y="127714"/>
                    <a:pt x="507670" y="118915"/>
                    <a:pt x="512874" y="111503"/>
                  </a:cubicBezTo>
                  <a:cubicBezTo>
                    <a:pt x="518078" y="104090"/>
                    <a:pt x="521736" y="97437"/>
                    <a:pt x="523813" y="91532"/>
                  </a:cubicBezTo>
                  <a:cubicBezTo>
                    <a:pt x="526011" y="85511"/>
                    <a:pt x="527110" y="79664"/>
                    <a:pt x="527110" y="73988"/>
                  </a:cubicBezTo>
                  <a:cubicBezTo>
                    <a:pt x="527110" y="65997"/>
                    <a:pt x="525617" y="58993"/>
                    <a:pt x="522592" y="52972"/>
                  </a:cubicBezTo>
                  <a:cubicBezTo>
                    <a:pt x="519708" y="46834"/>
                    <a:pt x="515413" y="42028"/>
                    <a:pt x="509746" y="38555"/>
                  </a:cubicBezTo>
                  <a:cubicBezTo>
                    <a:pt x="504080" y="34966"/>
                    <a:pt x="497193" y="33171"/>
                    <a:pt x="489085" y="33171"/>
                  </a:cubicBezTo>
                  <a:cubicBezTo>
                    <a:pt x="479708" y="33171"/>
                    <a:pt x="471823" y="35199"/>
                    <a:pt x="465452" y="39251"/>
                  </a:cubicBezTo>
                  <a:cubicBezTo>
                    <a:pt x="459095" y="43302"/>
                    <a:pt x="454289" y="48920"/>
                    <a:pt x="451040" y="56099"/>
                  </a:cubicBezTo>
                  <a:cubicBezTo>
                    <a:pt x="447796" y="63161"/>
                    <a:pt x="446181" y="71269"/>
                    <a:pt x="446181" y="80413"/>
                  </a:cubicBezTo>
                  <a:lnTo>
                    <a:pt x="404328" y="80413"/>
                  </a:lnTo>
                  <a:cubicBezTo>
                    <a:pt x="404328" y="65710"/>
                    <a:pt x="407679" y="52276"/>
                    <a:pt x="414391" y="40122"/>
                  </a:cubicBezTo>
                  <a:cubicBezTo>
                    <a:pt x="421108" y="27850"/>
                    <a:pt x="430846" y="18123"/>
                    <a:pt x="443569" y="10944"/>
                  </a:cubicBezTo>
                  <a:cubicBezTo>
                    <a:pt x="456313" y="3648"/>
                    <a:pt x="471648" y="0"/>
                    <a:pt x="489596" y="0"/>
                  </a:cubicBezTo>
                  <a:cubicBezTo>
                    <a:pt x="506497" y="0"/>
                    <a:pt x="520855" y="2836"/>
                    <a:pt x="532670" y="8512"/>
                  </a:cubicBezTo>
                  <a:cubicBezTo>
                    <a:pt x="544484" y="14188"/>
                    <a:pt x="553453" y="22232"/>
                    <a:pt x="559581" y="32656"/>
                  </a:cubicBezTo>
                  <a:cubicBezTo>
                    <a:pt x="565831" y="43074"/>
                    <a:pt x="568958" y="55409"/>
                    <a:pt x="568958" y="69650"/>
                  </a:cubicBezTo>
                  <a:cubicBezTo>
                    <a:pt x="568958" y="77524"/>
                    <a:pt x="567689" y="85340"/>
                    <a:pt x="565145" y="93098"/>
                  </a:cubicBezTo>
                  <a:cubicBezTo>
                    <a:pt x="562601" y="100856"/>
                    <a:pt x="558944" y="108614"/>
                    <a:pt x="554207" y="116372"/>
                  </a:cubicBezTo>
                  <a:cubicBezTo>
                    <a:pt x="549571" y="124013"/>
                    <a:pt x="544075" y="131712"/>
                    <a:pt x="537704" y="139470"/>
                  </a:cubicBezTo>
                  <a:cubicBezTo>
                    <a:pt x="531332" y="147111"/>
                    <a:pt x="524323" y="154869"/>
                    <a:pt x="516697" y="162743"/>
                  </a:cubicBezTo>
                  <a:lnTo>
                    <a:pt x="461979" y="223011"/>
                  </a:lnTo>
                  <a:lnTo>
                    <a:pt x="578701" y="223011"/>
                  </a:lnTo>
                  <a:close/>
                  <a:moveTo>
                    <a:pt x="660505" y="110982"/>
                  </a:moveTo>
                  <a:lnTo>
                    <a:pt x="685510" y="110982"/>
                  </a:lnTo>
                  <a:cubicBezTo>
                    <a:pt x="695233" y="110982"/>
                    <a:pt x="703287" y="109304"/>
                    <a:pt x="709639" y="105948"/>
                  </a:cubicBezTo>
                  <a:cubicBezTo>
                    <a:pt x="716132" y="102592"/>
                    <a:pt x="720943" y="97957"/>
                    <a:pt x="724065" y="92052"/>
                  </a:cubicBezTo>
                  <a:cubicBezTo>
                    <a:pt x="727193" y="86148"/>
                    <a:pt x="728754" y="79373"/>
                    <a:pt x="728754" y="71731"/>
                  </a:cubicBezTo>
                  <a:cubicBezTo>
                    <a:pt x="728754" y="64090"/>
                    <a:pt x="727295" y="56911"/>
                    <a:pt x="724411" y="51240"/>
                  </a:cubicBezTo>
                  <a:cubicBezTo>
                    <a:pt x="721628" y="45452"/>
                    <a:pt x="717353" y="40992"/>
                    <a:pt x="711565" y="37865"/>
                  </a:cubicBezTo>
                  <a:cubicBezTo>
                    <a:pt x="705879" y="34737"/>
                    <a:pt x="698652" y="33176"/>
                    <a:pt x="689858" y="33176"/>
                  </a:cubicBezTo>
                  <a:cubicBezTo>
                    <a:pt x="682441" y="33176"/>
                    <a:pt x="675724" y="34679"/>
                    <a:pt x="669712" y="37690"/>
                  </a:cubicBezTo>
                  <a:cubicBezTo>
                    <a:pt x="663803" y="40584"/>
                    <a:pt x="659114" y="44752"/>
                    <a:pt x="655626" y="50195"/>
                  </a:cubicBezTo>
                  <a:cubicBezTo>
                    <a:pt x="652159" y="55520"/>
                    <a:pt x="650422" y="61887"/>
                    <a:pt x="650422" y="69300"/>
                  </a:cubicBezTo>
                  <a:lnTo>
                    <a:pt x="608394" y="69300"/>
                  </a:lnTo>
                  <a:cubicBezTo>
                    <a:pt x="608394" y="55866"/>
                    <a:pt x="611916" y="43945"/>
                    <a:pt x="618992" y="33521"/>
                  </a:cubicBezTo>
                  <a:cubicBezTo>
                    <a:pt x="626050" y="23103"/>
                    <a:pt x="635670" y="14937"/>
                    <a:pt x="647810" y="9032"/>
                  </a:cubicBezTo>
                  <a:cubicBezTo>
                    <a:pt x="660092" y="3011"/>
                    <a:pt x="673866" y="0"/>
                    <a:pt x="689148" y="0"/>
                  </a:cubicBezTo>
                  <a:cubicBezTo>
                    <a:pt x="705480" y="0"/>
                    <a:pt x="719717" y="2724"/>
                    <a:pt x="731876" y="8161"/>
                  </a:cubicBezTo>
                  <a:cubicBezTo>
                    <a:pt x="744138" y="13487"/>
                    <a:pt x="753705" y="21479"/>
                    <a:pt x="760524" y="32130"/>
                  </a:cubicBezTo>
                  <a:cubicBezTo>
                    <a:pt x="767358" y="42782"/>
                    <a:pt x="770777" y="55982"/>
                    <a:pt x="770777" y="71727"/>
                  </a:cubicBezTo>
                  <a:cubicBezTo>
                    <a:pt x="770777" y="78906"/>
                    <a:pt x="769094" y="86201"/>
                    <a:pt x="765743" y="93609"/>
                  </a:cubicBezTo>
                  <a:cubicBezTo>
                    <a:pt x="762378" y="101021"/>
                    <a:pt x="757397" y="107792"/>
                    <a:pt x="750802" y="113930"/>
                  </a:cubicBezTo>
                  <a:cubicBezTo>
                    <a:pt x="744206" y="119951"/>
                    <a:pt x="735982" y="124869"/>
                    <a:pt x="726137" y="128692"/>
                  </a:cubicBezTo>
                  <a:cubicBezTo>
                    <a:pt x="716298" y="132398"/>
                    <a:pt x="704892" y="134251"/>
                    <a:pt x="691925" y="134251"/>
                  </a:cubicBezTo>
                  <a:lnTo>
                    <a:pt x="660495" y="134251"/>
                  </a:lnTo>
                  <a:lnTo>
                    <a:pt x="660495" y="110978"/>
                  </a:lnTo>
                  <a:close/>
                  <a:moveTo>
                    <a:pt x="660505" y="143633"/>
                  </a:moveTo>
                  <a:lnTo>
                    <a:pt x="660505" y="120705"/>
                  </a:lnTo>
                  <a:lnTo>
                    <a:pt x="691935" y="120705"/>
                  </a:lnTo>
                  <a:cubicBezTo>
                    <a:pt x="706755" y="120705"/>
                    <a:pt x="719381" y="122442"/>
                    <a:pt x="729790" y="125914"/>
                  </a:cubicBezTo>
                  <a:cubicBezTo>
                    <a:pt x="740335" y="129387"/>
                    <a:pt x="748905" y="134193"/>
                    <a:pt x="755500" y="140331"/>
                  </a:cubicBezTo>
                  <a:cubicBezTo>
                    <a:pt x="762095" y="146352"/>
                    <a:pt x="766906" y="153239"/>
                    <a:pt x="769911" y="160997"/>
                  </a:cubicBezTo>
                  <a:cubicBezTo>
                    <a:pt x="773039" y="168755"/>
                    <a:pt x="774600" y="176975"/>
                    <a:pt x="774600" y="185661"/>
                  </a:cubicBezTo>
                  <a:cubicBezTo>
                    <a:pt x="774600" y="197471"/>
                    <a:pt x="772470" y="208006"/>
                    <a:pt x="768175" y="217271"/>
                  </a:cubicBezTo>
                  <a:cubicBezTo>
                    <a:pt x="764016" y="226420"/>
                    <a:pt x="758044" y="234178"/>
                    <a:pt x="750296" y="240545"/>
                  </a:cubicBezTo>
                  <a:cubicBezTo>
                    <a:pt x="742533" y="246911"/>
                    <a:pt x="733447" y="251717"/>
                    <a:pt x="723024" y="254961"/>
                  </a:cubicBezTo>
                  <a:cubicBezTo>
                    <a:pt x="712718" y="258205"/>
                    <a:pt x="701487" y="259825"/>
                    <a:pt x="689328" y="259825"/>
                  </a:cubicBezTo>
                  <a:cubicBezTo>
                    <a:pt x="678457" y="259825"/>
                    <a:pt x="668029" y="258322"/>
                    <a:pt x="658068" y="255311"/>
                  </a:cubicBezTo>
                  <a:cubicBezTo>
                    <a:pt x="648107" y="252300"/>
                    <a:pt x="639192" y="247845"/>
                    <a:pt x="631327" y="241940"/>
                  </a:cubicBezTo>
                  <a:cubicBezTo>
                    <a:pt x="623443" y="235919"/>
                    <a:pt x="617193" y="228453"/>
                    <a:pt x="612572" y="219538"/>
                  </a:cubicBezTo>
                  <a:cubicBezTo>
                    <a:pt x="608054" y="210506"/>
                    <a:pt x="605787" y="200087"/>
                    <a:pt x="605787" y="188273"/>
                  </a:cubicBezTo>
                  <a:lnTo>
                    <a:pt x="647640" y="188273"/>
                  </a:lnTo>
                  <a:cubicBezTo>
                    <a:pt x="647640" y="195802"/>
                    <a:pt x="649377" y="202456"/>
                    <a:pt x="652859" y="208249"/>
                  </a:cubicBezTo>
                  <a:cubicBezTo>
                    <a:pt x="656449" y="213920"/>
                    <a:pt x="661429" y="218380"/>
                    <a:pt x="667786" y="221619"/>
                  </a:cubicBezTo>
                  <a:cubicBezTo>
                    <a:pt x="674279" y="224864"/>
                    <a:pt x="681682" y="226483"/>
                    <a:pt x="690028" y="226483"/>
                  </a:cubicBezTo>
                  <a:cubicBezTo>
                    <a:pt x="698822" y="226483"/>
                    <a:pt x="706415" y="224922"/>
                    <a:pt x="712767" y="221795"/>
                  </a:cubicBezTo>
                  <a:cubicBezTo>
                    <a:pt x="719138" y="218667"/>
                    <a:pt x="723997" y="214037"/>
                    <a:pt x="727363" y="207899"/>
                  </a:cubicBezTo>
                  <a:cubicBezTo>
                    <a:pt x="730831" y="201761"/>
                    <a:pt x="732567" y="194353"/>
                    <a:pt x="732567" y="185671"/>
                  </a:cubicBezTo>
                  <a:cubicBezTo>
                    <a:pt x="732567" y="175827"/>
                    <a:pt x="730660" y="167840"/>
                    <a:pt x="726847" y="161702"/>
                  </a:cubicBezTo>
                  <a:cubicBezTo>
                    <a:pt x="723019" y="155564"/>
                    <a:pt x="717572" y="151050"/>
                    <a:pt x="710515" y="148157"/>
                  </a:cubicBezTo>
                  <a:cubicBezTo>
                    <a:pt x="703457" y="145146"/>
                    <a:pt x="695111" y="143643"/>
                    <a:pt x="685510" y="143643"/>
                  </a:cubicBezTo>
                  <a:lnTo>
                    <a:pt x="660505" y="143643"/>
                  </a:lnTo>
                  <a:close/>
                </a:path>
              </a:pathLst>
            </a:custGeom>
            <a:solidFill>
              <a:schemeClr val="tx1"/>
            </a:solidFill>
            <a:ln w="4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pic>
        <p:nvPicPr>
          <p:cNvPr id="389" name="Рисунок 388">
            <a:extLst>
              <a:ext uri="{FF2B5EF4-FFF2-40B4-BE49-F238E27FC236}">
                <a16:creationId xmlns:a16="http://schemas.microsoft.com/office/drawing/2014/main" id="{B78B384F-F3A2-4E10-8405-6E2FAB593BD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03721" y="6049020"/>
            <a:ext cx="1688608" cy="472507"/>
          </a:xfrm>
          <a:prstGeom prst="rect">
            <a:avLst/>
          </a:prstGeom>
        </p:spPr>
      </p:pic>
      <p:grpSp>
        <p:nvGrpSpPr>
          <p:cNvPr id="5" name="Группа 4">
            <a:extLst>
              <a:ext uri="{FF2B5EF4-FFF2-40B4-BE49-F238E27FC236}">
                <a16:creationId xmlns:a16="http://schemas.microsoft.com/office/drawing/2014/main" id="{6220E347-001D-426B-AF38-C73C410C34F4}"/>
              </a:ext>
            </a:extLst>
          </p:cNvPr>
          <p:cNvGrpSpPr/>
          <p:nvPr/>
        </p:nvGrpSpPr>
        <p:grpSpPr>
          <a:xfrm>
            <a:off x="503721" y="1524830"/>
            <a:ext cx="3599515" cy="2030412"/>
            <a:chOff x="1030357" y="1951337"/>
            <a:chExt cx="3599515" cy="2030412"/>
          </a:xfrm>
        </p:grpSpPr>
        <p:sp>
          <p:nvSpPr>
            <p:cNvPr id="32" name="Shape_фон">
              <a:extLst>
                <a:ext uri="{FF2B5EF4-FFF2-40B4-BE49-F238E27FC236}">
                  <a16:creationId xmlns:a16="http://schemas.microsoft.com/office/drawing/2014/main" id="{AF7A0ACE-EB15-4775-AF74-CE22219C7FE6}"/>
                </a:ext>
              </a:extLst>
            </p:cNvPr>
            <p:cNvSpPr/>
            <p:nvPr/>
          </p:nvSpPr>
          <p:spPr>
            <a:xfrm>
              <a:off x="1228397" y="2180899"/>
              <a:ext cx="3401475" cy="1800850"/>
            </a:xfrm>
            <a:prstGeom prst="roundRect">
              <a:avLst>
                <a:gd name="adj" fmla="val 8571"/>
              </a:avLst>
            </a:prstGeom>
            <a:solidFill>
              <a:schemeClr val="bg1"/>
            </a:solidFill>
            <a:ln w="12700" cap="flat">
              <a:noFill/>
              <a:prstDash val="solid"/>
              <a:miter/>
            </a:ln>
            <a:effectLst>
              <a:outerShdw blurRad="1003300" sx="102000" sy="102000" algn="ctr" rotWithShape="0">
                <a:schemeClr val="tx1">
                  <a:alpha val="20000"/>
                </a:schemeClr>
              </a:outerShdw>
            </a:effectLst>
          </p:spPr>
          <p:txBody>
            <a:bodyPr lIns="0" tIns="0" rIns="0" bIns="0" anchor="ctr"/>
            <a:lstStyle/>
            <a:p>
              <a:pPr marL="0" marR="0" lvl="0" indent="0" algn="ctr" defTabSz="309563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itchFamily="2" charset="0"/>
                <a:ea typeface="Roboto" pitchFamily="2" charset="0"/>
                <a:cs typeface="Poppins Bold"/>
                <a:sym typeface="Poppins Bold"/>
              </a:endParaRPr>
            </a:p>
          </p:txBody>
        </p:sp>
        <p:sp>
          <p:nvSpPr>
            <p:cNvPr id="54" name="Motion design">
              <a:extLst>
                <a:ext uri="{FF2B5EF4-FFF2-40B4-BE49-F238E27FC236}">
                  <a16:creationId xmlns:a16="http://schemas.microsoft.com/office/drawing/2014/main" id="{F0FE0770-CE15-4128-BB3F-AEA2190339F9}"/>
                </a:ext>
              </a:extLst>
            </p:cNvPr>
            <p:cNvSpPr txBox="1"/>
            <p:nvPr/>
          </p:nvSpPr>
          <p:spPr>
            <a:xfrm>
              <a:off x="1752500" y="2416850"/>
              <a:ext cx="2721113" cy="1375248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</a:ext>
            </a:extLst>
          </p:spPr>
          <p:txBody>
            <a:bodyPr wrap="square" lIns="0" tIns="0" rIns="0" bIns="0" anchor="ctr">
              <a:spAutoFit/>
            </a:bodyPr>
            <a:lstStyle>
              <a:lvl1pPr>
                <a:lnSpc>
                  <a:spcPct val="130000"/>
                </a:lnSpc>
                <a:defRPr sz="3000">
                  <a:latin typeface="+mn-lt"/>
                  <a:ea typeface="+mn-ea"/>
                  <a:cs typeface="+mn-cs"/>
                  <a:sym typeface="Poppins SemiBold"/>
                </a:defRPr>
              </a:lvl1pPr>
            </a:lstStyle>
            <a:p>
              <a:pPr defTabSz="309563" hangingPunct="0">
                <a:buClr>
                  <a:schemeClr val="bg2"/>
                </a:buClr>
                <a:defRPr/>
              </a:pPr>
              <a:r>
                <a:rPr lang="ru-RU" sz="1400" dirty="0">
                  <a:solidFill>
                    <a:srgbClr val="0D0D0D"/>
                  </a:solidFill>
                  <a:latin typeface="SB Sans Text Light" panose="020B0303040504020204" pitchFamily="34" charset="-52"/>
                  <a:ea typeface="Roboto Light" panose="02000000000000000000" pitchFamily="2" charset="0"/>
                  <a:cs typeface="SB Sans Text Light" panose="020B0303040504020204" pitchFamily="34" charset="-52"/>
                </a:rPr>
                <a:t>В НПФ законодательно нельзя смешивать в одной АС данные разных видов пенсионных продуктов. Поэтому клиенты ведутся обособленно</a:t>
              </a:r>
            </a:p>
          </p:txBody>
        </p:sp>
        <p:sp>
          <p:nvSpPr>
            <p:cNvPr id="50" name="Circle">
              <a:extLst>
                <a:ext uri="{FF2B5EF4-FFF2-40B4-BE49-F238E27FC236}">
                  <a16:creationId xmlns:a16="http://schemas.microsoft.com/office/drawing/2014/main" id="{DB16F475-A274-492B-AD83-663B7C3C58FB}"/>
                </a:ext>
              </a:extLst>
            </p:cNvPr>
            <p:cNvSpPr/>
            <p:nvPr/>
          </p:nvSpPr>
          <p:spPr>
            <a:xfrm>
              <a:off x="1030357" y="1951337"/>
              <a:ext cx="635335" cy="635335"/>
            </a:xfrm>
            <a:prstGeom prst="ellipse">
              <a:avLst/>
            </a:prstGeom>
            <a:solidFill>
              <a:schemeClr val="bg2"/>
            </a:solidFill>
            <a:ln w="12700">
              <a:miter lim="400000"/>
            </a:ln>
          </p:spPr>
          <p:txBody>
            <a:bodyPr lIns="0" tIns="0" rIns="0" bIns="0" anchor="ctr"/>
            <a:lstStyle/>
            <a:p>
              <a:pPr algn="ctr" defTabSz="309563" hangingPunct="0">
                <a:buClrTx/>
                <a:defRPr sz="3200">
                  <a:solidFill>
                    <a:srgbClr val="FFFFFF"/>
                  </a:solidFill>
                  <a:latin typeface="Poppins Bold"/>
                  <a:ea typeface="Poppins Bold"/>
                  <a:cs typeface="Poppins Bold"/>
                  <a:sym typeface="Poppins Bold"/>
                </a:defRPr>
              </a:pPr>
              <a:r>
                <a:rPr lang="ru-RU" sz="2400" dirty="0">
                  <a:solidFill>
                    <a:srgbClr val="FFFFFF"/>
                  </a:solidFill>
                  <a:latin typeface="SB Sans Text Medium" panose="020B0603040504020204" pitchFamily="34" charset="-52"/>
                  <a:ea typeface="Roboto" pitchFamily="2" charset="0"/>
                  <a:cs typeface="SB Sans Text Medium" panose="020B0603040504020204" pitchFamily="34" charset="-52"/>
                  <a:sym typeface="Poppins Bold"/>
                </a:rPr>
                <a:t>1</a:t>
              </a:r>
              <a:endParaRPr sz="2400" dirty="0">
                <a:solidFill>
                  <a:srgbClr val="FFFFFF"/>
                </a:solidFill>
                <a:latin typeface="SB Sans Text Medium" panose="020B0603040504020204" pitchFamily="34" charset="-52"/>
                <a:ea typeface="Roboto" pitchFamily="2" charset="0"/>
                <a:cs typeface="SB Sans Text Medium" panose="020B0603040504020204" pitchFamily="34" charset="-52"/>
                <a:sym typeface="Poppins Bold"/>
              </a:endParaRPr>
            </a:p>
          </p:txBody>
        </p:sp>
      </p:grpSp>
      <p:grpSp>
        <p:nvGrpSpPr>
          <p:cNvPr id="55" name="Группа 54">
            <a:extLst>
              <a:ext uri="{FF2B5EF4-FFF2-40B4-BE49-F238E27FC236}">
                <a16:creationId xmlns:a16="http://schemas.microsoft.com/office/drawing/2014/main" id="{358301DE-D672-4C7A-A82C-6B05C3472098}"/>
              </a:ext>
            </a:extLst>
          </p:cNvPr>
          <p:cNvGrpSpPr/>
          <p:nvPr/>
        </p:nvGrpSpPr>
        <p:grpSpPr>
          <a:xfrm>
            <a:off x="4301276" y="1524830"/>
            <a:ext cx="3599515" cy="2030412"/>
            <a:chOff x="1030357" y="1951337"/>
            <a:chExt cx="3599515" cy="2030412"/>
          </a:xfrm>
        </p:grpSpPr>
        <p:sp>
          <p:nvSpPr>
            <p:cNvPr id="56" name="Shape_фон">
              <a:extLst>
                <a:ext uri="{FF2B5EF4-FFF2-40B4-BE49-F238E27FC236}">
                  <a16:creationId xmlns:a16="http://schemas.microsoft.com/office/drawing/2014/main" id="{EC6822E5-943D-4ADA-8C48-D295F5450F47}"/>
                </a:ext>
              </a:extLst>
            </p:cNvPr>
            <p:cNvSpPr/>
            <p:nvPr/>
          </p:nvSpPr>
          <p:spPr>
            <a:xfrm>
              <a:off x="1228397" y="2180899"/>
              <a:ext cx="3401475" cy="1800850"/>
            </a:xfrm>
            <a:prstGeom prst="roundRect">
              <a:avLst>
                <a:gd name="adj" fmla="val 8571"/>
              </a:avLst>
            </a:prstGeom>
            <a:solidFill>
              <a:schemeClr val="bg1"/>
            </a:solidFill>
            <a:ln w="12700" cap="flat">
              <a:noFill/>
              <a:prstDash val="solid"/>
              <a:miter/>
            </a:ln>
            <a:effectLst>
              <a:outerShdw blurRad="1003300" sx="102000" sy="102000" algn="ctr" rotWithShape="0">
                <a:schemeClr val="tx1">
                  <a:alpha val="20000"/>
                </a:schemeClr>
              </a:outerShdw>
            </a:effectLst>
          </p:spPr>
          <p:txBody>
            <a:bodyPr lIns="0" tIns="0" rIns="0" bIns="0" anchor="ctr"/>
            <a:lstStyle/>
            <a:p>
              <a:pPr marL="0" marR="0" lvl="0" indent="0" algn="ctr" defTabSz="309563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itchFamily="2" charset="0"/>
                <a:ea typeface="Roboto" pitchFamily="2" charset="0"/>
                <a:cs typeface="Poppins Bold"/>
                <a:sym typeface="Poppins Bold"/>
              </a:endParaRPr>
            </a:p>
          </p:txBody>
        </p:sp>
        <p:sp>
          <p:nvSpPr>
            <p:cNvPr id="57" name="Motion design">
              <a:extLst>
                <a:ext uri="{FF2B5EF4-FFF2-40B4-BE49-F238E27FC236}">
                  <a16:creationId xmlns:a16="http://schemas.microsoft.com/office/drawing/2014/main" id="{1109BBA4-5549-4099-BFC5-D2954F0E245C}"/>
                </a:ext>
              </a:extLst>
            </p:cNvPr>
            <p:cNvSpPr txBox="1"/>
            <p:nvPr/>
          </p:nvSpPr>
          <p:spPr>
            <a:xfrm>
              <a:off x="1752500" y="2556888"/>
              <a:ext cx="2325661" cy="1095172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</a:ext>
            </a:extLst>
          </p:spPr>
          <p:txBody>
            <a:bodyPr wrap="square" lIns="0" tIns="0" rIns="0" bIns="0" anchor="ctr">
              <a:spAutoFit/>
            </a:bodyPr>
            <a:lstStyle>
              <a:lvl1pPr>
                <a:lnSpc>
                  <a:spcPct val="130000"/>
                </a:lnSpc>
                <a:defRPr sz="3000">
                  <a:latin typeface="+mn-lt"/>
                  <a:ea typeface="+mn-ea"/>
                  <a:cs typeface="+mn-cs"/>
                  <a:sym typeface="Poppins SemiBold"/>
                </a:defRPr>
              </a:lvl1pPr>
            </a:lstStyle>
            <a:p>
              <a:pPr defTabSz="309563" hangingPunct="0">
                <a:buClr>
                  <a:schemeClr val="bg2"/>
                </a:buClr>
                <a:defRPr/>
              </a:pPr>
              <a:r>
                <a:rPr lang="ru-RU" sz="1400" dirty="0">
                  <a:solidFill>
                    <a:srgbClr val="0D0D0D"/>
                  </a:solidFill>
                  <a:latin typeface="SB Sans Text Light" panose="020B0303040504020204" pitchFamily="34" charset="-52"/>
                  <a:ea typeface="Roboto Light" panose="02000000000000000000" pitchFamily="2" charset="0"/>
                  <a:cs typeface="SB Sans Text Light" panose="020B0303040504020204" pitchFamily="34" charset="-52"/>
                </a:rPr>
                <a:t>Требовалось объединить клиентов на уровне НПФ и работать, как с одним лицом</a:t>
              </a:r>
            </a:p>
          </p:txBody>
        </p:sp>
        <p:sp>
          <p:nvSpPr>
            <p:cNvPr id="58" name="Circle">
              <a:extLst>
                <a:ext uri="{FF2B5EF4-FFF2-40B4-BE49-F238E27FC236}">
                  <a16:creationId xmlns:a16="http://schemas.microsoft.com/office/drawing/2014/main" id="{E5AC9755-2637-4071-9408-02C4068219F4}"/>
                </a:ext>
              </a:extLst>
            </p:cNvPr>
            <p:cNvSpPr/>
            <p:nvPr/>
          </p:nvSpPr>
          <p:spPr>
            <a:xfrm>
              <a:off x="1030357" y="1951337"/>
              <a:ext cx="635335" cy="635335"/>
            </a:xfrm>
            <a:prstGeom prst="ellipse">
              <a:avLst/>
            </a:prstGeom>
            <a:solidFill>
              <a:schemeClr val="bg2"/>
            </a:solidFill>
            <a:ln w="12700">
              <a:miter lim="400000"/>
            </a:ln>
          </p:spPr>
          <p:txBody>
            <a:bodyPr lIns="0" tIns="0" rIns="0" bIns="0" anchor="ctr"/>
            <a:lstStyle/>
            <a:p>
              <a:pPr algn="ctr" defTabSz="309563" hangingPunct="0">
                <a:buClrTx/>
                <a:defRPr sz="3200">
                  <a:solidFill>
                    <a:srgbClr val="FFFFFF"/>
                  </a:solidFill>
                  <a:latin typeface="Poppins Bold"/>
                  <a:ea typeface="Poppins Bold"/>
                  <a:cs typeface="Poppins Bold"/>
                  <a:sym typeface="Poppins Bold"/>
                </a:defRPr>
              </a:pPr>
              <a:r>
                <a:rPr lang="ru-RU" sz="2400" dirty="0">
                  <a:solidFill>
                    <a:srgbClr val="FFFFFF"/>
                  </a:solidFill>
                  <a:latin typeface="SB Sans Text Medium" panose="020B0603040504020204" pitchFamily="34" charset="-52"/>
                  <a:ea typeface="Roboto" pitchFamily="2" charset="0"/>
                  <a:cs typeface="SB Sans Text Medium" panose="020B0603040504020204" pitchFamily="34" charset="-52"/>
                  <a:sym typeface="Poppins Bold"/>
                </a:rPr>
                <a:t>2</a:t>
              </a:r>
              <a:endParaRPr sz="2400" dirty="0">
                <a:solidFill>
                  <a:srgbClr val="FFFFFF"/>
                </a:solidFill>
                <a:latin typeface="SB Sans Text Medium" panose="020B0603040504020204" pitchFamily="34" charset="-52"/>
                <a:ea typeface="Roboto" pitchFamily="2" charset="0"/>
                <a:cs typeface="SB Sans Text Medium" panose="020B0603040504020204" pitchFamily="34" charset="-52"/>
                <a:sym typeface="Poppins Bold"/>
              </a:endParaRPr>
            </a:p>
          </p:txBody>
        </p:sp>
      </p:grpSp>
      <p:grpSp>
        <p:nvGrpSpPr>
          <p:cNvPr id="59" name="Группа 58">
            <a:extLst>
              <a:ext uri="{FF2B5EF4-FFF2-40B4-BE49-F238E27FC236}">
                <a16:creationId xmlns:a16="http://schemas.microsoft.com/office/drawing/2014/main" id="{47663AC7-F47D-4DE2-A469-84D1C4665B63}"/>
              </a:ext>
            </a:extLst>
          </p:cNvPr>
          <p:cNvGrpSpPr/>
          <p:nvPr/>
        </p:nvGrpSpPr>
        <p:grpSpPr>
          <a:xfrm>
            <a:off x="8182455" y="1524830"/>
            <a:ext cx="3599515" cy="2030412"/>
            <a:chOff x="1030357" y="1951337"/>
            <a:chExt cx="3599515" cy="2030412"/>
          </a:xfrm>
        </p:grpSpPr>
        <p:sp>
          <p:nvSpPr>
            <p:cNvPr id="60" name="Shape_фон">
              <a:extLst>
                <a:ext uri="{FF2B5EF4-FFF2-40B4-BE49-F238E27FC236}">
                  <a16:creationId xmlns:a16="http://schemas.microsoft.com/office/drawing/2014/main" id="{7EB7B909-1E15-4169-B8FA-B99E4AEC69B7}"/>
                </a:ext>
              </a:extLst>
            </p:cNvPr>
            <p:cNvSpPr/>
            <p:nvPr/>
          </p:nvSpPr>
          <p:spPr>
            <a:xfrm>
              <a:off x="1228397" y="2180899"/>
              <a:ext cx="3401475" cy="1800850"/>
            </a:xfrm>
            <a:prstGeom prst="roundRect">
              <a:avLst>
                <a:gd name="adj" fmla="val 8571"/>
              </a:avLst>
            </a:prstGeom>
            <a:solidFill>
              <a:schemeClr val="bg1"/>
            </a:solidFill>
            <a:ln w="12700" cap="flat">
              <a:noFill/>
              <a:prstDash val="solid"/>
              <a:miter/>
            </a:ln>
            <a:effectLst>
              <a:outerShdw blurRad="1003300" sx="102000" sy="102000" algn="ctr" rotWithShape="0">
                <a:schemeClr val="tx1">
                  <a:alpha val="20000"/>
                </a:schemeClr>
              </a:outerShdw>
            </a:effectLst>
          </p:spPr>
          <p:txBody>
            <a:bodyPr lIns="0" tIns="0" rIns="0" bIns="0" anchor="ctr"/>
            <a:lstStyle/>
            <a:p>
              <a:pPr marL="0" marR="0" lvl="0" indent="0" algn="ctr" defTabSz="309563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itchFamily="2" charset="0"/>
                <a:ea typeface="Roboto" pitchFamily="2" charset="0"/>
                <a:cs typeface="Poppins Bold"/>
                <a:sym typeface="Poppins Bold"/>
              </a:endParaRPr>
            </a:p>
          </p:txBody>
        </p:sp>
        <p:sp>
          <p:nvSpPr>
            <p:cNvPr id="61" name="Motion design">
              <a:extLst>
                <a:ext uri="{FF2B5EF4-FFF2-40B4-BE49-F238E27FC236}">
                  <a16:creationId xmlns:a16="http://schemas.microsoft.com/office/drawing/2014/main" id="{B1254896-49F2-477A-A6EB-8CAE97A453F9}"/>
                </a:ext>
              </a:extLst>
            </p:cNvPr>
            <p:cNvSpPr txBox="1"/>
            <p:nvPr/>
          </p:nvSpPr>
          <p:spPr>
            <a:xfrm>
              <a:off x="1752501" y="2416850"/>
              <a:ext cx="2500002" cy="1375248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</a:ext>
            </a:extLst>
          </p:spPr>
          <p:txBody>
            <a:bodyPr wrap="square" lIns="0" tIns="0" rIns="0" bIns="0" anchor="ctr">
              <a:spAutoFit/>
            </a:bodyPr>
            <a:lstStyle>
              <a:lvl1pPr>
                <a:lnSpc>
                  <a:spcPct val="130000"/>
                </a:lnSpc>
                <a:defRPr sz="3000">
                  <a:latin typeface="+mn-lt"/>
                  <a:ea typeface="+mn-ea"/>
                  <a:cs typeface="+mn-cs"/>
                  <a:sym typeface="Poppins SemiBold"/>
                </a:defRPr>
              </a:lvl1pPr>
            </a:lstStyle>
            <a:p>
              <a:pPr defTabSz="309563" hangingPunct="0">
                <a:buClr>
                  <a:schemeClr val="bg2"/>
                </a:buClr>
                <a:defRPr/>
              </a:pPr>
              <a:r>
                <a:rPr lang="ru-RU" sz="1400" dirty="0">
                  <a:solidFill>
                    <a:srgbClr val="0D0D0D"/>
                  </a:solidFill>
                  <a:latin typeface="SB Sans Text Light" panose="020B0303040504020204" pitchFamily="34" charset="-52"/>
                  <a:ea typeface="Roboto Light" panose="02000000000000000000" pitchFamily="2" charset="0"/>
                  <a:cs typeface="SB Sans Text Light" panose="020B0303040504020204" pitchFamily="34" charset="-52"/>
                </a:rPr>
                <a:t>Нужно было уйти от ситуаций, когда клиент </a:t>
              </a:r>
              <a:br>
                <a:rPr lang="ru-RU" sz="1400" dirty="0">
                  <a:solidFill>
                    <a:srgbClr val="0D0D0D"/>
                  </a:solidFill>
                  <a:latin typeface="SB Sans Text Light" panose="020B0303040504020204" pitchFamily="34" charset="-52"/>
                  <a:ea typeface="Roboto Light" panose="02000000000000000000" pitchFamily="2" charset="0"/>
                  <a:cs typeface="SB Sans Text Light" panose="020B0303040504020204" pitchFamily="34" charset="-52"/>
                </a:rPr>
              </a:br>
              <a:r>
                <a:rPr lang="ru-RU" sz="1400" dirty="0">
                  <a:solidFill>
                    <a:srgbClr val="0D0D0D"/>
                  </a:solidFill>
                  <a:latin typeface="SB Sans Text Light" panose="020B0303040504020204" pitchFamily="34" charset="-52"/>
                  <a:ea typeface="Roboto Light" panose="02000000000000000000" pitchFamily="2" charset="0"/>
                  <a:cs typeface="SB Sans Text Light" panose="020B0303040504020204" pitchFamily="34" charset="-52"/>
                </a:rPr>
                <a:t>не видит информацию</a:t>
              </a:r>
              <a:br>
                <a:rPr lang="ru-RU" sz="1400" dirty="0">
                  <a:solidFill>
                    <a:srgbClr val="0D0D0D"/>
                  </a:solidFill>
                  <a:latin typeface="SB Sans Text Light" panose="020B0303040504020204" pitchFamily="34" charset="-52"/>
                  <a:ea typeface="Roboto Light" panose="02000000000000000000" pitchFamily="2" charset="0"/>
                  <a:cs typeface="SB Sans Text Light" panose="020B0303040504020204" pitchFamily="34" charset="-52"/>
                </a:rPr>
              </a:br>
              <a:r>
                <a:rPr lang="ru-RU" sz="1400" dirty="0">
                  <a:solidFill>
                    <a:srgbClr val="0D0D0D"/>
                  </a:solidFill>
                  <a:latin typeface="SB Sans Text Light" panose="020B0303040504020204" pitchFamily="34" charset="-52"/>
                  <a:ea typeface="Roboto Light" panose="02000000000000000000" pitchFamily="2" charset="0"/>
                  <a:cs typeface="SB Sans Text Light" panose="020B0303040504020204" pitchFamily="34" charset="-52"/>
                </a:rPr>
                <a:t>о продуктах в собственных каналах</a:t>
              </a:r>
            </a:p>
          </p:txBody>
        </p:sp>
        <p:sp>
          <p:nvSpPr>
            <p:cNvPr id="62" name="Circle">
              <a:extLst>
                <a:ext uri="{FF2B5EF4-FFF2-40B4-BE49-F238E27FC236}">
                  <a16:creationId xmlns:a16="http://schemas.microsoft.com/office/drawing/2014/main" id="{6DDAF7F8-9B3E-4885-8A7A-F38AE5C8708E}"/>
                </a:ext>
              </a:extLst>
            </p:cNvPr>
            <p:cNvSpPr/>
            <p:nvPr/>
          </p:nvSpPr>
          <p:spPr>
            <a:xfrm>
              <a:off x="1030357" y="1951337"/>
              <a:ext cx="635335" cy="635335"/>
            </a:xfrm>
            <a:prstGeom prst="ellipse">
              <a:avLst/>
            </a:prstGeom>
            <a:solidFill>
              <a:schemeClr val="bg2"/>
            </a:solidFill>
            <a:ln w="12700">
              <a:miter lim="400000"/>
            </a:ln>
          </p:spPr>
          <p:txBody>
            <a:bodyPr lIns="0" tIns="0" rIns="0" bIns="0" anchor="ctr"/>
            <a:lstStyle/>
            <a:p>
              <a:pPr algn="ctr" defTabSz="309563" hangingPunct="0">
                <a:buClrTx/>
                <a:defRPr sz="3200">
                  <a:solidFill>
                    <a:srgbClr val="FFFFFF"/>
                  </a:solidFill>
                  <a:latin typeface="Poppins Bold"/>
                  <a:ea typeface="Poppins Bold"/>
                  <a:cs typeface="Poppins Bold"/>
                  <a:sym typeface="Poppins Bold"/>
                </a:defRPr>
              </a:pPr>
              <a:r>
                <a:rPr lang="ru-RU" sz="2400" dirty="0">
                  <a:solidFill>
                    <a:srgbClr val="FFFFFF"/>
                  </a:solidFill>
                  <a:latin typeface="SB Sans Text Medium" panose="020B0603040504020204" pitchFamily="34" charset="-52"/>
                  <a:ea typeface="Roboto" pitchFamily="2" charset="0"/>
                  <a:cs typeface="SB Sans Text Medium" panose="020B0603040504020204" pitchFamily="34" charset="-52"/>
                  <a:sym typeface="Poppins Bold"/>
                </a:rPr>
                <a:t>3</a:t>
              </a:r>
              <a:endParaRPr sz="2400" dirty="0">
                <a:solidFill>
                  <a:srgbClr val="FFFFFF"/>
                </a:solidFill>
                <a:latin typeface="SB Sans Text Medium" panose="020B0603040504020204" pitchFamily="34" charset="-52"/>
                <a:ea typeface="Roboto" pitchFamily="2" charset="0"/>
                <a:cs typeface="SB Sans Text Medium" panose="020B0603040504020204" pitchFamily="34" charset="-52"/>
                <a:sym typeface="Poppins Bold"/>
              </a:endParaRPr>
            </a:p>
          </p:txBody>
        </p:sp>
      </p:grpSp>
      <p:grpSp>
        <p:nvGrpSpPr>
          <p:cNvPr id="63" name="Группа 62">
            <a:extLst>
              <a:ext uri="{FF2B5EF4-FFF2-40B4-BE49-F238E27FC236}">
                <a16:creationId xmlns:a16="http://schemas.microsoft.com/office/drawing/2014/main" id="{E4E7C144-2ED7-4629-A0B2-C1BF48524A71}"/>
              </a:ext>
            </a:extLst>
          </p:cNvPr>
          <p:cNvGrpSpPr/>
          <p:nvPr/>
        </p:nvGrpSpPr>
        <p:grpSpPr>
          <a:xfrm>
            <a:off x="503721" y="3494360"/>
            <a:ext cx="3599515" cy="2030412"/>
            <a:chOff x="1030357" y="1951337"/>
            <a:chExt cx="3599515" cy="2030412"/>
          </a:xfrm>
        </p:grpSpPr>
        <p:sp>
          <p:nvSpPr>
            <p:cNvPr id="64" name="Shape_фон">
              <a:extLst>
                <a:ext uri="{FF2B5EF4-FFF2-40B4-BE49-F238E27FC236}">
                  <a16:creationId xmlns:a16="http://schemas.microsoft.com/office/drawing/2014/main" id="{B7FC3060-83AA-4361-845B-44C4E588593B}"/>
                </a:ext>
              </a:extLst>
            </p:cNvPr>
            <p:cNvSpPr/>
            <p:nvPr/>
          </p:nvSpPr>
          <p:spPr>
            <a:xfrm>
              <a:off x="1228397" y="2180899"/>
              <a:ext cx="3401475" cy="1800850"/>
            </a:xfrm>
            <a:prstGeom prst="roundRect">
              <a:avLst>
                <a:gd name="adj" fmla="val 8571"/>
              </a:avLst>
            </a:prstGeom>
            <a:solidFill>
              <a:schemeClr val="bg1"/>
            </a:solidFill>
            <a:ln w="12700" cap="flat">
              <a:noFill/>
              <a:prstDash val="solid"/>
              <a:miter/>
            </a:ln>
            <a:effectLst>
              <a:outerShdw blurRad="1003300" sx="102000" sy="102000" algn="ctr" rotWithShape="0">
                <a:schemeClr val="tx1">
                  <a:alpha val="20000"/>
                </a:schemeClr>
              </a:outerShdw>
            </a:effectLst>
          </p:spPr>
          <p:txBody>
            <a:bodyPr lIns="0" tIns="0" rIns="0" bIns="0" anchor="ctr"/>
            <a:lstStyle/>
            <a:p>
              <a:pPr marL="0" marR="0" lvl="0" indent="0" algn="ctr" defTabSz="309563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itchFamily="2" charset="0"/>
                <a:ea typeface="Roboto" pitchFamily="2" charset="0"/>
                <a:cs typeface="Poppins Bold"/>
                <a:sym typeface="Poppins Bold"/>
              </a:endParaRPr>
            </a:p>
          </p:txBody>
        </p:sp>
        <p:sp>
          <p:nvSpPr>
            <p:cNvPr id="65" name="Motion design">
              <a:extLst>
                <a:ext uri="{FF2B5EF4-FFF2-40B4-BE49-F238E27FC236}">
                  <a16:creationId xmlns:a16="http://schemas.microsoft.com/office/drawing/2014/main" id="{8D9C9D77-DCAE-4246-82DD-84968B8010C6}"/>
                </a:ext>
              </a:extLst>
            </p:cNvPr>
            <p:cNvSpPr txBox="1"/>
            <p:nvPr/>
          </p:nvSpPr>
          <p:spPr>
            <a:xfrm>
              <a:off x="1752501" y="2696927"/>
              <a:ext cx="2234966" cy="815095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</a:ext>
            </a:extLst>
          </p:spPr>
          <p:txBody>
            <a:bodyPr wrap="square" lIns="0" tIns="0" rIns="0" bIns="0" anchor="ctr">
              <a:spAutoFit/>
            </a:bodyPr>
            <a:lstStyle>
              <a:lvl1pPr>
                <a:lnSpc>
                  <a:spcPct val="130000"/>
                </a:lnSpc>
                <a:defRPr sz="3000">
                  <a:latin typeface="+mn-lt"/>
                  <a:ea typeface="+mn-ea"/>
                  <a:cs typeface="+mn-cs"/>
                  <a:sym typeface="Poppins SemiBold"/>
                </a:defRPr>
              </a:lvl1pPr>
            </a:lstStyle>
            <a:p>
              <a:pPr defTabSz="309563" hangingPunct="0">
                <a:buClr>
                  <a:schemeClr val="bg2"/>
                </a:buClr>
                <a:defRPr/>
              </a:pPr>
              <a:r>
                <a:rPr lang="ru-RU" sz="1400" dirty="0">
                  <a:solidFill>
                    <a:srgbClr val="0D0D0D"/>
                  </a:solidFill>
                  <a:latin typeface="SB Sans Text Light" panose="020B0303040504020204" pitchFamily="34" charset="-52"/>
                  <a:ea typeface="Roboto Light" panose="02000000000000000000" pitchFamily="2" charset="0"/>
                  <a:cs typeface="SB Sans Text Light" panose="020B0303040504020204" pitchFamily="34" charset="-52"/>
                </a:rPr>
                <a:t>Был необходим инструмент хранения согласий в НПФ</a:t>
              </a:r>
            </a:p>
          </p:txBody>
        </p:sp>
        <p:sp>
          <p:nvSpPr>
            <p:cNvPr id="66" name="Circle">
              <a:extLst>
                <a:ext uri="{FF2B5EF4-FFF2-40B4-BE49-F238E27FC236}">
                  <a16:creationId xmlns:a16="http://schemas.microsoft.com/office/drawing/2014/main" id="{EEC37B6B-75B8-4F40-A4F3-572D2BC28641}"/>
                </a:ext>
              </a:extLst>
            </p:cNvPr>
            <p:cNvSpPr/>
            <p:nvPr/>
          </p:nvSpPr>
          <p:spPr>
            <a:xfrm>
              <a:off x="1030357" y="1951337"/>
              <a:ext cx="635335" cy="635335"/>
            </a:xfrm>
            <a:prstGeom prst="ellipse">
              <a:avLst/>
            </a:prstGeom>
            <a:solidFill>
              <a:schemeClr val="bg2"/>
            </a:solidFill>
            <a:ln w="12700">
              <a:miter lim="400000"/>
            </a:ln>
          </p:spPr>
          <p:txBody>
            <a:bodyPr lIns="0" tIns="0" rIns="0" bIns="0" anchor="ctr"/>
            <a:lstStyle/>
            <a:p>
              <a:pPr algn="ctr" defTabSz="309563" hangingPunct="0">
                <a:buClrTx/>
                <a:defRPr sz="3200">
                  <a:solidFill>
                    <a:srgbClr val="FFFFFF"/>
                  </a:solidFill>
                  <a:latin typeface="Poppins Bold"/>
                  <a:ea typeface="Poppins Bold"/>
                  <a:cs typeface="Poppins Bold"/>
                  <a:sym typeface="Poppins Bold"/>
                </a:defRPr>
              </a:pPr>
              <a:r>
                <a:rPr lang="ru-RU" sz="2400" dirty="0">
                  <a:solidFill>
                    <a:srgbClr val="FFFFFF"/>
                  </a:solidFill>
                  <a:latin typeface="SB Sans Text Medium" panose="020B0603040504020204" pitchFamily="34" charset="-52"/>
                  <a:ea typeface="Roboto" pitchFamily="2" charset="0"/>
                  <a:cs typeface="SB Sans Text Medium" panose="020B0603040504020204" pitchFamily="34" charset="-52"/>
                  <a:sym typeface="Poppins Bold"/>
                </a:rPr>
                <a:t>4</a:t>
              </a:r>
              <a:endParaRPr sz="2400" dirty="0">
                <a:solidFill>
                  <a:srgbClr val="FFFFFF"/>
                </a:solidFill>
                <a:latin typeface="SB Sans Text Medium" panose="020B0603040504020204" pitchFamily="34" charset="-52"/>
                <a:ea typeface="Roboto" pitchFamily="2" charset="0"/>
                <a:cs typeface="SB Sans Text Medium" panose="020B0603040504020204" pitchFamily="34" charset="-52"/>
                <a:sym typeface="Poppins Bold"/>
              </a:endParaRPr>
            </a:p>
          </p:txBody>
        </p:sp>
      </p:grpSp>
      <p:grpSp>
        <p:nvGrpSpPr>
          <p:cNvPr id="67" name="Группа 66">
            <a:extLst>
              <a:ext uri="{FF2B5EF4-FFF2-40B4-BE49-F238E27FC236}">
                <a16:creationId xmlns:a16="http://schemas.microsoft.com/office/drawing/2014/main" id="{5FB5F0A3-2C9A-4DC0-99C0-B30F93B0DAE0}"/>
              </a:ext>
            </a:extLst>
          </p:cNvPr>
          <p:cNvGrpSpPr/>
          <p:nvPr/>
        </p:nvGrpSpPr>
        <p:grpSpPr>
          <a:xfrm>
            <a:off x="4301276" y="3494360"/>
            <a:ext cx="3599515" cy="2030412"/>
            <a:chOff x="1030357" y="1951337"/>
            <a:chExt cx="3599515" cy="2030412"/>
          </a:xfrm>
        </p:grpSpPr>
        <p:sp>
          <p:nvSpPr>
            <p:cNvPr id="68" name="Shape_фон">
              <a:extLst>
                <a:ext uri="{FF2B5EF4-FFF2-40B4-BE49-F238E27FC236}">
                  <a16:creationId xmlns:a16="http://schemas.microsoft.com/office/drawing/2014/main" id="{BAA8C5E2-9AFA-41EE-B02F-B43FFB74AED2}"/>
                </a:ext>
              </a:extLst>
            </p:cNvPr>
            <p:cNvSpPr/>
            <p:nvPr/>
          </p:nvSpPr>
          <p:spPr>
            <a:xfrm>
              <a:off x="1228397" y="2180899"/>
              <a:ext cx="3401475" cy="1800850"/>
            </a:xfrm>
            <a:prstGeom prst="roundRect">
              <a:avLst>
                <a:gd name="adj" fmla="val 8571"/>
              </a:avLst>
            </a:prstGeom>
            <a:solidFill>
              <a:schemeClr val="bg1"/>
            </a:solidFill>
            <a:ln w="12700" cap="flat">
              <a:noFill/>
              <a:prstDash val="solid"/>
              <a:miter/>
            </a:ln>
            <a:effectLst>
              <a:outerShdw blurRad="1003300" sx="102000" sy="102000" algn="ctr" rotWithShape="0">
                <a:schemeClr val="tx1">
                  <a:alpha val="20000"/>
                </a:schemeClr>
              </a:outerShdw>
            </a:effectLst>
          </p:spPr>
          <p:txBody>
            <a:bodyPr lIns="0" tIns="0" rIns="0" bIns="0" anchor="ctr"/>
            <a:lstStyle/>
            <a:p>
              <a:pPr marL="0" marR="0" lvl="0" indent="0" algn="ctr" defTabSz="309563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itchFamily="2" charset="0"/>
                <a:ea typeface="Roboto" pitchFamily="2" charset="0"/>
                <a:cs typeface="Poppins Bold"/>
                <a:sym typeface="Poppins Bold"/>
              </a:endParaRPr>
            </a:p>
          </p:txBody>
        </p:sp>
        <p:sp>
          <p:nvSpPr>
            <p:cNvPr id="69" name="Motion design">
              <a:extLst>
                <a:ext uri="{FF2B5EF4-FFF2-40B4-BE49-F238E27FC236}">
                  <a16:creationId xmlns:a16="http://schemas.microsoft.com/office/drawing/2014/main" id="{626CE872-6C18-4491-ABF0-7752B52DD3C8}"/>
                </a:ext>
              </a:extLst>
            </p:cNvPr>
            <p:cNvSpPr txBox="1"/>
            <p:nvPr/>
          </p:nvSpPr>
          <p:spPr>
            <a:xfrm>
              <a:off x="1752501" y="2696926"/>
              <a:ext cx="2527052" cy="815095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</a:ext>
            </a:extLst>
          </p:spPr>
          <p:txBody>
            <a:bodyPr wrap="square" lIns="0" tIns="0" rIns="0" bIns="0" anchor="ctr">
              <a:spAutoFit/>
            </a:bodyPr>
            <a:lstStyle>
              <a:lvl1pPr>
                <a:lnSpc>
                  <a:spcPct val="130000"/>
                </a:lnSpc>
                <a:defRPr sz="3000">
                  <a:latin typeface="+mn-lt"/>
                  <a:ea typeface="+mn-ea"/>
                  <a:cs typeface="+mn-cs"/>
                  <a:sym typeface="Poppins SemiBold"/>
                </a:defRPr>
              </a:lvl1pPr>
            </a:lstStyle>
            <a:p>
              <a:pPr defTabSz="309563" hangingPunct="0">
                <a:buClr>
                  <a:schemeClr val="bg2"/>
                </a:buClr>
                <a:defRPr/>
              </a:pPr>
              <a:r>
                <a:rPr lang="ru-RU" sz="1400" dirty="0">
                  <a:solidFill>
                    <a:srgbClr val="0D0D0D"/>
                  </a:solidFill>
                  <a:latin typeface="SB Sans Text Light" panose="020B0303040504020204" pitchFamily="34" charset="-52"/>
                  <a:ea typeface="Roboto Light" panose="02000000000000000000" pitchFamily="2" charset="0"/>
                  <a:cs typeface="SB Sans Text Light" panose="020B0303040504020204" pitchFamily="34" charset="-52"/>
                </a:rPr>
                <a:t>Требовался инструмент </a:t>
              </a:r>
              <a:br>
                <a:rPr lang="ru-RU" sz="1400" dirty="0">
                  <a:solidFill>
                    <a:srgbClr val="0D0D0D"/>
                  </a:solidFill>
                  <a:latin typeface="SB Sans Text Light" panose="020B0303040504020204" pitchFamily="34" charset="-52"/>
                  <a:ea typeface="Roboto Light" panose="02000000000000000000" pitchFamily="2" charset="0"/>
                  <a:cs typeface="SB Sans Text Light" panose="020B0303040504020204" pitchFamily="34" charset="-52"/>
                </a:rPr>
              </a:br>
              <a:r>
                <a:rPr lang="ru-RU" sz="1400" dirty="0">
                  <a:solidFill>
                    <a:srgbClr val="0D0D0D"/>
                  </a:solidFill>
                  <a:latin typeface="SB Sans Text Light" panose="020B0303040504020204" pitchFamily="34" charset="-52"/>
                  <a:ea typeface="Roboto Light" panose="02000000000000000000" pitchFamily="2" charset="0"/>
                  <a:cs typeface="SB Sans Text Light" panose="020B0303040504020204" pitchFamily="34" charset="-52"/>
                </a:rPr>
                <a:t>для отслеживания актуальности ПД клиента</a:t>
              </a:r>
            </a:p>
          </p:txBody>
        </p:sp>
        <p:sp>
          <p:nvSpPr>
            <p:cNvPr id="70" name="Circle">
              <a:extLst>
                <a:ext uri="{FF2B5EF4-FFF2-40B4-BE49-F238E27FC236}">
                  <a16:creationId xmlns:a16="http://schemas.microsoft.com/office/drawing/2014/main" id="{73BB4E7F-2CE5-401E-87A9-C9477DFFA524}"/>
                </a:ext>
              </a:extLst>
            </p:cNvPr>
            <p:cNvSpPr/>
            <p:nvPr/>
          </p:nvSpPr>
          <p:spPr>
            <a:xfrm>
              <a:off x="1030357" y="1951337"/>
              <a:ext cx="635335" cy="635335"/>
            </a:xfrm>
            <a:prstGeom prst="ellipse">
              <a:avLst/>
            </a:prstGeom>
            <a:solidFill>
              <a:schemeClr val="bg2"/>
            </a:solidFill>
            <a:ln w="12700">
              <a:miter lim="400000"/>
            </a:ln>
          </p:spPr>
          <p:txBody>
            <a:bodyPr lIns="0" tIns="0" rIns="0" bIns="0" anchor="ctr"/>
            <a:lstStyle/>
            <a:p>
              <a:pPr algn="ctr" defTabSz="309563" hangingPunct="0">
                <a:buClrTx/>
                <a:defRPr sz="3200">
                  <a:solidFill>
                    <a:srgbClr val="FFFFFF"/>
                  </a:solidFill>
                  <a:latin typeface="Poppins Bold"/>
                  <a:ea typeface="Poppins Bold"/>
                  <a:cs typeface="Poppins Bold"/>
                  <a:sym typeface="Poppins Bold"/>
                </a:defRPr>
              </a:pPr>
              <a:r>
                <a:rPr lang="ru-RU" sz="2400" dirty="0">
                  <a:solidFill>
                    <a:srgbClr val="FFFFFF"/>
                  </a:solidFill>
                  <a:latin typeface="SB Sans Text Medium" panose="020B0603040504020204" pitchFamily="34" charset="-52"/>
                  <a:ea typeface="Roboto" pitchFamily="2" charset="0"/>
                  <a:cs typeface="SB Sans Text Medium" panose="020B0603040504020204" pitchFamily="34" charset="-52"/>
                  <a:sym typeface="Poppins Bold"/>
                </a:rPr>
                <a:t>5</a:t>
              </a:r>
              <a:endParaRPr sz="2400" dirty="0">
                <a:solidFill>
                  <a:srgbClr val="FFFFFF"/>
                </a:solidFill>
                <a:latin typeface="SB Sans Text Medium" panose="020B0603040504020204" pitchFamily="34" charset="-52"/>
                <a:ea typeface="Roboto" pitchFamily="2" charset="0"/>
                <a:cs typeface="SB Sans Text Medium" panose="020B0603040504020204" pitchFamily="34" charset="-52"/>
                <a:sym typeface="Poppins Bold"/>
              </a:endParaRPr>
            </a:p>
          </p:txBody>
        </p:sp>
      </p:grpSp>
      <p:grpSp>
        <p:nvGrpSpPr>
          <p:cNvPr id="71" name="Группа 70">
            <a:extLst>
              <a:ext uri="{FF2B5EF4-FFF2-40B4-BE49-F238E27FC236}">
                <a16:creationId xmlns:a16="http://schemas.microsoft.com/office/drawing/2014/main" id="{FF81B9B1-37D2-460E-BDD0-02ED8D3DF477}"/>
              </a:ext>
            </a:extLst>
          </p:cNvPr>
          <p:cNvGrpSpPr/>
          <p:nvPr/>
        </p:nvGrpSpPr>
        <p:grpSpPr>
          <a:xfrm>
            <a:off x="8182455" y="3494360"/>
            <a:ext cx="3599515" cy="2030412"/>
            <a:chOff x="1030357" y="1951337"/>
            <a:chExt cx="3599515" cy="2030412"/>
          </a:xfrm>
        </p:grpSpPr>
        <p:sp>
          <p:nvSpPr>
            <p:cNvPr id="72" name="Shape_фон">
              <a:extLst>
                <a:ext uri="{FF2B5EF4-FFF2-40B4-BE49-F238E27FC236}">
                  <a16:creationId xmlns:a16="http://schemas.microsoft.com/office/drawing/2014/main" id="{CCE3ED95-3EEF-492C-A2F6-F4ACB9A6A5DB}"/>
                </a:ext>
              </a:extLst>
            </p:cNvPr>
            <p:cNvSpPr/>
            <p:nvPr/>
          </p:nvSpPr>
          <p:spPr>
            <a:xfrm>
              <a:off x="1228397" y="2180899"/>
              <a:ext cx="3401475" cy="1800850"/>
            </a:xfrm>
            <a:prstGeom prst="roundRect">
              <a:avLst>
                <a:gd name="adj" fmla="val 8571"/>
              </a:avLst>
            </a:prstGeom>
            <a:solidFill>
              <a:schemeClr val="bg1"/>
            </a:solidFill>
            <a:ln w="12700" cap="flat">
              <a:noFill/>
              <a:prstDash val="solid"/>
              <a:miter/>
            </a:ln>
            <a:effectLst>
              <a:outerShdw blurRad="1003300" sx="102000" sy="102000" algn="ctr" rotWithShape="0">
                <a:schemeClr val="tx1">
                  <a:alpha val="20000"/>
                </a:schemeClr>
              </a:outerShdw>
            </a:effectLst>
          </p:spPr>
          <p:txBody>
            <a:bodyPr lIns="0" tIns="0" rIns="0" bIns="0" anchor="ctr"/>
            <a:lstStyle/>
            <a:p>
              <a:pPr marL="0" marR="0" lvl="0" indent="0" algn="ctr" defTabSz="309563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itchFamily="2" charset="0"/>
                <a:ea typeface="Roboto" pitchFamily="2" charset="0"/>
                <a:cs typeface="Poppins Bold"/>
                <a:sym typeface="Poppins Bold"/>
              </a:endParaRPr>
            </a:p>
          </p:txBody>
        </p:sp>
        <p:sp>
          <p:nvSpPr>
            <p:cNvPr id="73" name="Motion design">
              <a:extLst>
                <a:ext uri="{FF2B5EF4-FFF2-40B4-BE49-F238E27FC236}">
                  <a16:creationId xmlns:a16="http://schemas.microsoft.com/office/drawing/2014/main" id="{F4DE284F-EACD-4196-8AC0-0408CAB2A83B}"/>
                </a:ext>
              </a:extLst>
            </p:cNvPr>
            <p:cNvSpPr txBox="1"/>
            <p:nvPr/>
          </p:nvSpPr>
          <p:spPr>
            <a:xfrm>
              <a:off x="1752500" y="2695997"/>
              <a:ext cx="2500003" cy="816955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</a:ext>
            </a:extLst>
          </p:spPr>
          <p:txBody>
            <a:bodyPr wrap="square" lIns="0" tIns="0" rIns="0" bIns="0" anchor="ctr">
              <a:spAutoFit/>
            </a:bodyPr>
            <a:lstStyle>
              <a:lvl1pPr>
                <a:lnSpc>
                  <a:spcPct val="130000"/>
                </a:lnSpc>
                <a:defRPr sz="3000">
                  <a:latin typeface="+mn-lt"/>
                  <a:ea typeface="+mn-ea"/>
                  <a:cs typeface="+mn-cs"/>
                  <a:sym typeface="Poppins SemiBold"/>
                </a:defRPr>
              </a:lvl1pPr>
            </a:lstStyle>
            <a:p>
              <a:pPr defTabSz="309563" hangingPunct="0">
                <a:buClr>
                  <a:schemeClr val="bg2"/>
                </a:buClr>
                <a:defRPr/>
              </a:pPr>
              <a:r>
                <a:rPr lang="ru-RU" sz="1400" dirty="0">
                  <a:solidFill>
                    <a:srgbClr val="0D0D0D"/>
                  </a:solidFill>
                  <a:latin typeface="SB Sans Text Light" panose="020B0303040504020204" pitchFamily="34" charset="-52"/>
                  <a:ea typeface="Roboto Light" panose="02000000000000000000" pitchFamily="2" charset="0"/>
                  <a:cs typeface="SB Sans Text Light" panose="020B0303040504020204" pitchFamily="34" charset="-52"/>
                </a:rPr>
                <a:t>С 2024 года НПФ должен отчитываться по уникальным клиентам НПО</a:t>
              </a:r>
            </a:p>
          </p:txBody>
        </p:sp>
        <p:sp>
          <p:nvSpPr>
            <p:cNvPr id="74" name="Circle">
              <a:extLst>
                <a:ext uri="{FF2B5EF4-FFF2-40B4-BE49-F238E27FC236}">
                  <a16:creationId xmlns:a16="http://schemas.microsoft.com/office/drawing/2014/main" id="{462BE40C-1027-480C-ADB5-5A163A85EE77}"/>
                </a:ext>
              </a:extLst>
            </p:cNvPr>
            <p:cNvSpPr/>
            <p:nvPr/>
          </p:nvSpPr>
          <p:spPr>
            <a:xfrm>
              <a:off x="1030357" y="1951337"/>
              <a:ext cx="635335" cy="635335"/>
            </a:xfrm>
            <a:prstGeom prst="ellipse">
              <a:avLst/>
            </a:prstGeom>
            <a:solidFill>
              <a:schemeClr val="bg2"/>
            </a:solidFill>
            <a:ln w="12700">
              <a:miter lim="400000"/>
            </a:ln>
          </p:spPr>
          <p:txBody>
            <a:bodyPr lIns="0" tIns="0" rIns="0" bIns="0" anchor="ctr"/>
            <a:lstStyle/>
            <a:p>
              <a:pPr algn="ctr" defTabSz="309563" hangingPunct="0">
                <a:buClrTx/>
                <a:defRPr sz="3200">
                  <a:solidFill>
                    <a:srgbClr val="FFFFFF"/>
                  </a:solidFill>
                  <a:latin typeface="Poppins Bold"/>
                  <a:ea typeface="Poppins Bold"/>
                  <a:cs typeface="Poppins Bold"/>
                  <a:sym typeface="Poppins Bold"/>
                </a:defRPr>
              </a:pPr>
              <a:r>
                <a:rPr lang="ru-RU" sz="2400" dirty="0">
                  <a:solidFill>
                    <a:srgbClr val="FFFFFF"/>
                  </a:solidFill>
                  <a:latin typeface="SB Sans Text Medium" panose="020B0603040504020204" pitchFamily="34" charset="-52"/>
                  <a:ea typeface="Roboto" pitchFamily="2" charset="0"/>
                  <a:cs typeface="SB Sans Text Medium" panose="020B0603040504020204" pitchFamily="34" charset="-52"/>
                  <a:sym typeface="Poppins Bold"/>
                </a:rPr>
                <a:t>6</a:t>
              </a:r>
              <a:endParaRPr sz="2400" dirty="0">
                <a:solidFill>
                  <a:srgbClr val="FFFFFF"/>
                </a:solidFill>
                <a:latin typeface="SB Sans Text Medium" panose="020B0603040504020204" pitchFamily="34" charset="-52"/>
                <a:ea typeface="Roboto" pitchFamily="2" charset="0"/>
                <a:cs typeface="SB Sans Text Medium" panose="020B0603040504020204" pitchFamily="34" charset="-52"/>
                <a:sym typeface="Poppins Bold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629704415"/>
      </p:ext>
    </p:extLst>
  </p:cSld>
  <p:clrMapOvr>
    <a:masterClrMapping/>
  </p:clrMapOvr>
  <p:transition spd="slow">
    <p:push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5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42" presetClass="path" presetSubtype="0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1719 -0.00023 L -6.25E-7 -3.7037E-7 " pathEditMode="relative" rAng="0" ptsTypes="AA">
                                      <p:cBhvr>
                                        <p:cTn id="9" dur="500" fill="hold"/>
                                        <p:tgtEl>
                                          <p:spTgt spid="5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859" y="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250"/>
                                        <p:tgtEl>
                                          <p:spTgt spid="5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42" presetClass="path" presetSubtype="0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1719 -0.00023 L 1.11022E-16 -3.7037E-7 " pathEditMode="relative" rAng="0" ptsTypes="AA">
                                      <p:cBhvr>
                                        <p:cTn id="16" dur="500" fill="hold"/>
                                        <p:tgtEl>
                                          <p:spTgt spid="5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859" y="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250"/>
                                        <p:tgtEl>
                                          <p:spTgt spid="6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42" presetClass="path" presetSubtype="0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1719 -0.00023 L -2.29167E-6 2.59259E-6 " pathEditMode="relative" rAng="0" ptsTypes="AA">
                                      <p:cBhvr>
                                        <p:cTn id="23" dur="500" fill="hold"/>
                                        <p:tgtEl>
                                          <p:spTgt spid="6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859" y="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250"/>
                                        <p:tgtEl>
                                          <p:spTgt spid="6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42" presetClass="path" presetSubtype="0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1719 -0.00023 L -6.25E-7 2.59259E-6 " pathEditMode="relative" rAng="0" ptsTypes="AA">
                                      <p:cBhvr>
                                        <p:cTn id="30" dur="500" fill="hold"/>
                                        <p:tgtEl>
                                          <p:spTgt spid="6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859" y="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250"/>
                                        <p:tgtEl>
                                          <p:spTgt spid="7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42" presetClass="path" presetSubtype="0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1719 -0.00023 L 1.11022E-16 2.59259E-6 " pathEditMode="relative" rAng="0" ptsTypes="AA">
                                      <p:cBhvr>
                                        <p:cTn id="37" dur="500" fill="hold"/>
                                        <p:tgtEl>
                                          <p:spTgt spid="7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859" y="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Rounded Rectangle">
            <a:extLst>
              <a:ext uri="{FF2B5EF4-FFF2-40B4-BE49-F238E27FC236}">
                <a16:creationId xmlns:a16="http://schemas.microsoft.com/office/drawing/2014/main" id="{4A1A861F-77ED-4663-9389-8E9FD44BABD1}"/>
              </a:ext>
            </a:extLst>
          </p:cNvPr>
          <p:cNvSpPr/>
          <p:nvPr/>
        </p:nvSpPr>
        <p:spPr>
          <a:xfrm>
            <a:off x="0" y="2579435"/>
            <a:ext cx="12192000" cy="1785141"/>
          </a:xfrm>
          <a:prstGeom prst="roundRect">
            <a:avLst>
              <a:gd name="adj" fmla="val 0"/>
            </a:avLst>
          </a:prstGeom>
          <a:solidFill>
            <a:schemeClr val="bg1">
              <a:alpha val="96000"/>
            </a:schemeClr>
          </a:solidFill>
          <a:ln w="12700" cap="flat">
            <a:noFill/>
            <a:prstDash val="solid"/>
            <a:miter/>
          </a:ln>
          <a:effectLst>
            <a:outerShdw blurRad="1003300" sx="102000" sy="102000" algn="ctr" rotWithShape="0">
              <a:schemeClr val="tx1">
                <a:alpha val="20000"/>
              </a:schemeClr>
            </a:outerShdw>
          </a:effectLst>
        </p:spPr>
        <p:txBody>
          <a:bodyPr lIns="0" tIns="0" rIns="0" bIns="0" anchor="ctr"/>
          <a:lstStyle/>
          <a:p>
            <a:pPr marL="0" marR="0" lvl="0" indent="0" algn="ctr" defTabSz="309563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" pitchFamily="2" charset="0"/>
              <a:ea typeface="Roboto" pitchFamily="2" charset="0"/>
              <a:cs typeface="Poppins Bold"/>
              <a:sym typeface="Poppins Bold"/>
            </a:endParaRPr>
          </a:p>
        </p:txBody>
      </p:sp>
      <p:sp>
        <p:nvSpPr>
          <p:cNvPr id="41" name="Заголовок">
            <a:extLst>
              <a:ext uri="{FF2B5EF4-FFF2-40B4-BE49-F238E27FC236}">
                <a16:creationId xmlns:a16="http://schemas.microsoft.com/office/drawing/2014/main" id="{C2DC1C9A-4F65-42B1-86E3-6E4D91075984}"/>
              </a:ext>
            </a:extLst>
          </p:cNvPr>
          <p:cNvSpPr txBox="1"/>
          <p:nvPr/>
        </p:nvSpPr>
        <p:spPr>
          <a:xfrm>
            <a:off x="507067" y="376044"/>
            <a:ext cx="5192693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4400" dirty="0">
                <a:solidFill>
                  <a:srgbClr val="0D0D0D">
                    <a:lumMod val="75000"/>
                    <a:lumOff val="25000"/>
                  </a:srgbClr>
                </a:solidFill>
                <a:latin typeface="SB Sans Text Medium" panose="020B0603040504020204" pitchFamily="34" charset="-52"/>
                <a:ea typeface="Roboto" pitchFamily="2" charset="0"/>
                <a:cs typeface="SB Sans Text Medium" panose="020B0603040504020204" pitchFamily="34" charset="-52"/>
              </a:rPr>
              <a:t>А теперь цифры</a:t>
            </a:r>
          </a:p>
        </p:txBody>
      </p:sp>
      <p:grpSp>
        <p:nvGrpSpPr>
          <p:cNvPr id="42" name="CDIConf_Black">
            <a:extLst>
              <a:ext uri="{FF2B5EF4-FFF2-40B4-BE49-F238E27FC236}">
                <a16:creationId xmlns:a16="http://schemas.microsoft.com/office/drawing/2014/main" id="{F3F1710A-CB9B-4080-B969-0477C48F22E5}"/>
              </a:ext>
            </a:extLst>
          </p:cNvPr>
          <p:cNvGrpSpPr/>
          <p:nvPr/>
        </p:nvGrpSpPr>
        <p:grpSpPr>
          <a:xfrm>
            <a:off x="9284984" y="6140223"/>
            <a:ext cx="2270483" cy="296171"/>
            <a:chOff x="7406975" y="5855999"/>
            <a:chExt cx="2270483" cy="296171"/>
          </a:xfrm>
        </p:grpSpPr>
        <p:sp>
          <p:nvSpPr>
            <p:cNvPr id="45" name="Полилиния: фигура 44">
              <a:extLst>
                <a:ext uri="{FF2B5EF4-FFF2-40B4-BE49-F238E27FC236}">
                  <a16:creationId xmlns:a16="http://schemas.microsoft.com/office/drawing/2014/main" id="{13A11B35-F320-4F31-908D-85B2D024FD4B}"/>
                </a:ext>
              </a:extLst>
            </p:cNvPr>
            <p:cNvSpPr/>
            <p:nvPr/>
          </p:nvSpPr>
          <p:spPr>
            <a:xfrm>
              <a:off x="7406975" y="5878280"/>
              <a:ext cx="1394458" cy="273890"/>
            </a:xfrm>
            <a:custGeom>
              <a:avLst/>
              <a:gdLst>
                <a:gd name="connsiteX0" fmla="*/ 157354 w 1394458"/>
                <a:gd name="connsiteY0" fmla="*/ 188093 h 273890"/>
                <a:gd name="connsiteX1" fmla="*/ 200773 w 1394458"/>
                <a:gd name="connsiteY1" fmla="*/ 188093 h 273890"/>
                <a:gd name="connsiteX2" fmla="*/ 186877 w 1394458"/>
                <a:gd name="connsiteY2" fmla="*/ 232383 h 273890"/>
                <a:gd name="connsiteX3" fmla="*/ 153706 w 1394458"/>
                <a:gd name="connsiteY3" fmla="*/ 262777 h 273890"/>
                <a:gd name="connsiteX4" fmla="*/ 101775 w 1394458"/>
                <a:gd name="connsiteY4" fmla="*/ 273891 h 273890"/>
                <a:gd name="connsiteX5" fmla="*/ 59572 w 1394458"/>
                <a:gd name="connsiteY5" fmla="*/ 265554 h 273890"/>
                <a:gd name="connsiteX6" fmla="*/ 27442 w 1394458"/>
                <a:gd name="connsiteY6" fmla="*/ 241585 h 273890"/>
                <a:gd name="connsiteX7" fmla="*/ 6950 w 1394458"/>
                <a:gd name="connsiteY7" fmla="*/ 203896 h 273890"/>
                <a:gd name="connsiteX8" fmla="*/ 0 w 1394458"/>
                <a:gd name="connsiteY8" fmla="*/ 154577 h 273890"/>
                <a:gd name="connsiteX9" fmla="*/ 0 w 1394458"/>
                <a:gd name="connsiteY9" fmla="*/ 133560 h 273890"/>
                <a:gd name="connsiteX10" fmla="*/ 7121 w 1394458"/>
                <a:gd name="connsiteY10" fmla="*/ 84236 h 273890"/>
                <a:gd name="connsiteX11" fmla="*/ 27962 w 1394458"/>
                <a:gd name="connsiteY11" fmla="*/ 46552 h 273890"/>
                <a:gd name="connsiteX12" fmla="*/ 60438 w 1394458"/>
                <a:gd name="connsiteY12" fmla="*/ 22408 h 273890"/>
                <a:gd name="connsiteX13" fmla="*/ 103336 w 1394458"/>
                <a:gd name="connsiteY13" fmla="*/ 14071 h 273890"/>
                <a:gd name="connsiteX14" fmla="*/ 154397 w 1394458"/>
                <a:gd name="connsiteY14" fmla="*/ 25185 h 273890"/>
                <a:gd name="connsiteX15" fmla="*/ 186702 w 1394458"/>
                <a:gd name="connsiteY15" fmla="*/ 55924 h 273890"/>
                <a:gd name="connsiteX16" fmla="*/ 200943 w 1394458"/>
                <a:gd name="connsiteY16" fmla="*/ 100905 h 273890"/>
                <a:gd name="connsiteX17" fmla="*/ 157524 w 1394458"/>
                <a:gd name="connsiteY17" fmla="*/ 100905 h 273890"/>
                <a:gd name="connsiteX18" fmla="*/ 149883 w 1394458"/>
                <a:gd name="connsiteY18" fmla="*/ 72943 h 273890"/>
                <a:gd name="connsiteX19" fmla="*/ 132865 w 1394458"/>
                <a:gd name="connsiteY19" fmla="*/ 55229 h 273890"/>
                <a:gd name="connsiteX20" fmla="*/ 103341 w 1394458"/>
                <a:gd name="connsiteY20" fmla="*/ 48974 h 273890"/>
                <a:gd name="connsiteX21" fmla="*/ 77291 w 1394458"/>
                <a:gd name="connsiteY21" fmla="*/ 54533 h 273890"/>
                <a:gd name="connsiteX22" fmla="*/ 58706 w 1394458"/>
                <a:gd name="connsiteY22" fmla="*/ 70861 h 273890"/>
                <a:gd name="connsiteX23" fmla="*/ 47417 w 1394458"/>
                <a:gd name="connsiteY23" fmla="*/ 97432 h 273890"/>
                <a:gd name="connsiteX24" fmla="*/ 43769 w 1394458"/>
                <a:gd name="connsiteY24" fmla="*/ 133210 h 273890"/>
                <a:gd name="connsiteX25" fmla="*/ 43769 w 1394458"/>
                <a:gd name="connsiteY25" fmla="*/ 154572 h 273890"/>
                <a:gd name="connsiteX26" fmla="*/ 47067 w 1394458"/>
                <a:gd name="connsiteY26" fmla="*/ 189304 h 273890"/>
                <a:gd name="connsiteX27" fmla="*/ 57490 w 1394458"/>
                <a:gd name="connsiteY27" fmla="*/ 215875 h 273890"/>
                <a:gd name="connsiteX28" fmla="*/ 75550 w 1394458"/>
                <a:gd name="connsiteY28" fmla="*/ 233069 h 273890"/>
                <a:gd name="connsiteX29" fmla="*/ 101775 w 1394458"/>
                <a:gd name="connsiteY29" fmla="*/ 239149 h 273890"/>
                <a:gd name="connsiteX30" fmla="*/ 131824 w 1394458"/>
                <a:gd name="connsiteY30" fmla="*/ 233244 h 273890"/>
                <a:gd name="connsiteX31" fmla="*/ 149363 w 1394458"/>
                <a:gd name="connsiteY31" fmla="*/ 216050 h 273890"/>
                <a:gd name="connsiteX32" fmla="*/ 157354 w 1394458"/>
                <a:gd name="connsiteY32" fmla="*/ 188088 h 273890"/>
                <a:gd name="connsiteX33" fmla="*/ 313837 w 1394458"/>
                <a:gd name="connsiteY33" fmla="*/ 270418 h 273890"/>
                <a:gd name="connsiteX34" fmla="*/ 259825 w 1394458"/>
                <a:gd name="connsiteY34" fmla="*/ 270418 h 273890"/>
                <a:gd name="connsiteX35" fmla="*/ 260170 w 1394458"/>
                <a:gd name="connsiteY35" fmla="*/ 235856 h 273890"/>
                <a:gd name="connsiteX36" fmla="*/ 313837 w 1394458"/>
                <a:gd name="connsiteY36" fmla="*/ 235856 h 273890"/>
                <a:gd name="connsiteX37" fmla="*/ 353088 w 1394458"/>
                <a:gd name="connsiteY37" fmla="*/ 225608 h 273890"/>
                <a:gd name="connsiteX38" fmla="*/ 377057 w 1394458"/>
                <a:gd name="connsiteY38" fmla="*/ 196255 h 273890"/>
                <a:gd name="connsiteX39" fmla="*/ 385218 w 1394458"/>
                <a:gd name="connsiteY39" fmla="*/ 150754 h 273890"/>
                <a:gd name="connsiteX40" fmla="*/ 385218 w 1394458"/>
                <a:gd name="connsiteY40" fmla="*/ 137033 h 273890"/>
                <a:gd name="connsiteX41" fmla="*/ 380530 w 1394458"/>
                <a:gd name="connsiteY41" fmla="*/ 100734 h 273890"/>
                <a:gd name="connsiteX42" fmla="*/ 366984 w 1394458"/>
                <a:gd name="connsiteY42" fmla="*/ 74163 h 273890"/>
                <a:gd name="connsiteX43" fmla="*/ 345102 w 1394458"/>
                <a:gd name="connsiteY43" fmla="*/ 57840 h 273890"/>
                <a:gd name="connsiteX44" fmla="*/ 315403 w 1394458"/>
                <a:gd name="connsiteY44" fmla="*/ 52281 h 273890"/>
                <a:gd name="connsiteX45" fmla="*/ 258784 w 1394458"/>
                <a:gd name="connsiteY45" fmla="*/ 52281 h 273890"/>
                <a:gd name="connsiteX46" fmla="*/ 258784 w 1394458"/>
                <a:gd name="connsiteY46" fmla="*/ 17544 h 273890"/>
                <a:gd name="connsiteX47" fmla="*/ 315403 w 1394458"/>
                <a:gd name="connsiteY47" fmla="*/ 17544 h 273890"/>
                <a:gd name="connsiteX48" fmla="*/ 361429 w 1394458"/>
                <a:gd name="connsiteY48" fmla="*/ 26055 h 273890"/>
                <a:gd name="connsiteX49" fmla="*/ 397383 w 1394458"/>
                <a:gd name="connsiteY49" fmla="*/ 50195 h 273890"/>
                <a:gd name="connsiteX50" fmla="*/ 420826 w 1394458"/>
                <a:gd name="connsiteY50" fmla="*/ 88054 h 273890"/>
                <a:gd name="connsiteX51" fmla="*/ 428988 w 1394458"/>
                <a:gd name="connsiteY51" fmla="*/ 137378 h 273890"/>
                <a:gd name="connsiteX52" fmla="*/ 428988 w 1394458"/>
                <a:gd name="connsiteY52" fmla="*/ 150754 h 273890"/>
                <a:gd name="connsiteX53" fmla="*/ 420826 w 1394458"/>
                <a:gd name="connsiteY53" fmla="*/ 200078 h 273890"/>
                <a:gd name="connsiteX54" fmla="*/ 397383 w 1394458"/>
                <a:gd name="connsiteY54" fmla="*/ 237938 h 273890"/>
                <a:gd name="connsiteX55" fmla="*/ 360909 w 1394458"/>
                <a:gd name="connsiteY55" fmla="*/ 262077 h 273890"/>
                <a:gd name="connsiteX56" fmla="*/ 313842 w 1394458"/>
                <a:gd name="connsiteY56" fmla="*/ 270413 h 273890"/>
                <a:gd name="connsiteX57" fmla="*/ 283964 w 1394458"/>
                <a:gd name="connsiteY57" fmla="*/ 17544 h 273890"/>
                <a:gd name="connsiteX58" fmla="*/ 283964 w 1394458"/>
                <a:gd name="connsiteY58" fmla="*/ 270418 h 273890"/>
                <a:gd name="connsiteX59" fmla="*/ 240369 w 1394458"/>
                <a:gd name="connsiteY59" fmla="*/ 270418 h 273890"/>
                <a:gd name="connsiteX60" fmla="*/ 240369 w 1394458"/>
                <a:gd name="connsiteY60" fmla="*/ 17544 h 273890"/>
                <a:gd name="connsiteX61" fmla="*/ 283964 w 1394458"/>
                <a:gd name="connsiteY61" fmla="*/ 17544 h 273890"/>
                <a:gd name="connsiteX62" fmla="*/ 519299 w 1394458"/>
                <a:gd name="connsiteY62" fmla="*/ 17544 h 273890"/>
                <a:gd name="connsiteX63" fmla="*/ 519299 w 1394458"/>
                <a:gd name="connsiteY63" fmla="*/ 270418 h 273890"/>
                <a:gd name="connsiteX64" fmla="*/ 475705 w 1394458"/>
                <a:gd name="connsiteY64" fmla="*/ 270418 h 273890"/>
                <a:gd name="connsiteX65" fmla="*/ 475705 w 1394458"/>
                <a:gd name="connsiteY65" fmla="*/ 17544 h 273890"/>
                <a:gd name="connsiteX66" fmla="*/ 519299 w 1394458"/>
                <a:gd name="connsiteY66" fmla="*/ 17544 h 273890"/>
                <a:gd name="connsiteX67" fmla="*/ 811424 w 1394458"/>
                <a:gd name="connsiteY67" fmla="*/ 188093 h 273890"/>
                <a:gd name="connsiteX68" fmla="*/ 854843 w 1394458"/>
                <a:gd name="connsiteY68" fmla="*/ 188093 h 273890"/>
                <a:gd name="connsiteX69" fmla="*/ 840947 w 1394458"/>
                <a:gd name="connsiteY69" fmla="*/ 232383 h 273890"/>
                <a:gd name="connsiteX70" fmla="*/ 807776 w 1394458"/>
                <a:gd name="connsiteY70" fmla="*/ 262777 h 273890"/>
                <a:gd name="connsiteX71" fmla="*/ 755845 w 1394458"/>
                <a:gd name="connsiteY71" fmla="*/ 273891 h 273890"/>
                <a:gd name="connsiteX72" fmla="*/ 713642 w 1394458"/>
                <a:gd name="connsiteY72" fmla="*/ 265554 h 273890"/>
                <a:gd name="connsiteX73" fmla="*/ 681512 w 1394458"/>
                <a:gd name="connsiteY73" fmla="*/ 241585 h 273890"/>
                <a:gd name="connsiteX74" fmla="*/ 661021 w 1394458"/>
                <a:gd name="connsiteY74" fmla="*/ 203896 h 273890"/>
                <a:gd name="connsiteX75" fmla="*/ 654075 w 1394458"/>
                <a:gd name="connsiteY75" fmla="*/ 154572 h 273890"/>
                <a:gd name="connsiteX76" fmla="*/ 654075 w 1394458"/>
                <a:gd name="connsiteY76" fmla="*/ 133555 h 273890"/>
                <a:gd name="connsiteX77" fmla="*/ 661196 w 1394458"/>
                <a:gd name="connsiteY77" fmla="*/ 84231 h 273890"/>
                <a:gd name="connsiteX78" fmla="*/ 682037 w 1394458"/>
                <a:gd name="connsiteY78" fmla="*/ 46547 h 273890"/>
                <a:gd name="connsiteX79" fmla="*/ 714513 w 1394458"/>
                <a:gd name="connsiteY79" fmla="*/ 22403 h 273890"/>
                <a:gd name="connsiteX80" fmla="*/ 757411 w 1394458"/>
                <a:gd name="connsiteY80" fmla="*/ 14066 h 273890"/>
                <a:gd name="connsiteX81" fmla="*/ 808472 w 1394458"/>
                <a:gd name="connsiteY81" fmla="*/ 25180 h 273890"/>
                <a:gd name="connsiteX82" fmla="*/ 840777 w 1394458"/>
                <a:gd name="connsiteY82" fmla="*/ 55919 h 273890"/>
                <a:gd name="connsiteX83" fmla="*/ 855018 w 1394458"/>
                <a:gd name="connsiteY83" fmla="*/ 100900 h 273890"/>
                <a:gd name="connsiteX84" fmla="*/ 811599 w 1394458"/>
                <a:gd name="connsiteY84" fmla="*/ 100900 h 273890"/>
                <a:gd name="connsiteX85" fmla="*/ 803958 w 1394458"/>
                <a:gd name="connsiteY85" fmla="*/ 72938 h 273890"/>
                <a:gd name="connsiteX86" fmla="*/ 786940 w 1394458"/>
                <a:gd name="connsiteY86" fmla="*/ 55224 h 273890"/>
                <a:gd name="connsiteX87" fmla="*/ 757416 w 1394458"/>
                <a:gd name="connsiteY87" fmla="*/ 48969 h 273890"/>
                <a:gd name="connsiteX88" fmla="*/ 731366 w 1394458"/>
                <a:gd name="connsiteY88" fmla="*/ 54528 h 273890"/>
                <a:gd name="connsiteX89" fmla="*/ 712781 w 1394458"/>
                <a:gd name="connsiteY89" fmla="*/ 70856 h 273890"/>
                <a:gd name="connsiteX90" fmla="*/ 701492 w 1394458"/>
                <a:gd name="connsiteY90" fmla="*/ 97427 h 273890"/>
                <a:gd name="connsiteX91" fmla="*/ 697844 w 1394458"/>
                <a:gd name="connsiteY91" fmla="*/ 133205 h 273890"/>
                <a:gd name="connsiteX92" fmla="*/ 697844 w 1394458"/>
                <a:gd name="connsiteY92" fmla="*/ 154567 h 273890"/>
                <a:gd name="connsiteX93" fmla="*/ 701142 w 1394458"/>
                <a:gd name="connsiteY93" fmla="*/ 189299 h 273890"/>
                <a:gd name="connsiteX94" fmla="*/ 711565 w 1394458"/>
                <a:gd name="connsiteY94" fmla="*/ 215870 h 273890"/>
                <a:gd name="connsiteX95" fmla="*/ 729629 w 1394458"/>
                <a:gd name="connsiteY95" fmla="*/ 233064 h 273890"/>
                <a:gd name="connsiteX96" fmla="*/ 755855 w 1394458"/>
                <a:gd name="connsiteY96" fmla="*/ 239144 h 273890"/>
                <a:gd name="connsiteX97" fmla="*/ 785904 w 1394458"/>
                <a:gd name="connsiteY97" fmla="*/ 233239 h 273890"/>
                <a:gd name="connsiteX98" fmla="*/ 803443 w 1394458"/>
                <a:gd name="connsiteY98" fmla="*/ 216046 h 273890"/>
                <a:gd name="connsiteX99" fmla="*/ 811434 w 1394458"/>
                <a:gd name="connsiteY99" fmla="*/ 188084 h 273890"/>
                <a:gd name="connsiteX100" fmla="*/ 882285 w 1394458"/>
                <a:gd name="connsiteY100" fmla="*/ 178541 h 273890"/>
                <a:gd name="connsiteX101" fmla="*/ 882285 w 1394458"/>
                <a:gd name="connsiteY101" fmla="*/ 174548 h 273890"/>
                <a:gd name="connsiteX102" fmla="*/ 888190 w 1394458"/>
                <a:gd name="connsiteY102" fmla="*/ 136858 h 273890"/>
                <a:gd name="connsiteX103" fmla="*/ 905208 w 1394458"/>
                <a:gd name="connsiteY103" fmla="*/ 106464 h 273890"/>
                <a:gd name="connsiteX104" fmla="*/ 932650 w 1394458"/>
                <a:gd name="connsiteY104" fmla="*/ 86318 h 273890"/>
                <a:gd name="connsiteX105" fmla="*/ 969469 w 1394458"/>
                <a:gd name="connsiteY105" fmla="*/ 79022 h 273890"/>
                <a:gd name="connsiteX106" fmla="*/ 1006288 w 1394458"/>
                <a:gd name="connsiteY106" fmla="*/ 86318 h 273890"/>
                <a:gd name="connsiteX107" fmla="*/ 1033899 w 1394458"/>
                <a:gd name="connsiteY107" fmla="*/ 106464 h 273890"/>
                <a:gd name="connsiteX108" fmla="*/ 1051093 w 1394458"/>
                <a:gd name="connsiteY108" fmla="*/ 136858 h 273890"/>
                <a:gd name="connsiteX109" fmla="*/ 1056998 w 1394458"/>
                <a:gd name="connsiteY109" fmla="*/ 174548 h 273890"/>
                <a:gd name="connsiteX110" fmla="*/ 1056998 w 1394458"/>
                <a:gd name="connsiteY110" fmla="*/ 178541 h 273890"/>
                <a:gd name="connsiteX111" fmla="*/ 1051093 w 1394458"/>
                <a:gd name="connsiteY111" fmla="*/ 216230 h 273890"/>
                <a:gd name="connsiteX112" fmla="*/ 1033899 w 1394458"/>
                <a:gd name="connsiteY112" fmla="*/ 246624 h 273890"/>
                <a:gd name="connsiteX113" fmla="*/ 1006458 w 1394458"/>
                <a:gd name="connsiteY113" fmla="*/ 266770 h 273890"/>
                <a:gd name="connsiteX114" fmla="*/ 969814 w 1394458"/>
                <a:gd name="connsiteY114" fmla="*/ 273891 h 273890"/>
                <a:gd name="connsiteX115" fmla="*/ 932820 w 1394458"/>
                <a:gd name="connsiteY115" fmla="*/ 266770 h 273890"/>
                <a:gd name="connsiteX116" fmla="*/ 905378 w 1394458"/>
                <a:gd name="connsiteY116" fmla="*/ 246624 h 273890"/>
                <a:gd name="connsiteX117" fmla="*/ 888185 w 1394458"/>
                <a:gd name="connsiteY117" fmla="*/ 216230 h 273890"/>
                <a:gd name="connsiteX118" fmla="*/ 882280 w 1394458"/>
                <a:gd name="connsiteY118" fmla="*/ 178541 h 273890"/>
                <a:gd name="connsiteX119" fmla="*/ 924143 w 1394458"/>
                <a:gd name="connsiteY119" fmla="*/ 174548 h 273890"/>
                <a:gd name="connsiteX120" fmla="*/ 924143 w 1394458"/>
                <a:gd name="connsiteY120" fmla="*/ 178541 h 273890"/>
                <a:gd name="connsiteX121" fmla="*/ 926750 w 1394458"/>
                <a:gd name="connsiteY121" fmla="*/ 202510 h 273890"/>
                <a:gd name="connsiteX122" fmla="*/ 934911 w 1394458"/>
                <a:gd name="connsiteY122" fmla="*/ 222310 h 273890"/>
                <a:gd name="connsiteX123" fmla="*/ 949152 w 1394458"/>
                <a:gd name="connsiteY123" fmla="*/ 235681 h 273890"/>
                <a:gd name="connsiteX124" fmla="*/ 969819 w 1394458"/>
                <a:gd name="connsiteY124" fmla="*/ 240545 h 273890"/>
                <a:gd name="connsiteX125" fmla="*/ 989965 w 1394458"/>
                <a:gd name="connsiteY125" fmla="*/ 235681 h 273890"/>
                <a:gd name="connsiteX126" fmla="*/ 1004206 w 1394458"/>
                <a:gd name="connsiteY126" fmla="*/ 222310 h 273890"/>
                <a:gd name="connsiteX127" fmla="*/ 1012367 w 1394458"/>
                <a:gd name="connsiteY127" fmla="*/ 202510 h 273890"/>
                <a:gd name="connsiteX128" fmla="*/ 1015145 w 1394458"/>
                <a:gd name="connsiteY128" fmla="*/ 178541 h 273890"/>
                <a:gd name="connsiteX129" fmla="*/ 1015145 w 1394458"/>
                <a:gd name="connsiteY129" fmla="*/ 174548 h 273890"/>
                <a:gd name="connsiteX130" fmla="*/ 1012367 w 1394458"/>
                <a:gd name="connsiteY130" fmla="*/ 150929 h 273890"/>
                <a:gd name="connsiteX131" fmla="*/ 1004031 w 1394458"/>
                <a:gd name="connsiteY131" fmla="*/ 130958 h 273890"/>
                <a:gd name="connsiteX132" fmla="*/ 989790 w 1394458"/>
                <a:gd name="connsiteY132" fmla="*/ 117412 h 273890"/>
                <a:gd name="connsiteX133" fmla="*/ 969469 w 1394458"/>
                <a:gd name="connsiteY133" fmla="*/ 112378 h 273890"/>
                <a:gd name="connsiteX134" fmla="*/ 948977 w 1394458"/>
                <a:gd name="connsiteY134" fmla="*/ 117412 h 273890"/>
                <a:gd name="connsiteX135" fmla="*/ 934911 w 1394458"/>
                <a:gd name="connsiteY135" fmla="*/ 130958 h 273890"/>
                <a:gd name="connsiteX136" fmla="*/ 926750 w 1394458"/>
                <a:gd name="connsiteY136" fmla="*/ 150929 h 273890"/>
                <a:gd name="connsiteX137" fmla="*/ 924143 w 1394458"/>
                <a:gd name="connsiteY137" fmla="*/ 174548 h 273890"/>
                <a:gd name="connsiteX138" fmla="*/ 1133598 w 1394458"/>
                <a:gd name="connsiteY138" fmla="*/ 122617 h 273890"/>
                <a:gd name="connsiteX139" fmla="*/ 1133598 w 1394458"/>
                <a:gd name="connsiteY139" fmla="*/ 270418 h 273890"/>
                <a:gd name="connsiteX140" fmla="*/ 1091745 w 1394458"/>
                <a:gd name="connsiteY140" fmla="*/ 270418 h 273890"/>
                <a:gd name="connsiteX141" fmla="*/ 1091745 w 1394458"/>
                <a:gd name="connsiteY141" fmla="*/ 82495 h 273890"/>
                <a:gd name="connsiteX142" fmla="*/ 1131171 w 1394458"/>
                <a:gd name="connsiteY142" fmla="*/ 82495 h 273890"/>
                <a:gd name="connsiteX143" fmla="*/ 1133603 w 1394458"/>
                <a:gd name="connsiteY143" fmla="*/ 122617 h 273890"/>
                <a:gd name="connsiteX144" fmla="*/ 1126132 w 1394458"/>
                <a:gd name="connsiteY144" fmla="*/ 169509 h 273890"/>
                <a:gd name="connsiteX145" fmla="*/ 1112586 w 1394458"/>
                <a:gd name="connsiteY145" fmla="*/ 169334 h 273890"/>
                <a:gd name="connsiteX146" fmla="*/ 1118145 w 1394458"/>
                <a:gd name="connsiteY146" fmla="*/ 132690 h 273890"/>
                <a:gd name="connsiteX147" fmla="*/ 1133428 w 1394458"/>
                <a:gd name="connsiteY147" fmla="*/ 104032 h 273890"/>
                <a:gd name="connsiteX148" fmla="*/ 1157046 w 1394458"/>
                <a:gd name="connsiteY148" fmla="*/ 85623 h 273890"/>
                <a:gd name="connsiteX149" fmla="*/ 1187615 w 1394458"/>
                <a:gd name="connsiteY149" fmla="*/ 79022 h 273890"/>
                <a:gd name="connsiteX150" fmla="*/ 1212105 w 1394458"/>
                <a:gd name="connsiteY150" fmla="*/ 82840 h 273890"/>
                <a:gd name="connsiteX151" fmla="*/ 1231034 w 1394458"/>
                <a:gd name="connsiteY151" fmla="*/ 94825 h 273890"/>
                <a:gd name="connsiteX152" fmla="*/ 1243189 w 1394458"/>
                <a:gd name="connsiteY152" fmla="*/ 116532 h 273890"/>
                <a:gd name="connsiteX153" fmla="*/ 1247357 w 1394458"/>
                <a:gd name="connsiteY153" fmla="*/ 149013 h 273890"/>
                <a:gd name="connsiteX154" fmla="*/ 1247357 w 1394458"/>
                <a:gd name="connsiteY154" fmla="*/ 270413 h 273890"/>
                <a:gd name="connsiteX155" fmla="*/ 1205329 w 1394458"/>
                <a:gd name="connsiteY155" fmla="*/ 270413 h 273890"/>
                <a:gd name="connsiteX156" fmla="*/ 1205329 w 1394458"/>
                <a:gd name="connsiteY156" fmla="*/ 148837 h 273890"/>
                <a:gd name="connsiteX157" fmla="*/ 1201336 w 1394458"/>
                <a:gd name="connsiteY157" fmla="*/ 127476 h 273890"/>
                <a:gd name="connsiteX158" fmla="*/ 1190047 w 1394458"/>
                <a:gd name="connsiteY158" fmla="*/ 116187 h 273890"/>
                <a:gd name="connsiteX159" fmla="*/ 1171813 w 1394458"/>
                <a:gd name="connsiteY159" fmla="*/ 112714 h 273890"/>
                <a:gd name="connsiteX160" fmla="*/ 1152533 w 1394458"/>
                <a:gd name="connsiteY160" fmla="*/ 117228 h 273890"/>
                <a:gd name="connsiteX161" fmla="*/ 1138116 w 1394458"/>
                <a:gd name="connsiteY161" fmla="*/ 129557 h 273890"/>
                <a:gd name="connsiteX162" fmla="*/ 1129259 w 1394458"/>
                <a:gd name="connsiteY162" fmla="*/ 147621 h 273890"/>
                <a:gd name="connsiteX163" fmla="*/ 1126132 w 1394458"/>
                <a:gd name="connsiteY163" fmla="*/ 169504 h 273890"/>
                <a:gd name="connsiteX164" fmla="*/ 1346701 w 1394458"/>
                <a:gd name="connsiteY164" fmla="*/ 270418 h 273890"/>
                <a:gd name="connsiteX165" fmla="*/ 1304843 w 1394458"/>
                <a:gd name="connsiteY165" fmla="*/ 270418 h 273890"/>
                <a:gd name="connsiteX166" fmla="*/ 1304843 w 1394458"/>
                <a:gd name="connsiteY166" fmla="*/ 64436 h 273890"/>
                <a:gd name="connsiteX167" fmla="*/ 1312659 w 1394458"/>
                <a:gd name="connsiteY167" fmla="*/ 29178 h 273890"/>
                <a:gd name="connsiteX168" fmla="*/ 1335412 w 1394458"/>
                <a:gd name="connsiteY168" fmla="*/ 7471 h 273890"/>
                <a:gd name="connsiteX169" fmla="*/ 1370319 w 1394458"/>
                <a:gd name="connsiteY169" fmla="*/ 0 h 273890"/>
                <a:gd name="connsiteX170" fmla="*/ 1382649 w 1394458"/>
                <a:gd name="connsiteY170" fmla="*/ 871 h 273890"/>
                <a:gd name="connsiteX171" fmla="*/ 1394458 w 1394458"/>
                <a:gd name="connsiteY171" fmla="*/ 3127 h 273890"/>
                <a:gd name="connsiteX172" fmla="*/ 1393418 w 1394458"/>
                <a:gd name="connsiteY172" fmla="*/ 35433 h 273890"/>
                <a:gd name="connsiteX173" fmla="*/ 1385776 w 1394458"/>
                <a:gd name="connsiteY173" fmla="*/ 34217 h 273890"/>
                <a:gd name="connsiteX174" fmla="*/ 1377095 w 1394458"/>
                <a:gd name="connsiteY174" fmla="*/ 33872 h 273890"/>
                <a:gd name="connsiteX175" fmla="*/ 1360596 w 1394458"/>
                <a:gd name="connsiteY175" fmla="*/ 37519 h 273890"/>
                <a:gd name="connsiteX176" fmla="*/ 1350178 w 1394458"/>
                <a:gd name="connsiteY176" fmla="*/ 47767 h 273890"/>
                <a:gd name="connsiteX177" fmla="*/ 1346706 w 1394458"/>
                <a:gd name="connsiteY177" fmla="*/ 64441 h 273890"/>
                <a:gd name="connsiteX178" fmla="*/ 1346706 w 1394458"/>
                <a:gd name="connsiteY178" fmla="*/ 270423 h 273890"/>
                <a:gd name="connsiteX179" fmla="*/ 1385431 w 1394458"/>
                <a:gd name="connsiteY179" fmla="*/ 82500 h 273890"/>
                <a:gd name="connsiteX180" fmla="*/ 1385431 w 1394458"/>
                <a:gd name="connsiteY180" fmla="*/ 113069 h 273890"/>
                <a:gd name="connsiteX181" fmla="*/ 1276015 w 1394458"/>
                <a:gd name="connsiteY181" fmla="*/ 113069 h 273890"/>
                <a:gd name="connsiteX182" fmla="*/ 1276015 w 1394458"/>
                <a:gd name="connsiteY182" fmla="*/ 82500 h 273890"/>
                <a:gd name="connsiteX183" fmla="*/ 1385431 w 1394458"/>
                <a:gd name="connsiteY183" fmla="*/ 82500 h 2738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</a:cxnLst>
              <a:rect l="l" t="t" r="r" b="b"/>
              <a:pathLst>
                <a:path w="1394458" h="273890">
                  <a:moveTo>
                    <a:pt x="157354" y="188093"/>
                  </a:moveTo>
                  <a:lnTo>
                    <a:pt x="200773" y="188093"/>
                  </a:lnTo>
                  <a:cubicBezTo>
                    <a:pt x="199382" y="204650"/>
                    <a:pt x="194752" y="219411"/>
                    <a:pt x="186877" y="232383"/>
                  </a:cubicBezTo>
                  <a:cubicBezTo>
                    <a:pt x="179003" y="245233"/>
                    <a:pt x="167947" y="255365"/>
                    <a:pt x="153706" y="262777"/>
                  </a:cubicBezTo>
                  <a:cubicBezTo>
                    <a:pt x="139465" y="270185"/>
                    <a:pt x="122155" y="273891"/>
                    <a:pt x="101775" y="273891"/>
                  </a:cubicBezTo>
                  <a:cubicBezTo>
                    <a:pt x="86143" y="273891"/>
                    <a:pt x="72077" y="271114"/>
                    <a:pt x="59572" y="265554"/>
                  </a:cubicBezTo>
                  <a:cubicBezTo>
                    <a:pt x="47067" y="259878"/>
                    <a:pt x="36357" y="251892"/>
                    <a:pt x="27442" y="241585"/>
                  </a:cubicBezTo>
                  <a:cubicBezTo>
                    <a:pt x="18526" y="231162"/>
                    <a:pt x="11697" y="218604"/>
                    <a:pt x="6950" y="203896"/>
                  </a:cubicBezTo>
                  <a:cubicBezTo>
                    <a:pt x="2315" y="189192"/>
                    <a:pt x="0" y="172753"/>
                    <a:pt x="0" y="154577"/>
                  </a:cubicBezTo>
                  <a:lnTo>
                    <a:pt x="0" y="133560"/>
                  </a:lnTo>
                  <a:cubicBezTo>
                    <a:pt x="0" y="115379"/>
                    <a:pt x="2374" y="98940"/>
                    <a:pt x="7121" y="84236"/>
                  </a:cubicBezTo>
                  <a:cubicBezTo>
                    <a:pt x="11984" y="69533"/>
                    <a:pt x="18930" y="56970"/>
                    <a:pt x="27962" y="46552"/>
                  </a:cubicBezTo>
                  <a:cubicBezTo>
                    <a:pt x="36994" y="36017"/>
                    <a:pt x="47816" y="27967"/>
                    <a:pt x="60438" y="22408"/>
                  </a:cubicBezTo>
                  <a:cubicBezTo>
                    <a:pt x="73171" y="16848"/>
                    <a:pt x="87471" y="14071"/>
                    <a:pt x="103336" y="14071"/>
                  </a:cubicBezTo>
                  <a:cubicBezTo>
                    <a:pt x="123482" y="14071"/>
                    <a:pt x="140506" y="17777"/>
                    <a:pt x="154397" y="25185"/>
                  </a:cubicBezTo>
                  <a:cubicBezTo>
                    <a:pt x="168293" y="32597"/>
                    <a:pt x="179056" y="42840"/>
                    <a:pt x="186702" y="55924"/>
                  </a:cubicBezTo>
                  <a:cubicBezTo>
                    <a:pt x="194460" y="69008"/>
                    <a:pt x="199207" y="84003"/>
                    <a:pt x="200943" y="100905"/>
                  </a:cubicBezTo>
                  <a:lnTo>
                    <a:pt x="157524" y="100905"/>
                  </a:lnTo>
                  <a:cubicBezTo>
                    <a:pt x="156367" y="90019"/>
                    <a:pt x="153818" y="80700"/>
                    <a:pt x="149883" y="72943"/>
                  </a:cubicBezTo>
                  <a:cubicBezTo>
                    <a:pt x="146065" y="65185"/>
                    <a:pt x="140389" y="59280"/>
                    <a:pt x="132865" y="55229"/>
                  </a:cubicBezTo>
                  <a:cubicBezTo>
                    <a:pt x="125340" y="51060"/>
                    <a:pt x="115496" y="48974"/>
                    <a:pt x="103341" y="48974"/>
                  </a:cubicBezTo>
                  <a:cubicBezTo>
                    <a:pt x="93385" y="48974"/>
                    <a:pt x="84698" y="50827"/>
                    <a:pt x="77291" y="54533"/>
                  </a:cubicBezTo>
                  <a:cubicBezTo>
                    <a:pt x="69878" y="58239"/>
                    <a:pt x="63687" y="63682"/>
                    <a:pt x="58706" y="70861"/>
                  </a:cubicBezTo>
                  <a:cubicBezTo>
                    <a:pt x="53730" y="78040"/>
                    <a:pt x="49966" y="86897"/>
                    <a:pt x="47417" y="97432"/>
                  </a:cubicBezTo>
                  <a:cubicBezTo>
                    <a:pt x="44985" y="107850"/>
                    <a:pt x="43769" y="119776"/>
                    <a:pt x="43769" y="133210"/>
                  </a:cubicBezTo>
                  <a:lnTo>
                    <a:pt x="43769" y="154572"/>
                  </a:lnTo>
                  <a:cubicBezTo>
                    <a:pt x="43769" y="167305"/>
                    <a:pt x="44869" y="178886"/>
                    <a:pt x="47067" y="189304"/>
                  </a:cubicBezTo>
                  <a:cubicBezTo>
                    <a:pt x="49382" y="199611"/>
                    <a:pt x="52855" y="208468"/>
                    <a:pt x="57490" y="215875"/>
                  </a:cubicBezTo>
                  <a:cubicBezTo>
                    <a:pt x="62237" y="223288"/>
                    <a:pt x="68259" y="229017"/>
                    <a:pt x="75550" y="233069"/>
                  </a:cubicBezTo>
                  <a:cubicBezTo>
                    <a:pt x="82845" y="237120"/>
                    <a:pt x="91585" y="239149"/>
                    <a:pt x="101775" y="239149"/>
                  </a:cubicBezTo>
                  <a:cubicBezTo>
                    <a:pt x="114163" y="239149"/>
                    <a:pt x="124178" y="237179"/>
                    <a:pt x="131824" y="233244"/>
                  </a:cubicBezTo>
                  <a:cubicBezTo>
                    <a:pt x="139582" y="229309"/>
                    <a:pt x="145428" y="223575"/>
                    <a:pt x="149363" y="216050"/>
                  </a:cubicBezTo>
                  <a:cubicBezTo>
                    <a:pt x="153414" y="208409"/>
                    <a:pt x="156080" y="199090"/>
                    <a:pt x="157354" y="188088"/>
                  </a:cubicBezTo>
                  <a:close/>
                  <a:moveTo>
                    <a:pt x="313837" y="270418"/>
                  </a:moveTo>
                  <a:lnTo>
                    <a:pt x="259825" y="270418"/>
                  </a:lnTo>
                  <a:lnTo>
                    <a:pt x="260170" y="235856"/>
                  </a:lnTo>
                  <a:lnTo>
                    <a:pt x="313837" y="235856"/>
                  </a:lnTo>
                  <a:cubicBezTo>
                    <a:pt x="329469" y="235856"/>
                    <a:pt x="342553" y="232441"/>
                    <a:pt x="353088" y="225608"/>
                  </a:cubicBezTo>
                  <a:cubicBezTo>
                    <a:pt x="363740" y="218779"/>
                    <a:pt x="371731" y="208993"/>
                    <a:pt x="377057" y="196255"/>
                  </a:cubicBezTo>
                  <a:cubicBezTo>
                    <a:pt x="382499" y="183521"/>
                    <a:pt x="385218" y="168351"/>
                    <a:pt x="385218" y="150754"/>
                  </a:cubicBezTo>
                  <a:lnTo>
                    <a:pt x="385218" y="137033"/>
                  </a:lnTo>
                  <a:cubicBezTo>
                    <a:pt x="385218" y="123371"/>
                    <a:pt x="383657" y="111269"/>
                    <a:pt x="380530" y="100734"/>
                  </a:cubicBezTo>
                  <a:cubicBezTo>
                    <a:pt x="377519" y="90199"/>
                    <a:pt x="373005" y="81342"/>
                    <a:pt x="366984" y="74163"/>
                  </a:cubicBezTo>
                  <a:cubicBezTo>
                    <a:pt x="361079" y="66984"/>
                    <a:pt x="353784" y="61542"/>
                    <a:pt x="345102" y="57840"/>
                  </a:cubicBezTo>
                  <a:cubicBezTo>
                    <a:pt x="336532" y="54134"/>
                    <a:pt x="326634" y="52281"/>
                    <a:pt x="315403" y="52281"/>
                  </a:cubicBezTo>
                  <a:lnTo>
                    <a:pt x="258784" y="52281"/>
                  </a:lnTo>
                  <a:lnTo>
                    <a:pt x="258784" y="17544"/>
                  </a:lnTo>
                  <a:lnTo>
                    <a:pt x="315403" y="17544"/>
                  </a:lnTo>
                  <a:cubicBezTo>
                    <a:pt x="332193" y="17544"/>
                    <a:pt x="347534" y="20379"/>
                    <a:pt x="361429" y="26055"/>
                  </a:cubicBezTo>
                  <a:cubicBezTo>
                    <a:pt x="375325" y="31615"/>
                    <a:pt x="387310" y="39660"/>
                    <a:pt x="397383" y="50195"/>
                  </a:cubicBezTo>
                  <a:cubicBezTo>
                    <a:pt x="407572" y="60730"/>
                    <a:pt x="415389" y="73351"/>
                    <a:pt x="420826" y="88054"/>
                  </a:cubicBezTo>
                  <a:cubicBezTo>
                    <a:pt x="426269" y="102758"/>
                    <a:pt x="428988" y="119202"/>
                    <a:pt x="428988" y="137378"/>
                  </a:cubicBezTo>
                  <a:lnTo>
                    <a:pt x="428988" y="150754"/>
                  </a:lnTo>
                  <a:cubicBezTo>
                    <a:pt x="428988" y="168930"/>
                    <a:pt x="426269" y="185374"/>
                    <a:pt x="420826" y="200078"/>
                  </a:cubicBezTo>
                  <a:cubicBezTo>
                    <a:pt x="415384" y="214781"/>
                    <a:pt x="407568" y="227403"/>
                    <a:pt x="397383" y="237938"/>
                  </a:cubicBezTo>
                  <a:cubicBezTo>
                    <a:pt x="387193" y="248356"/>
                    <a:pt x="375038" y="256405"/>
                    <a:pt x="360909" y="262077"/>
                  </a:cubicBezTo>
                  <a:cubicBezTo>
                    <a:pt x="346896" y="267636"/>
                    <a:pt x="331211" y="270413"/>
                    <a:pt x="313842" y="270413"/>
                  </a:cubicBezTo>
                  <a:close/>
                  <a:moveTo>
                    <a:pt x="283964" y="17544"/>
                  </a:moveTo>
                  <a:lnTo>
                    <a:pt x="283964" y="270418"/>
                  </a:lnTo>
                  <a:lnTo>
                    <a:pt x="240369" y="270418"/>
                  </a:lnTo>
                  <a:lnTo>
                    <a:pt x="240369" y="17544"/>
                  </a:lnTo>
                  <a:lnTo>
                    <a:pt x="283964" y="17544"/>
                  </a:lnTo>
                  <a:close/>
                  <a:moveTo>
                    <a:pt x="519299" y="17544"/>
                  </a:moveTo>
                  <a:lnTo>
                    <a:pt x="519299" y="270418"/>
                  </a:lnTo>
                  <a:lnTo>
                    <a:pt x="475705" y="270418"/>
                  </a:lnTo>
                  <a:lnTo>
                    <a:pt x="475705" y="17544"/>
                  </a:lnTo>
                  <a:lnTo>
                    <a:pt x="519299" y="17544"/>
                  </a:lnTo>
                  <a:close/>
                  <a:moveTo>
                    <a:pt x="811424" y="188093"/>
                  </a:moveTo>
                  <a:lnTo>
                    <a:pt x="854843" y="188093"/>
                  </a:lnTo>
                  <a:cubicBezTo>
                    <a:pt x="853452" y="204650"/>
                    <a:pt x="848822" y="219411"/>
                    <a:pt x="840947" y="232383"/>
                  </a:cubicBezTo>
                  <a:cubicBezTo>
                    <a:pt x="833073" y="245233"/>
                    <a:pt x="822017" y="255365"/>
                    <a:pt x="807776" y="262777"/>
                  </a:cubicBezTo>
                  <a:cubicBezTo>
                    <a:pt x="793535" y="270185"/>
                    <a:pt x="776225" y="273891"/>
                    <a:pt x="755845" y="273891"/>
                  </a:cubicBezTo>
                  <a:cubicBezTo>
                    <a:pt x="740213" y="273891"/>
                    <a:pt x="726147" y="271114"/>
                    <a:pt x="713642" y="265554"/>
                  </a:cubicBezTo>
                  <a:cubicBezTo>
                    <a:pt x="701137" y="259878"/>
                    <a:pt x="690427" y="251892"/>
                    <a:pt x="681512" y="241585"/>
                  </a:cubicBezTo>
                  <a:cubicBezTo>
                    <a:pt x="672596" y="231162"/>
                    <a:pt x="665768" y="218604"/>
                    <a:pt x="661021" y="203896"/>
                  </a:cubicBezTo>
                  <a:cubicBezTo>
                    <a:pt x="656390" y="189192"/>
                    <a:pt x="654075" y="172748"/>
                    <a:pt x="654075" y="154572"/>
                  </a:cubicBezTo>
                  <a:lnTo>
                    <a:pt x="654075" y="133555"/>
                  </a:lnTo>
                  <a:cubicBezTo>
                    <a:pt x="654075" y="115374"/>
                    <a:pt x="656449" y="98935"/>
                    <a:pt x="661196" y="84231"/>
                  </a:cubicBezTo>
                  <a:cubicBezTo>
                    <a:pt x="666059" y="69528"/>
                    <a:pt x="673005" y="56965"/>
                    <a:pt x="682037" y="46547"/>
                  </a:cubicBezTo>
                  <a:cubicBezTo>
                    <a:pt x="691069" y="36012"/>
                    <a:pt x="701891" y="27962"/>
                    <a:pt x="714513" y="22403"/>
                  </a:cubicBezTo>
                  <a:cubicBezTo>
                    <a:pt x="727246" y="16843"/>
                    <a:pt x="741546" y="14066"/>
                    <a:pt x="757411" y="14066"/>
                  </a:cubicBezTo>
                  <a:cubicBezTo>
                    <a:pt x="777557" y="14066"/>
                    <a:pt x="794581" y="17772"/>
                    <a:pt x="808472" y="25180"/>
                  </a:cubicBezTo>
                  <a:cubicBezTo>
                    <a:pt x="822368" y="32592"/>
                    <a:pt x="833131" y="42836"/>
                    <a:pt x="840777" y="55919"/>
                  </a:cubicBezTo>
                  <a:cubicBezTo>
                    <a:pt x="848535" y="69003"/>
                    <a:pt x="853282" y="83998"/>
                    <a:pt x="855018" y="100900"/>
                  </a:cubicBezTo>
                  <a:lnTo>
                    <a:pt x="811599" y="100900"/>
                  </a:lnTo>
                  <a:cubicBezTo>
                    <a:pt x="810442" y="90015"/>
                    <a:pt x="807893" y="80695"/>
                    <a:pt x="803958" y="72938"/>
                  </a:cubicBezTo>
                  <a:cubicBezTo>
                    <a:pt x="800140" y="65180"/>
                    <a:pt x="794464" y="59275"/>
                    <a:pt x="786940" y="55224"/>
                  </a:cubicBezTo>
                  <a:cubicBezTo>
                    <a:pt x="779415" y="51055"/>
                    <a:pt x="769571" y="48969"/>
                    <a:pt x="757416" y="48969"/>
                  </a:cubicBezTo>
                  <a:cubicBezTo>
                    <a:pt x="747460" y="48969"/>
                    <a:pt x="738773" y="50822"/>
                    <a:pt x="731366" y="54528"/>
                  </a:cubicBezTo>
                  <a:cubicBezTo>
                    <a:pt x="723953" y="58234"/>
                    <a:pt x="717762" y="63677"/>
                    <a:pt x="712781" y="70856"/>
                  </a:cubicBezTo>
                  <a:cubicBezTo>
                    <a:pt x="707801" y="78035"/>
                    <a:pt x="704041" y="86892"/>
                    <a:pt x="701492" y="97427"/>
                  </a:cubicBezTo>
                  <a:cubicBezTo>
                    <a:pt x="699060" y="107845"/>
                    <a:pt x="697844" y="119771"/>
                    <a:pt x="697844" y="133205"/>
                  </a:cubicBezTo>
                  <a:lnTo>
                    <a:pt x="697844" y="154567"/>
                  </a:lnTo>
                  <a:cubicBezTo>
                    <a:pt x="697844" y="167300"/>
                    <a:pt x="698944" y="178881"/>
                    <a:pt x="701142" y="189299"/>
                  </a:cubicBezTo>
                  <a:cubicBezTo>
                    <a:pt x="703457" y="199606"/>
                    <a:pt x="706930" y="208463"/>
                    <a:pt x="711565" y="215870"/>
                  </a:cubicBezTo>
                  <a:cubicBezTo>
                    <a:pt x="716312" y="223283"/>
                    <a:pt x="722334" y="229012"/>
                    <a:pt x="729629" y="233064"/>
                  </a:cubicBezTo>
                  <a:cubicBezTo>
                    <a:pt x="736925" y="237116"/>
                    <a:pt x="745665" y="239144"/>
                    <a:pt x="755855" y="239144"/>
                  </a:cubicBezTo>
                  <a:cubicBezTo>
                    <a:pt x="768243" y="239144"/>
                    <a:pt x="778258" y="237174"/>
                    <a:pt x="785904" y="233239"/>
                  </a:cubicBezTo>
                  <a:cubicBezTo>
                    <a:pt x="793661" y="229304"/>
                    <a:pt x="799508" y="223570"/>
                    <a:pt x="803443" y="216046"/>
                  </a:cubicBezTo>
                  <a:cubicBezTo>
                    <a:pt x="807494" y="208405"/>
                    <a:pt x="810159" y="199085"/>
                    <a:pt x="811434" y="188084"/>
                  </a:cubicBezTo>
                  <a:close/>
                  <a:moveTo>
                    <a:pt x="882285" y="178541"/>
                  </a:moveTo>
                  <a:lnTo>
                    <a:pt x="882285" y="174548"/>
                  </a:lnTo>
                  <a:cubicBezTo>
                    <a:pt x="882285" y="161002"/>
                    <a:pt x="884255" y="148439"/>
                    <a:pt x="888190" y="136858"/>
                  </a:cubicBezTo>
                  <a:cubicBezTo>
                    <a:pt x="892124" y="125165"/>
                    <a:pt x="897800" y="115034"/>
                    <a:pt x="905208" y="106464"/>
                  </a:cubicBezTo>
                  <a:cubicBezTo>
                    <a:pt x="912732" y="97782"/>
                    <a:pt x="921881" y="91065"/>
                    <a:pt x="932650" y="86318"/>
                  </a:cubicBezTo>
                  <a:cubicBezTo>
                    <a:pt x="943535" y="81454"/>
                    <a:pt x="955806" y="79022"/>
                    <a:pt x="969469" y="79022"/>
                  </a:cubicBezTo>
                  <a:cubicBezTo>
                    <a:pt x="983131" y="79022"/>
                    <a:pt x="995519" y="81454"/>
                    <a:pt x="1006288" y="86318"/>
                  </a:cubicBezTo>
                  <a:cubicBezTo>
                    <a:pt x="1017173" y="91065"/>
                    <a:pt x="1026375" y="97782"/>
                    <a:pt x="1033899" y="106464"/>
                  </a:cubicBezTo>
                  <a:cubicBezTo>
                    <a:pt x="1041424" y="115034"/>
                    <a:pt x="1047158" y="125165"/>
                    <a:pt x="1051093" y="136858"/>
                  </a:cubicBezTo>
                  <a:cubicBezTo>
                    <a:pt x="1055028" y="148439"/>
                    <a:pt x="1056998" y="160997"/>
                    <a:pt x="1056998" y="174548"/>
                  </a:cubicBezTo>
                  <a:lnTo>
                    <a:pt x="1056998" y="178541"/>
                  </a:lnTo>
                  <a:cubicBezTo>
                    <a:pt x="1056998" y="192086"/>
                    <a:pt x="1055028" y="204650"/>
                    <a:pt x="1051093" y="216230"/>
                  </a:cubicBezTo>
                  <a:cubicBezTo>
                    <a:pt x="1047153" y="227806"/>
                    <a:pt x="1041424" y="237938"/>
                    <a:pt x="1033899" y="246624"/>
                  </a:cubicBezTo>
                  <a:cubicBezTo>
                    <a:pt x="1026375" y="255194"/>
                    <a:pt x="1017226" y="261906"/>
                    <a:pt x="1006458" y="266770"/>
                  </a:cubicBezTo>
                  <a:cubicBezTo>
                    <a:pt x="995689" y="271517"/>
                    <a:pt x="983476" y="273891"/>
                    <a:pt x="969814" y="273891"/>
                  </a:cubicBezTo>
                  <a:cubicBezTo>
                    <a:pt x="956151" y="273891"/>
                    <a:pt x="943705" y="271517"/>
                    <a:pt x="932820" y="266770"/>
                  </a:cubicBezTo>
                  <a:cubicBezTo>
                    <a:pt x="922051" y="261906"/>
                    <a:pt x="912907" y="255189"/>
                    <a:pt x="905378" y="246624"/>
                  </a:cubicBezTo>
                  <a:cubicBezTo>
                    <a:pt x="897854" y="237942"/>
                    <a:pt x="892119" y="227811"/>
                    <a:pt x="888185" y="216230"/>
                  </a:cubicBezTo>
                  <a:cubicBezTo>
                    <a:pt x="884245" y="204650"/>
                    <a:pt x="882280" y="192086"/>
                    <a:pt x="882280" y="178541"/>
                  </a:cubicBezTo>
                  <a:close/>
                  <a:moveTo>
                    <a:pt x="924143" y="174548"/>
                  </a:moveTo>
                  <a:lnTo>
                    <a:pt x="924143" y="178541"/>
                  </a:lnTo>
                  <a:cubicBezTo>
                    <a:pt x="924143" y="186994"/>
                    <a:pt x="925013" y="194980"/>
                    <a:pt x="926750" y="202510"/>
                  </a:cubicBezTo>
                  <a:cubicBezTo>
                    <a:pt x="928486" y="210034"/>
                    <a:pt x="931210" y="216634"/>
                    <a:pt x="934911" y="222310"/>
                  </a:cubicBezTo>
                  <a:cubicBezTo>
                    <a:pt x="938617" y="227981"/>
                    <a:pt x="943365" y="232441"/>
                    <a:pt x="949152" y="235681"/>
                  </a:cubicBezTo>
                  <a:cubicBezTo>
                    <a:pt x="954940" y="238925"/>
                    <a:pt x="961832" y="240545"/>
                    <a:pt x="969819" y="240545"/>
                  </a:cubicBezTo>
                  <a:cubicBezTo>
                    <a:pt x="977805" y="240545"/>
                    <a:pt x="984293" y="238925"/>
                    <a:pt x="989965" y="235681"/>
                  </a:cubicBezTo>
                  <a:cubicBezTo>
                    <a:pt x="995753" y="232441"/>
                    <a:pt x="1000500" y="227981"/>
                    <a:pt x="1004206" y="222310"/>
                  </a:cubicBezTo>
                  <a:cubicBezTo>
                    <a:pt x="1007912" y="216634"/>
                    <a:pt x="1010631" y="210039"/>
                    <a:pt x="1012367" y="202510"/>
                  </a:cubicBezTo>
                  <a:cubicBezTo>
                    <a:pt x="1014220" y="194985"/>
                    <a:pt x="1015145" y="186994"/>
                    <a:pt x="1015145" y="178541"/>
                  </a:cubicBezTo>
                  <a:lnTo>
                    <a:pt x="1015145" y="174548"/>
                  </a:lnTo>
                  <a:cubicBezTo>
                    <a:pt x="1015145" y="166211"/>
                    <a:pt x="1014220" y="158336"/>
                    <a:pt x="1012367" y="150929"/>
                  </a:cubicBezTo>
                  <a:cubicBezTo>
                    <a:pt x="1010631" y="143405"/>
                    <a:pt x="1007854" y="136746"/>
                    <a:pt x="1004031" y="130958"/>
                  </a:cubicBezTo>
                  <a:cubicBezTo>
                    <a:pt x="1000325" y="125170"/>
                    <a:pt x="995578" y="120652"/>
                    <a:pt x="989790" y="117412"/>
                  </a:cubicBezTo>
                  <a:cubicBezTo>
                    <a:pt x="984118" y="114056"/>
                    <a:pt x="977343" y="112378"/>
                    <a:pt x="969469" y="112378"/>
                  </a:cubicBezTo>
                  <a:cubicBezTo>
                    <a:pt x="961594" y="112378"/>
                    <a:pt x="954765" y="114056"/>
                    <a:pt x="948977" y="117412"/>
                  </a:cubicBezTo>
                  <a:cubicBezTo>
                    <a:pt x="943301" y="120657"/>
                    <a:pt x="938613" y="125170"/>
                    <a:pt x="934911" y="130958"/>
                  </a:cubicBezTo>
                  <a:cubicBezTo>
                    <a:pt x="931205" y="136746"/>
                    <a:pt x="928486" y="143405"/>
                    <a:pt x="926750" y="150929"/>
                  </a:cubicBezTo>
                  <a:cubicBezTo>
                    <a:pt x="925013" y="158341"/>
                    <a:pt x="924143" y="166211"/>
                    <a:pt x="924143" y="174548"/>
                  </a:cubicBezTo>
                  <a:close/>
                  <a:moveTo>
                    <a:pt x="1133598" y="122617"/>
                  </a:moveTo>
                  <a:lnTo>
                    <a:pt x="1133598" y="270418"/>
                  </a:lnTo>
                  <a:lnTo>
                    <a:pt x="1091745" y="270418"/>
                  </a:lnTo>
                  <a:lnTo>
                    <a:pt x="1091745" y="82495"/>
                  </a:lnTo>
                  <a:lnTo>
                    <a:pt x="1131171" y="82495"/>
                  </a:lnTo>
                  <a:lnTo>
                    <a:pt x="1133603" y="122617"/>
                  </a:lnTo>
                  <a:close/>
                  <a:moveTo>
                    <a:pt x="1126132" y="169509"/>
                  </a:moveTo>
                  <a:lnTo>
                    <a:pt x="1112586" y="169334"/>
                  </a:lnTo>
                  <a:cubicBezTo>
                    <a:pt x="1112703" y="156016"/>
                    <a:pt x="1114556" y="143803"/>
                    <a:pt x="1118145" y="132690"/>
                  </a:cubicBezTo>
                  <a:cubicBezTo>
                    <a:pt x="1121852" y="121576"/>
                    <a:pt x="1126944" y="112023"/>
                    <a:pt x="1133428" y="104032"/>
                  </a:cubicBezTo>
                  <a:cubicBezTo>
                    <a:pt x="1140028" y="96041"/>
                    <a:pt x="1147902" y="89908"/>
                    <a:pt x="1157046" y="85623"/>
                  </a:cubicBezTo>
                  <a:cubicBezTo>
                    <a:pt x="1166195" y="81226"/>
                    <a:pt x="1176385" y="79022"/>
                    <a:pt x="1187615" y="79022"/>
                  </a:cubicBezTo>
                  <a:cubicBezTo>
                    <a:pt x="1196647" y="79022"/>
                    <a:pt x="1204809" y="80297"/>
                    <a:pt x="1212105" y="82840"/>
                  </a:cubicBezTo>
                  <a:cubicBezTo>
                    <a:pt x="1219517" y="85272"/>
                    <a:pt x="1225825" y="89265"/>
                    <a:pt x="1231034" y="94825"/>
                  </a:cubicBezTo>
                  <a:cubicBezTo>
                    <a:pt x="1236360" y="100384"/>
                    <a:pt x="1240412" y="107617"/>
                    <a:pt x="1243189" y="116532"/>
                  </a:cubicBezTo>
                  <a:cubicBezTo>
                    <a:pt x="1245966" y="125331"/>
                    <a:pt x="1247357" y="136157"/>
                    <a:pt x="1247357" y="149013"/>
                  </a:cubicBezTo>
                  <a:lnTo>
                    <a:pt x="1247357" y="270413"/>
                  </a:lnTo>
                  <a:lnTo>
                    <a:pt x="1205329" y="270413"/>
                  </a:lnTo>
                  <a:lnTo>
                    <a:pt x="1205329" y="148837"/>
                  </a:lnTo>
                  <a:cubicBezTo>
                    <a:pt x="1205329" y="139805"/>
                    <a:pt x="1203996" y="132685"/>
                    <a:pt x="1201336" y="127476"/>
                  </a:cubicBezTo>
                  <a:cubicBezTo>
                    <a:pt x="1198787" y="122150"/>
                    <a:pt x="1195028" y="118385"/>
                    <a:pt x="1190047" y="116187"/>
                  </a:cubicBezTo>
                  <a:cubicBezTo>
                    <a:pt x="1185183" y="113872"/>
                    <a:pt x="1179104" y="112714"/>
                    <a:pt x="1171813" y="112714"/>
                  </a:cubicBezTo>
                  <a:cubicBezTo>
                    <a:pt x="1164522" y="112714"/>
                    <a:pt x="1158209" y="114217"/>
                    <a:pt x="1152533" y="117228"/>
                  </a:cubicBezTo>
                  <a:cubicBezTo>
                    <a:pt x="1146861" y="120238"/>
                    <a:pt x="1142056" y="124348"/>
                    <a:pt x="1138116" y="129557"/>
                  </a:cubicBezTo>
                  <a:cubicBezTo>
                    <a:pt x="1134293" y="134766"/>
                    <a:pt x="1131341" y="140788"/>
                    <a:pt x="1129259" y="147621"/>
                  </a:cubicBezTo>
                  <a:cubicBezTo>
                    <a:pt x="1127178" y="154450"/>
                    <a:pt x="1126132" y="161746"/>
                    <a:pt x="1126132" y="169504"/>
                  </a:cubicBezTo>
                  <a:close/>
                  <a:moveTo>
                    <a:pt x="1346701" y="270418"/>
                  </a:moveTo>
                  <a:lnTo>
                    <a:pt x="1304843" y="270418"/>
                  </a:lnTo>
                  <a:lnTo>
                    <a:pt x="1304843" y="64436"/>
                  </a:lnTo>
                  <a:cubicBezTo>
                    <a:pt x="1304843" y="50428"/>
                    <a:pt x="1307450" y="38672"/>
                    <a:pt x="1312659" y="29178"/>
                  </a:cubicBezTo>
                  <a:cubicBezTo>
                    <a:pt x="1317985" y="19567"/>
                    <a:pt x="1325567" y="12330"/>
                    <a:pt x="1335412" y="7471"/>
                  </a:cubicBezTo>
                  <a:cubicBezTo>
                    <a:pt x="1345256" y="2490"/>
                    <a:pt x="1356890" y="0"/>
                    <a:pt x="1370319" y="0"/>
                  </a:cubicBezTo>
                  <a:cubicBezTo>
                    <a:pt x="1374488" y="0"/>
                    <a:pt x="1378597" y="292"/>
                    <a:pt x="1382649" y="871"/>
                  </a:cubicBezTo>
                  <a:cubicBezTo>
                    <a:pt x="1386701" y="1333"/>
                    <a:pt x="1390640" y="2087"/>
                    <a:pt x="1394458" y="3127"/>
                  </a:cubicBezTo>
                  <a:lnTo>
                    <a:pt x="1393418" y="35433"/>
                  </a:lnTo>
                  <a:cubicBezTo>
                    <a:pt x="1391102" y="34854"/>
                    <a:pt x="1388554" y="34450"/>
                    <a:pt x="1385776" y="34217"/>
                  </a:cubicBezTo>
                  <a:cubicBezTo>
                    <a:pt x="1383116" y="33983"/>
                    <a:pt x="1380217" y="33872"/>
                    <a:pt x="1377095" y="33872"/>
                  </a:cubicBezTo>
                  <a:cubicBezTo>
                    <a:pt x="1370728" y="33872"/>
                    <a:pt x="1365227" y="35088"/>
                    <a:pt x="1360596" y="37519"/>
                  </a:cubicBezTo>
                  <a:cubicBezTo>
                    <a:pt x="1356083" y="39835"/>
                    <a:pt x="1352605" y="43249"/>
                    <a:pt x="1350178" y="47767"/>
                  </a:cubicBezTo>
                  <a:cubicBezTo>
                    <a:pt x="1347863" y="52286"/>
                    <a:pt x="1346706" y="57840"/>
                    <a:pt x="1346706" y="64441"/>
                  </a:cubicBezTo>
                  <a:lnTo>
                    <a:pt x="1346706" y="270423"/>
                  </a:lnTo>
                  <a:close/>
                  <a:moveTo>
                    <a:pt x="1385431" y="82500"/>
                  </a:moveTo>
                  <a:lnTo>
                    <a:pt x="1385431" y="113069"/>
                  </a:lnTo>
                  <a:lnTo>
                    <a:pt x="1276015" y="113069"/>
                  </a:lnTo>
                  <a:lnTo>
                    <a:pt x="1276015" y="82500"/>
                  </a:lnTo>
                  <a:lnTo>
                    <a:pt x="1385431" y="82500"/>
                  </a:lnTo>
                  <a:close/>
                </a:path>
              </a:pathLst>
            </a:custGeom>
            <a:solidFill>
              <a:srgbClr val="EE3431"/>
            </a:solidFill>
            <a:ln w="4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6" name="Полилиния: фигура 45">
              <a:extLst>
                <a:ext uri="{FF2B5EF4-FFF2-40B4-BE49-F238E27FC236}">
                  <a16:creationId xmlns:a16="http://schemas.microsoft.com/office/drawing/2014/main" id="{EB80AEA3-6D76-4813-B83E-E98064CA7762}"/>
                </a:ext>
              </a:extLst>
            </p:cNvPr>
            <p:cNvSpPr/>
            <p:nvPr/>
          </p:nvSpPr>
          <p:spPr>
            <a:xfrm>
              <a:off x="7406975" y="5855999"/>
              <a:ext cx="1394458" cy="273890"/>
            </a:xfrm>
            <a:custGeom>
              <a:avLst/>
              <a:gdLst>
                <a:gd name="connsiteX0" fmla="*/ 157354 w 1394458"/>
                <a:gd name="connsiteY0" fmla="*/ 188093 h 273890"/>
                <a:gd name="connsiteX1" fmla="*/ 200773 w 1394458"/>
                <a:gd name="connsiteY1" fmla="*/ 188093 h 273890"/>
                <a:gd name="connsiteX2" fmla="*/ 186877 w 1394458"/>
                <a:gd name="connsiteY2" fmla="*/ 232383 h 273890"/>
                <a:gd name="connsiteX3" fmla="*/ 153706 w 1394458"/>
                <a:gd name="connsiteY3" fmla="*/ 262777 h 273890"/>
                <a:gd name="connsiteX4" fmla="*/ 101775 w 1394458"/>
                <a:gd name="connsiteY4" fmla="*/ 273891 h 273890"/>
                <a:gd name="connsiteX5" fmla="*/ 59572 w 1394458"/>
                <a:gd name="connsiteY5" fmla="*/ 265554 h 273890"/>
                <a:gd name="connsiteX6" fmla="*/ 27442 w 1394458"/>
                <a:gd name="connsiteY6" fmla="*/ 241585 h 273890"/>
                <a:gd name="connsiteX7" fmla="*/ 6950 w 1394458"/>
                <a:gd name="connsiteY7" fmla="*/ 203901 h 273890"/>
                <a:gd name="connsiteX8" fmla="*/ 0 w 1394458"/>
                <a:gd name="connsiteY8" fmla="*/ 154572 h 273890"/>
                <a:gd name="connsiteX9" fmla="*/ 0 w 1394458"/>
                <a:gd name="connsiteY9" fmla="*/ 133555 h 273890"/>
                <a:gd name="connsiteX10" fmla="*/ 7121 w 1394458"/>
                <a:gd name="connsiteY10" fmla="*/ 84231 h 273890"/>
                <a:gd name="connsiteX11" fmla="*/ 27962 w 1394458"/>
                <a:gd name="connsiteY11" fmla="*/ 46542 h 273890"/>
                <a:gd name="connsiteX12" fmla="*/ 60438 w 1394458"/>
                <a:gd name="connsiteY12" fmla="*/ 22403 h 273890"/>
                <a:gd name="connsiteX13" fmla="*/ 103336 w 1394458"/>
                <a:gd name="connsiteY13" fmla="*/ 14066 h 273890"/>
                <a:gd name="connsiteX14" fmla="*/ 154397 w 1394458"/>
                <a:gd name="connsiteY14" fmla="*/ 25180 h 273890"/>
                <a:gd name="connsiteX15" fmla="*/ 186702 w 1394458"/>
                <a:gd name="connsiteY15" fmla="*/ 55919 h 273890"/>
                <a:gd name="connsiteX16" fmla="*/ 200943 w 1394458"/>
                <a:gd name="connsiteY16" fmla="*/ 100900 h 273890"/>
                <a:gd name="connsiteX17" fmla="*/ 157524 w 1394458"/>
                <a:gd name="connsiteY17" fmla="*/ 100900 h 273890"/>
                <a:gd name="connsiteX18" fmla="*/ 149883 w 1394458"/>
                <a:gd name="connsiteY18" fmla="*/ 72938 h 273890"/>
                <a:gd name="connsiteX19" fmla="*/ 132865 w 1394458"/>
                <a:gd name="connsiteY19" fmla="*/ 55224 h 273890"/>
                <a:gd name="connsiteX20" fmla="*/ 103341 w 1394458"/>
                <a:gd name="connsiteY20" fmla="*/ 48969 h 273890"/>
                <a:gd name="connsiteX21" fmla="*/ 77291 w 1394458"/>
                <a:gd name="connsiteY21" fmla="*/ 54528 h 273890"/>
                <a:gd name="connsiteX22" fmla="*/ 58706 w 1394458"/>
                <a:gd name="connsiteY22" fmla="*/ 70856 h 273890"/>
                <a:gd name="connsiteX23" fmla="*/ 47417 w 1394458"/>
                <a:gd name="connsiteY23" fmla="*/ 97427 h 273890"/>
                <a:gd name="connsiteX24" fmla="*/ 43769 w 1394458"/>
                <a:gd name="connsiteY24" fmla="*/ 133205 h 273890"/>
                <a:gd name="connsiteX25" fmla="*/ 43769 w 1394458"/>
                <a:gd name="connsiteY25" fmla="*/ 154567 h 273890"/>
                <a:gd name="connsiteX26" fmla="*/ 47067 w 1394458"/>
                <a:gd name="connsiteY26" fmla="*/ 189304 h 273890"/>
                <a:gd name="connsiteX27" fmla="*/ 57490 w 1394458"/>
                <a:gd name="connsiteY27" fmla="*/ 215875 h 273890"/>
                <a:gd name="connsiteX28" fmla="*/ 75550 w 1394458"/>
                <a:gd name="connsiteY28" fmla="*/ 233069 h 273890"/>
                <a:gd name="connsiteX29" fmla="*/ 101775 w 1394458"/>
                <a:gd name="connsiteY29" fmla="*/ 239149 h 273890"/>
                <a:gd name="connsiteX30" fmla="*/ 131824 w 1394458"/>
                <a:gd name="connsiteY30" fmla="*/ 233244 h 273890"/>
                <a:gd name="connsiteX31" fmla="*/ 149363 w 1394458"/>
                <a:gd name="connsiteY31" fmla="*/ 216050 h 273890"/>
                <a:gd name="connsiteX32" fmla="*/ 157354 w 1394458"/>
                <a:gd name="connsiteY32" fmla="*/ 188088 h 273890"/>
                <a:gd name="connsiteX33" fmla="*/ 313837 w 1394458"/>
                <a:gd name="connsiteY33" fmla="*/ 270418 h 273890"/>
                <a:gd name="connsiteX34" fmla="*/ 259825 w 1394458"/>
                <a:gd name="connsiteY34" fmla="*/ 270418 h 273890"/>
                <a:gd name="connsiteX35" fmla="*/ 260170 w 1394458"/>
                <a:gd name="connsiteY35" fmla="*/ 235856 h 273890"/>
                <a:gd name="connsiteX36" fmla="*/ 313837 w 1394458"/>
                <a:gd name="connsiteY36" fmla="*/ 235856 h 273890"/>
                <a:gd name="connsiteX37" fmla="*/ 353088 w 1394458"/>
                <a:gd name="connsiteY37" fmla="*/ 225608 h 273890"/>
                <a:gd name="connsiteX38" fmla="*/ 377057 w 1394458"/>
                <a:gd name="connsiteY38" fmla="*/ 196255 h 273890"/>
                <a:gd name="connsiteX39" fmla="*/ 385218 w 1394458"/>
                <a:gd name="connsiteY39" fmla="*/ 150754 h 273890"/>
                <a:gd name="connsiteX40" fmla="*/ 385218 w 1394458"/>
                <a:gd name="connsiteY40" fmla="*/ 137033 h 273890"/>
                <a:gd name="connsiteX41" fmla="*/ 380530 w 1394458"/>
                <a:gd name="connsiteY41" fmla="*/ 100734 h 273890"/>
                <a:gd name="connsiteX42" fmla="*/ 366984 w 1394458"/>
                <a:gd name="connsiteY42" fmla="*/ 74163 h 273890"/>
                <a:gd name="connsiteX43" fmla="*/ 345102 w 1394458"/>
                <a:gd name="connsiteY43" fmla="*/ 57840 h 273890"/>
                <a:gd name="connsiteX44" fmla="*/ 315403 w 1394458"/>
                <a:gd name="connsiteY44" fmla="*/ 52281 h 273890"/>
                <a:gd name="connsiteX45" fmla="*/ 258784 w 1394458"/>
                <a:gd name="connsiteY45" fmla="*/ 52281 h 273890"/>
                <a:gd name="connsiteX46" fmla="*/ 258784 w 1394458"/>
                <a:gd name="connsiteY46" fmla="*/ 17544 h 273890"/>
                <a:gd name="connsiteX47" fmla="*/ 315403 w 1394458"/>
                <a:gd name="connsiteY47" fmla="*/ 17544 h 273890"/>
                <a:gd name="connsiteX48" fmla="*/ 361429 w 1394458"/>
                <a:gd name="connsiteY48" fmla="*/ 26055 h 273890"/>
                <a:gd name="connsiteX49" fmla="*/ 397383 w 1394458"/>
                <a:gd name="connsiteY49" fmla="*/ 50195 h 273890"/>
                <a:gd name="connsiteX50" fmla="*/ 420826 w 1394458"/>
                <a:gd name="connsiteY50" fmla="*/ 88054 h 273890"/>
                <a:gd name="connsiteX51" fmla="*/ 428988 w 1394458"/>
                <a:gd name="connsiteY51" fmla="*/ 137378 h 273890"/>
                <a:gd name="connsiteX52" fmla="*/ 428988 w 1394458"/>
                <a:gd name="connsiteY52" fmla="*/ 150754 h 273890"/>
                <a:gd name="connsiteX53" fmla="*/ 420826 w 1394458"/>
                <a:gd name="connsiteY53" fmla="*/ 200078 h 273890"/>
                <a:gd name="connsiteX54" fmla="*/ 397383 w 1394458"/>
                <a:gd name="connsiteY54" fmla="*/ 237938 h 273890"/>
                <a:gd name="connsiteX55" fmla="*/ 360909 w 1394458"/>
                <a:gd name="connsiteY55" fmla="*/ 262077 h 273890"/>
                <a:gd name="connsiteX56" fmla="*/ 313842 w 1394458"/>
                <a:gd name="connsiteY56" fmla="*/ 270413 h 273890"/>
                <a:gd name="connsiteX57" fmla="*/ 283964 w 1394458"/>
                <a:gd name="connsiteY57" fmla="*/ 17544 h 273890"/>
                <a:gd name="connsiteX58" fmla="*/ 283964 w 1394458"/>
                <a:gd name="connsiteY58" fmla="*/ 270418 h 273890"/>
                <a:gd name="connsiteX59" fmla="*/ 240369 w 1394458"/>
                <a:gd name="connsiteY59" fmla="*/ 270418 h 273890"/>
                <a:gd name="connsiteX60" fmla="*/ 240369 w 1394458"/>
                <a:gd name="connsiteY60" fmla="*/ 17544 h 273890"/>
                <a:gd name="connsiteX61" fmla="*/ 283964 w 1394458"/>
                <a:gd name="connsiteY61" fmla="*/ 17544 h 273890"/>
                <a:gd name="connsiteX62" fmla="*/ 519299 w 1394458"/>
                <a:gd name="connsiteY62" fmla="*/ 17544 h 273890"/>
                <a:gd name="connsiteX63" fmla="*/ 519299 w 1394458"/>
                <a:gd name="connsiteY63" fmla="*/ 270418 h 273890"/>
                <a:gd name="connsiteX64" fmla="*/ 475705 w 1394458"/>
                <a:gd name="connsiteY64" fmla="*/ 270418 h 273890"/>
                <a:gd name="connsiteX65" fmla="*/ 475705 w 1394458"/>
                <a:gd name="connsiteY65" fmla="*/ 17544 h 273890"/>
                <a:gd name="connsiteX66" fmla="*/ 519299 w 1394458"/>
                <a:gd name="connsiteY66" fmla="*/ 17544 h 273890"/>
                <a:gd name="connsiteX67" fmla="*/ 811424 w 1394458"/>
                <a:gd name="connsiteY67" fmla="*/ 188093 h 273890"/>
                <a:gd name="connsiteX68" fmla="*/ 854843 w 1394458"/>
                <a:gd name="connsiteY68" fmla="*/ 188093 h 273890"/>
                <a:gd name="connsiteX69" fmla="*/ 840947 w 1394458"/>
                <a:gd name="connsiteY69" fmla="*/ 232383 h 273890"/>
                <a:gd name="connsiteX70" fmla="*/ 807776 w 1394458"/>
                <a:gd name="connsiteY70" fmla="*/ 262777 h 273890"/>
                <a:gd name="connsiteX71" fmla="*/ 755845 w 1394458"/>
                <a:gd name="connsiteY71" fmla="*/ 273891 h 273890"/>
                <a:gd name="connsiteX72" fmla="*/ 713642 w 1394458"/>
                <a:gd name="connsiteY72" fmla="*/ 265554 h 273890"/>
                <a:gd name="connsiteX73" fmla="*/ 681512 w 1394458"/>
                <a:gd name="connsiteY73" fmla="*/ 241585 h 273890"/>
                <a:gd name="connsiteX74" fmla="*/ 661021 w 1394458"/>
                <a:gd name="connsiteY74" fmla="*/ 203901 h 273890"/>
                <a:gd name="connsiteX75" fmla="*/ 654075 w 1394458"/>
                <a:gd name="connsiteY75" fmla="*/ 154577 h 273890"/>
                <a:gd name="connsiteX76" fmla="*/ 654075 w 1394458"/>
                <a:gd name="connsiteY76" fmla="*/ 133560 h 273890"/>
                <a:gd name="connsiteX77" fmla="*/ 661196 w 1394458"/>
                <a:gd name="connsiteY77" fmla="*/ 84236 h 273890"/>
                <a:gd name="connsiteX78" fmla="*/ 682037 w 1394458"/>
                <a:gd name="connsiteY78" fmla="*/ 46547 h 273890"/>
                <a:gd name="connsiteX79" fmla="*/ 714513 w 1394458"/>
                <a:gd name="connsiteY79" fmla="*/ 22408 h 273890"/>
                <a:gd name="connsiteX80" fmla="*/ 757411 w 1394458"/>
                <a:gd name="connsiteY80" fmla="*/ 14071 h 273890"/>
                <a:gd name="connsiteX81" fmla="*/ 808472 w 1394458"/>
                <a:gd name="connsiteY81" fmla="*/ 25185 h 273890"/>
                <a:gd name="connsiteX82" fmla="*/ 840777 w 1394458"/>
                <a:gd name="connsiteY82" fmla="*/ 55924 h 273890"/>
                <a:gd name="connsiteX83" fmla="*/ 855018 w 1394458"/>
                <a:gd name="connsiteY83" fmla="*/ 100905 h 273890"/>
                <a:gd name="connsiteX84" fmla="*/ 811599 w 1394458"/>
                <a:gd name="connsiteY84" fmla="*/ 100905 h 273890"/>
                <a:gd name="connsiteX85" fmla="*/ 803958 w 1394458"/>
                <a:gd name="connsiteY85" fmla="*/ 72943 h 273890"/>
                <a:gd name="connsiteX86" fmla="*/ 786940 w 1394458"/>
                <a:gd name="connsiteY86" fmla="*/ 55229 h 273890"/>
                <a:gd name="connsiteX87" fmla="*/ 757416 w 1394458"/>
                <a:gd name="connsiteY87" fmla="*/ 48974 h 273890"/>
                <a:gd name="connsiteX88" fmla="*/ 731366 w 1394458"/>
                <a:gd name="connsiteY88" fmla="*/ 54533 h 273890"/>
                <a:gd name="connsiteX89" fmla="*/ 712781 w 1394458"/>
                <a:gd name="connsiteY89" fmla="*/ 70861 h 273890"/>
                <a:gd name="connsiteX90" fmla="*/ 701492 w 1394458"/>
                <a:gd name="connsiteY90" fmla="*/ 97432 h 273890"/>
                <a:gd name="connsiteX91" fmla="*/ 697844 w 1394458"/>
                <a:gd name="connsiteY91" fmla="*/ 133210 h 273890"/>
                <a:gd name="connsiteX92" fmla="*/ 697844 w 1394458"/>
                <a:gd name="connsiteY92" fmla="*/ 154572 h 273890"/>
                <a:gd name="connsiteX93" fmla="*/ 701142 w 1394458"/>
                <a:gd name="connsiteY93" fmla="*/ 189309 h 273890"/>
                <a:gd name="connsiteX94" fmla="*/ 711565 w 1394458"/>
                <a:gd name="connsiteY94" fmla="*/ 215880 h 273890"/>
                <a:gd name="connsiteX95" fmla="*/ 729629 w 1394458"/>
                <a:gd name="connsiteY95" fmla="*/ 233074 h 273890"/>
                <a:gd name="connsiteX96" fmla="*/ 755855 w 1394458"/>
                <a:gd name="connsiteY96" fmla="*/ 239154 h 273890"/>
                <a:gd name="connsiteX97" fmla="*/ 785904 w 1394458"/>
                <a:gd name="connsiteY97" fmla="*/ 233249 h 273890"/>
                <a:gd name="connsiteX98" fmla="*/ 803443 w 1394458"/>
                <a:gd name="connsiteY98" fmla="*/ 216055 h 273890"/>
                <a:gd name="connsiteX99" fmla="*/ 811434 w 1394458"/>
                <a:gd name="connsiteY99" fmla="*/ 188093 h 273890"/>
                <a:gd name="connsiteX100" fmla="*/ 882285 w 1394458"/>
                <a:gd name="connsiteY100" fmla="*/ 178541 h 273890"/>
                <a:gd name="connsiteX101" fmla="*/ 882285 w 1394458"/>
                <a:gd name="connsiteY101" fmla="*/ 174548 h 273890"/>
                <a:gd name="connsiteX102" fmla="*/ 888190 w 1394458"/>
                <a:gd name="connsiteY102" fmla="*/ 136858 h 273890"/>
                <a:gd name="connsiteX103" fmla="*/ 905208 w 1394458"/>
                <a:gd name="connsiteY103" fmla="*/ 106464 h 273890"/>
                <a:gd name="connsiteX104" fmla="*/ 932650 w 1394458"/>
                <a:gd name="connsiteY104" fmla="*/ 86318 h 273890"/>
                <a:gd name="connsiteX105" fmla="*/ 969469 w 1394458"/>
                <a:gd name="connsiteY105" fmla="*/ 79022 h 273890"/>
                <a:gd name="connsiteX106" fmla="*/ 1006288 w 1394458"/>
                <a:gd name="connsiteY106" fmla="*/ 86318 h 273890"/>
                <a:gd name="connsiteX107" fmla="*/ 1033899 w 1394458"/>
                <a:gd name="connsiteY107" fmla="*/ 106464 h 273890"/>
                <a:gd name="connsiteX108" fmla="*/ 1051093 w 1394458"/>
                <a:gd name="connsiteY108" fmla="*/ 136858 h 273890"/>
                <a:gd name="connsiteX109" fmla="*/ 1056998 w 1394458"/>
                <a:gd name="connsiteY109" fmla="*/ 174548 h 273890"/>
                <a:gd name="connsiteX110" fmla="*/ 1056998 w 1394458"/>
                <a:gd name="connsiteY110" fmla="*/ 178541 h 273890"/>
                <a:gd name="connsiteX111" fmla="*/ 1051093 w 1394458"/>
                <a:gd name="connsiteY111" fmla="*/ 216226 h 273890"/>
                <a:gd name="connsiteX112" fmla="*/ 1033899 w 1394458"/>
                <a:gd name="connsiteY112" fmla="*/ 246619 h 273890"/>
                <a:gd name="connsiteX113" fmla="*/ 1006458 w 1394458"/>
                <a:gd name="connsiteY113" fmla="*/ 266765 h 273890"/>
                <a:gd name="connsiteX114" fmla="*/ 969814 w 1394458"/>
                <a:gd name="connsiteY114" fmla="*/ 273886 h 273890"/>
                <a:gd name="connsiteX115" fmla="*/ 932820 w 1394458"/>
                <a:gd name="connsiteY115" fmla="*/ 266765 h 273890"/>
                <a:gd name="connsiteX116" fmla="*/ 905378 w 1394458"/>
                <a:gd name="connsiteY116" fmla="*/ 246619 h 273890"/>
                <a:gd name="connsiteX117" fmla="*/ 888185 w 1394458"/>
                <a:gd name="connsiteY117" fmla="*/ 216226 h 273890"/>
                <a:gd name="connsiteX118" fmla="*/ 882280 w 1394458"/>
                <a:gd name="connsiteY118" fmla="*/ 178541 h 273890"/>
                <a:gd name="connsiteX119" fmla="*/ 924143 w 1394458"/>
                <a:gd name="connsiteY119" fmla="*/ 174548 h 273890"/>
                <a:gd name="connsiteX120" fmla="*/ 924143 w 1394458"/>
                <a:gd name="connsiteY120" fmla="*/ 178541 h 273890"/>
                <a:gd name="connsiteX121" fmla="*/ 926750 w 1394458"/>
                <a:gd name="connsiteY121" fmla="*/ 202510 h 273890"/>
                <a:gd name="connsiteX122" fmla="*/ 934911 w 1394458"/>
                <a:gd name="connsiteY122" fmla="*/ 222310 h 273890"/>
                <a:gd name="connsiteX123" fmla="*/ 949152 w 1394458"/>
                <a:gd name="connsiteY123" fmla="*/ 235681 h 273890"/>
                <a:gd name="connsiteX124" fmla="*/ 969819 w 1394458"/>
                <a:gd name="connsiteY124" fmla="*/ 240545 h 273890"/>
                <a:gd name="connsiteX125" fmla="*/ 989965 w 1394458"/>
                <a:gd name="connsiteY125" fmla="*/ 235681 h 273890"/>
                <a:gd name="connsiteX126" fmla="*/ 1004206 w 1394458"/>
                <a:gd name="connsiteY126" fmla="*/ 222310 h 273890"/>
                <a:gd name="connsiteX127" fmla="*/ 1012367 w 1394458"/>
                <a:gd name="connsiteY127" fmla="*/ 202510 h 273890"/>
                <a:gd name="connsiteX128" fmla="*/ 1015145 w 1394458"/>
                <a:gd name="connsiteY128" fmla="*/ 178541 h 273890"/>
                <a:gd name="connsiteX129" fmla="*/ 1015145 w 1394458"/>
                <a:gd name="connsiteY129" fmla="*/ 174548 h 273890"/>
                <a:gd name="connsiteX130" fmla="*/ 1012367 w 1394458"/>
                <a:gd name="connsiteY130" fmla="*/ 150929 h 273890"/>
                <a:gd name="connsiteX131" fmla="*/ 1004031 w 1394458"/>
                <a:gd name="connsiteY131" fmla="*/ 130958 h 273890"/>
                <a:gd name="connsiteX132" fmla="*/ 989790 w 1394458"/>
                <a:gd name="connsiteY132" fmla="*/ 117412 h 273890"/>
                <a:gd name="connsiteX133" fmla="*/ 969469 w 1394458"/>
                <a:gd name="connsiteY133" fmla="*/ 112373 h 273890"/>
                <a:gd name="connsiteX134" fmla="*/ 948977 w 1394458"/>
                <a:gd name="connsiteY134" fmla="*/ 117412 h 273890"/>
                <a:gd name="connsiteX135" fmla="*/ 934911 w 1394458"/>
                <a:gd name="connsiteY135" fmla="*/ 130958 h 273890"/>
                <a:gd name="connsiteX136" fmla="*/ 926750 w 1394458"/>
                <a:gd name="connsiteY136" fmla="*/ 150929 h 273890"/>
                <a:gd name="connsiteX137" fmla="*/ 924143 w 1394458"/>
                <a:gd name="connsiteY137" fmla="*/ 174548 h 273890"/>
                <a:gd name="connsiteX138" fmla="*/ 1133598 w 1394458"/>
                <a:gd name="connsiteY138" fmla="*/ 122617 h 273890"/>
                <a:gd name="connsiteX139" fmla="*/ 1133598 w 1394458"/>
                <a:gd name="connsiteY139" fmla="*/ 270418 h 273890"/>
                <a:gd name="connsiteX140" fmla="*/ 1091745 w 1394458"/>
                <a:gd name="connsiteY140" fmla="*/ 270418 h 273890"/>
                <a:gd name="connsiteX141" fmla="*/ 1091745 w 1394458"/>
                <a:gd name="connsiteY141" fmla="*/ 82495 h 273890"/>
                <a:gd name="connsiteX142" fmla="*/ 1131171 w 1394458"/>
                <a:gd name="connsiteY142" fmla="*/ 82495 h 273890"/>
                <a:gd name="connsiteX143" fmla="*/ 1133603 w 1394458"/>
                <a:gd name="connsiteY143" fmla="*/ 122617 h 273890"/>
                <a:gd name="connsiteX144" fmla="*/ 1126132 w 1394458"/>
                <a:gd name="connsiteY144" fmla="*/ 169509 h 273890"/>
                <a:gd name="connsiteX145" fmla="*/ 1112586 w 1394458"/>
                <a:gd name="connsiteY145" fmla="*/ 169334 h 273890"/>
                <a:gd name="connsiteX146" fmla="*/ 1118145 w 1394458"/>
                <a:gd name="connsiteY146" fmla="*/ 132690 h 273890"/>
                <a:gd name="connsiteX147" fmla="*/ 1133428 w 1394458"/>
                <a:gd name="connsiteY147" fmla="*/ 104032 h 273890"/>
                <a:gd name="connsiteX148" fmla="*/ 1157046 w 1394458"/>
                <a:gd name="connsiteY148" fmla="*/ 85623 h 273890"/>
                <a:gd name="connsiteX149" fmla="*/ 1187615 w 1394458"/>
                <a:gd name="connsiteY149" fmla="*/ 79022 h 273890"/>
                <a:gd name="connsiteX150" fmla="*/ 1212105 w 1394458"/>
                <a:gd name="connsiteY150" fmla="*/ 82840 h 273890"/>
                <a:gd name="connsiteX151" fmla="*/ 1231034 w 1394458"/>
                <a:gd name="connsiteY151" fmla="*/ 94825 h 273890"/>
                <a:gd name="connsiteX152" fmla="*/ 1243189 w 1394458"/>
                <a:gd name="connsiteY152" fmla="*/ 116532 h 273890"/>
                <a:gd name="connsiteX153" fmla="*/ 1247357 w 1394458"/>
                <a:gd name="connsiteY153" fmla="*/ 149008 h 273890"/>
                <a:gd name="connsiteX154" fmla="*/ 1247357 w 1394458"/>
                <a:gd name="connsiteY154" fmla="*/ 270408 h 273890"/>
                <a:gd name="connsiteX155" fmla="*/ 1205329 w 1394458"/>
                <a:gd name="connsiteY155" fmla="*/ 270408 h 273890"/>
                <a:gd name="connsiteX156" fmla="*/ 1205329 w 1394458"/>
                <a:gd name="connsiteY156" fmla="*/ 148833 h 273890"/>
                <a:gd name="connsiteX157" fmla="*/ 1201336 w 1394458"/>
                <a:gd name="connsiteY157" fmla="*/ 127471 h 273890"/>
                <a:gd name="connsiteX158" fmla="*/ 1190047 w 1394458"/>
                <a:gd name="connsiteY158" fmla="*/ 116182 h 273890"/>
                <a:gd name="connsiteX159" fmla="*/ 1171813 w 1394458"/>
                <a:gd name="connsiteY159" fmla="*/ 112709 h 273890"/>
                <a:gd name="connsiteX160" fmla="*/ 1152533 w 1394458"/>
                <a:gd name="connsiteY160" fmla="*/ 117223 h 273890"/>
                <a:gd name="connsiteX161" fmla="*/ 1138116 w 1394458"/>
                <a:gd name="connsiteY161" fmla="*/ 129552 h 273890"/>
                <a:gd name="connsiteX162" fmla="*/ 1129259 w 1394458"/>
                <a:gd name="connsiteY162" fmla="*/ 147617 h 273890"/>
                <a:gd name="connsiteX163" fmla="*/ 1126132 w 1394458"/>
                <a:gd name="connsiteY163" fmla="*/ 169499 h 273890"/>
                <a:gd name="connsiteX164" fmla="*/ 1346701 w 1394458"/>
                <a:gd name="connsiteY164" fmla="*/ 270418 h 273890"/>
                <a:gd name="connsiteX165" fmla="*/ 1304843 w 1394458"/>
                <a:gd name="connsiteY165" fmla="*/ 270418 h 273890"/>
                <a:gd name="connsiteX166" fmla="*/ 1304843 w 1394458"/>
                <a:gd name="connsiteY166" fmla="*/ 64436 h 273890"/>
                <a:gd name="connsiteX167" fmla="*/ 1312659 w 1394458"/>
                <a:gd name="connsiteY167" fmla="*/ 29178 h 273890"/>
                <a:gd name="connsiteX168" fmla="*/ 1335412 w 1394458"/>
                <a:gd name="connsiteY168" fmla="*/ 7471 h 273890"/>
                <a:gd name="connsiteX169" fmla="*/ 1370319 w 1394458"/>
                <a:gd name="connsiteY169" fmla="*/ 0 h 273890"/>
                <a:gd name="connsiteX170" fmla="*/ 1382649 w 1394458"/>
                <a:gd name="connsiteY170" fmla="*/ 871 h 273890"/>
                <a:gd name="connsiteX171" fmla="*/ 1394458 w 1394458"/>
                <a:gd name="connsiteY171" fmla="*/ 3127 h 273890"/>
                <a:gd name="connsiteX172" fmla="*/ 1393418 w 1394458"/>
                <a:gd name="connsiteY172" fmla="*/ 35433 h 273890"/>
                <a:gd name="connsiteX173" fmla="*/ 1385776 w 1394458"/>
                <a:gd name="connsiteY173" fmla="*/ 34217 h 273890"/>
                <a:gd name="connsiteX174" fmla="*/ 1377095 w 1394458"/>
                <a:gd name="connsiteY174" fmla="*/ 33867 h 273890"/>
                <a:gd name="connsiteX175" fmla="*/ 1360596 w 1394458"/>
                <a:gd name="connsiteY175" fmla="*/ 37515 h 273890"/>
                <a:gd name="connsiteX176" fmla="*/ 1350178 w 1394458"/>
                <a:gd name="connsiteY176" fmla="*/ 47763 h 273890"/>
                <a:gd name="connsiteX177" fmla="*/ 1346706 w 1394458"/>
                <a:gd name="connsiteY177" fmla="*/ 64436 h 273890"/>
                <a:gd name="connsiteX178" fmla="*/ 1346706 w 1394458"/>
                <a:gd name="connsiteY178" fmla="*/ 270418 h 273890"/>
                <a:gd name="connsiteX179" fmla="*/ 1385431 w 1394458"/>
                <a:gd name="connsiteY179" fmla="*/ 82500 h 273890"/>
                <a:gd name="connsiteX180" fmla="*/ 1385431 w 1394458"/>
                <a:gd name="connsiteY180" fmla="*/ 113069 h 273890"/>
                <a:gd name="connsiteX181" fmla="*/ 1276015 w 1394458"/>
                <a:gd name="connsiteY181" fmla="*/ 113069 h 273890"/>
                <a:gd name="connsiteX182" fmla="*/ 1276015 w 1394458"/>
                <a:gd name="connsiteY182" fmla="*/ 82500 h 273890"/>
                <a:gd name="connsiteX183" fmla="*/ 1385431 w 1394458"/>
                <a:gd name="connsiteY183" fmla="*/ 82500 h 2738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</a:cxnLst>
              <a:rect l="l" t="t" r="r" b="b"/>
              <a:pathLst>
                <a:path w="1394458" h="273890">
                  <a:moveTo>
                    <a:pt x="157354" y="188093"/>
                  </a:moveTo>
                  <a:lnTo>
                    <a:pt x="200773" y="188093"/>
                  </a:lnTo>
                  <a:cubicBezTo>
                    <a:pt x="199382" y="204650"/>
                    <a:pt x="194752" y="219411"/>
                    <a:pt x="186877" y="232383"/>
                  </a:cubicBezTo>
                  <a:cubicBezTo>
                    <a:pt x="179003" y="245233"/>
                    <a:pt x="167947" y="255365"/>
                    <a:pt x="153706" y="262777"/>
                  </a:cubicBezTo>
                  <a:cubicBezTo>
                    <a:pt x="139465" y="270185"/>
                    <a:pt x="122155" y="273891"/>
                    <a:pt x="101775" y="273891"/>
                  </a:cubicBezTo>
                  <a:cubicBezTo>
                    <a:pt x="86143" y="273891"/>
                    <a:pt x="72077" y="271114"/>
                    <a:pt x="59572" y="265554"/>
                  </a:cubicBezTo>
                  <a:cubicBezTo>
                    <a:pt x="47067" y="259878"/>
                    <a:pt x="36357" y="251892"/>
                    <a:pt x="27442" y="241585"/>
                  </a:cubicBezTo>
                  <a:cubicBezTo>
                    <a:pt x="18526" y="231167"/>
                    <a:pt x="11697" y="218604"/>
                    <a:pt x="6950" y="203901"/>
                  </a:cubicBezTo>
                  <a:cubicBezTo>
                    <a:pt x="2315" y="189192"/>
                    <a:pt x="0" y="172753"/>
                    <a:pt x="0" y="154572"/>
                  </a:cubicBezTo>
                  <a:lnTo>
                    <a:pt x="0" y="133555"/>
                  </a:lnTo>
                  <a:cubicBezTo>
                    <a:pt x="0" y="115379"/>
                    <a:pt x="2374" y="98935"/>
                    <a:pt x="7121" y="84231"/>
                  </a:cubicBezTo>
                  <a:cubicBezTo>
                    <a:pt x="11984" y="69528"/>
                    <a:pt x="18930" y="56965"/>
                    <a:pt x="27962" y="46542"/>
                  </a:cubicBezTo>
                  <a:cubicBezTo>
                    <a:pt x="36994" y="36007"/>
                    <a:pt x="47816" y="27957"/>
                    <a:pt x="60438" y="22403"/>
                  </a:cubicBezTo>
                  <a:cubicBezTo>
                    <a:pt x="73171" y="16843"/>
                    <a:pt x="87471" y="14066"/>
                    <a:pt x="103336" y="14066"/>
                  </a:cubicBezTo>
                  <a:cubicBezTo>
                    <a:pt x="123482" y="14066"/>
                    <a:pt x="140506" y="17772"/>
                    <a:pt x="154397" y="25180"/>
                  </a:cubicBezTo>
                  <a:cubicBezTo>
                    <a:pt x="168293" y="32592"/>
                    <a:pt x="179056" y="42836"/>
                    <a:pt x="186702" y="55919"/>
                  </a:cubicBezTo>
                  <a:cubicBezTo>
                    <a:pt x="194460" y="69003"/>
                    <a:pt x="199207" y="83998"/>
                    <a:pt x="200943" y="100900"/>
                  </a:cubicBezTo>
                  <a:lnTo>
                    <a:pt x="157524" y="100900"/>
                  </a:lnTo>
                  <a:cubicBezTo>
                    <a:pt x="156367" y="90015"/>
                    <a:pt x="153818" y="80695"/>
                    <a:pt x="149883" y="72938"/>
                  </a:cubicBezTo>
                  <a:cubicBezTo>
                    <a:pt x="146065" y="65180"/>
                    <a:pt x="140389" y="59275"/>
                    <a:pt x="132865" y="55224"/>
                  </a:cubicBezTo>
                  <a:cubicBezTo>
                    <a:pt x="125340" y="51055"/>
                    <a:pt x="115496" y="48969"/>
                    <a:pt x="103341" y="48969"/>
                  </a:cubicBezTo>
                  <a:cubicBezTo>
                    <a:pt x="93385" y="48969"/>
                    <a:pt x="84698" y="50822"/>
                    <a:pt x="77291" y="54528"/>
                  </a:cubicBezTo>
                  <a:cubicBezTo>
                    <a:pt x="69878" y="58234"/>
                    <a:pt x="63687" y="63677"/>
                    <a:pt x="58706" y="70856"/>
                  </a:cubicBezTo>
                  <a:cubicBezTo>
                    <a:pt x="53730" y="78035"/>
                    <a:pt x="49966" y="86892"/>
                    <a:pt x="47417" y="97427"/>
                  </a:cubicBezTo>
                  <a:cubicBezTo>
                    <a:pt x="44985" y="107845"/>
                    <a:pt x="43769" y="119771"/>
                    <a:pt x="43769" y="133205"/>
                  </a:cubicBezTo>
                  <a:lnTo>
                    <a:pt x="43769" y="154567"/>
                  </a:lnTo>
                  <a:cubicBezTo>
                    <a:pt x="43769" y="167305"/>
                    <a:pt x="44869" y="178881"/>
                    <a:pt x="47067" y="189304"/>
                  </a:cubicBezTo>
                  <a:cubicBezTo>
                    <a:pt x="49382" y="199611"/>
                    <a:pt x="52855" y="208468"/>
                    <a:pt x="57490" y="215875"/>
                  </a:cubicBezTo>
                  <a:cubicBezTo>
                    <a:pt x="62237" y="223288"/>
                    <a:pt x="68259" y="229017"/>
                    <a:pt x="75550" y="233069"/>
                  </a:cubicBezTo>
                  <a:cubicBezTo>
                    <a:pt x="82845" y="237120"/>
                    <a:pt x="91585" y="239149"/>
                    <a:pt x="101775" y="239149"/>
                  </a:cubicBezTo>
                  <a:cubicBezTo>
                    <a:pt x="114163" y="239149"/>
                    <a:pt x="124178" y="237179"/>
                    <a:pt x="131824" y="233244"/>
                  </a:cubicBezTo>
                  <a:cubicBezTo>
                    <a:pt x="139582" y="229304"/>
                    <a:pt x="145428" y="223575"/>
                    <a:pt x="149363" y="216050"/>
                  </a:cubicBezTo>
                  <a:cubicBezTo>
                    <a:pt x="153414" y="208409"/>
                    <a:pt x="156080" y="199090"/>
                    <a:pt x="157354" y="188088"/>
                  </a:cubicBezTo>
                  <a:close/>
                  <a:moveTo>
                    <a:pt x="313837" y="270418"/>
                  </a:moveTo>
                  <a:lnTo>
                    <a:pt x="259825" y="270418"/>
                  </a:lnTo>
                  <a:lnTo>
                    <a:pt x="260170" y="235856"/>
                  </a:lnTo>
                  <a:lnTo>
                    <a:pt x="313837" y="235856"/>
                  </a:lnTo>
                  <a:cubicBezTo>
                    <a:pt x="329469" y="235856"/>
                    <a:pt x="342553" y="232441"/>
                    <a:pt x="353088" y="225608"/>
                  </a:cubicBezTo>
                  <a:cubicBezTo>
                    <a:pt x="363740" y="218779"/>
                    <a:pt x="371731" y="208993"/>
                    <a:pt x="377057" y="196255"/>
                  </a:cubicBezTo>
                  <a:cubicBezTo>
                    <a:pt x="382499" y="183516"/>
                    <a:pt x="385218" y="168351"/>
                    <a:pt x="385218" y="150754"/>
                  </a:cubicBezTo>
                  <a:lnTo>
                    <a:pt x="385218" y="137033"/>
                  </a:lnTo>
                  <a:cubicBezTo>
                    <a:pt x="385218" y="123371"/>
                    <a:pt x="383657" y="111269"/>
                    <a:pt x="380530" y="100734"/>
                  </a:cubicBezTo>
                  <a:cubicBezTo>
                    <a:pt x="377519" y="90199"/>
                    <a:pt x="373005" y="81342"/>
                    <a:pt x="366984" y="74163"/>
                  </a:cubicBezTo>
                  <a:cubicBezTo>
                    <a:pt x="361079" y="66984"/>
                    <a:pt x="353784" y="61542"/>
                    <a:pt x="345102" y="57840"/>
                  </a:cubicBezTo>
                  <a:cubicBezTo>
                    <a:pt x="336532" y="54134"/>
                    <a:pt x="326634" y="52281"/>
                    <a:pt x="315403" y="52281"/>
                  </a:cubicBezTo>
                  <a:lnTo>
                    <a:pt x="258784" y="52281"/>
                  </a:lnTo>
                  <a:lnTo>
                    <a:pt x="258784" y="17544"/>
                  </a:lnTo>
                  <a:lnTo>
                    <a:pt x="315403" y="17544"/>
                  </a:lnTo>
                  <a:cubicBezTo>
                    <a:pt x="332193" y="17544"/>
                    <a:pt x="347534" y="20379"/>
                    <a:pt x="361429" y="26055"/>
                  </a:cubicBezTo>
                  <a:cubicBezTo>
                    <a:pt x="375325" y="31615"/>
                    <a:pt x="387310" y="39660"/>
                    <a:pt x="397383" y="50195"/>
                  </a:cubicBezTo>
                  <a:cubicBezTo>
                    <a:pt x="407572" y="60730"/>
                    <a:pt x="415389" y="73351"/>
                    <a:pt x="420826" y="88054"/>
                  </a:cubicBezTo>
                  <a:cubicBezTo>
                    <a:pt x="426269" y="102758"/>
                    <a:pt x="428988" y="119202"/>
                    <a:pt x="428988" y="137378"/>
                  </a:cubicBezTo>
                  <a:lnTo>
                    <a:pt x="428988" y="150754"/>
                  </a:lnTo>
                  <a:cubicBezTo>
                    <a:pt x="428988" y="168930"/>
                    <a:pt x="426269" y="185374"/>
                    <a:pt x="420826" y="200078"/>
                  </a:cubicBezTo>
                  <a:cubicBezTo>
                    <a:pt x="415384" y="214781"/>
                    <a:pt x="407568" y="227403"/>
                    <a:pt x="397383" y="237938"/>
                  </a:cubicBezTo>
                  <a:cubicBezTo>
                    <a:pt x="387193" y="248356"/>
                    <a:pt x="375038" y="256405"/>
                    <a:pt x="360909" y="262077"/>
                  </a:cubicBezTo>
                  <a:cubicBezTo>
                    <a:pt x="346896" y="267636"/>
                    <a:pt x="331211" y="270413"/>
                    <a:pt x="313842" y="270413"/>
                  </a:cubicBezTo>
                  <a:close/>
                  <a:moveTo>
                    <a:pt x="283964" y="17544"/>
                  </a:moveTo>
                  <a:lnTo>
                    <a:pt x="283964" y="270418"/>
                  </a:lnTo>
                  <a:lnTo>
                    <a:pt x="240369" y="270418"/>
                  </a:lnTo>
                  <a:lnTo>
                    <a:pt x="240369" y="17544"/>
                  </a:lnTo>
                  <a:lnTo>
                    <a:pt x="283964" y="17544"/>
                  </a:lnTo>
                  <a:close/>
                  <a:moveTo>
                    <a:pt x="519299" y="17544"/>
                  </a:moveTo>
                  <a:lnTo>
                    <a:pt x="519299" y="270418"/>
                  </a:lnTo>
                  <a:lnTo>
                    <a:pt x="475705" y="270418"/>
                  </a:lnTo>
                  <a:lnTo>
                    <a:pt x="475705" y="17544"/>
                  </a:lnTo>
                  <a:lnTo>
                    <a:pt x="519299" y="17544"/>
                  </a:lnTo>
                  <a:close/>
                  <a:moveTo>
                    <a:pt x="811424" y="188093"/>
                  </a:moveTo>
                  <a:lnTo>
                    <a:pt x="854843" y="188093"/>
                  </a:lnTo>
                  <a:cubicBezTo>
                    <a:pt x="853452" y="204650"/>
                    <a:pt x="848822" y="219411"/>
                    <a:pt x="840947" y="232383"/>
                  </a:cubicBezTo>
                  <a:cubicBezTo>
                    <a:pt x="833073" y="245233"/>
                    <a:pt x="822017" y="255365"/>
                    <a:pt x="807776" y="262777"/>
                  </a:cubicBezTo>
                  <a:cubicBezTo>
                    <a:pt x="793535" y="270185"/>
                    <a:pt x="776225" y="273891"/>
                    <a:pt x="755845" y="273891"/>
                  </a:cubicBezTo>
                  <a:cubicBezTo>
                    <a:pt x="740213" y="273891"/>
                    <a:pt x="726147" y="271114"/>
                    <a:pt x="713642" y="265554"/>
                  </a:cubicBezTo>
                  <a:cubicBezTo>
                    <a:pt x="701137" y="259878"/>
                    <a:pt x="690427" y="251892"/>
                    <a:pt x="681512" y="241585"/>
                  </a:cubicBezTo>
                  <a:cubicBezTo>
                    <a:pt x="672596" y="231167"/>
                    <a:pt x="665768" y="218604"/>
                    <a:pt x="661021" y="203901"/>
                  </a:cubicBezTo>
                  <a:cubicBezTo>
                    <a:pt x="656390" y="189197"/>
                    <a:pt x="654075" y="172753"/>
                    <a:pt x="654075" y="154577"/>
                  </a:cubicBezTo>
                  <a:lnTo>
                    <a:pt x="654075" y="133560"/>
                  </a:lnTo>
                  <a:cubicBezTo>
                    <a:pt x="654075" y="115384"/>
                    <a:pt x="656449" y="98940"/>
                    <a:pt x="661196" y="84236"/>
                  </a:cubicBezTo>
                  <a:cubicBezTo>
                    <a:pt x="666059" y="69533"/>
                    <a:pt x="673005" y="56970"/>
                    <a:pt x="682037" y="46547"/>
                  </a:cubicBezTo>
                  <a:cubicBezTo>
                    <a:pt x="691069" y="36012"/>
                    <a:pt x="701891" y="27962"/>
                    <a:pt x="714513" y="22408"/>
                  </a:cubicBezTo>
                  <a:cubicBezTo>
                    <a:pt x="727246" y="16848"/>
                    <a:pt x="741546" y="14071"/>
                    <a:pt x="757411" y="14071"/>
                  </a:cubicBezTo>
                  <a:cubicBezTo>
                    <a:pt x="777557" y="14071"/>
                    <a:pt x="794581" y="17777"/>
                    <a:pt x="808472" y="25185"/>
                  </a:cubicBezTo>
                  <a:cubicBezTo>
                    <a:pt x="822368" y="32597"/>
                    <a:pt x="833131" y="42840"/>
                    <a:pt x="840777" y="55924"/>
                  </a:cubicBezTo>
                  <a:cubicBezTo>
                    <a:pt x="848535" y="69008"/>
                    <a:pt x="853282" y="84003"/>
                    <a:pt x="855018" y="100905"/>
                  </a:cubicBezTo>
                  <a:lnTo>
                    <a:pt x="811599" y="100905"/>
                  </a:lnTo>
                  <a:cubicBezTo>
                    <a:pt x="810442" y="90019"/>
                    <a:pt x="807893" y="80700"/>
                    <a:pt x="803958" y="72943"/>
                  </a:cubicBezTo>
                  <a:cubicBezTo>
                    <a:pt x="800140" y="65185"/>
                    <a:pt x="794464" y="59280"/>
                    <a:pt x="786940" y="55229"/>
                  </a:cubicBezTo>
                  <a:cubicBezTo>
                    <a:pt x="779415" y="51060"/>
                    <a:pt x="769571" y="48974"/>
                    <a:pt x="757416" y="48974"/>
                  </a:cubicBezTo>
                  <a:cubicBezTo>
                    <a:pt x="747460" y="48974"/>
                    <a:pt x="738773" y="50827"/>
                    <a:pt x="731366" y="54533"/>
                  </a:cubicBezTo>
                  <a:cubicBezTo>
                    <a:pt x="723953" y="58239"/>
                    <a:pt x="717762" y="63682"/>
                    <a:pt x="712781" y="70861"/>
                  </a:cubicBezTo>
                  <a:cubicBezTo>
                    <a:pt x="707801" y="78040"/>
                    <a:pt x="704041" y="86897"/>
                    <a:pt x="701492" y="97432"/>
                  </a:cubicBezTo>
                  <a:cubicBezTo>
                    <a:pt x="699060" y="107850"/>
                    <a:pt x="697844" y="119776"/>
                    <a:pt x="697844" y="133210"/>
                  </a:cubicBezTo>
                  <a:lnTo>
                    <a:pt x="697844" y="154572"/>
                  </a:lnTo>
                  <a:cubicBezTo>
                    <a:pt x="697844" y="167310"/>
                    <a:pt x="698944" y="178886"/>
                    <a:pt x="701142" y="189309"/>
                  </a:cubicBezTo>
                  <a:cubicBezTo>
                    <a:pt x="703457" y="199616"/>
                    <a:pt x="706930" y="208473"/>
                    <a:pt x="711565" y="215880"/>
                  </a:cubicBezTo>
                  <a:cubicBezTo>
                    <a:pt x="716312" y="223293"/>
                    <a:pt x="722334" y="229022"/>
                    <a:pt x="729629" y="233074"/>
                  </a:cubicBezTo>
                  <a:cubicBezTo>
                    <a:pt x="736925" y="237125"/>
                    <a:pt x="745665" y="239154"/>
                    <a:pt x="755855" y="239154"/>
                  </a:cubicBezTo>
                  <a:cubicBezTo>
                    <a:pt x="768243" y="239154"/>
                    <a:pt x="778258" y="237184"/>
                    <a:pt x="785904" y="233249"/>
                  </a:cubicBezTo>
                  <a:cubicBezTo>
                    <a:pt x="793661" y="229309"/>
                    <a:pt x="799508" y="223580"/>
                    <a:pt x="803443" y="216055"/>
                  </a:cubicBezTo>
                  <a:cubicBezTo>
                    <a:pt x="807494" y="208414"/>
                    <a:pt x="810159" y="199095"/>
                    <a:pt x="811434" y="188093"/>
                  </a:cubicBezTo>
                  <a:close/>
                  <a:moveTo>
                    <a:pt x="882285" y="178541"/>
                  </a:moveTo>
                  <a:lnTo>
                    <a:pt x="882285" y="174548"/>
                  </a:lnTo>
                  <a:cubicBezTo>
                    <a:pt x="882285" y="161002"/>
                    <a:pt x="884255" y="148439"/>
                    <a:pt x="888190" y="136858"/>
                  </a:cubicBezTo>
                  <a:cubicBezTo>
                    <a:pt x="892124" y="125165"/>
                    <a:pt x="897800" y="115034"/>
                    <a:pt x="905208" y="106464"/>
                  </a:cubicBezTo>
                  <a:cubicBezTo>
                    <a:pt x="912732" y="97782"/>
                    <a:pt x="921881" y="91065"/>
                    <a:pt x="932650" y="86318"/>
                  </a:cubicBezTo>
                  <a:cubicBezTo>
                    <a:pt x="943535" y="81454"/>
                    <a:pt x="955806" y="79022"/>
                    <a:pt x="969469" y="79022"/>
                  </a:cubicBezTo>
                  <a:cubicBezTo>
                    <a:pt x="983131" y="79022"/>
                    <a:pt x="995519" y="81454"/>
                    <a:pt x="1006288" y="86318"/>
                  </a:cubicBezTo>
                  <a:cubicBezTo>
                    <a:pt x="1017173" y="91065"/>
                    <a:pt x="1026375" y="97782"/>
                    <a:pt x="1033899" y="106464"/>
                  </a:cubicBezTo>
                  <a:cubicBezTo>
                    <a:pt x="1041424" y="115034"/>
                    <a:pt x="1047158" y="125165"/>
                    <a:pt x="1051093" y="136858"/>
                  </a:cubicBezTo>
                  <a:cubicBezTo>
                    <a:pt x="1055028" y="148434"/>
                    <a:pt x="1056998" y="160997"/>
                    <a:pt x="1056998" y="174548"/>
                  </a:cubicBezTo>
                  <a:lnTo>
                    <a:pt x="1056998" y="178541"/>
                  </a:lnTo>
                  <a:cubicBezTo>
                    <a:pt x="1056998" y="192086"/>
                    <a:pt x="1055028" y="204650"/>
                    <a:pt x="1051093" y="216226"/>
                  </a:cubicBezTo>
                  <a:cubicBezTo>
                    <a:pt x="1047153" y="227806"/>
                    <a:pt x="1041424" y="237938"/>
                    <a:pt x="1033899" y="246619"/>
                  </a:cubicBezTo>
                  <a:cubicBezTo>
                    <a:pt x="1026375" y="255189"/>
                    <a:pt x="1017226" y="261902"/>
                    <a:pt x="1006458" y="266765"/>
                  </a:cubicBezTo>
                  <a:cubicBezTo>
                    <a:pt x="995689" y="271512"/>
                    <a:pt x="983476" y="273886"/>
                    <a:pt x="969814" y="273886"/>
                  </a:cubicBezTo>
                  <a:cubicBezTo>
                    <a:pt x="956151" y="273886"/>
                    <a:pt x="943705" y="271512"/>
                    <a:pt x="932820" y="266765"/>
                  </a:cubicBezTo>
                  <a:cubicBezTo>
                    <a:pt x="922051" y="261902"/>
                    <a:pt x="912907" y="255189"/>
                    <a:pt x="905378" y="246619"/>
                  </a:cubicBezTo>
                  <a:cubicBezTo>
                    <a:pt x="897854" y="237938"/>
                    <a:pt x="892119" y="227806"/>
                    <a:pt x="888185" y="216226"/>
                  </a:cubicBezTo>
                  <a:cubicBezTo>
                    <a:pt x="884245" y="204650"/>
                    <a:pt x="882280" y="192086"/>
                    <a:pt x="882280" y="178541"/>
                  </a:cubicBezTo>
                  <a:close/>
                  <a:moveTo>
                    <a:pt x="924143" y="174548"/>
                  </a:moveTo>
                  <a:lnTo>
                    <a:pt x="924143" y="178541"/>
                  </a:lnTo>
                  <a:cubicBezTo>
                    <a:pt x="924143" y="186994"/>
                    <a:pt x="925013" y="194980"/>
                    <a:pt x="926750" y="202510"/>
                  </a:cubicBezTo>
                  <a:cubicBezTo>
                    <a:pt x="928486" y="210034"/>
                    <a:pt x="931210" y="216634"/>
                    <a:pt x="934911" y="222310"/>
                  </a:cubicBezTo>
                  <a:cubicBezTo>
                    <a:pt x="938617" y="227981"/>
                    <a:pt x="943365" y="232441"/>
                    <a:pt x="949152" y="235681"/>
                  </a:cubicBezTo>
                  <a:cubicBezTo>
                    <a:pt x="954940" y="238925"/>
                    <a:pt x="961832" y="240545"/>
                    <a:pt x="969819" y="240545"/>
                  </a:cubicBezTo>
                  <a:cubicBezTo>
                    <a:pt x="977805" y="240545"/>
                    <a:pt x="984293" y="238925"/>
                    <a:pt x="989965" y="235681"/>
                  </a:cubicBezTo>
                  <a:cubicBezTo>
                    <a:pt x="995753" y="232441"/>
                    <a:pt x="1000500" y="227981"/>
                    <a:pt x="1004206" y="222310"/>
                  </a:cubicBezTo>
                  <a:cubicBezTo>
                    <a:pt x="1007912" y="216634"/>
                    <a:pt x="1010631" y="210039"/>
                    <a:pt x="1012367" y="202510"/>
                  </a:cubicBezTo>
                  <a:cubicBezTo>
                    <a:pt x="1014220" y="194985"/>
                    <a:pt x="1015145" y="186994"/>
                    <a:pt x="1015145" y="178541"/>
                  </a:cubicBezTo>
                  <a:lnTo>
                    <a:pt x="1015145" y="174548"/>
                  </a:lnTo>
                  <a:cubicBezTo>
                    <a:pt x="1015145" y="166211"/>
                    <a:pt x="1014220" y="158336"/>
                    <a:pt x="1012367" y="150929"/>
                  </a:cubicBezTo>
                  <a:cubicBezTo>
                    <a:pt x="1010631" y="143405"/>
                    <a:pt x="1007854" y="136746"/>
                    <a:pt x="1004031" y="130958"/>
                  </a:cubicBezTo>
                  <a:cubicBezTo>
                    <a:pt x="1000325" y="125170"/>
                    <a:pt x="995578" y="120652"/>
                    <a:pt x="989790" y="117412"/>
                  </a:cubicBezTo>
                  <a:cubicBezTo>
                    <a:pt x="984118" y="114056"/>
                    <a:pt x="977343" y="112373"/>
                    <a:pt x="969469" y="112373"/>
                  </a:cubicBezTo>
                  <a:cubicBezTo>
                    <a:pt x="961594" y="112373"/>
                    <a:pt x="954765" y="114051"/>
                    <a:pt x="948977" y="117412"/>
                  </a:cubicBezTo>
                  <a:cubicBezTo>
                    <a:pt x="943301" y="120657"/>
                    <a:pt x="938613" y="125170"/>
                    <a:pt x="934911" y="130958"/>
                  </a:cubicBezTo>
                  <a:cubicBezTo>
                    <a:pt x="931205" y="136746"/>
                    <a:pt x="928486" y="143405"/>
                    <a:pt x="926750" y="150929"/>
                  </a:cubicBezTo>
                  <a:cubicBezTo>
                    <a:pt x="925013" y="158336"/>
                    <a:pt x="924143" y="166211"/>
                    <a:pt x="924143" y="174548"/>
                  </a:cubicBezTo>
                  <a:close/>
                  <a:moveTo>
                    <a:pt x="1133598" y="122617"/>
                  </a:moveTo>
                  <a:lnTo>
                    <a:pt x="1133598" y="270418"/>
                  </a:lnTo>
                  <a:lnTo>
                    <a:pt x="1091745" y="270418"/>
                  </a:lnTo>
                  <a:lnTo>
                    <a:pt x="1091745" y="82495"/>
                  </a:lnTo>
                  <a:lnTo>
                    <a:pt x="1131171" y="82495"/>
                  </a:lnTo>
                  <a:lnTo>
                    <a:pt x="1133603" y="122617"/>
                  </a:lnTo>
                  <a:close/>
                  <a:moveTo>
                    <a:pt x="1126132" y="169509"/>
                  </a:moveTo>
                  <a:lnTo>
                    <a:pt x="1112586" y="169334"/>
                  </a:lnTo>
                  <a:cubicBezTo>
                    <a:pt x="1112703" y="156016"/>
                    <a:pt x="1114556" y="143803"/>
                    <a:pt x="1118145" y="132690"/>
                  </a:cubicBezTo>
                  <a:cubicBezTo>
                    <a:pt x="1121852" y="121576"/>
                    <a:pt x="1126944" y="112023"/>
                    <a:pt x="1133428" y="104032"/>
                  </a:cubicBezTo>
                  <a:cubicBezTo>
                    <a:pt x="1140028" y="96046"/>
                    <a:pt x="1147902" y="89908"/>
                    <a:pt x="1157046" y="85623"/>
                  </a:cubicBezTo>
                  <a:cubicBezTo>
                    <a:pt x="1166195" y="81226"/>
                    <a:pt x="1176385" y="79022"/>
                    <a:pt x="1187615" y="79022"/>
                  </a:cubicBezTo>
                  <a:cubicBezTo>
                    <a:pt x="1196647" y="79022"/>
                    <a:pt x="1204809" y="80297"/>
                    <a:pt x="1212105" y="82840"/>
                  </a:cubicBezTo>
                  <a:cubicBezTo>
                    <a:pt x="1219517" y="85272"/>
                    <a:pt x="1225825" y="89265"/>
                    <a:pt x="1231034" y="94825"/>
                  </a:cubicBezTo>
                  <a:cubicBezTo>
                    <a:pt x="1236360" y="100384"/>
                    <a:pt x="1240412" y="107617"/>
                    <a:pt x="1243189" y="116532"/>
                  </a:cubicBezTo>
                  <a:cubicBezTo>
                    <a:pt x="1245966" y="125331"/>
                    <a:pt x="1247357" y="136157"/>
                    <a:pt x="1247357" y="149008"/>
                  </a:cubicBezTo>
                  <a:lnTo>
                    <a:pt x="1247357" y="270408"/>
                  </a:lnTo>
                  <a:lnTo>
                    <a:pt x="1205329" y="270408"/>
                  </a:lnTo>
                  <a:lnTo>
                    <a:pt x="1205329" y="148833"/>
                  </a:lnTo>
                  <a:cubicBezTo>
                    <a:pt x="1205329" y="139800"/>
                    <a:pt x="1203996" y="132680"/>
                    <a:pt x="1201336" y="127471"/>
                  </a:cubicBezTo>
                  <a:cubicBezTo>
                    <a:pt x="1198787" y="122145"/>
                    <a:pt x="1195028" y="118380"/>
                    <a:pt x="1190047" y="116182"/>
                  </a:cubicBezTo>
                  <a:cubicBezTo>
                    <a:pt x="1185183" y="113867"/>
                    <a:pt x="1179104" y="112709"/>
                    <a:pt x="1171813" y="112709"/>
                  </a:cubicBezTo>
                  <a:cubicBezTo>
                    <a:pt x="1164522" y="112709"/>
                    <a:pt x="1158209" y="114212"/>
                    <a:pt x="1152533" y="117223"/>
                  </a:cubicBezTo>
                  <a:cubicBezTo>
                    <a:pt x="1146861" y="120233"/>
                    <a:pt x="1142056" y="124343"/>
                    <a:pt x="1138116" y="129552"/>
                  </a:cubicBezTo>
                  <a:cubicBezTo>
                    <a:pt x="1134293" y="134762"/>
                    <a:pt x="1131341" y="140783"/>
                    <a:pt x="1129259" y="147617"/>
                  </a:cubicBezTo>
                  <a:cubicBezTo>
                    <a:pt x="1127178" y="154445"/>
                    <a:pt x="1126132" y="161741"/>
                    <a:pt x="1126132" y="169499"/>
                  </a:cubicBezTo>
                  <a:close/>
                  <a:moveTo>
                    <a:pt x="1346701" y="270418"/>
                  </a:moveTo>
                  <a:lnTo>
                    <a:pt x="1304843" y="270418"/>
                  </a:lnTo>
                  <a:lnTo>
                    <a:pt x="1304843" y="64436"/>
                  </a:lnTo>
                  <a:cubicBezTo>
                    <a:pt x="1304843" y="50428"/>
                    <a:pt x="1307450" y="38672"/>
                    <a:pt x="1312659" y="29178"/>
                  </a:cubicBezTo>
                  <a:cubicBezTo>
                    <a:pt x="1317985" y="19567"/>
                    <a:pt x="1325567" y="12330"/>
                    <a:pt x="1335412" y="7471"/>
                  </a:cubicBezTo>
                  <a:cubicBezTo>
                    <a:pt x="1345256" y="2490"/>
                    <a:pt x="1356890" y="0"/>
                    <a:pt x="1370319" y="0"/>
                  </a:cubicBezTo>
                  <a:cubicBezTo>
                    <a:pt x="1374488" y="0"/>
                    <a:pt x="1378597" y="292"/>
                    <a:pt x="1382649" y="871"/>
                  </a:cubicBezTo>
                  <a:cubicBezTo>
                    <a:pt x="1386701" y="1333"/>
                    <a:pt x="1390640" y="2087"/>
                    <a:pt x="1394458" y="3127"/>
                  </a:cubicBezTo>
                  <a:lnTo>
                    <a:pt x="1393418" y="35433"/>
                  </a:lnTo>
                  <a:cubicBezTo>
                    <a:pt x="1391102" y="34854"/>
                    <a:pt x="1388554" y="34450"/>
                    <a:pt x="1385776" y="34217"/>
                  </a:cubicBezTo>
                  <a:cubicBezTo>
                    <a:pt x="1383116" y="33983"/>
                    <a:pt x="1380217" y="33867"/>
                    <a:pt x="1377095" y="33867"/>
                  </a:cubicBezTo>
                  <a:cubicBezTo>
                    <a:pt x="1370728" y="33867"/>
                    <a:pt x="1365227" y="35083"/>
                    <a:pt x="1360596" y="37515"/>
                  </a:cubicBezTo>
                  <a:cubicBezTo>
                    <a:pt x="1356083" y="39830"/>
                    <a:pt x="1352605" y="43244"/>
                    <a:pt x="1350178" y="47763"/>
                  </a:cubicBezTo>
                  <a:cubicBezTo>
                    <a:pt x="1347863" y="52281"/>
                    <a:pt x="1346706" y="57836"/>
                    <a:pt x="1346706" y="64436"/>
                  </a:cubicBezTo>
                  <a:lnTo>
                    <a:pt x="1346706" y="270418"/>
                  </a:lnTo>
                  <a:close/>
                  <a:moveTo>
                    <a:pt x="1385431" y="82500"/>
                  </a:moveTo>
                  <a:lnTo>
                    <a:pt x="1385431" y="113069"/>
                  </a:lnTo>
                  <a:lnTo>
                    <a:pt x="1276015" y="113069"/>
                  </a:lnTo>
                  <a:lnTo>
                    <a:pt x="1276015" y="82500"/>
                  </a:lnTo>
                  <a:lnTo>
                    <a:pt x="1385431" y="82500"/>
                  </a:lnTo>
                  <a:close/>
                </a:path>
              </a:pathLst>
            </a:custGeom>
            <a:solidFill>
              <a:schemeClr val="tx1"/>
            </a:solidFill>
            <a:ln w="4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7" name="Полилиния: фигура 46">
              <a:extLst>
                <a:ext uri="{FF2B5EF4-FFF2-40B4-BE49-F238E27FC236}">
                  <a16:creationId xmlns:a16="http://schemas.microsoft.com/office/drawing/2014/main" id="{0E6F0FB0-99D0-4190-B058-29B8184B7C5F}"/>
                </a:ext>
              </a:extLst>
            </p:cNvPr>
            <p:cNvSpPr/>
            <p:nvPr/>
          </p:nvSpPr>
          <p:spPr>
            <a:xfrm>
              <a:off x="8902858" y="5892336"/>
              <a:ext cx="774600" cy="259834"/>
            </a:xfrm>
            <a:custGeom>
              <a:avLst/>
              <a:gdLst>
                <a:gd name="connsiteX0" fmla="*/ 174372 w 774600"/>
                <a:gd name="connsiteY0" fmla="*/ 223015 h 259834"/>
                <a:gd name="connsiteX1" fmla="*/ 174372 w 774600"/>
                <a:gd name="connsiteY1" fmla="*/ 256362 h 259834"/>
                <a:gd name="connsiteX2" fmla="*/ 4859 w 774600"/>
                <a:gd name="connsiteY2" fmla="*/ 256362 h 259834"/>
                <a:gd name="connsiteX3" fmla="*/ 4859 w 774600"/>
                <a:gd name="connsiteY3" fmla="*/ 227704 h 259834"/>
                <a:gd name="connsiteX4" fmla="*/ 87193 w 774600"/>
                <a:gd name="connsiteY4" fmla="*/ 137913 h 259834"/>
                <a:gd name="connsiteX5" fmla="*/ 108541 w 774600"/>
                <a:gd name="connsiteY5" fmla="*/ 111513 h 259834"/>
                <a:gd name="connsiteX6" fmla="*/ 119499 w 774600"/>
                <a:gd name="connsiteY6" fmla="*/ 91542 h 259834"/>
                <a:gd name="connsiteX7" fmla="*/ 122797 w 774600"/>
                <a:gd name="connsiteY7" fmla="*/ 73998 h 259834"/>
                <a:gd name="connsiteX8" fmla="*/ 118278 w 774600"/>
                <a:gd name="connsiteY8" fmla="*/ 52981 h 259834"/>
                <a:gd name="connsiteX9" fmla="*/ 105413 w 774600"/>
                <a:gd name="connsiteY9" fmla="*/ 38565 h 259834"/>
                <a:gd name="connsiteX10" fmla="*/ 84752 w 774600"/>
                <a:gd name="connsiteY10" fmla="*/ 33181 h 259834"/>
                <a:gd name="connsiteX11" fmla="*/ 61138 w 774600"/>
                <a:gd name="connsiteY11" fmla="*/ 39261 h 259834"/>
                <a:gd name="connsiteX12" fmla="*/ 46712 w 774600"/>
                <a:gd name="connsiteY12" fmla="*/ 56109 h 259834"/>
                <a:gd name="connsiteX13" fmla="*/ 41853 w 774600"/>
                <a:gd name="connsiteY13" fmla="*/ 80423 h 259834"/>
                <a:gd name="connsiteX14" fmla="*/ 0 w 774600"/>
                <a:gd name="connsiteY14" fmla="*/ 80423 h 259834"/>
                <a:gd name="connsiteX15" fmla="*/ 10083 w 774600"/>
                <a:gd name="connsiteY15" fmla="*/ 40131 h 259834"/>
                <a:gd name="connsiteX16" fmla="*/ 39261 w 774600"/>
                <a:gd name="connsiteY16" fmla="*/ 10953 h 259834"/>
                <a:gd name="connsiteX17" fmla="*/ 85272 w 774600"/>
                <a:gd name="connsiteY17" fmla="*/ 10 h 259834"/>
                <a:gd name="connsiteX18" fmla="*/ 128346 w 774600"/>
                <a:gd name="connsiteY18" fmla="*/ 8521 h 259834"/>
                <a:gd name="connsiteX19" fmla="*/ 155277 w 774600"/>
                <a:gd name="connsiteY19" fmla="*/ 32660 h 259834"/>
                <a:gd name="connsiteX20" fmla="*/ 164654 w 774600"/>
                <a:gd name="connsiteY20" fmla="*/ 69655 h 259834"/>
                <a:gd name="connsiteX21" fmla="*/ 160827 w 774600"/>
                <a:gd name="connsiteY21" fmla="*/ 93103 h 259834"/>
                <a:gd name="connsiteX22" fmla="*/ 149888 w 774600"/>
                <a:gd name="connsiteY22" fmla="*/ 116376 h 259834"/>
                <a:gd name="connsiteX23" fmla="*/ 133400 w 774600"/>
                <a:gd name="connsiteY23" fmla="*/ 139475 h 259834"/>
                <a:gd name="connsiteX24" fmla="*/ 112378 w 774600"/>
                <a:gd name="connsiteY24" fmla="*/ 162748 h 259834"/>
                <a:gd name="connsiteX25" fmla="*/ 57675 w 774600"/>
                <a:gd name="connsiteY25" fmla="*/ 223015 h 259834"/>
                <a:gd name="connsiteX26" fmla="*/ 174377 w 774600"/>
                <a:gd name="connsiteY26" fmla="*/ 223015 h 259834"/>
                <a:gd name="connsiteX27" fmla="*/ 371848 w 774600"/>
                <a:gd name="connsiteY27" fmla="*/ 108735 h 259834"/>
                <a:gd name="connsiteX28" fmla="*/ 371848 w 774600"/>
                <a:gd name="connsiteY28" fmla="*/ 150068 h 259834"/>
                <a:gd name="connsiteX29" fmla="*/ 365938 w 774600"/>
                <a:gd name="connsiteY29" fmla="*/ 200783 h 259834"/>
                <a:gd name="connsiteX30" fmla="*/ 349260 w 774600"/>
                <a:gd name="connsiteY30" fmla="*/ 234650 h 259834"/>
                <a:gd name="connsiteX31" fmla="*/ 323035 w 774600"/>
                <a:gd name="connsiteY31" fmla="*/ 253755 h 259834"/>
                <a:gd name="connsiteX32" fmla="*/ 289168 w 774600"/>
                <a:gd name="connsiteY32" fmla="*/ 259834 h 259834"/>
                <a:gd name="connsiteX33" fmla="*/ 261381 w 774600"/>
                <a:gd name="connsiteY33" fmla="*/ 256011 h 259834"/>
                <a:gd name="connsiteX34" fmla="*/ 238468 w 774600"/>
                <a:gd name="connsiteY34" fmla="*/ 244027 h 259834"/>
                <a:gd name="connsiteX35" fmla="*/ 220914 w 774600"/>
                <a:gd name="connsiteY35" fmla="*/ 223011 h 259834"/>
                <a:gd name="connsiteX36" fmla="*/ 209800 w 774600"/>
                <a:gd name="connsiteY36" fmla="*/ 191921 h 259834"/>
                <a:gd name="connsiteX37" fmla="*/ 205972 w 774600"/>
                <a:gd name="connsiteY37" fmla="*/ 150063 h 259834"/>
                <a:gd name="connsiteX38" fmla="*/ 205972 w 774600"/>
                <a:gd name="connsiteY38" fmla="*/ 108730 h 259834"/>
                <a:gd name="connsiteX39" fmla="*/ 211882 w 774600"/>
                <a:gd name="connsiteY39" fmla="*/ 58366 h 259834"/>
                <a:gd name="connsiteX40" fmla="*/ 228730 w 774600"/>
                <a:gd name="connsiteY40" fmla="*/ 24844 h 259834"/>
                <a:gd name="connsiteX41" fmla="*/ 254786 w 774600"/>
                <a:gd name="connsiteY41" fmla="*/ 5914 h 259834"/>
                <a:gd name="connsiteX42" fmla="*/ 288827 w 774600"/>
                <a:gd name="connsiteY42" fmla="*/ 10 h 259834"/>
                <a:gd name="connsiteX43" fmla="*/ 316614 w 774600"/>
                <a:gd name="connsiteY43" fmla="*/ 3833 h 259834"/>
                <a:gd name="connsiteX44" fmla="*/ 339542 w 774600"/>
                <a:gd name="connsiteY44" fmla="*/ 15467 h 259834"/>
                <a:gd name="connsiteX45" fmla="*/ 356906 w 774600"/>
                <a:gd name="connsiteY45" fmla="*/ 36308 h 259834"/>
                <a:gd name="connsiteX46" fmla="*/ 368020 w 774600"/>
                <a:gd name="connsiteY46" fmla="*/ 67048 h 259834"/>
                <a:gd name="connsiteX47" fmla="*/ 371848 w 774600"/>
                <a:gd name="connsiteY47" fmla="*/ 108730 h 259834"/>
                <a:gd name="connsiteX48" fmla="*/ 329995 w 774600"/>
                <a:gd name="connsiteY48" fmla="*/ 155978 h 259834"/>
                <a:gd name="connsiteX49" fmla="*/ 329995 w 774600"/>
                <a:gd name="connsiteY49" fmla="*/ 102485 h 259834"/>
                <a:gd name="connsiteX50" fmla="*/ 328258 w 774600"/>
                <a:gd name="connsiteY50" fmla="*/ 75914 h 259834"/>
                <a:gd name="connsiteX51" fmla="*/ 323039 w 774600"/>
                <a:gd name="connsiteY51" fmla="*/ 56289 h 259834"/>
                <a:gd name="connsiteX52" fmla="*/ 314708 w 774600"/>
                <a:gd name="connsiteY52" fmla="*/ 43088 h 259834"/>
                <a:gd name="connsiteX53" fmla="*/ 303234 w 774600"/>
                <a:gd name="connsiteY53" fmla="*/ 35623 h 259834"/>
                <a:gd name="connsiteX54" fmla="*/ 288823 w 774600"/>
                <a:gd name="connsiteY54" fmla="*/ 33191 h 259834"/>
                <a:gd name="connsiteX55" fmla="*/ 271459 w 774600"/>
                <a:gd name="connsiteY55" fmla="*/ 37014 h 259834"/>
                <a:gd name="connsiteX56" fmla="*/ 258613 w 774600"/>
                <a:gd name="connsiteY56" fmla="*/ 48823 h 259834"/>
                <a:gd name="connsiteX57" fmla="*/ 250608 w 774600"/>
                <a:gd name="connsiteY57" fmla="*/ 70360 h 259834"/>
                <a:gd name="connsiteX58" fmla="*/ 248015 w 774600"/>
                <a:gd name="connsiteY58" fmla="*/ 102490 h 259834"/>
                <a:gd name="connsiteX59" fmla="*/ 248015 w 774600"/>
                <a:gd name="connsiteY59" fmla="*/ 155982 h 259834"/>
                <a:gd name="connsiteX60" fmla="*/ 249752 w 774600"/>
                <a:gd name="connsiteY60" fmla="*/ 182904 h 259834"/>
                <a:gd name="connsiteX61" fmla="*/ 254956 w 774600"/>
                <a:gd name="connsiteY61" fmla="*/ 202874 h 259834"/>
                <a:gd name="connsiteX62" fmla="*/ 263302 w 774600"/>
                <a:gd name="connsiteY62" fmla="*/ 216420 h 259834"/>
                <a:gd name="connsiteX63" fmla="*/ 274756 w 774600"/>
                <a:gd name="connsiteY63" fmla="*/ 224061 h 259834"/>
                <a:gd name="connsiteX64" fmla="*/ 289168 w 774600"/>
                <a:gd name="connsiteY64" fmla="*/ 226493 h 259834"/>
                <a:gd name="connsiteX65" fmla="*/ 306721 w 774600"/>
                <a:gd name="connsiteY65" fmla="*/ 222670 h 259834"/>
                <a:gd name="connsiteX66" fmla="*/ 319567 w 774600"/>
                <a:gd name="connsiteY66" fmla="*/ 210511 h 259834"/>
                <a:gd name="connsiteX67" fmla="*/ 327383 w 774600"/>
                <a:gd name="connsiteY67" fmla="*/ 188453 h 259834"/>
                <a:gd name="connsiteX68" fmla="*/ 329995 w 774600"/>
                <a:gd name="connsiteY68" fmla="*/ 155978 h 259834"/>
                <a:gd name="connsiteX69" fmla="*/ 578701 w 774600"/>
                <a:gd name="connsiteY69" fmla="*/ 223015 h 259834"/>
                <a:gd name="connsiteX70" fmla="*/ 578701 w 774600"/>
                <a:gd name="connsiteY70" fmla="*/ 256362 h 259834"/>
                <a:gd name="connsiteX71" fmla="*/ 409187 w 774600"/>
                <a:gd name="connsiteY71" fmla="*/ 256362 h 259834"/>
                <a:gd name="connsiteX72" fmla="*/ 409187 w 774600"/>
                <a:gd name="connsiteY72" fmla="*/ 227704 h 259834"/>
                <a:gd name="connsiteX73" fmla="*/ 491507 w 774600"/>
                <a:gd name="connsiteY73" fmla="*/ 137913 h 259834"/>
                <a:gd name="connsiteX74" fmla="*/ 512874 w 774600"/>
                <a:gd name="connsiteY74" fmla="*/ 111513 h 259834"/>
                <a:gd name="connsiteX75" fmla="*/ 523813 w 774600"/>
                <a:gd name="connsiteY75" fmla="*/ 91542 h 259834"/>
                <a:gd name="connsiteX76" fmla="*/ 527110 w 774600"/>
                <a:gd name="connsiteY76" fmla="*/ 73998 h 259834"/>
                <a:gd name="connsiteX77" fmla="*/ 522592 w 774600"/>
                <a:gd name="connsiteY77" fmla="*/ 52981 h 259834"/>
                <a:gd name="connsiteX78" fmla="*/ 509746 w 774600"/>
                <a:gd name="connsiteY78" fmla="*/ 38565 h 259834"/>
                <a:gd name="connsiteX79" fmla="*/ 489085 w 774600"/>
                <a:gd name="connsiteY79" fmla="*/ 33181 h 259834"/>
                <a:gd name="connsiteX80" fmla="*/ 465452 w 774600"/>
                <a:gd name="connsiteY80" fmla="*/ 39261 h 259834"/>
                <a:gd name="connsiteX81" fmla="*/ 451040 w 774600"/>
                <a:gd name="connsiteY81" fmla="*/ 56109 h 259834"/>
                <a:gd name="connsiteX82" fmla="*/ 446181 w 774600"/>
                <a:gd name="connsiteY82" fmla="*/ 80423 h 259834"/>
                <a:gd name="connsiteX83" fmla="*/ 404328 w 774600"/>
                <a:gd name="connsiteY83" fmla="*/ 80423 h 259834"/>
                <a:gd name="connsiteX84" fmla="*/ 414391 w 774600"/>
                <a:gd name="connsiteY84" fmla="*/ 40131 h 259834"/>
                <a:gd name="connsiteX85" fmla="*/ 443569 w 774600"/>
                <a:gd name="connsiteY85" fmla="*/ 10953 h 259834"/>
                <a:gd name="connsiteX86" fmla="*/ 489596 w 774600"/>
                <a:gd name="connsiteY86" fmla="*/ 10 h 259834"/>
                <a:gd name="connsiteX87" fmla="*/ 532670 w 774600"/>
                <a:gd name="connsiteY87" fmla="*/ 8521 h 259834"/>
                <a:gd name="connsiteX88" fmla="*/ 559581 w 774600"/>
                <a:gd name="connsiteY88" fmla="*/ 32660 h 259834"/>
                <a:gd name="connsiteX89" fmla="*/ 568958 w 774600"/>
                <a:gd name="connsiteY89" fmla="*/ 69655 h 259834"/>
                <a:gd name="connsiteX90" fmla="*/ 565145 w 774600"/>
                <a:gd name="connsiteY90" fmla="*/ 93103 h 259834"/>
                <a:gd name="connsiteX91" fmla="*/ 554207 w 774600"/>
                <a:gd name="connsiteY91" fmla="*/ 116376 h 259834"/>
                <a:gd name="connsiteX92" fmla="*/ 537704 w 774600"/>
                <a:gd name="connsiteY92" fmla="*/ 139475 h 259834"/>
                <a:gd name="connsiteX93" fmla="*/ 516697 w 774600"/>
                <a:gd name="connsiteY93" fmla="*/ 162748 h 259834"/>
                <a:gd name="connsiteX94" fmla="*/ 461979 w 774600"/>
                <a:gd name="connsiteY94" fmla="*/ 223015 h 259834"/>
                <a:gd name="connsiteX95" fmla="*/ 578701 w 774600"/>
                <a:gd name="connsiteY95" fmla="*/ 223015 h 259834"/>
                <a:gd name="connsiteX96" fmla="*/ 660505 w 774600"/>
                <a:gd name="connsiteY96" fmla="*/ 110992 h 259834"/>
                <a:gd name="connsiteX97" fmla="*/ 685510 w 774600"/>
                <a:gd name="connsiteY97" fmla="*/ 110992 h 259834"/>
                <a:gd name="connsiteX98" fmla="*/ 709639 w 774600"/>
                <a:gd name="connsiteY98" fmla="*/ 105953 h 259834"/>
                <a:gd name="connsiteX99" fmla="*/ 724065 w 774600"/>
                <a:gd name="connsiteY99" fmla="*/ 92057 h 259834"/>
                <a:gd name="connsiteX100" fmla="*/ 728754 w 774600"/>
                <a:gd name="connsiteY100" fmla="*/ 71736 h 259834"/>
                <a:gd name="connsiteX101" fmla="*/ 724411 w 774600"/>
                <a:gd name="connsiteY101" fmla="*/ 51240 h 259834"/>
                <a:gd name="connsiteX102" fmla="*/ 711565 w 774600"/>
                <a:gd name="connsiteY102" fmla="*/ 37865 h 259834"/>
                <a:gd name="connsiteX103" fmla="*/ 689858 w 774600"/>
                <a:gd name="connsiteY103" fmla="*/ 33176 h 259834"/>
                <a:gd name="connsiteX104" fmla="*/ 669712 w 774600"/>
                <a:gd name="connsiteY104" fmla="*/ 37690 h 259834"/>
                <a:gd name="connsiteX105" fmla="*/ 655626 w 774600"/>
                <a:gd name="connsiteY105" fmla="*/ 50195 h 259834"/>
                <a:gd name="connsiteX106" fmla="*/ 650422 w 774600"/>
                <a:gd name="connsiteY106" fmla="*/ 69300 h 259834"/>
                <a:gd name="connsiteX107" fmla="*/ 608394 w 774600"/>
                <a:gd name="connsiteY107" fmla="*/ 69300 h 259834"/>
                <a:gd name="connsiteX108" fmla="*/ 618992 w 774600"/>
                <a:gd name="connsiteY108" fmla="*/ 33521 h 259834"/>
                <a:gd name="connsiteX109" fmla="*/ 647810 w 774600"/>
                <a:gd name="connsiteY109" fmla="*/ 9032 h 259834"/>
                <a:gd name="connsiteX110" fmla="*/ 689148 w 774600"/>
                <a:gd name="connsiteY110" fmla="*/ 0 h 259834"/>
                <a:gd name="connsiteX111" fmla="*/ 731876 w 774600"/>
                <a:gd name="connsiteY111" fmla="*/ 8161 h 259834"/>
                <a:gd name="connsiteX112" fmla="*/ 760524 w 774600"/>
                <a:gd name="connsiteY112" fmla="*/ 32130 h 259834"/>
                <a:gd name="connsiteX113" fmla="*/ 770777 w 774600"/>
                <a:gd name="connsiteY113" fmla="*/ 71731 h 259834"/>
                <a:gd name="connsiteX114" fmla="*/ 765743 w 774600"/>
                <a:gd name="connsiteY114" fmla="*/ 93614 h 259834"/>
                <a:gd name="connsiteX115" fmla="*/ 750802 w 774600"/>
                <a:gd name="connsiteY115" fmla="*/ 113935 h 259834"/>
                <a:gd name="connsiteX116" fmla="*/ 726137 w 774600"/>
                <a:gd name="connsiteY116" fmla="*/ 128696 h 259834"/>
                <a:gd name="connsiteX117" fmla="*/ 691925 w 774600"/>
                <a:gd name="connsiteY117" fmla="*/ 134256 h 259834"/>
                <a:gd name="connsiteX118" fmla="*/ 660495 w 774600"/>
                <a:gd name="connsiteY118" fmla="*/ 134256 h 259834"/>
                <a:gd name="connsiteX119" fmla="*/ 660495 w 774600"/>
                <a:gd name="connsiteY119" fmla="*/ 110982 h 259834"/>
                <a:gd name="connsiteX120" fmla="*/ 660505 w 774600"/>
                <a:gd name="connsiteY120" fmla="*/ 143643 h 259834"/>
                <a:gd name="connsiteX121" fmla="*/ 660505 w 774600"/>
                <a:gd name="connsiteY121" fmla="*/ 120715 h 259834"/>
                <a:gd name="connsiteX122" fmla="*/ 691935 w 774600"/>
                <a:gd name="connsiteY122" fmla="*/ 120715 h 259834"/>
                <a:gd name="connsiteX123" fmla="*/ 729790 w 774600"/>
                <a:gd name="connsiteY123" fmla="*/ 125924 h 259834"/>
                <a:gd name="connsiteX124" fmla="*/ 755500 w 774600"/>
                <a:gd name="connsiteY124" fmla="*/ 140340 h 259834"/>
                <a:gd name="connsiteX125" fmla="*/ 769911 w 774600"/>
                <a:gd name="connsiteY125" fmla="*/ 161007 h 259834"/>
                <a:gd name="connsiteX126" fmla="*/ 774600 w 774600"/>
                <a:gd name="connsiteY126" fmla="*/ 185671 h 259834"/>
                <a:gd name="connsiteX127" fmla="*/ 768175 w 774600"/>
                <a:gd name="connsiteY127" fmla="*/ 217281 h 259834"/>
                <a:gd name="connsiteX128" fmla="*/ 750296 w 774600"/>
                <a:gd name="connsiteY128" fmla="*/ 240554 h 259834"/>
                <a:gd name="connsiteX129" fmla="*/ 723024 w 774600"/>
                <a:gd name="connsiteY129" fmla="*/ 254971 h 259834"/>
                <a:gd name="connsiteX130" fmla="*/ 689328 w 774600"/>
                <a:gd name="connsiteY130" fmla="*/ 259834 h 259834"/>
                <a:gd name="connsiteX131" fmla="*/ 658068 w 774600"/>
                <a:gd name="connsiteY131" fmla="*/ 255316 h 259834"/>
                <a:gd name="connsiteX132" fmla="*/ 631327 w 774600"/>
                <a:gd name="connsiteY132" fmla="*/ 241945 h 259834"/>
                <a:gd name="connsiteX133" fmla="*/ 612572 w 774600"/>
                <a:gd name="connsiteY133" fmla="*/ 219543 h 259834"/>
                <a:gd name="connsiteX134" fmla="*/ 605787 w 774600"/>
                <a:gd name="connsiteY134" fmla="*/ 188283 h 259834"/>
                <a:gd name="connsiteX135" fmla="*/ 647640 w 774600"/>
                <a:gd name="connsiteY135" fmla="*/ 188283 h 259834"/>
                <a:gd name="connsiteX136" fmla="*/ 652859 w 774600"/>
                <a:gd name="connsiteY136" fmla="*/ 208254 h 259834"/>
                <a:gd name="connsiteX137" fmla="*/ 667786 w 774600"/>
                <a:gd name="connsiteY137" fmla="*/ 221624 h 259834"/>
                <a:gd name="connsiteX138" fmla="*/ 690028 w 774600"/>
                <a:gd name="connsiteY138" fmla="*/ 226488 h 259834"/>
                <a:gd name="connsiteX139" fmla="*/ 712767 w 774600"/>
                <a:gd name="connsiteY139" fmla="*/ 221799 h 259834"/>
                <a:gd name="connsiteX140" fmla="*/ 727363 w 774600"/>
                <a:gd name="connsiteY140" fmla="*/ 207904 h 259834"/>
                <a:gd name="connsiteX141" fmla="*/ 732567 w 774600"/>
                <a:gd name="connsiteY141" fmla="*/ 185671 h 259834"/>
                <a:gd name="connsiteX142" fmla="*/ 726847 w 774600"/>
                <a:gd name="connsiteY142" fmla="*/ 161702 h 259834"/>
                <a:gd name="connsiteX143" fmla="*/ 710515 w 774600"/>
                <a:gd name="connsiteY143" fmla="*/ 148157 h 259834"/>
                <a:gd name="connsiteX144" fmla="*/ 685510 w 774600"/>
                <a:gd name="connsiteY144" fmla="*/ 143643 h 259834"/>
                <a:gd name="connsiteX145" fmla="*/ 660505 w 774600"/>
                <a:gd name="connsiteY145" fmla="*/ 143643 h 2598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</a:cxnLst>
              <a:rect l="l" t="t" r="r" b="b"/>
              <a:pathLst>
                <a:path w="774600" h="259834">
                  <a:moveTo>
                    <a:pt x="174372" y="223015"/>
                  </a:moveTo>
                  <a:lnTo>
                    <a:pt x="174372" y="256362"/>
                  </a:lnTo>
                  <a:lnTo>
                    <a:pt x="4859" y="256362"/>
                  </a:lnTo>
                  <a:lnTo>
                    <a:pt x="4859" y="227704"/>
                  </a:lnTo>
                  <a:lnTo>
                    <a:pt x="87193" y="137913"/>
                  </a:lnTo>
                  <a:cubicBezTo>
                    <a:pt x="96211" y="127724"/>
                    <a:pt x="103336" y="118925"/>
                    <a:pt x="108541" y="111513"/>
                  </a:cubicBezTo>
                  <a:cubicBezTo>
                    <a:pt x="113760" y="104100"/>
                    <a:pt x="117403" y="97446"/>
                    <a:pt x="119499" y="91542"/>
                  </a:cubicBezTo>
                  <a:cubicBezTo>
                    <a:pt x="121697" y="85520"/>
                    <a:pt x="122797" y="79674"/>
                    <a:pt x="122797" y="73998"/>
                  </a:cubicBezTo>
                  <a:cubicBezTo>
                    <a:pt x="122797" y="66012"/>
                    <a:pt x="121284" y="59003"/>
                    <a:pt x="118278" y="52981"/>
                  </a:cubicBezTo>
                  <a:cubicBezTo>
                    <a:pt x="115374" y="46843"/>
                    <a:pt x="111099" y="42038"/>
                    <a:pt x="105413" y="38565"/>
                  </a:cubicBezTo>
                  <a:cubicBezTo>
                    <a:pt x="99747" y="34976"/>
                    <a:pt x="92860" y="33181"/>
                    <a:pt x="84752" y="33181"/>
                  </a:cubicBezTo>
                  <a:cubicBezTo>
                    <a:pt x="75374" y="33181"/>
                    <a:pt x="67510" y="35209"/>
                    <a:pt x="61138" y="39261"/>
                  </a:cubicBezTo>
                  <a:cubicBezTo>
                    <a:pt x="54766" y="43312"/>
                    <a:pt x="49956" y="48930"/>
                    <a:pt x="46712" y="56109"/>
                  </a:cubicBezTo>
                  <a:cubicBezTo>
                    <a:pt x="43482" y="63171"/>
                    <a:pt x="41853" y="71279"/>
                    <a:pt x="41853" y="80423"/>
                  </a:cubicBezTo>
                  <a:lnTo>
                    <a:pt x="0" y="80423"/>
                  </a:lnTo>
                  <a:cubicBezTo>
                    <a:pt x="0" y="65720"/>
                    <a:pt x="3366" y="52286"/>
                    <a:pt x="10083" y="40131"/>
                  </a:cubicBezTo>
                  <a:cubicBezTo>
                    <a:pt x="16800" y="27860"/>
                    <a:pt x="26517" y="18132"/>
                    <a:pt x="39261" y="10953"/>
                  </a:cubicBezTo>
                  <a:cubicBezTo>
                    <a:pt x="51989" y="3658"/>
                    <a:pt x="67325" y="10"/>
                    <a:pt x="85272" y="10"/>
                  </a:cubicBezTo>
                  <a:cubicBezTo>
                    <a:pt x="102189" y="10"/>
                    <a:pt x="116546" y="2845"/>
                    <a:pt x="128346" y="8521"/>
                  </a:cubicBezTo>
                  <a:cubicBezTo>
                    <a:pt x="140160" y="14193"/>
                    <a:pt x="149129" y="22242"/>
                    <a:pt x="155277" y="32660"/>
                  </a:cubicBezTo>
                  <a:cubicBezTo>
                    <a:pt x="161527" y="43079"/>
                    <a:pt x="164654" y="55413"/>
                    <a:pt x="164654" y="69655"/>
                  </a:cubicBezTo>
                  <a:cubicBezTo>
                    <a:pt x="164654" y="77529"/>
                    <a:pt x="163385" y="85345"/>
                    <a:pt x="160827" y="93103"/>
                  </a:cubicBezTo>
                  <a:cubicBezTo>
                    <a:pt x="158283" y="100861"/>
                    <a:pt x="154645" y="108619"/>
                    <a:pt x="149888" y="116376"/>
                  </a:cubicBezTo>
                  <a:cubicBezTo>
                    <a:pt x="145267" y="124017"/>
                    <a:pt x="139757" y="131717"/>
                    <a:pt x="133400" y="139475"/>
                  </a:cubicBezTo>
                  <a:cubicBezTo>
                    <a:pt x="127028" y="147116"/>
                    <a:pt x="120019" y="154873"/>
                    <a:pt x="112378" y="162748"/>
                  </a:cubicBezTo>
                  <a:lnTo>
                    <a:pt x="57675" y="223015"/>
                  </a:lnTo>
                  <a:lnTo>
                    <a:pt x="174377" y="223015"/>
                  </a:lnTo>
                  <a:close/>
                  <a:moveTo>
                    <a:pt x="371848" y="108735"/>
                  </a:moveTo>
                  <a:lnTo>
                    <a:pt x="371848" y="150068"/>
                  </a:lnTo>
                  <a:cubicBezTo>
                    <a:pt x="371848" y="169869"/>
                    <a:pt x="369873" y="186770"/>
                    <a:pt x="365938" y="200783"/>
                  </a:cubicBezTo>
                  <a:cubicBezTo>
                    <a:pt x="362125" y="214674"/>
                    <a:pt x="356561" y="225963"/>
                    <a:pt x="349260" y="234650"/>
                  </a:cubicBezTo>
                  <a:cubicBezTo>
                    <a:pt x="341960" y="243332"/>
                    <a:pt x="333219" y="249703"/>
                    <a:pt x="323035" y="253755"/>
                  </a:cubicBezTo>
                  <a:cubicBezTo>
                    <a:pt x="312971" y="257806"/>
                    <a:pt x="301668" y="259834"/>
                    <a:pt x="289168" y="259834"/>
                  </a:cubicBezTo>
                  <a:cubicBezTo>
                    <a:pt x="279221" y="259834"/>
                    <a:pt x="269951" y="258560"/>
                    <a:pt x="261381" y="256011"/>
                  </a:cubicBezTo>
                  <a:cubicBezTo>
                    <a:pt x="252933" y="253463"/>
                    <a:pt x="245287" y="249470"/>
                    <a:pt x="238468" y="244027"/>
                  </a:cubicBezTo>
                  <a:cubicBezTo>
                    <a:pt x="231634" y="238584"/>
                    <a:pt x="225773" y="231581"/>
                    <a:pt x="220914" y="223011"/>
                  </a:cubicBezTo>
                  <a:cubicBezTo>
                    <a:pt x="216172" y="214329"/>
                    <a:pt x="212466" y="203964"/>
                    <a:pt x="209800" y="191921"/>
                  </a:cubicBezTo>
                  <a:cubicBezTo>
                    <a:pt x="207256" y="179878"/>
                    <a:pt x="205972" y="165929"/>
                    <a:pt x="205972" y="150063"/>
                  </a:cubicBezTo>
                  <a:lnTo>
                    <a:pt x="205972" y="108730"/>
                  </a:lnTo>
                  <a:cubicBezTo>
                    <a:pt x="205972" y="88813"/>
                    <a:pt x="207947" y="72028"/>
                    <a:pt x="211882" y="58366"/>
                  </a:cubicBezTo>
                  <a:cubicBezTo>
                    <a:pt x="215831" y="44587"/>
                    <a:pt x="221430" y="33414"/>
                    <a:pt x="228730" y="24844"/>
                  </a:cubicBezTo>
                  <a:cubicBezTo>
                    <a:pt x="236031" y="16162"/>
                    <a:pt x="244722" y="9849"/>
                    <a:pt x="254786" y="5914"/>
                  </a:cubicBezTo>
                  <a:cubicBezTo>
                    <a:pt x="264970" y="1980"/>
                    <a:pt x="276323" y="10"/>
                    <a:pt x="288827" y="10"/>
                  </a:cubicBezTo>
                  <a:cubicBezTo>
                    <a:pt x="298910" y="10"/>
                    <a:pt x="308166" y="1284"/>
                    <a:pt x="316614" y="3833"/>
                  </a:cubicBezTo>
                  <a:cubicBezTo>
                    <a:pt x="325184" y="6265"/>
                    <a:pt x="332825" y="10141"/>
                    <a:pt x="339542" y="15467"/>
                  </a:cubicBezTo>
                  <a:cubicBezTo>
                    <a:pt x="346376" y="20793"/>
                    <a:pt x="352164" y="27743"/>
                    <a:pt x="356906" y="36308"/>
                  </a:cubicBezTo>
                  <a:cubicBezTo>
                    <a:pt x="361765" y="44762"/>
                    <a:pt x="365476" y="55010"/>
                    <a:pt x="368020" y="67048"/>
                  </a:cubicBezTo>
                  <a:cubicBezTo>
                    <a:pt x="370578" y="78974"/>
                    <a:pt x="371848" y="92870"/>
                    <a:pt x="371848" y="108730"/>
                  </a:cubicBezTo>
                  <a:close/>
                  <a:moveTo>
                    <a:pt x="329995" y="155978"/>
                  </a:moveTo>
                  <a:lnTo>
                    <a:pt x="329995" y="102485"/>
                  </a:lnTo>
                  <a:cubicBezTo>
                    <a:pt x="329995" y="92412"/>
                    <a:pt x="329411" y="83555"/>
                    <a:pt x="328258" y="75914"/>
                  </a:cubicBezTo>
                  <a:cubicBezTo>
                    <a:pt x="327091" y="68157"/>
                    <a:pt x="325355" y="61615"/>
                    <a:pt x="323039" y="56289"/>
                  </a:cubicBezTo>
                  <a:cubicBezTo>
                    <a:pt x="320841" y="50846"/>
                    <a:pt x="318059" y="46445"/>
                    <a:pt x="314708" y="43088"/>
                  </a:cubicBezTo>
                  <a:cubicBezTo>
                    <a:pt x="311342" y="39616"/>
                    <a:pt x="307529" y="37125"/>
                    <a:pt x="303234" y="35623"/>
                  </a:cubicBezTo>
                  <a:cubicBezTo>
                    <a:pt x="298959" y="34003"/>
                    <a:pt x="294148" y="33191"/>
                    <a:pt x="288823" y="33191"/>
                  </a:cubicBezTo>
                  <a:cubicBezTo>
                    <a:pt x="282349" y="33191"/>
                    <a:pt x="276542" y="34465"/>
                    <a:pt x="271459" y="37014"/>
                  </a:cubicBezTo>
                  <a:cubicBezTo>
                    <a:pt x="266357" y="39445"/>
                    <a:pt x="262081" y="43380"/>
                    <a:pt x="258613" y="48823"/>
                  </a:cubicBezTo>
                  <a:cubicBezTo>
                    <a:pt x="255126" y="54266"/>
                    <a:pt x="252466" y="61445"/>
                    <a:pt x="250608" y="70360"/>
                  </a:cubicBezTo>
                  <a:cubicBezTo>
                    <a:pt x="248871" y="79159"/>
                    <a:pt x="248015" y="89869"/>
                    <a:pt x="248015" y="102490"/>
                  </a:cubicBezTo>
                  <a:lnTo>
                    <a:pt x="248015" y="155982"/>
                  </a:lnTo>
                  <a:cubicBezTo>
                    <a:pt x="248015" y="166172"/>
                    <a:pt x="248584" y="175146"/>
                    <a:pt x="249752" y="182904"/>
                  </a:cubicBezTo>
                  <a:cubicBezTo>
                    <a:pt x="250904" y="190661"/>
                    <a:pt x="252636" y="197320"/>
                    <a:pt x="254956" y="202874"/>
                  </a:cubicBezTo>
                  <a:cubicBezTo>
                    <a:pt x="257276" y="208317"/>
                    <a:pt x="260058" y="212831"/>
                    <a:pt x="263302" y="216420"/>
                  </a:cubicBezTo>
                  <a:cubicBezTo>
                    <a:pt x="266653" y="219893"/>
                    <a:pt x="270481" y="222441"/>
                    <a:pt x="274756" y="224061"/>
                  </a:cubicBezTo>
                  <a:cubicBezTo>
                    <a:pt x="279153" y="225681"/>
                    <a:pt x="283964" y="226493"/>
                    <a:pt x="289168" y="226493"/>
                  </a:cubicBezTo>
                  <a:cubicBezTo>
                    <a:pt x="295778" y="226493"/>
                    <a:pt x="301619" y="225219"/>
                    <a:pt x="306721" y="222670"/>
                  </a:cubicBezTo>
                  <a:cubicBezTo>
                    <a:pt x="311804" y="220121"/>
                    <a:pt x="316099" y="216070"/>
                    <a:pt x="319567" y="210511"/>
                  </a:cubicBezTo>
                  <a:cubicBezTo>
                    <a:pt x="323035" y="204839"/>
                    <a:pt x="325646" y="197485"/>
                    <a:pt x="327383" y="188453"/>
                  </a:cubicBezTo>
                  <a:cubicBezTo>
                    <a:pt x="329119" y="179421"/>
                    <a:pt x="329995" y="168594"/>
                    <a:pt x="329995" y="155978"/>
                  </a:cubicBezTo>
                  <a:close/>
                  <a:moveTo>
                    <a:pt x="578701" y="223015"/>
                  </a:moveTo>
                  <a:lnTo>
                    <a:pt x="578701" y="256362"/>
                  </a:lnTo>
                  <a:lnTo>
                    <a:pt x="409187" y="256362"/>
                  </a:lnTo>
                  <a:lnTo>
                    <a:pt x="409187" y="227704"/>
                  </a:lnTo>
                  <a:lnTo>
                    <a:pt x="491507" y="137913"/>
                  </a:lnTo>
                  <a:cubicBezTo>
                    <a:pt x="500539" y="127724"/>
                    <a:pt x="507670" y="118925"/>
                    <a:pt x="512874" y="111513"/>
                  </a:cubicBezTo>
                  <a:cubicBezTo>
                    <a:pt x="518078" y="104100"/>
                    <a:pt x="521736" y="97446"/>
                    <a:pt x="523813" y="91542"/>
                  </a:cubicBezTo>
                  <a:cubicBezTo>
                    <a:pt x="526011" y="85520"/>
                    <a:pt x="527110" y="79674"/>
                    <a:pt x="527110" y="73998"/>
                  </a:cubicBezTo>
                  <a:cubicBezTo>
                    <a:pt x="527110" y="66012"/>
                    <a:pt x="525617" y="59003"/>
                    <a:pt x="522592" y="52981"/>
                  </a:cubicBezTo>
                  <a:cubicBezTo>
                    <a:pt x="519708" y="46843"/>
                    <a:pt x="515413" y="42038"/>
                    <a:pt x="509746" y="38565"/>
                  </a:cubicBezTo>
                  <a:cubicBezTo>
                    <a:pt x="504080" y="34976"/>
                    <a:pt x="497193" y="33181"/>
                    <a:pt x="489085" y="33181"/>
                  </a:cubicBezTo>
                  <a:cubicBezTo>
                    <a:pt x="479708" y="33181"/>
                    <a:pt x="471823" y="35209"/>
                    <a:pt x="465452" y="39261"/>
                  </a:cubicBezTo>
                  <a:cubicBezTo>
                    <a:pt x="459095" y="43312"/>
                    <a:pt x="454289" y="48930"/>
                    <a:pt x="451040" y="56109"/>
                  </a:cubicBezTo>
                  <a:cubicBezTo>
                    <a:pt x="447796" y="63171"/>
                    <a:pt x="446181" y="71279"/>
                    <a:pt x="446181" y="80423"/>
                  </a:cubicBezTo>
                  <a:lnTo>
                    <a:pt x="404328" y="80423"/>
                  </a:lnTo>
                  <a:cubicBezTo>
                    <a:pt x="404328" y="65720"/>
                    <a:pt x="407679" y="52286"/>
                    <a:pt x="414391" y="40131"/>
                  </a:cubicBezTo>
                  <a:cubicBezTo>
                    <a:pt x="421108" y="27860"/>
                    <a:pt x="430846" y="18132"/>
                    <a:pt x="443569" y="10953"/>
                  </a:cubicBezTo>
                  <a:cubicBezTo>
                    <a:pt x="456313" y="3658"/>
                    <a:pt x="471648" y="10"/>
                    <a:pt x="489596" y="10"/>
                  </a:cubicBezTo>
                  <a:cubicBezTo>
                    <a:pt x="506497" y="10"/>
                    <a:pt x="520855" y="2845"/>
                    <a:pt x="532670" y="8521"/>
                  </a:cubicBezTo>
                  <a:cubicBezTo>
                    <a:pt x="544484" y="14193"/>
                    <a:pt x="553453" y="22242"/>
                    <a:pt x="559581" y="32660"/>
                  </a:cubicBezTo>
                  <a:cubicBezTo>
                    <a:pt x="565831" y="43079"/>
                    <a:pt x="568958" y="55413"/>
                    <a:pt x="568958" y="69655"/>
                  </a:cubicBezTo>
                  <a:cubicBezTo>
                    <a:pt x="568958" y="77529"/>
                    <a:pt x="567689" y="85345"/>
                    <a:pt x="565145" y="93103"/>
                  </a:cubicBezTo>
                  <a:cubicBezTo>
                    <a:pt x="562601" y="100861"/>
                    <a:pt x="558944" y="108619"/>
                    <a:pt x="554207" y="116376"/>
                  </a:cubicBezTo>
                  <a:cubicBezTo>
                    <a:pt x="549571" y="124017"/>
                    <a:pt x="544075" y="131717"/>
                    <a:pt x="537704" y="139475"/>
                  </a:cubicBezTo>
                  <a:cubicBezTo>
                    <a:pt x="531332" y="147116"/>
                    <a:pt x="524323" y="154873"/>
                    <a:pt x="516697" y="162748"/>
                  </a:cubicBezTo>
                  <a:lnTo>
                    <a:pt x="461979" y="223015"/>
                  </a:lnTo>
                  <a:lnTo>
                    <a:pt x="578701" y="223015"/>
                  </a:lnTo>
                  <a:close/>
                  <a:moveTo>
                    <a:pt x="660505" y="110992"/>
                  </a:moveTo>
                  <a:lnTo>
                    <a:pt x="685510" y="110992"/>
                  </a:lnTo>
                  <a:cubicBezTo>
                    <a:pt x="695233" y="110992"/>
                    <a:pt x="703287" y="109314"/>
                    <a:pt x="709639" y="105953"/>
                  </a:cubicBezTo>
                  <a:cubicBezTo>
                    <a:pt x="716132" y="102597"/>
                    <a:pt x="720943" y="97962"/>
                    <a:pt x="724065" y="92057"/>
                  </a:cubicBezTo>
                  <a:cubicBezTo>
                    <a:pt x="727188" y="86153"/>
                    <a:pt x="728754" y="79377"/>
                    <a:pt x="728754" y="71736"/>
                  </a:cubicBezTo>
                  <a:cubicBezTo>
                    <a:pt x="728754" y="64095"/>
                    <a:pt x="727295" y="56916"/>
                    <a:pt x="724411" y="51240"/>
                  </a:cubicBezTo>
                  <a:cubicBezTo>
                    <a:pt x="721628" y="45452"/>
                    <a:pt x="717353" y="40992"/>
                    <a:pt x="711565" y="37865"/>
                  </a:cubicBezTo>
                  <a:cubicBezTo>
                    <a:pt x="705879" y="34737"/>
                    <a:pt x="698652" y="33176"/>
                    <a:pt x="689858" y="33176"/>
                  </a:cubicBezTo>
                  <a:cubicBezTo>
                    <a:pt x="682441" y="33176"/>
                    <a:pt x="675724" y="34684"/>
                    <a:pt x="669712" y="37690"/>
                  </a:cubicBezTo>
                  <a:cubicBezTo>
                    <a:pt x="663803" y="40584"/>
                    <a:pt x="659114" y="44752"/>
                    <a:pt x="655626" y="50195"/>
                  </a:cubicBezTo>
                  <a:cubicBezTo>
                    <a:pt x="652159" y="55520"/>
                    <a:pt x="650422" y="61887"/>
                    <a:pt x="650422" y="69300"/>
                  </a:cubicBezTo>
                  <a:lnTo>
                    <a:pt x="608394" y="69300"/>
                  </a:lnTo>
                  <a:cubicBezTo>
                    <a:pt x="608394" y="55871"/>
                    <a:pt x="611916" y="43945"/>
                    <a:pt x="618992" y="33521"/>
                  </a:cubicBezTo>
                  <a:cubicBezTo>
                    <a:pt x="626050" y="23103"/>
                    <a:pt x="635670" y="14937"/>
                    <a:pt x="647810" y="9032"/>
                  </a:cubicBezTo>
                  <a:cubicBezTo>
                    <a:pt x="660092" y="3011"/>
                    <a:pt x="673866" y="0"/>
                    <a:pt x="689148" y="0"/>
                  </a:cubicBezTo>
                  <a:cubicBezTo>
                    <a:pt x="705480" y="0"/>
                    <a:pt x="719717" y="2724"/>
                    <a:pt x="731876" y="8161"/>
                  </a:cubicBezTo>
                  <a:cubicBezTo>
                    <a:pt x="744138" y="13487"/>
                    <a:pt x="753705" y="21479"/>
                    <a:pt x="760524" y="32130"/>
                  </a:cubicBezTo>
                  <a:cubicBezTo>
                    <a:pt x="767358" y="42782"/>
                    <a:pt x="770777" y="55982"/>
                    <a:pt x="770777" y="71731"/>
                  </a:cubicBezTo>
                  <a:cubicBezTo>
                    <a:pt x="770777" y="78910"/>
                    <a:pt x="769094" y="86206"/>
                    <a:pt x="765743" y="93614"/>
                  </a:cubicBezTo>
                  <a:cubicBezTo>
                    <a:pt x="762378" y="101026"/>
                    <a:pt x="757397" y="107797"/>
                    <a:pt x="750802" y="113935"/>
                  </a:cubicBezTo>
                  <a:cubicBezTo>
                    <a:pt x="744206" y="119956"/>
                    <a:pt x="735982" y="124873"/>
                    <a:pt x="726137" y="128696"/>
                  </a:cubicBezTo>
                  <a:cubicBezTo>
                    <a:pt x="716298" y="132403"/>
                    <a:pt x="704892" y="134256"/>
                    <a:pt x="691925" y="134256"/>
                  </a:cubicBezTo>
                  <a:lnTo>
                    <a:pt x="660495" y="134256"/>
                  </a:lnTo>
                  <a:lnTo>
                    <a:pt x="660495" y="110982"/>
                  </a:lnTo>
                  <a:close/>
                  <a:moveTo>
                    <a:pt x="660505" y="143643"/>
                  </a:moveTo>
                  <a:lnTo>
                    <a:pt x="660505" y="120715"/>
                  </a:lnTo>
                  <a:lnTo>
                    <a:pt x="691935" y="120715"/>
                  </a:lnTo>
                  <a:cubicBezTo>
                    <a:pt x="706755" y="120715"/>
                    <a:pt x="719381" y="122451"/>
                    <a:pt x="729790" y="125924"/>
                  </a:cubicBezTo>
                  <a:cubicBezTo>
                    <a:pt x="740335" y="129397"/>
                    <a:pt x="748905" y="134202"/>
                    <a:pt x="755500" y="140340"/>
                  </a:cubicBezTo>
                  <a:cubicBezTo>
                    <a:pt x="762095" y="146362"/>
                    <a:pt x="766906" y="153249"/>
                    <a:pt x="769911" y="161007"/>
                  </a:cubicBezTo>
                  <a:cubicBezTo>
                    <a:pt x="773039" y="168764"/>
                    <a:pt x="774600" y="176984"/>
                    <a:pt x="774600" y="185671"/>
                  </a:cubicBezTo>
                  <a:cubicBezTo>
                    <a:pt x="774600" y="197480"/>
                    <a:pt x="772470" y="208015"/>
                    <a:pt x="768175" y="217281"/>
                  </a:cubicBezTo>
                  <a:cubicBezTo>
                    <a:pt x="764016" y="226430"/>
                    <a:pt x="758044" y="234188"/>
                    <a:pt x="750296" y="240554"/>
                  </a:cubicBezTo>
                  <a:cubicBezTo>
                    <a:pt x="742533" y="246921"/>
                    <a:pt x="733447" y="251726"/>
                    <a:pt x="723024" y="254971"/>
                  </a:cubicBezTo>
                  <a:cubicBezTo>
                    <a:pt x="712718" y="258215"/>
                    <a:pt x="701487" y="259834"/>
                    <a:pt x="689328" y="259834"/>
                  </a:cubicBezTo>
                  <a:cubicBezTo>
                    <a:pt x="678457" y="259834"/>
                    <a:pt x="668029" y="258327"/>
                    <a:pt x="658068" y="255316"/>
                  </a:cubicBezTo>
                  <a:cubicBezTo>
                    <a:pt x="648107" y="252305"/>
                    <a:pt x="639192" y="247850"/>
                    <a:pt x="631327" y="241945"/>
                  </a:cubicBezTo>
                  <a:cubicBezTo>
                    <a:pt x="623443" y="235924"/>
                    <a:pt x="617193" y="228458"/>
                    <a:pt x="612572" y="219543"/>
                  </a:cubicBezTo>
                  <a:cubicBezTo>
                    <a:pt x="608054" y="210511"/>
                    <a:pt x="605787" y="200092"/>
                    <a:pt x="605787" y="188283"/>
                  </a:cubicBezTo>
                  <a:lnTo>
                    <a:pt x="647640" y="188283"/>
                  </a:lnTo>
                  <a:cubicBezTo>
                    <a:pt x="647640" y="195807"/>
                    <a:pt x="649377" y="202466"/>
                    <a:pt x="652859" y="208254"/>
                  </a:cubicBezTo>
                  <a:cubicBezTo>
                    <a:pt x="656449" y="213925"/>
                    <a:pt x="661429" y="218385"/>
                    <a:pt x="667786" y="221624"/>
                  </a:cubicBezTo>
                  <a:cubicBezTo>
                    <a:pt x="674279" y="224869"/>
                    <a:pt x="681682" y="226488"/>
                    <a:pt x="690028" y="226488"/>
                  </a:cubicBezTo>
                  <a:cubicBezTo>
                    <a:pt x="698822" y="226488"/>
                    <a:pt x="706415" y="224927"/>
                    <a:pt x="712767" y="221799"/>
                  </a:cubicBezTo>
                  <a:cubicBezTo>
                    <a:pt x="719138" y="218672"/>
                    <a:pt x="723997" y="214042"/>
                    <a:pt x="727363" y="207904"/>
                  </a:cubicBezTo>
                  <a:cubicBezTo>
                    <a:pt x="730831" y="201765"/>
                    <a:pt x="732567" y="194358"/>
                    <a:pt x="732567" y="185671"/>
                  </a:cubicBezTo>
                  <a:cubicBezTo>
                    <a:pt x="732567" y="175827"/>
                    <a:pt x="730660" y="167840"/>
                    <a:pt x="726847" y="161702"/>
                  </a:cubicBezTo>
                  <a:cubicBezTo>
                    <a:pt x="723019" y="155564"/>
                    <a:pt x="717572" y="151050"/>
                    <a:pt x="710515" y="148157"/>
                  </a:cubicBezTo>
                  <a:cubicBezTo>
                    <a:pt x="703457" y="145146"/>
                    <a:pt x="695111" y="143643"/>
                    <a:pt x="685510" y="143643"/>
                  </a:cubicBezTo>
                  <a:lnTo>
                    <a:pt x="660505" y="143643"/>
                  </a:lnTo>
                  <a:close/>
                </a:path>
              </a:pathLst>
            </a:custGeom>
            <a:solidFill>
              <a:srgbClr val="EE3431"/>
            </a:solidFill>
            <a:ln w="4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8" name="Полилиния: фигура 47">
              <a:extLst>
                <a:ext uri="{FF2B5EF4-FFF2-40B4-BE49-F238E27FC236}">
                  <a16:creationId xmlns:a16="http://schemas.microsoft.com/office/drawing/2014/main" id="{C3ADAD60-17B9-4A06-AE0E-BCB35AB4E7E8}"/>
                </a:ext>
              </a:extLst>
            </p:cNvPr>
            <p:cNvSpPr/>
            <p:nvPr/>
          </p:nvSpPr>
          <p:spPr>
            <a:xfrm>
              <a:off x="8902858" y="5870060"/>
              <a:ext cx="774600" cy="259829"/>
            </a:xfrm>
            <a:custGeom>
              <a:avLst/>
              <a:gdLst>
                <a:gd name="connsiteX0" fmla="*/ 174372 w 774600"/>
                <a:gd name="connsiteY0" fmla="*/ 223011 h 259829"/>
                <a:gd name="connsiteX1" fmla="*/ 174372 w 774600"/>
                <a:gd name="connsiteY1" fmla="*/ 256357 h 259829"/>
                <a:gd name="connsiteX2" fmla="*/ 4859 w 774600"/>
                <a:gd name="connsiteY2" fmla="*/ 256357 h 259829"/>
                <a:gd name="connsiteX3" fmla="*/ 4859 w 774600"/>
                <a:gd name="connsiteY3" fmla="*/ 227699 h 259829"/>
                <a:gd name="connsiteX4" fmla="*/ 87193 w 774600"/>
                <a:gd name="connsiteY4" fmla="*/ 137908 h 259829"/>
                <a:gd name="connsiteX5" fmla="*/ 108541 w 774600"/>
                <a:gd name="connsiteY5" fmla="*/ 111508 h 259829"/>
                <a:gd name="connsiteX6" fmla="*/ 119499 w 774600"/>
                <a:gd name="connsiteY6" fmla="*/ 91537 h 259829"/>
                <a:gd name="connsiteX7" fmla="*/ 122797 w 774600"/>
                <a:gd name="connsiteY7" fmla="*/ 73993 h 259829"/>
                <a:gd name="connsiteX8" fmla="*/ 118278 w 774600"/>
                <a:gd name="connsiteY8" fmla="*/ 52977 h 259829"/>
                <a:gd name="connsiteX9" fmla="*/ 105413 w 774600"/>
                <a:gd name="connsiteY9" fmla="*/ 38560 h 259829"/>
                <a:gd name="connsiteX10" fmla="*/ 84752 w 774600"/>
                <a:gd name="connsiteY10" fmla="*/ 33176 h 259829"/>
                <a:gd name="connsiteX11" fmla="*/ 61138 w 774600"/>
                <a:gd name="connsiteY11" fmla="*/ 39256 h 259829"/>
                <a:gd name="connsiteX12" fmla="*/ 46712 w 774600"/>
                <a:gd name="connsiteY12" fmla="*/ 56104 h 259829"/>
                <a:gd name="connsiteX13" fmla="*/ 41853 w 774600"/>
                <a:gd name="connsiteY13" fmla="*/ 80418 h 259829"/>
                <a:gd name="connsiteX14" fmla="*/ 0 w 774600"/>
                <a:gd name="connsiteY14" fmla="*/ 80418 h 259829"/>
                <a:gd name="connsiteX15" fmla="*/ 10083 w 774600"/>
                <a:gd name="connsiteY15" fmla="*/ 40126 h 259829"/>
                <a:gd name="connsiteX16" fmla="*/ 39261 w 774600"/>
                <a:gd name="connsiteY16" fmla="*/ 10948 h 259829"/>
                <a:gd name="connsiteX17" fmla="*/ 85272 w 774600"/>
                <a:gd name="connsiteY17" fmla="*/ 5 h 259829"/>
                <a:gd name="connsiteX18" fmla="*/ 128346 w 774600"/>
                <a:gd name="connsiteY18" fmla="*/ 8517 h 259829"/>
                <a:gd name="connsiteX19" fmla="*/ 155277 w 774600"/>
                <a:gd name="connsiteY19" fmla="*/ 32660 h 259829"/>
                <a:gd name="connsiteX20" fmla="*/ 164654 w 774600"/>
                <a:gd name="connsiteY20" fmla="*/ 69655 h 259829"/>
                <a:gd name="connsiteX21" fmla="*/ 160827 w 774600"/>
                <a:gd name="connsiteY21" fmla="*/ 93103 h 259829"/>
                <a:gd name="connsiteX22" fmla="*/ 149888 w 774600"/>
                <a:gd name="connsiteY22" fmla="*/ 116376 h 259829"/>
                <a:gd name="connsiteX23" fmla="*/ 133400 w 774600"/>
                <a:gd name="connsiteY23" fmla="*/ 139475 h 259829"/>
                <a:gd name="connsiteX24" fmla="*/ 112378 w 774600"/>
                <a:gd name="connsiteY24" fmla="*/ 162748 h 259829"/>
                <a:gd name="connsiteX25" fmla="*/ 57675 w 774600"/>
                <a:gd name="connsiteY25" fmla="*/ 223015 h 259829"/>
                <a:gd name="connsiteX26" fmla="*/ 174377 w 774600"/>
                <a:gd name="connsiteY26" fmla="*/ 223015 h 259829"/>
                <a:gd name="connsiteX27" fmla="*/ 371848 w 774600"/>
                <a:gd name="connsiteY27" fmla="*/ 108730 h 259829"/>
                <a:gd name="connsiteX28" fmla="*/ 371848 w 774600"/>
                <a:gd name="connsiteY28" fmla="*/ 150063 h 259829"/>
                <a:gd name="connsiteX29" fmla="*/ 365938 w 774600"/>
                <a:gd name="connsiteY29" fmla="*/ 200778 h 259829"/>
                <a:gd name="connsiteX30" fmla="*/ 349260 w 774600"/>
                <a:gd name="connsiteY30" fmla="*/ 234645 h 259829"/>
                <a:gd name="connsiteX31" fmla="*/ 323035 w 774600"/>
                <a:gd name="connsiteY31" fmla="*/ 253750 h 259829"/>
                <a:gd name="connsiteX32" fmla="*/ 289168 w 774600"/>
                <a:gd name="connsiteY32" fmla="*/ 259830 h 259829"/>
                <a:gd name="connsiteX33" fmla="*/ 261381 w 774600"/>
                <a:gd name="connsiteY33" fmla="*/ 256011 h 259829"/>
                <a:gd name="connsiteX34" fmla="*/ 238468 w 774600"/>
                <a:gd name="connsiteY34" fmla="*/ 244027 h 259829"/>
                <a:gd name="connsiteX35" fmla="*/ 220914 w 774600"/>
                <a:gd name="connsiteY35" fmla="*/ 223011 h 259829"/>
                <a:gd name="connsiteX36" fmla="*/ 209800 w 774600"/>
                <a:gd name="connsiteY36" fmla="*/ 191921 h 259829"/>
                <a:gd name="connsiteX37" fmla="*/ 205972 w 774600"/>
                <a:gd name="connsiteY37" fmla="*/ 150063 h 259829"/>
                <a:gd name="connsiteX38" fmla="*/ 205972 w 774600"/>
                <a:gd name="connsiteY38" fmla="*/ 108730 h 259829"/>
                <a:gd name="connsiteX39" fmla="*/ 211882 w 774600"/>
                <a:gd name="connsiteY39" fmla="*/ 58366 h 259829"/>
                <a:gd name="connsiteX40" fmla="*/ 228730 w 774600"/>
                <a:gd name="connsiteY40" fmla="*/ 24844 h 259829"/>
                <a:gd name="connsiteX41" fmla="*/ 254786 w 774600"/>
                <a:gd name="connsiteY41" fmla="*/ 5914 h 259829"/>
                <a:gd name="connsiteX42" fmla="*/ 288827 w 774600"/>
                <a:gd name="connsiteY42" fmla="*/ 10 h 259829"/>
                <a:gd name="connsiteX43" fmla="*/ 316614 w 774600"/>
                <a:gd name="connsiteY43" fmla="*/ 3833 h 259829"/>
                <a:gd name="connsiteX44" fmla="*/ 339542 w 774600"/>
                <a:gd name="connsiteY44" fmla="*/ 15467 h 259829"/>
                <a:gd name="connsiteX45" fmla="*/ 356906 w 774600"/>
                <a:gd name="connsiteY45" fmla="*/ 36308 h 259829"/>
                <a:gd name="connsiteX46" fmla="*/ 368020 w 774600"/>
                <a:gd name="connsiteY46" fmla="*/ 67048 h 259829"/>
                <a:gd name="connsiteX47" fmla="*/ 371848 w 774600"/>
                <a:gd name="connsiteY47" fmla="*/ 108730 h 259829"/>
                <a:gd name="connsiteX48" fmla="*/ 329995 w 774600"/>
                <a:gd name="connsiteY48" fmla="*/ 155968 h 259829"/>
                <a:gd name="connsiteX49" fmla="*/ 329995 w 774600"/>
                <a:gd name="connsiteY49" fmla="*/ 102476 h 259829"/>
                <a:gd name="connsiteX50" fmla="*/ 328258 w 774600"/>
                <a:gd name="connsiteY50" fmla="*/ 75905 h 259829"/>
                <a:gd name="connsiteX51" fmla="*/ 323039 w 774600"/>
                <a:gd name="connsiteY51" fmla="*/ 56279 h 259829"/>
                <a:gd name="connsiteX52" fmla="*/ 314708 w 774600"/>
                <a:gd name="connsiteY52" fmla="*/ 43079 h 259829"/>
                <a:gd name="connsiteX53" fmla="*/ 303234 w 774600"/>
                <a:gd name="connsiteY53" fmla="*/ 35613 h 259829"/>
                <a:gd name="connsiteX54" fmla="*/ 288823 w 774600"/>
                <a:gd name="connsiteY54" fmla="*/ 33181 h 259829"/>
                <a:gd name="connsiteX55" fmla="*/ 271459 w 774600"/>
                <a:gd name="connsiteY55" fmla="*/ 37004 h 259829"/>
                <a:gd name="connsiteX56" fmla="*/ 258613 w 774600"/>
                <a:gd name="connsiteY56" fmla="*/ 48813 h 259829"/>
                <a:gd name="connsiteX57" fmla="*/ 250608 w 774600"/>
                <a:gd name="connsiteY57" fmla="*/ 70350 h 259829"/>
                <a:gd name="connsiteX58" fmla="*/ 248015 w 774600"/>
                <a:gd name="connsiteY58" fmla="*/ 102480 h 259829"/>
                <a:gd name="connsiteX59" fmla="*/ 248015 w 774600"/>
                <a:gd name="connsiteY59" fmla="*/ 155973 h 259829"/>
                <a:gd name="connsiteX60" fmla="*/ 249752 w 774600"/>
                <a:gd name="connsiteY60" fmla="*/ 182894 h 259829"/>
                <a:gd name="connsiteX61" fmla="*/ 254956 w 774600"/>
                <a:gd name="connsiteY61" fmla="*/ 202865 h 259829"/>
                <a:gd name="connsiteX62" fmla="*/ 263302 w 774600"/>
                <a:gd name="connsiteY62" fmla="*/ 216410 h 259829"/>
                <a:gd name="connsiteX63" fmla="*/ 274756 w 774600"/>
                <a:gd name="connsiteY63" fmla="*/ 224051 h 259829"/>
                <a:gd name="connsiteX64" fmla="*/ 289168 w 774600"/>
                <a:gd name="connsiteY64" fmla="*/ 226483 h 259829"/>
                <a:gd name="connsiteX65" fmla="*/ 306721 w 774600"/>
                <a:gd name="connsiteY65" fmla="*/ 222660 h 259829"/>
                <a:gd name="connsiteX66" fmla="*/ 319567 w 774600"/>
                <a:gd name="connsiteY66" fmla="*/ 210501 h 259829"/>
                <a:gd name="connsiteX67" fmla="*/ 327383 w 774600"/>
                <a:gd name="connsiteY67" fmla="*/ 188443 h 259829"/>
                <a:gd name="connsiteX68" fmla="*/ 329995 w 774600"/>
                <a:gd name="connsiteY68" fmla="*/ 155963 h 259829"/>
                <a:gd name="connsiteX69" fmla="*/ 578701 w 774600"/>
                <a:gd name="connsiteY69" fmla="*/ 223006 h 259829"/>
                <a:gd name="connsiteX70" fmla="*/ 578701 w 774600"/>
                <a:gd name="connsiteY70" fmla="*/ 256352 h 259829"/>
                <a:gd name="connsiteX71" fmla="*/ 409187 w 774600"/>
                <a:gd name="connsiteY71" fmla="*/ 256352 h 259829"/>
                <a:gd name="connsiteX72" fmla="*/ 409187 w 774600"/>
                <a:gd name="connsiteY72" fmla="*/ 227694 h 259829"/>
                <a:gd name="connsiteX73" fmla="*/ 491507 w 774600"/>
                <a:gd name="connsiteY73" fmla="*/ 137904 h 259829"/>
                <a:gd name="connsiteX74" fmla="*/ 512874 w 774600"/>
                <a:gd name="connsiteY74" fmla="*/ 111503 h 259829"/>
                <a:gd name="connsiteX75" fmla="*/ 523813 w 774600"/>
                <a:gd name="connsiteY75" fmla="*/ 91532 h 259829"/>
                <a:gd name="connsiteX76" fmla="*/ 527110 w 774600"/>
                <a:gd name="connsiteY76" fmla="*/ 73988 h 259829"/>
                <a:gd name="connsiteX77" fmla="*/ 522592 w 774600"/>
                <a:gd name="connsiteY77" fmla="*/ 52972 h 259829"/>
                <a:gd name="connsiteX78" fmla="*/ 509746 w 774600"/>
                <a:gd name="connsiteY78" fmla="*/ 38555 h 259829"/>
                <a:gd name="connsiteX79" fmla="*/ 489085 w 774600"/>
                <a:gd name="connsiteY79" fmla="*/ 33171 h 259829"/>
                <a:gd name="connsiteX80" fmla="*/ 465452 w 774600"/>
                <a:gd name="connsiteY80" fmla="*/ 39251 h 259829"/>
                <a:gd name="connsiteX81" fmla="*/ 451040 w 774600"/>
                <a:gd name="connsiteY81" fmla="*/ 56099 h 259829"/>
                <a:gd name="connsiteX82" fmla="*/ 446181 w 774600"/>
                <a:gd name="connsiteY82" fmla="*/ 80413 h 259829"/>
                <a:gd name="connsiteX83" fmla="*/ 404328 w 774600"/>
                <a:gd name="connsiteY83" fmla="*/ 80413 h 259829"/>
                <a:gd name="connsiteX84" fmla="*/ 414391 w 774600"/>
                <a:gd name="connsiteY84" fmla="*/ 40122 h 259829"/>
                <a:gd name="connsiteX85" fmla="*/ 443569 w 774600"/>
                <a:gd name="connsiteY85" fmla="*/ 10944 h 259829"/>
                <a:gd name="connsiteX86" fmla="*/ 489596 w 774600"/>
                <a:gd name="connsiteY86" fmla="*/ 0 h 259829"/>
                <a:gd name="connsiteX87" fmla="*/ 532670 w 774600"/>
                <a:gd name="connsiteY87" fmla="*/ 8512 h 259829"/>
                <a:gd name="connsiteX88" fmla="*/ 559581 w 774600"/>
                <a:gd name="connsiteY88" fmla="*/ 32656 h 259829"/>
                <a:gd name="connsiteX89" fmla="*/ 568958 w 774600"/>
                <a:gd name="connsiteY89" fmla="*/ 69650 h 259829"/>
                <a:gd name="connsiteX90" fmla="*/ 565145 w 774600"/>
                <a:gd name="connsiteY90" fmla="*/ 93098 h 259829"/>
                <a:gd name="connsiteX91" fmla="*/ 554207 w 774600"/>
                <a:gd name="connsiteY91" fmla="*/ 116372 h 259829"/>
                <a:gd name="connsiteX92" fmla="*/ 537704 w 774600"/>
                <a:gd name="connsiteY92" fmla="*/ 139470 h 259829"/>
                <a:gd name="connsiteX93" fmla="*/ 516697 w 774600"/>
                <a:gd name="connsiteY93" fmla="*/ 162743 h 259829"/>
                <a:gd name="connsiteX94" fmla="*/ 461979 w 774600"/>
                <a:gd name="connsiteY94" fmla="*/ 223011 h 259829"/>
                <a:gd name="connsiteX95" fmla="*/ 578701 w 774600"/>
                <a:gd name="connsiteY95" fmla="*/ 223011 h 259829"/>
                <a:gd name="connsiteX96" fmla="*/ 660505 w 774600"/>
                <a:gd name="connsiteY96" fmla="*/ 110982 h 259829"/>
                <a:gd name="connsiteX97" fmla="*/ 685510 w 774600"/>
                <a:gd name="connsiteY97" fmla="*/ 110982 h 259829"/>
                <a:gd name="connsiteX98" fmla="*/ 709639 w 774600"/>
                <a:gd name="connsiteY98" fmla="*/ 105948 h 259829"/>
                <a:gd name="connsiteX99" fmla="*/ 724065 w 774600"/>
                <a:gd name="connsiteY99" fmla="*/ 92052 h 259829"/>
                <a:gd name="connsiteX100" fmla="*/ 728754 w 774600"/>
                <a:gd name="connsiteY100" fmla="*/ 71731 h 259829"/>
                <a:gd name="connsiteX101" fmla="*/ 724411 w 774600"/>
                <a:gd name="connsiteY101" fmla="*/ 51240 h 259829"/>
                <a:gd name="connsiteX102" fmla="*/ 711565 w 774600"/>
                <a:gd name="connsiteY102" fmla="*/ 37865 h 259829"/>
                <a:gd name="connsiteX103" fmla="*/ 689858 w 774600"/>
                <a:gd name="connsiteY103" fmla="*/ 33176 h 259829"/>
                <a:gd name="connsiteX104" fmla="*/ 669712 w 774600"/>
                <a:gd name="connsiteY104" fmla="*/ 37690 h 259829"/>
                <a:gd name="connsiteX105" fmla="*/ 655626 w 774600"/>
                <a:gd name="connsiteY105" fmla="*/ 50195 h 259829"/>
                <a:gd name="connsiteX106" fmla="*/ 650422 w 774600"/>
                <a:gd name="connsiteY106" fmla="*/ 69300 h 259829"/>
                <a:gd name="connsiteX107" fmla="*/ 608394 w 774600"/>
                <a:gd name="connsiteY107" fmla="*/ 69300 h 259829"/>
                <a:gd name="connsiteX108" fmla="*/ 618992 w 774600"/>
                <a:gd name="connsiteY108" fmla="*/ 33521 h 259829"/>
                <a:gd name="connsiteX109" fmla="*/ 647810 w 774600"/>
                <a:gd name="connsiteY109" fmla="*/ 9032 h 259829"/>
                <a:gd name="connsiteX110" fmla="*/ 689148 w 774600"/>
                <a:gd name="connsiteY110" fmla="*/ 0 h 259829"/>
                <a:gd name="connsiteX111" fmla="*/ 731876 w 774600"/>
                <a:gd name="connsiteY111" fmla="*/ 8161 h 259829"/>
                <a:gd name="connsiteX112" fmla="*/ 760524 w 774600"/>
                <a:gd name="connsiteY112" fmla="*/ 32130 h 259829"/>
                <a:gd name="connsiteX113" fmla="*/ 770777 w 774600"/>
                <a:gd name="connsiteY113" fmla="*/ 71727 h 259829"/>
                <a:gd name="connsiteX114" fmla="*/ 765743 w 774600"/>
                <a:gd name="connsiteY114" fmla="*/ 93609 h 259829"/>
                <a:gd name="connsiteX115" fmla="*/ 750802 w 774600"/>
                <a:gd name="connsiteY115" fmla="*/ 113930 h 259829"/>
                <a:gd name="connsiteX116" fmla="*/ 726137 w 774600"/>
                <a:gd name="connsiteY116" fmla="*/ 128692 h 259829"/>
                <a:gd name="connsiteX117" fmla="*/ 691925 w 774600"/>
                <a:gd name="connsiteY117" fmla="*/ 134251 h 259829"/>
                <a:gd name="connsiteX118" fmla="*/ 660495 w 774600"/>
                <a:gd name="connsiteY118" fmla="*/ 134251 h 259829"/>
                <a:gd name="connsiteX119" fmla="*/ 660495 w 774600"/>
                <a:gd name="connsiteY119" fmla="*/ 110978 h 259829"/>
                <a:gd name="connsiteX120" fmla="*/ 660505 w 774600"/>
                <a:gd name="connsiteY120" fmla="*/ 143633 h 259829"/>
                <a:gd name="connsiteX121" fmla="*/ 660505 w 774600"/>
                <a:gd name="connsiteY121" fmla="*/ 120705 h 259829"/>
                <a:gd name="connsiteX122" fmla="*/ 691935 w 774600"/>
                <a:gd name="connsiteY122" fmla="*/ 120705 h 259829"/>
                <a:gd name="connsiteX123" fmla="*/ 729790 w 774600"/>
                <a:gd name="connsiteY123" fmla="*/ 125914 h 259829"/>
                <a:gd name="connsiteX124" fmla="*/ 755500 w 774600"/>
                <a:gd name="connsiteY124" fmla="*/ 140331 h 259829"/>
                <a:gd name="connsiteX125" fmla="*/ 769911 w 774600"/>
                <a:gd name="connsiteY125" fmla="*/ 160997 h 259829"/>
                <a:gd name="connsiteX126" fmla="*/ 774600 w 774600"/>
                <a:gd name="connsiteY126" fmla="*/ 185661 h 259829"/>
                <a:gd name="connsiteX127" fmla="*/ 768175 w 774600"/>
                <a:gd name="connsiteY127" fmla="*/ 217271 h 259829"/>
                <a:gd name="connsiteX128" fmla="*/ 750296 w 774600"/>
                <a:gd name="connsiteY128" fmla="*/ 240545 h 259829"/>
                <a:gd name="connsiteX129" fmla="*/ 723024 w 774600"/>
                <a:gd name="connsiteY129" fmla="*/ 254961 h 259829"/>
                <a:gd name="connsiteX130" fmla="*/ 689328 w 774600"/>
                <a:gd name="connsiteY130" fmla="*/ 259825 h 259829"/>
                <a:gd name="connsiteX131" fmla="*/ 658068 w 774600"/>
                <a:gd name="connsiteY131" fmla="*/ 255311 h 259829"/>
                <a:gd name="connsiteX132" fmla="*/ 631327 w 774600"/>
                <a:gd name="connsiteY132" fmla="*/ 241940 h 259829"/>
                <a:gd name="connsiteX133" fmla="*/ 612572 w 774600"/>
                <a:gd name="connsiteY133" fmla="*/ 219538 h 259829"/>
                <a:gd name="connsiteX134" fmla="*/ 605787 w 774600"/>
                <a:gd name="connsiteY134" fmla="*/ 188273 h 259829"/>
                <a:gd name="connsiteX135" fmla="*/ 647640 w 774600"/>
                <a:gd name="connsiteY135" fmla="*/ 188273 h 259829"/>
                <a:gd name="connsiteX136" fmla="*/ 652859 w 774600"/>
                <a:gd name="connsiteY136" fmla="*/ 208249 h 259829"/>
                <a:gd name="connsiteX137" fmla="*/ 667786 w 774600"/>
                <a:gd name="connsiteY137" fmla="*/ 221619 h 259829"/>
                <a:gd name="connsiteX138" fmla="*/ 690028 w 774600"/>
                <a:gd name="connsiteY138" fmla="*/ 226483 h 259829"/>
                <a:gd name="connsiteX139" fmla="*/ 712767 w 774600"/>
                <a:gd name="connsiteY139" fmla="*/ 221795 h 259829"/>
                <a:gd name="connsiteX140" fmla="*/ 727363 w 774600"/>
                <a:gd name="connsiteY140" fmla="*/ 207899 h 259829"/>
                <a:gd name="connsiteX141" fmla="*/ 732567 w 774600"/>
                <a:gd name="connsiteY141" fmla="*/ 185671 h 259829"/>
                <a:gd name="connsiteX142" fmla="*/ 726847 w 774600"/>
                <a:gd name="connsiteY142" fmla="*/ 161702 h 259829"/>
                <a:gd name="connsiteX143" fmla="*/ 710515 w 774600"/>
                <a:gd name="connsiteY143" fmla="*/ 148157 h 259829"/>
                <a:gd name="connsiteX144" fmla="*/ 685510 w 774600"/>
                <a:gd name="connsiteY144" fmla="*/ 143643 h 259829"/>
                <a:gd name="connsiteX145" fmla="*/ 660505 w 774600"/>
                <a:gd name="connsiteY145" fmla="*/ 143643 h 2598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</a:cxnLst>
              <a:rect l="l" t="t" r="r" b="b"/>
              <a:pathLst>
                <a:path w="774600" h="259829">
                  <a:moveTo>
                    <a:pt x="174372" y="223011"/>
                  </a:moveTo>
                  <a:lnTo>
                    <a:pt x="174372" y="256357"/>
                  </a:lnTo>
                  <a:lnTo>
                    <a:pt x="4859" y="256357"/>
                  </a:lnTo>
                  <a:lnTo>
                    <a:pt x="4859" y="227699"/>
                  </a:lnTo>
                  <a:lnTo>
                    <a:pt x="87193" y="137908"/>
                  </a:lnTo>
                  <a:cubicBezTo>
                    <a:pt x="96211" y="127719"/>
                    <a:pt x="103336" y="118920"/>
                    <a:pt x="108541" y="111508"/>
                  </a:cubicBezTo>
                  <a:cubicBezTo>
                    <a:pt x="113760" y="104095"/>
                    <a:pt x="117403" y="97442"/>
                    <a:pt x="119499" y="91537"/>
                  </a:cubicBezTo>
                  <a:cubicBezTo>
                    <a:pt x="121697" y="85516"/>
                    <a:pt x="122797" y="79669"/>
                    <a:pt x="122797" y="73993"/>
                  </a:cubicBezTo>
                  <a:cubicBezTo>
                    <a:pt x="122797" y="66002"/>
                    <a:pt x="121284" y="58998"/>
                    <a:pt x="118278" y="52977"/>
                  </a:cubicBezTo>
                  <a:cubicBezTo>
                    <a:pt x="115374" y="46838"/>
                    <a:pt x="111099" y="42033"/>
                    <a:pt x="105413" y="38560"/>
                  </a:cubicBezTo>
                  <a:cubicBezTo>
                    <a:pt x="99747" y="34971"/>
                    <a:pt x="92860" y="33176"/>
                    <a:pt x="84752" y="33176"/>
                  </a:cubicBezTo>
                  <a:cubicBezTo>
                    <a:pt x="75374" y="33176"/>
                    <a:pt x="67510" y="35204"/>
                    <a:pt x="61138" y="39256"/>
                  </a:cubicBezTo>
                  <a:cubicBezTo>
                    <a:pt x="54766" y="43307"/>
                    <a:pt x="49956" y="48925"/>
                    <a:pt x="46712" y="56104"/>
                  </a:cubicBezTo>
                  <a:cubicBezTo>
                    <a:pt x="43482" y="63166"/>
                    <a:pt x="41853" y="71274"/>
                    <a:pt x="41853" y="80418"/>
                  </a:cubicBezTo>
                  <a:lnTo>
                    <a:pt x="0" y="80418"/>
                  </a:lnTo>
                  <a:cubicBezTo>
                    <a:pt x="0" y="65715"/>
                    <a:pt x="3366" y="52281"/>
                    <a:pt x="10083" y="40126"/>
                  </a:cubicBezTo>
                  <a:cubicBezTo>
                    <a:pt x="16800" y="27855"/>
                    <a:pt x="26517" y="18127"/>
                    <a:pt x="39261" y="10948"/>
                  </a:cubicBezTo>
                  <a:cubicBezTo>
                    <a:pt x="51989" y="3653"/>
                    <a:pt x="67325" y="5"/>
                    <a:pt x="85272" y="5"/>
                  </a:cubicBezTo>
                  <a:cubicBezTo>
                    <a:pt x="102189" y="5"/>
                    <a:pt x="116546" y="2840"/>
                    <a:pt x="128346" y="8517"/>
                  </a:cubicBezTo>
                  <a:cubicBezTo>
                    <a:pt x="140160" y="14193"/>
                    <a:pt x="149129" y="22237"/>
                    <a:pt x="155277" y="32660"/>
                  </a:cubicBezTo>
                  <a:cubicBezTo>
                    <a:pt x="161527" y="43079"/>
                    <a:pt x="164654" y="55413"/>
                    <a:pt x="164654" y="69655"/>
                  </a:cubicBezTo>
                  <a:cubicBezTo>
                    <a:pt x="164654" y="77529"/>
                    <a:pt x="163385" y="85345"/>
                    <a:pt x="160827" y="93103"/>
                  </a:cubicBezTo>
                  <a:cubicBezTo>
                    <a:pt x="158283" y="100861"/>
                    <a:pt x="154645" y="108619"/>
                    <a:pt x="149888" y="116376"/>
                  </a:cubicBezTo>
                  <a:cubicBezTo>
                    <a:pt x="145267" y="124017"/>
                    <a:pt x="139757" y="131717"/>
                    <a:pt x="133400" y="139475"/>
                  </a:cubicBezTo>
                  <a:cubicBezTo>
                    <a:pt x="127028" y="147116"/>
                    <a:pt x="120019" y="154873"/>
                    <a:pt x="112378" y="162748"/>
                  </a:cubicBezTo>
                  <a:lnTo>
                    <a:pt x="57675" y="223015"/>
                  </a:lnTo>
                  <a:lnTo>
                    <a:pt x="174377" y="223015"/>
                  </a:lnTo>
                  <a:close/>
                  <a:moveTo>
                    <a:pt x="371848" y="108730"/>
                  </a:moveTo>
                  <a:lnTo>
                    <a:pt x="371848" y="150063"/>
                  </a:lnTo>
                  <a:cubicBezTo>
                    <a:pt x="371848" y="169864"/>
                    <a:pt x="369873" y="186765"/>
                    <a:pt x="365938" y="200778"/>
                  </a:cubicBezTo>
                  <a:cubicBezTo>
                    <a:pt x="362125" y="214674"/>
                    <a:pt x="356561" y="225963"/>
                    <a:pt x="349260" y="234645"/>
                  </a:cubicBezTo>
                  <a:cubicBezTo>
                    <a:pt x="341960" y="243327"/>
                    <a:pt x="333219" y="249698"/>
                    <a:pt x="323035" y="253750"/>
                  </a:cubicBezTo>
                  <a:cubicBezTo>
                    <a:pt x="312971" y="257801"/>
                    <a:pt x="301668" y="259830"/>
                    <a:pt x="289168" y="259830"/>
                  </a:cubicBezTo>
                  <a:cubicBezTo>
                    <a:pt x="279221" y="259830"/>
                    <a:pt x="269951" y="258555"/>
                    <a:pt x="261381" y="256011"/>
                  </a:cubicBezTo>
                  <a:cubicBezTo>
                    <a:pt x="252933" y="253463"/>
                    <a:pt x="245287" y="249470"/>
                    <a:pt x="238468" y="244027"/>
                  </a:cubicBezTo>
                  <a:cubicBezTo>
                    <a:pt x="231634" y="238584"/>
                    <a:pt x="225773" y="231581"/>
                    <a:pt x="220914" y="223011"/>
                  </a:cubicBezTo>
                  <a:cubicBezTo>
                    <a:pt x="216172" y="214329"/>
                    <a:pt x="212466" y="203964"/>
                    <a:pt x="209800" y="191921"/>
                  </a:cubicBezTo>
                  <a:cubicBezTo>
                    <a:pt x="207256" y="179878"/>
                    <a:pt x="205972" y="165929"/>
                    <a:pt x="205972" y="150063"/>
                  </a:cubicBezTo>
                  <a:lnTo>
                    <a:pt x="205972" y="108730"/>
                  </a:lnTo>
                  <a:cubicBezTo>
                    <a:pt x="205972" y="88813"/>
                    <a:pt x="207947" y="72028"/>
                    <a:pt x="211882" y="58366"/>
                  </a:cubicBezTo>
                  <a:cubicBezTo>
                    <a:pt x="215831" y="44587"/>
                    <a:pt x="221430" y="33414"/>
                    <a:pt x="228730" y="24844"/>
                  </a:cubicBezTo>
                  <a:cubicBezTo>
                    <a:pt x="236031" y="16162"/>
                    <a:pt x="244722" y="9849"/>
                    <a:pt x="254786" y="5914"/>
                  </a:cubicBezTo>
                  <a:cubicBezTo>
                    <a:pt x="264970" y="1975"/>
                    <a:pt x="276323" y="10"/>
                    <a:pt x="288827" y="10"/>
                  </a:cubicBezTo>
                  <a:cubicBezTo>
                    <a:pt x="298910" y="10"/>
                    <a:pt x="308166" y="1284"/>
                    <a:pt x="316614" y="3833"/>
                  </a:cubicBezTo>
                  <a:cubicBezTo>
                    <a:pt x="325184" y="6265"/>
                    <a:pt x="332825" y="10141"/>
                    <a:pt x="339542" y="15467"/>
                  </a:cubicBezTo>
                  <a:cubicBezTo>
                    <a:pt x="346376" y="20793"/>
                    <a:pt x="352164" y="27738"/>
                    <a:pt x="356906" y="36308"/>
                  </a:cubicBezTo>
                  <a:cubicBezTo>
                    <a:pt x="361765" y="44762"/>
                    <a:pt x="365476" y="55010"/>
                    <a:pt x="368020" y="67048"/>
                  </a:cubicBezTo>
                  <a:cubicBezTo>
                    <a:pt x="370578" y="78974"/>
                    <a:pt x="371848" y="92870"/>
                    <a:pt x="371848" y="108730"/>
                  </a:cubicBezTo>
                  <a:close/>
                  <a:moveTo>
                    <a:pt x="329995" y="155968"/>
                  </a:moveTo>
                  <a:lnTo>
                    <a:pt x="329995" y="102476"/>
                  </a:lnTo>
                  <a:cubicBezTo>
                    <a:pt x="329995" y="92403"/>
                    <a:pt x="329411" y="83546"/>
                    <a:pt x="328258" y="75905"/>
                  </a:cubicBezTo>
                  <a:cubicBezTo>
                    <a:pt x="327091" y="68147"/>
                    <a:pt x="325355" y="61605"/>
                    <a:pt x="323039" y="56279"/>
                  </a:cubicBezTo>
                  <a:cubicBezTo>
                    <a:pt x="320841" y="50837"/>
                    <a:pt x="318059" y="46440"/>
                    <a:pt x="314708" y="43079"/>
                  </a:cubicBezTo>
                  <a:cubicBezTo>
                    <a:pt x="311342" y="39606"/>
                    <a:pt x="307529" y="37116"/>
                    <a:pt x="303234" y="35613"/>
                  </a:cubicBezTo>
                  <a:cubicBezTo>
                    <a:pt x="298959" y="33993"/>
                    <a:pt x="294148" y="33181"/>
                    <a:pt x="288823" y="33181"/>
                  </a:cubicBezTo>
                  <a:cubicBezTo>
                    <a:pt x="282349" y="33181"/>
                    <a:pt x="276542" y="34455"/>
                    <a:pt x="271459" y="37004"/>
                  </a:cubicBezTo>
                  <a:cubicBezTo>
                    <a:pt x="266357" y="39436"/>
                    <a:pt x="262081" y="43371"/>
                    <a:pt x="258613" y="48813"/>
                  </a:cubicBezTo>
                  <a:cubicBezTo>
                    <a:pt x="255126" y="54256"/>
                    <a:pt x="252466" y="61435"/>
                    <a:pt x="250608" y="70350"/>
                  </a:cubicBezTo>
                  <a:cubicBezTo>
                    <a:pt x="248871" y="79149"/>
                    <a:pt x="248015" y="89859"/>
                    <a:pt x="248015" y="102480"/>
                  </a:cubicBezTo>
                  <a:lnTo>
                    <a:pt x="248015" y="155973"/>
                  </a:lnTo>
                  <a:cubicBezTo>
                    <a:pt x="248015" y="166162"/>
                    <a:pt x="248584" y="175136"/>
                    <a:pt x="249752" y="182894"/>
                  </a:cubicBezTo>
                  <a:cubicBezTo>
                    <a:pt x="250904" y="190652"/>
                    <a:pt x="252636" y="197310"/>
                    <a:pt x="254956" y="202865"/>
                  </a:cubicBezTo>
                  <a:cubicBezTo>
                    <a:pt x="257276" y="208307"/>
                    <a:pt x="260058" y="212821"/>
                    <a:pt x="263302" y="216410"/>
                  </a:cubicBezTo>
                  <a:cubicBezTo>
                    <a:pt x="266653" y="219883"/>
                    <a:pt x="270481" y="222432"/>
                    <a:pt x="274756" y="224051"/>
                  </a:cubicBezTo>
                  <a:cubicBezTo>
                    <a:pt x="279153" y="225671"/>
                    <a:pt x="283964" y="226483"/>
                    <a:pt x="289168" y="226483"/>
                  </a:cubicBezTo>
                  <a:cubicBezTo>
                    <a:pt x="295778" y="226483"/>
                    <a:pt x="301619" y="225209"/>
                    <a:pt x="306721" y="222660"/>
                  </a:cubicBezTo>
                  <a:cubicBezTo>
                    <a:pt x="311804" y="220112"/>
                    <a:pt x="316099" y="216060"/>
                    <a:pt x="319567" y="210501"/>
                  </a:cubicBezTo>
                  <a:cubicBezTo>
                    <a:pt x="323035" y="204830"/>
                    <a:pt x="325646" y="197476"/>
                    <a:pt x="327383" y="188443"/>
                  </a:cubicBezTo>
                  <a:cubicBezTo>
                    <a:pt x="329119" y="179411"/>
                    <a:pt x="329995" y="168585"/>
                    <a:pt x="329995" y="155963"/>
                  </a:cubicBezTo>
                  <a:close/>
                  <a:moveTo>
                    <a:pt x="578701" y="223006"/>
                  </a:moveTo>
                  <a:lnTo>
                    <a:pt x="578701" y="256352"/>
                  </a:lnTo>
                  <a:lnTo>
                    <a:pt x="409187" y="256352"/>
                  </a:lnTo>
                  <a:lnTo>
                    <a:pt x="409187" y="227694"/>
                  </a:lnTo>
                  <a:lnTo>
                    <a:pt x="491507" y="137904"/>
                  </a:lnTo>
                  <a:cubicBezTo>
                    <a:pt x="500539" y="127714"/>
                    <a:pt x="507670" y="118915"/>
                    <a:pt x="512874" y="111503"/>
                  </a:cubicBezTo>
                  <a:cubicBezTo>
                    <a:pt x="518078" y="104090"/>
                    <a:pt x="521736" y="97437"/>
                    <a:pt x="523813" y="91532"/>
                  </a:cubicBezTo>
                  <a:cubicBezTo>
                    <a:pt x="526011" y="85511"/>
                    <a:pt x="527110" y="79664"/>
                    <a:pt x="527110" y="73988"/>
                  </a:cubicBezTo>
                  <a:cubicBezTo>
                    <a:pt x="527110" y="65997"/>
                    <a:pt x="525617" y="58993"/>
                    <a:pt x="522592" y="52972"/>
                  </a:cubicBezTo>
                  <a:cubicBezTo>
                    <a:pt x="519708" y="46834"/>
                    <a:pt x="515413" y="42028"/>
                    <a:pt x="509746" y="38555"/>
                  </a:cubicBezTo>
                  <a:cubicBezTo>
                    <a:pt x="504080" y="34966"/>
                    <a:pt x="497193" y="33171"/>
                    <a:pt x="489085" y="33171"/>
                  </a:cubicBezTo>
                  <a:cubicBezTo>
                    <a:pt x="479708" y="33171"/>
                    <a:pt x="471823" y="35199"/>
                    <a:pt x="465452" y="39251"/>
                  </a:cubicBezTo>
                  <a:cubicBezTo>
                    <a:pt x="459095" y="43302"/>
                    <a:pt x="454289" y="48920"/>
                    <a:pt x="451040" y="56099"/>
                  </a:cubicBezTo>
                  <a:cubicBezTo>
                    <a:pt x="447796" y="63161"/>
                    <a:pt x="446181" y="71269"/>
                    <a:pt x="446181" y="80413"/>
                  </a:cubicBezTo>
                  <a:lnTo>
                    <a:pt x="404328" y="80413"/>
                  </a:lnTo>
                  <a:cubicBezTo>
                    <a:pt x="404328" y="65710"/>
                    <a:pt x="407679" y="52276"/>
                    <a:pt x="414391" y="40122"/>
                  </a:cubicBezTo>
                  <a:cubicBezTo>
                    <a:pt x="421108" y="27850"/>
                    <a:pt x="430846" y="18123"/>
                    <a:pt x="443569" y="10944"/>
                  </a:cubicBezTo>
                  <a:cubicBezTo>
                    <a:pt x="456313" y="3648"/>
                    <a:pt x="471648" y="0"/>
                    <a:pt x="489596" y="0"/>
                  </a:cubicBezTo>
                  <a:cubicBezTo>
                    <a:pt x="506497" y="0"/>
                    <a:pt x="520855" y="2836"/>
                    <a:pt x="532670" y="8512"/>
                  </a:cubicBezTo>
                  <a:cubicBezTo>
                    <a:pt x="544484" y="14188"/>
                    <a:pt x="553453" y="22232"/>
                    <a:pt x="559581" y="32656"/>
                  </a:cubicBezTo>
                  <a:cubicBezTo>
                    <a:pt x="565831" y="43074"/>
                    <a:pt x="568958" y="55409"/>
                    <a:pt x="568958" y="69650"/>
                  </a:cubicBezTo>
                  <a:cubicBezTo>
                    <a:pt x="568958" y="77524"/>
                    <a:pt x="567689" y="85340"/>
                    <a:pt x="565145" y="93098"/>
                  </a:cubicBezTo>
                  <a:cubicBezTo>
                    <a:pt x="562601" y="100856"/>
                    <a:pt x="558944" y="108614"/>
                    <a:pt x="554207" y="116372"/>
                  </a:cubicBezTo>
                  <a:cubicBezTo>
                    <a:pt x="549571" y="124013"/>
                    <a:pt x="544075" y="131712"/>
                    <a:pt x="537704" y="139470"/>
                  </a:cubicBezTo>
                  <a:cubicBezTo>
                    <a:pt x="531332" y="147111"/>
                    <a:pt x="524323" y="154869"/>
                    <a:pt x="516697" y="162743"/>
                  </a:cubicBezTo>
                  <a:lnTo>
                    <a:pt x="461979" y="223011"/>
                  </a:lnTo>
                  <a:lnTo>
                    <a:pt x="578701" y="223011"/>
                  </a:lnTo>
                  <a:close/>
                  <a:moveTo>
                    <a:pt x="660505" y="110982"/>
                  </a:moveTo>
                  <a:lnTo>
                    <a:pt x="685510" y="110982"/>
                  </a:lnTo>
                  <a:cubicBezTo>
                    <a:pt x="695233" y="110982"/>
                    <a:pt x="703287" y="109304"/>
                    <a:pt x="709639" y="105948"/>
                  </a:cubicBezTo>
                  <a:cubicBezTo>
                    <a:pt x="716132" y="102592"/>
                    <a:pt x="720943" y="97957"/>
                    <a:pt x="724065" y="92052"/>
                  </a:cubicBezTo>
                  <a:cubicBezTo>
                    <a:pt x="727193" y="86148"/>
                    <a:pt x="728754" y="79373"/>
                    <a:pt x="728754" y="71731"/>
                  </a:cubicBezTo>
                  <a:cubicBezTo>
                    <a:pt x="728754" y="64090"/>
                    <a:pt x="727295" y="56911"/>
                    <a:pt x="724411" y="51240"/>
                  </a:cubicBezTo>
                  <a:cubicBezTo>
                    <a:pt x="721628" y="45452"/>
                    <a:pt x="717353" y="40992"/>
                    <a:pt x="711565" y="37865"/>
                  </a:cubicBezTo>
                  <a:cubicBezTo>
                    <a:pt x="705879" y="34737"/>
                    <a:pt x="698652" y="33176"/>
                    <a:pt x="689858" y="33176"/>
                  </a:cubicBezTo>
                  <a:cubicBezTo>
                    <a:pt x="682441" y="33176"/>
                    <a:pt x="675724" y="34679"/>
                    <a:pt x="669712" y="37690"/>
                  </a:cubicBezTo>
                  <a:cubicBezTo>
                    <a:pt x="663803" y="40584"/>
                    <a:pt x="659114" y="44752"/>
                    <a:pt x="655626" y="50195"/>
                  </a:cubicBezTo>
                  <a:cubicBezTo>
                    <a:pt x="652159" y="55520"/>
                    <a:pt x="650422" y="61887"/>
                    <a:pt x="650422" y="69300"/>
                  </a:cubicBezTo>
                  <a:lnTo>
                    <a:pt x="608394" y="69300"/>
                  </a:lnTo>
                  <a:cubicBezTo>
                    <a:pt x="608394" y="55866"/>
                    <a:pt x="611916" y="43945"/>
                    <a:pt x="618992" y="33521"/>
                  </a:cubicBezTo>
                  <a:cubicBezTo>
                    <a:pt x="626050" y="23103"/>
                    <a:pt x="635670" y="14937"/>
                    <a:pt x="647810" y="9032"/>
                  </a:cubicBezTo>
                  <a:cubicBezTo>
                    <a:pt x="660092" y="3011"/>
                    <a:pt x="673866" y="0"/>
                    <a:pt x="689148" y="0"/>
                  </a:cubicBezTo>
                  <a:cubicBezTo>
                    <a:pt x="705480" y="0"/>
                    <a:pt x="719717" y="2724"/>
                    <a:pt x="731876" y="8161"/>
                  </a:cubicBezTo>
                  <a:cubicBezTo>
                    <a:pt x="744138" y="13487"/>
                    <a:pt x="753705" y="21479"/>
                    <a:pt x="760524" y="32130"/>
                  </a:cubicBezTo>
                  <a:cubicBezTo>
                    <a:pt x="767358" y="42782"/>
                    <a:pt x="770777" y="55982"/>
                    <a:pt x="770777" y="71727"/>
                  </a:cubicBezTo>
                  <a:cubicBezTo>
                    <a:pt x="770777" y="78906"/>
                    <a:pt x="769094" y="86201"/>
                    <a:pt x="765743" y="93609"/>
                  </a:cubicBezTo>
                  <a:cubicBezTo>
                    <a:pt x="762378" y="101021"/>
                    <a:pt x="757397" y="107792"/>
                    <a:pt x="750802" y="113930"/>
                  </a:cubicBezTo>
                  <a:cubicBezTo>
                    <a:pt x="744206" y="119951"/>
                    <a:pt x="735982" y="124869"/>
                    <a:pt x="726137" y="128692"/>
                  </a:cubicBezTo>
                  <a:cubicBezTo>
                    <a:pt x="716298" y="132398"/>
                    <a:pt x="704892" y="134251"/>
                    <a:pt x="691925" y="134251"/>
                  </a:cubicBezTo>
                  <a:lnTo>
                    <a:pt x="660495" y="134251"/>
                  </a:lnTo>
                  <a:lnTo>
                    <a:pt x="660495" y="110978"/>
                  </a:lnTo>
                  <a:close/>
                  <a:moveTo>
                    <a:pt x="660505" y="143633"/>
                  </a:moveTo>
                  <a:lnTo>
                    <a:pt x="660505" y="120705"/>
                  </a:lnTo>
                  <a:lnTo>
                    <a:pt x="691935" y="120705"/>
                  </a:lnTo>
                  <a:cubicBezTo>
                    <a:pt x="706755" y="120705"/>
                    <a:pt x="719381" y="122442"/>
                    <a:pt x="729790" y="125914"/>
                  </a:cubicBezTo>
                  <a:cubicBezTo>
                    <a:pt x="740335" y="129387"/>
                    <a:pt x="748905" y="134193"/>
                    <a:pt x="755500" y="140331"/>
                  </a:cubicBezTo>
                  <a:cubicBezTo>
                    <a:pt x="762095" y="146352"/>
                    <a:pt x="766906" y="153239"/>
                    <a:pt x="769911" y="160997"/>
                  </a:cubicBezTo>
                  <a:cubicBezTo>
                    <a:pt x="773039" y="168755"/>
                    <a:pt x="774600" y="176975"/>
                    <a:pt x="774600" y="185661"/>
                  </a:cubicBezTo>
                  <a:cubicBezTo>
                    <a:pt x="774600" y="197471"/>
                    <a:pt x="772470" y="208006"/>
                    <a:pt x="768175" y="217271"/>
                  </a:cubicBezTo>
                  <a:cubicBezTo>
                    <a:pt x="764016" y="226420"/>
                    <a:pt x="758044" y="234178"/>
                    <a:pt x="750296" y="240545"/>
                  </a:cubicBezTo>
                  <a:cubicBezTo>
                    <a:pt x="742533" y="246911"/>
                    <a:pt x="733447" y="251717"/>
                    <a:pt x="723024" y="254961"/>
                  </a:cubicBezTo>
                  <a:cubicBezTo>
                    <a:pt x="712718" y="258205"/>
                    <a:pt x="701487" y="259825"/>
                    <a:pt x="689328" y="259825"/>
                  </a:cubicBezTo>
                  <a:cubicBezTo>
                    <a:pt x="678457" y="259825"/>
                    <a:pt x="668029" y="258322"/>
                    <a:pt x="658068" y="255311"/>
                  </a:cubicBezTo>
                  <a:cubicBezTo>
                    <a:pt x="648107" y="252300"/>
                    <a:pt x="639192" y="247845"/>
                    <a:pt x="631327" y="241940"/>
                  </a:cubicBezTo>
                  <a:cubicBezTo>
                    <a:pt x="623443" y="235919"/>
                    <a:pt x="617193" y="228453"/>
                    <a:pt x="612572" y="219538"/>
                  </a:cubicBezTo>
                  <a:cubicBezTo>
                    <a:pt x="608054" y="210506"/>
                    <a:pt x="605787" y="200087"/>
                    <a:pt x="605787" y="188273"/>
                  </a:cubicBezTo>
                  <a:lnTo>
                    <a:pt x="647640" y="188273"/>
                  </a:lnTo>
                  <a:cubicBezTo>
                    <a:pt x="647640" y="195802"/>
                    <a:pt x="649377" y="202456"/>
                    <a:pt x="652859" y="208249"/>
                  </a:cubicBezTo>
                  <a:cubicBezTo>
                    <a:pt x="656449" y="213920"/>
                    <a:pt x="661429" y="218380"/>
                    <a:pt x="667786" y="221619"/>
                  </a:cubicBezTo>
                  <a:cubicBezTo>
                    <a:pt x="674279" y="224864"/>
                    <a:pt x="681682" y="226483"/>
                    <a:pt x="690028" y="226483"/>
                  </a:cubicBezTo>
                  <a:cubicBezTo>
                    <a:pt x="698822" y="226483"/>
                    <a:pt x="706415" y="224922"/>
                    <a:pt x="712767" y="221795"/>
                  </a:cubicBezTo>
                  <a:cubicBezTo>
                    <a:pt x="719138" y="218667"/>
                    <a:pt x="723997" y="214037"/>
                    <a:pt x="727363" y="207899"/>
                  </a:cubicBezTo>
                  <a:cubicBezTo>
                    <a:pt x="730831" y="201761"/>
                    <a:pt x="732567" y="194353"/>
                    <a:pt x="732567" y="185671"/>
                  </a:cubicBezTo>
                  <a:cubicBezTo>
                    <a:pt x="732567" y="175827"/>
                    <a:pt x="730660" y="167840"/>
                    <a:pt x="726847" y="161702"/>
                  </a:cubicBezTo>
                  <a:cubicBezTo>
                    <a:pt x="723019" y="155564"/>
                    <a:pt x="717572" y="151050"/>
                    <a:pt x="710515" y="148157"/>
                  </a:cubicBezTo>
                  <a:cubicBezTo>
                    <a:pt x="703457" y="145146"/>
                    <a:pt x="695111" y="143643"/>
                    <a:pt x="685510" y="143643"/>
                  </a:cubicBezTo>
                  <a:lnTo>
                    <a:pt x="660505" y="143643"/>
                  </a:lnTo>
                  <a:close/>
                </a:path>
              </a:pathLst>
            </a:custGeom>
            <a:solidFill>
              <a:schemeClr val="tx1"/>
            </a:solidFill>
            <a:ln w="4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pic>
        <p:nvPicPr>
          <p:cNvPr id="389" name="Рисунок 388">
            <a:extLst>
              <a:ext uri="{FF2B5EF4-FFF2-40B4-BE49-F238E27FC236}">
                <a16:creationId xmlns:a16="http://schemas.microsoft.com/office/drawing/2014/main" id="{B78B384F-F3A2-4E10-8405-6E2FAB593BD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03721" y="6049020"/>
            <a:ext cx="1688608" cy="472507"/>
          </a:xfrm>
          <a:prstGeom prst="rect">
            <a:avLst/>
          </a:prstGeom>
        </p:spPr>
      </p:pic>
      <p:grpSp>
        <p:nvGrpSpPr>
          <p:cNvPr id="2" name="Группа 1">
            <a:extLst>
              <a:ext uri="{FF2B5EF4-FFF2-40B4-BE49-F238E27FC236}">
                <a16:creationId xmlns:a16="http://schemas.microsoft.com/office/drawing/2014/main" id="{42918885-DC3C-425A-B583-A334D23EBD04}"/>
              </a:ext>
            </a:extLst>
          </p:cNvPr>
          <p:cNvGrpSpPr/>
          <p:nvPr/>
        </p:nvGrpSpPr>
        <p:grpSpPr>
          <a:xfrm>
            <a:off x="838784" y="2028337"/>
            <a:ext cx="3166090" cy="2801326"/>
            <a:chOff x="838784" y="2028337"/>
            <a:chExt cx="3166090" cy="2801326"/>
          </a:xfrm>
        </p:grpSpPr>
        <p:sp>
          <p:nvSpPr>
            <p:cNvPr id="31" name="Shape_фон">
              <a:extLst>
                <a:ext uri="{FF2B5EF4-FFF2-40B4-BE49-F238E27FC236}">
                  <a16:creationId xmlns:a16="http://schemas.microsoft.com/office/drawing/2014/main" id="{BB03D6B7-BF89-4805-9BF0-98D134C0B5AF}"/>
                </a:ext>
              </a:extLst>
            </p:cNvPr>
            <p:cNvSpPr/>
            <p:nvPr/>
          </p:nvSpPr>
          <p:spPr>
            <a:xfrm>
              <a:off x="838784" y="2028337"/>
              <a:ext cx="3166090" cy="2801326"/>
            </a:xfrm>
            <a:prstGeom prst="roundRect">
              <a:avLst>
                <a:gd name="adj" fmla="val 8571"/>
              </a:avLst>
            </a:prstGeom>
            <a:solidFill>
              <a:schemeClr val="bg1"/>
            </a:solidFill>
            <a:ln w="12700" cap="flat">
              <a:noFill/>
              <a:prstDash val="solid"/>
              <a:miter/>
            </a:ln>
            <a:effectLst>
              <a:outerShdw blurRad="1003300" sx="102000" sy="102000" algn="ctr" rotWithShape="0">
                <a:schemeClr val="tx1">
                  <a:alpha val="20000"/>
                </a:schemeClr>
              </a:outerShdw>
            </a:effectLst>
          </p:spPr>
          <p:txBody>
            <a:bodyPr lIns="0" tIns="0" rIns="0" bIns="0" anchor="ctr"/>
            <a:lstStyle/>
            <a:p>
              <a:pPr marL="0" marR="0" lvl="0" indent="0" algn="ctr" defTabSz="309563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itchFamily="2" charset="0"/>
                <a:ea typeface="Roboto" pitchFamily="2" charset="0"/>
                <a:cs typeface="Poppins Bold"/>
                <a:sym typeface="Poppins Bold"/>
              </a:endParaRPr>
            </a:p>
          </p:txBody>
        </p:sp>
        <p:sp>
          <p:nvSpPr>
            <p:cNvPr id="37" name="Заголовок">
              <a:extLst>
                <a:ext uri="{FF2B5EF4-FFF2-40B4-BE49-F238E27FC236}">
                  <a16:creationId xmlns:a16="http://schemas.microsoft.com/office/drawing/2014/main" id="{E6A8F930-56C4-43BC-B6E6-B3F52C65F3E5}"/>
                </a:ext>
              </a:extLst>
            </p:cNvPr>
            <p:cNvSpPr txBox="1"/>
            <p:nvPr/>
          </p:nvSpPr>
          <p:spPr>
            <a:xfrm>
              <a:off x="1281249" y="2429688"/>
              <a:ext cx="2281161" cy="132343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8000" dirty="0">
                  <a:solidFill>
                    <a:schemeClr val="bg2"/>
                  </a:solidFill>
                  <a:latin typeface="SB Sans Text Medium" panose="020B0603040504020204" pitchFamily="34" charset="-52"/>
                  <a:ea typeface="Roboto" pitchFamily="2" charset="0"/>
                  <a:cs typeface="SB Sans Text Medium" panose="020B0603040504020204" pitchFamily="34" charset="-52"/>
                </a:rPr>
                <a:t>&gt;21</a:t>
              </a:r>
              <a:endParaRPr lang="ru-RU" sz="8000" dirty="0">
                <a:solidFill>
                  <a:schemeClr val="bg2"/>
                </a:solidFill>
                <a:latin typeface="SB Sans Text Medium" panose="020B0603040504020204" pitchFamily="34" charset="-52"/>
                <a:ea typeface="Roboto" pitchFamily="2" charset="0"/>
                <a:cs typeface="SB Sans Text Medium" panose="020B0603040504020204" pitchFamily="34" charset="-52"/>
              </a:endParaRPr>
            </a:p>
          </p:txBody>
        </p:sp>
        <p:sp>
          <p:nvSpPr>
            <p:cNvPr id="38" name="Motion design">
              <a:extLst>
                <a:ext uri="{FF2B5EF4-FFF2-40B4-BE49-F238E27FC236}">
                  <a16:creationId xmlns:a16="http://schemas.microsoft.com/office/drawing/2014/main" id="{DA93684F-37BE-48D7-AD10-22B5F35451C6}"/>
                </a:ext>
              </a:extLst>
            </p:cNvPr>
            <p:cNvSpPr txBox="1"/>
            <p:nvPr/>
          </p:nvSpPr>
          <p:spPr>
            <a:xfrm>
              <a:off x="1311727" y="3882477"/>
              <a:ext cx="2220204" cy="611449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</a:ext>
            </a:extLst>
          </p:spPr>
          <p:txBody>
            <a:bodyPr wrap="square" lIns="0" tIns="0" rIns="0" bIns="0" anchor="ctr">
              <a:spAutoFit/>
            </a:bodyPr>
            <a:lstStyle>
              <a:lvl1pPr>
                <a:lnSpc>
                  <a:spcPct val="130000"/>
                </a:lnSpc>
                <a:defRPr sz="3000">
                  <a:latin typeface="+mn-lt"/>
                  <a:ea typeface="+mn-ea"/>
                  <a:cs typeface="+mn-cs"/>
                  <a:sym typeface="Poppins SemiBold"/>
                </a:defRPr>
              </a:lvl1pPr>
            </a:lstStyle>
            <a:p>
              <a:pPr algn="ctr" defTabSz="309563" hangingPunct="0">
                <a:buClrTx/>
                <a:defRPr/>
              </a:pPr>
              <a:r>
                <a:rPr lang="ru-RU" sz="1600" dirty="0">
                  <a:solidFill>
                    <a:srgbClr val="0D0D0D"/>
                  </a:solidFill>
                  <a:latin typeface="SB Sans Text Light" panose="020B0303040504020204" pitchFamily="34" charset="-52"/>
                  <a:ea typeface="Roboto Light" panose="02000000000000000000" pitchFamily="2" charset="0"/>
                  <a:cs typeface="SB Sans Text Light" panose="020B0303040504020204" pitchFamily="34" charset="-52"/>
                </a:rPr>
                <a:t>млн исторических записей</a:t>
              </a:r>
            </a:p>
          </p:txBody>
        </p:sp>
      </p:grpSp>
      <p:grpSp>
        <p:nvGrpSpPr>
          <p:cNvPr id="6" name="Группа 5">
            <a:extLst>
              <a:ext uri="{FF2B5EF4-FFF2-40B4-BE49-F238E27FC236}">
                <a16:creationId xmlns:a16="http://schemas.microsoft.com/office/drawing/2014/main" id="{B46ECB4F-CA48-49C8-9D11-094380DC46D2}"/>
              </a:ext>
            </a:extLst>
          </p:cNvPr>
          <p:cNvGrpSpPr/>
          <p:nvPr/>
        </p:nvGrpSpPr>
        <p:grpSpPr>
          <a:xfrm>
            <a:off x="12664943" y="2028337"/>
            <a:ext cx="3166090" cy="2801326"/>
            <a:chOff x="4530523" y="2028337"/>
            <a:chExt cx="3166090" cy="2801326"/>
          </a:xfrm>
        </p:grpSpPr>
        <p:sp>
          <p:nvSpPr>
            <p:cNvPr id="33" name="Shape_фон">
              <a:extLst>
                <a:ext uri="{FF2B5EF4-FFF2-40B4-BE49-F238E27FC236}">
                  <a16:creationId xmlns:a16="http://schemas.microsoft.com/office/drawing/2014/main" id="{CD095046-E8CC-484B-AEA1-2CAEDE3282EF}"/>
                </a:ext>
              </a:extLst>
            </p:cNvPr>
            <p:cNvSpPr/>
            <p:nvPr/>
          </p:nvSpPr>
          <p:spPr>
            <a:xfrm>
              <a:off x="4530523" y="2028337"/>
              <a:ext cx="3166090" cy="2801326"/>
            </a:xfrm>
            <a:prstGeom prst="roundRect">
              <a:avLst>
                <a:gd name="adj" fmla="val 8571"/>
              </a:avLst>
            </a:prstGeom>
            <a:solidFill>
              <a:schemeClr val="bg1"/>
            </a:solidFill>
            <a:ln w="12700" cap="flat">
              <a:noFill/>
              <a:prstDash val="solid"/>
              <a:miter/>
            </a:ln>
            <a:effectLst>
              <a:outerShdw blurRad="1003300" sx="102000" sy="102000" algn="ctr" rotWithShape="0">
                <a:schemeClr val="tx1">
                  <a:alpha val="20000"/>
                </a:schemeClr>
              </a:outerShdw>
            </a:effectLst>
          </p:spPr>
          <p:txBody>
            <a:bodyPr lIns="0" tIns="0" rIns="0" bIns="0" anchor="ctr"/>
            <a:lstStyle/>
            <a:p>
              <a:pPr marL="0" marR="0" lvl="0" indent="0" algn="ctr" defTabSz="309563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itchFamily="2" charset="0"/>
                <a:ea typeface="Roboto" pitchFamily="2" charset="0"/>
                <a:cs typeface="Poppins Bold"/>
                <a:sym typeface="Poppins Bold"/>
              </a:endParaRPr>
            </a:p>
          </p:txBody>
        </p:sp>
        <p:sp>
          <p:nvSpPr>
            <p:cNvPr id="39" name="Заголовок">
              <a:extLst>
                <a:ext uri="{FF2B5EF4-FFF2-40B4-BE49-F238E27FC236}">
                  <a16:creationId xmlns:a16="http://schemas.microsoft.com/office/drawing/2014/main" id="{1C0C9BDF-E390-4B3D-A681-881B94924572}"/>
                </a:ext>
              </a:extLst>
            </p:cNvPr>
            <p:cNvSpPr txBox="1"/>
            <p:nvPr/>
          </p:nvSpPr>
          <p:spPr>
            <a:xfrm>
              <a:off x="4767079" y="2429688"/>
              <a:ext cx="2692979" cy="132343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8000" dirty="0">
                  <a:solidFill>
                    <a:schemeClr val="bg2"/>
                  </a:solidFill>
                  <a:latin typeface="SB Sans Text Medium" panose="020B0603040504020204" pitchFamily="34" charset="-52"/>
                  <a:ea typeface="Roboto" pitchFamily="2" charset="0"/>
                  <a:cs typeface="SB Sans Text Medium" panose="020B0603040504020204" pitchFamily="34" charset="-52"/>
                </a:rPr>
                <a:t>10,4</a:t>
              </a:r>
              <a:endParaRPr lang="ru-RU" sz="8000" dirty="0">
                <a:solidFill>
                  <a:schemeClr val="bg2"/>
                </a:solidFill>
                <a:latin typeface="SB Sans Text Medium" panose="020B0603040504020204" pitchFamily="34" charset="-52"/>
                <a:ea typeface="Roboto" pitchFamily="2" charset="0"/>
                <a:cs typeface="SB Sans Text Medium" panose="020B0603040504020204" pitchFamily="34" charset="-52"/>
              </a:endParaRPr>
            </a:p>
          </p:txBody>
        </p:sp>
        <p:sp>
          <p:nvSpPr>
            <p:cNvPr id="40" name="Motion design">
              <a:extLst>
                <a:ext uri="{FF2B5EF4-FFF2-40B4-BE49-F238E27FC236}">
                  <a16:creationId xmlns:a16="http://schemas.microsoft.com/office/drawing/2014/main" id="{69D721E3-D26B-4853-AF00-3723F20ED0A7}"/>
                </a:ext>
              </a:extLst>
            </p:cNvPr>
            <p:cNvSpPr txBox="1"/>
            <p:nvPr/>
          </p:nvSpPr>
          <p:spPr>
            <a:xfrm>
              <a:off x="4815340" y="3882477"/>
              <a:ext cx="2596456" cy="611449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</a:ext>
            </a:extLst>
          </p:spPr>
          <p:txBody>
            <a:bodyPr wrap="square" lIns="0" tIns="0" rIns="0" bIns="0" anchor="ctr">
              <a:spAutoFit/>
            </a:bodyPr>
            <a:lstStyle>
              <a:lvl1pPr>
                <a:lnSpc>
                  <a:spcPct val="130000"/>
                </a:lnSpc>
                <a:defRPr sz="3000">
                  <a:latin typeface="+mn-lt"/>
                  <a:ea typeface="+mn-ea"/>
                  <a:cs typeface="+mn-cs"/>
                  <a:sym typeface="Poppins SemiBold"/>
                </a:defRPr>
              </a:lvl1pPr>
            </a:lstStyle>
            <a:p>
              <a:pPr algn="ctr" defTabSz="309563" hangingPunct="0">
                <a:buClrTx/>
                <a:defRPr/>
              </a:pPr>
              <a:r>
                <a:rPr lang="ru-RU" sz="1600" dirty="0">
                  <a:solidFill>
                    <a:srgbClr val="0D0D0D"/>
                  </a:solidFill>
                  <a:latin typeface="SB Sans Text Light" panose="020B0303040504020204" pitchFamily="34" charset="-52"/>
                  <a:ea typeface="Roboto Light" panose="02000000000000000000" pitchFamily="2" charset="0"/>
                  <a:cs typeface="SB Sans Text Light" panose="020B0303040504020204" pitchFamily="34" charset="-52"/>
                </a:rPr>
                <a:t>млн записей </a:t>
              </a:r>
              <a:br>
                <a:rPr lang="en-US" sz="1600" dirty="0">
                  <a:solidFill>
                    <a:srgbClr val="0D0D0D"/>
                  </a:solidFill>
                  <a:latin typeface="SB Sans Text Light" panose="020B0303040504020204" pitchFamily="34" charset="-52"/>
                  <a:ea typeface="Roboto Light" panose="02000000000000000000" pitchFamily="2" charset="0"/>
                  <a:cs typeface="SB Sans Text Light" panose="020B0303040504020204" pitchFamily="34" charset="-52"/>
                </a:rPr>
              </a:br>
              <a:r>
                <a:rPr lang="ru-RU" sz="1600" dirty="0">
                  <a:solidFill>
                    <a:srgbClr val="0D0D0D"/>
                  </a:solidFill>
                  <a:latin typeface="SB Sans Text Light" panose="020B0303040504020204" pitchFamily="34" charset="-52"/>
                  <a:ea typeface="Roboto Light" panose="02000000000000000000" pitchFamily="2" charset="0"/>
                  <a:cs typeface="SB Sans Text Light" panose="020B0303040504020204" pitchFamily="34" charset="-52"/>
                </a:rPr>
                <a:t>с активными договорами</a:t>
              </a:r>
            </a:p>
          </p:txBody>
        </p:sp>
      </p:grpSp>
      <p:grpSp>
        <p:nvGrpSpPr>
          <p:cNvPr id="7" name="Группа 6">
            <a:extLst>
              <a:ext uri="{FF2B5EF4-FFF2-40B4-BE49-F238E27FC236}">
                <a16:creationId xmlns:a16="http://schemas.microsoft.com/office/drawing/2014/main" id="{D8C231C0-3201-4AA6-83B7-853827028A76}"/>
              </a:ext>
            </a:extLst>
          </p:cNvPr>
          <p:cNvGrpSpPr/>
          <p:nvPr/>
        </p:nvGrpSpPr>
        <p:grpSpPr>
          <a:xfrm>
            <a:off x="16321546" y="2028337"/>
            <a:ext cx="3166090" cy="2801326"/>
            <a:chOff x="8187126" y="2028337"/>
            <a:chExt cx="3166090" cy="2801326"/>
          </a:xfrm>
        </p:grpSpPr>
        <p:sp>
          <p:nvSpPr>
            <p:cNvPr id="34" name="Shape_фон">
              <a:extLst>
                <a:ext uri="{FF2B5EF4-FFF2-40B4-BE49-F238E27FC236}">
                  <a16:creationId xmlns:a16="http://schemas.microsoft.com/office/drawing/2014/main" id="{1A7EE97F-685C-4CD0-813D-8E3617FA9688}"/>
                </a:ext>
              </a:extLst>
            </p:cNvPr>
            <p:cNvSpPr/>
            <p:nvPr/>
          </p:nvSpPr>
          <p:spPr>
            <a:xfrm>
              <a:off x="8187126" y="2028337"/>
              <a:ext cx="3166090" cy="2801326"/>
            </a:xfrm>
            <a:prstGeom prst="roundRect">
              <a:avLst>
                <a:gd name="adj" fmla="val 8571"/>
              </a:avLst>
            </a:prstGeom>
            <a:solidFill>
              <a:schemeClr val="bg1"/>
            </a:solidFill>
            <a:ln w="12700" cap="flat">
              <a:noFill/>
              <a:prstDash val="solid"/>
              <a:miter/>
            </a:ln>
            <a:effectLst>
              <a:outerShdw blurRad="1003300" sx="102000" sy="102000" algn="ctr" rotWithShape="0">
                <a:schemeClr val="tx1">
                  <a:alpha val="20000"/>
                </a:schemeClr>
              </a:outerShdw>
            </a:effectLst>
          </p:spPr>
          <p:txBody>
            <a:bodyPr lIns="0" tIns="0" rIns="0" bIns="0" anchor="ctr"/>
            <a:lstStyle/>
            <a:p>
              <a:pPr marL="0" marR="0" lvl="0" indent="0" algn="ctr" defTabSz="309563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itchFamily="2" charset="0"/>
                <a:ea typeface="Roboto" pitchFamily="2" charset="0"/>
                <a:cs typeface="Poppins Bold"/>
                <a:sym typeface="Poppins Bold"/>
              </a:endParaRPr>
            </a:p>
          </p:txBody>
        </p:sp>
        <p:sp>
          <p:nvSpPr>
            <p:cNvPr id="43" name="Заголовок">
              <a:extLst>
                <a:ext uri="{FF2B5EF4-FFF2-40B4-BE49-F238E27FC236}">
                  <a16:creationId xmlns:a16="http://schemas.microsoft.com/office/drawing/2014/main" id="{F19605E8-E141-4097-925F-46379DCD89D2}"/>
                </a:ext>
              </a:extLst>
            </p:cNvPr>
            <p:cNvSpPr txBox="1"/>
            <p:nvPr/>
          </p:nvSpPr>
          <p:spPr>
            <a:xfrm>
              <a:off x="8784945" y="2429688"/>
              <a:ext cx="1970453" cy="132343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ru-RU" sz="8000" dirty="0">
                  <a:solidFill>
                    <a:schemeClr val="bg2"/>
                  </a:solidFill>
                  <a:latin typeface="SB Sans Text Medium" panose="020B0603040504020204" pitchFamily="34" charset="-52"/>
                  <a:ea typeface="Roboto" pitchFamily="2" charset="0"/>
                  <a:cs typeface="SB Sans Text Medium" panose="020B0603040504020204" pitchFamily="34" charset="-52"/>
                </a:rPr>
                <a:t>8,8</a:t>
              </a:r>
            </a:p>
          </p:txBody>
        </p:sp>
        <p:sp>
          <p:nvSpPr>
            <p:cNvPr id="50" name="Motion design">
              <a:extLst>
                <a:ext uri="{FF2B5EF4-FFF2-40B4-BE49-F238E27FC236}">
                  <a16:creationId xmlns:a16="http://schemas.microsoft.com/office/drawing/2014/main" id="{C12542EF-0901-4851-ABB5-DCB55110690D}"/>
                </a:ext>
              </a:extLst>
            </p:cNvPr>
            <p:cNvSpPr txBox="1"/>
            <p:nvPr/>
          </p:nvSpPr>
          <p:spPr>
            <a:xfrm>
              <a:off x="8660069" y="3882477"/>
              <a:ext cx="2220204" cy="611449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</a:ext>
            </a:extLst>
          </p:spPr>
          <p:txBody>
            <a:bodyPr wrap="square" lIns="0" tIns="0" rIns="0" bIns="0" anchor="ctr">
              <a:spAutoFit/>
            </a:bodyPr>
            <a:lstStyle>
              <a:lvl1pPr>
                <a:lnSpc>
                  <a:spcPct val="130000"/>
                </a:lnSpc>
                <a:defRPr sz="3000">
                  <a:latin typeface="+mn-lt"/>
                  <a:ea typeface="+mn-ea"/>
                  <a:cs typeface="+mn-cs"/>
                  <a:sym typeface="Poppins SemiBold"/>
                </a:defRPr>
              </a:lvl1pPr>
            </a:lstStyle>
            <a:p>
              <a:pPr algn="ctr" defTabSz="309563" hangingPunct="0">
                <a:buClrTx/>
                <a:defRPr/>
              </a:pPr>
              <a:r>
                <a:rPr lang="ru-RU" sz="1600" dirty="0">
                  <a:solidFill>
                    <a:srgbClr val="0D0D0D"/>
                  </a:solidFill>
                  <a:latin typeface="SB Sans Text Light" panose="020B0303040504020204" pitchFamily="34" charset="-52"/>
                  <a:ea typeface="Roboto Light" panose="02000000000000000000" pitchFamily="2" charset="0"/>
                  <a:cs typeface="SB Sans Text Light" panose="020B0303040504020204" pitchFamily="34" charset="-52"/>
                </a:rPr>
                <a:t>млн активных клиентов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398970736"/>
      </p:ext>
    </p:extLst>
  </p:cSld>
  <p:clrMapOvr>
    <a:masterClrMapping/>
  </p:clrMapOvr>
  <p:transition spd="slow">
    <p:push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Rounded Rectangle">
            <a:extLst>
              <a:ext uri="{FF2B5EF4-FFF2-40B4-BE49-F238E27FC236}">
                <a16:creationId xmlns:a16="http://schemas.microsoft.com/office/drawing/2014/main" id="{4A1A861F-77ED-4663-9389-8E9FD44BABD1}"/>
              </a:ext>
            </a:extLst>
          </p:cNvPr>
          <p:cNvSpPr/>
          <p:nvPr/>
        </p:nvSpPr>
        <p:spPr>
          <a:xfrm>
            <a:off x="0" y="2579435"/>
            <a:ext cx="12192000" cy="1785141"/>
          </a:xfrm>
          <a:prstGeom prst="roundRect">
            <a:avLst>
              <a:gd name="adj" fmla="val 0"/>
            </a:avLst>
          </a:prstGeom>
          <a:solidFill>
            <a:schemeClr val="bg1">
              <a:alpha val="96000"/>
            </a:schemeClr>
          </a:solidFill>
          <a:ln w="12700" cap="flat">
            <a:noFill/>
            <a:prstDash val="solid"/>
            <a:miter/>
          </a:ln>
          <a:effectLst>
            <a:outerShdw blurRad="1003300" sx="102000" sy="102000" algn="ctr" rotWithShape="0">
              <a:schemeClr val="tx1">
                <a:alpha val="20000"/>
              </a:schemeClr>
            </a:outerShdw>
          </a:effectLst>
        </p:spPr>
        <p:txBody>
          <a:bodyPr lIns="0" tIns="0" rIns="0" bIns="0" anchor="ctr"/>
          <a:lstStyle/>
          <a:p>
            <a:pPr marL="0" marR="0" lvl="0" indent="0" algn="ctr" defTabSz="309563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" pitchFamily="2" charset="0"/>
              <a:ea typeface="Roboto" pitchFamily="2" charset="0"/>
              <a:cs typeface="Poppins Bold"/>
              <a:sym typeface="Poppins Bold"/>
            </a:endParaRPr>
          </a:p>
        </p:txBody>
      </p:sp>
      <p:sp>
        <p:nvSpPr>
          <p:cNvPr id="41" name="Заголовок">
            <a:extLst>
              <a:ext uri="{FF2B5EF4-FFF2-40B4-BE49-F238E27FC236}">
                <a16:creationId xmlns:a16="http://schemas.microsoft.com/office/drawing/2014/main" id="{C2DC1C9A-4F65-42B1-86E3-6E4D91075984}"/>
              </a:ext>
            </a:extLst>
          </p:cNvPr>
          <p:cNvSpPr txBox="1"/>
          <p:nvPr/>
        </p:nvSpPr>
        <p:spPr>
          <a:xfrm>
            <a:off x="507067" y="376044"/>
            <a:ext cx="5192693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4400" dirty="0">
                <a:solidFill>
                  <a:srgbClr val="0D0D0D">
                    <a:lumMod val="75000"/>
                    <a:lumOff val="25000"/>
                  </a:srgbClr>
                </a:solidFill>
                <a:latin typeface="SB Sans Text Medium" panose="020B0603040504020204" pitchFamily="34" charset="-52"/>
                <a:ea typeface="Roboto" pitchFamily="2" charset="0"/>
                <a:cs typeface="SB Sans Text Medium" panose="020B0603040504020204" pitchFamily="34" charset="-52"/>
              </a:rPr>
              <a:t>А теперь цифры</a:t>
            </a:r>
          </a:p>
        </p:txBody>
      </p:sp>
      <p:grpSp>
        <p:nvGrpSpPr>
          <p:cNvPr id="42" name="CDIConf_Black">
            <a:extLst>
              <a:ext uri="{FF2B5EF4-FFF2-40B4-BE49-F238E27FC236}">
                <a16:creationId xmlns:a16="http://schemas.microsoft.com/office/drawing/2014/main" id="{F3F1710A-CB9B-4080-B969-0477C48F22E5}"/>
              </a:ext>
            </a:extLst>
          </p:cNvPr>
          <p:cNvGrpSpPr/>
          <p:nvPr/>
        </p:nvGrpSpPr>
        <p:grpSpPr>
          <a:xfrm>
            <a:off x="9284984" y="6140223"/>
            <a:ext cx="2270483" cy="296171"/>
            <a:chOff x="7406975" y="5855999"/>
            <a:chExt cx="2270483" cy="296171"/>
          </a:xfrm>
        </p:grpSpPr>
        <p:sp>
          <p:nvSpPr>
            <p:cNvPr id="45" name="Полилиния: фигура 44">
              <a:extLst>
                <a:ext uri="{FF2B5EF4-FFF2-40B4-BE49-F238E27FC236}">
                  <a16:creationId xmlns:a16="http://schemas.microsoft.com/office/drawing/2014/main" id="{13A11B35-F320-4F31-908D-85B2D024FD4B}"/>
                </a:ext>
              </a:extLst>
            </p:cNvPr>
            <p:cNvSpPr/>
            <p:nvPr/>
          </p:nvSpPr>
          <p:spPr>
            <a:xfrm>
              <a:off x="7406975" y="5878280"/>
              <a:ext cx="1394458" cy="273890"/>
            </a:xfrm>
            <a:custGeom>
              <a:avLst/>
              <a:gdLst>
                <a:gd name="connsiteX0" fmla="*/ 157354 w 1394458"/>
                <a:gd name="connsiteY0" fmla="*/ 188093 h 273890"/>
                <a:gd name="connsiteX1" fmla="*/ 200773 w 1394458"/>
                <a:gd name="connsiteY1" fmla="*/ 188093 h 273890"/>
                <a:gd name="connsiteX2" fmla="*/ 186877 w 1394458"/>
                <a:gd name="connsiteY2" fmla="*/ 232383 h 273890"/>
                <a:gd name="connsiteX3" fmla="*/ 153706 w 1394458"/>
                <a:gd name="connsiteY3" fmla="*/ 262777 h 273890"/>
                <a:gd name="connsiteX4" fmla="*/ 101775 w 1394458"/>
                <a:gd name="connsiteY4" fmla="*/ 273891 h 273890"/>
                <a:gd name="connsiteX5" fmla="*/ 59572 w 1394458"/>
                <a:gd name="connsiteY5" fmla="*/ 265554 h 273890"/>
                <a:gd name="connsiteX6" fmla="*/ 27442 w 1394458"/>
                <a:gd name="connsiteY6" fmla="*/ 241585 h 273890"/>
                <a:gd name="connsiteX7" fmla="*/ 6950 w 1394458"/>
                <a:gd name="connsiteY7" fmla="*/ 203896 h 273890"/>
                <a:gd name="connsiteX8" fmla="*/ 0 w 1394458"/>
                <a:gd name="connsiteY8" fmla="*/ 154577 h 273890"/>
                <a:gd name="connsiteX9" fmla="*/ 0 w 1394458"/>
                <a:gd name="connsiteY9" fmla="*/ 133560 h 273890"/>
                <a:gd name="connsiteX10" fmla="*/ 7121 w 1394458"/>
                <a:gd name="connsiteY10" fmla="*/ 84236 h 273890"/>
                <a:gd name="connsiteX11" fmla="*/ 27962 w 1394458"/>
                <a:gd name="connsiteY11" fmla="*/ 46552 h 273890"/>
                <a:gd name="connsiteX12" fmla="*/ 60438 w 1394458"/>
                <a:gd name="connsiteY12" fmla="*/ 22408 h 273890"/>
                <a:gd name="connsiteX13" fmla="*/ 103336 w 1394458"/>
                <a:gd name="connsiteY13" fmla="*/ 14071 h 273890"/>
                <a:gd name="connsiteX14" fmla="*/ 154397 w 1394458"/>
                <a:gd name="connsiteY14" fmla="*/ 25185 h 273890"/>
                <a:gd name="connsiteX15" fmla="*/ 186702 w 1394458"/>
                <a:gd name="connsiteY15" fmla="*/ 55924 h 273890"/>
                <a:gd name="connsiteX16" fmla="*/ 200943 w 1394458"/>
                <a:gd name="connsiteY16" fmla="*/ 100905 h 273890"/>
                <a:gd name="connsiteX17" fmla="*/ 157524 w 1394458"/>
                <a:gd name="connsiteY17" fmla="*/ 100905 h 273890"/>
                <a:gd name="connsiteX18" fmla="*/ 149883 w 1394458"/>
                <a:gd name="connsiteY18" fmla="*/ 72943 h 273890"/>
                <a:gd name="connsiteX19" fmla="*/ 132865 w 1394458"/>
                <a:gd name="connsiteY19" fmla="*/ 55229 h 273890"/>
                <a:gd name="connsiteX20" fmla="*/ 103341 w 1394458"/>
                <a:gd name="connsiteY20" fmla="*/ 48974 h 273890"/>
                <a:gd name="connsiteX21" fmla="*/ 77291 w 1394458"/>
                <a:gd name="connsiteY21" fmla="*/ 54533 h 273890"/>
                <a:gd name="connsiteX22" fmla="*/ 58706 w 1394458"/>
                <a:gd name="connsiteY22" fmla="*/ 70861 h 273890"/>
                <a:gd name="connsiteX23" fmla="*/ 47417 w 1394458"/>
                <a:gd name="connsiteY23" fmla="*/ 97432 h 273890"/>
                <a:gd name="connsiteX24" fmla="*/ 43769 w 1394458"/>
                <a:gd name="connsiteY24" fmla="*/ 133210 h 273890"/>
                <a:gd name="connsiteX25" fmla="*/ 43769 w 1394458"/>
                <a:gd name="connsiteY25" fmla="*/ 154572 h 273890"/>
                <a:gd name="connsiteX26" fmla="*/ 47067 w 1394458"/>
                <a:gd name="connsiteY26" fmla="*/ 189304 h 273890"/>
                <a:gd name="connsiteX27" fmla="*/ 57490 w 1394458"/>
                <a:gd name="connsiteY27" fmla="*/ 215875 h 273890"/>
                <a:gd name="connsiteX28" fmla="*/ 75550 w 1394458"/>
                <a:gd name="connsiteY28" fmla="*/ 233069 h 273890"/>
                <a:gd name="connsiteX29" fmla="*/ 101775 w 1394458"/>
                <a:gd name="connsiteY29" fmla="*/ 239149 h 273890"/>
                <a:gd name="connsiteX30" fmla="*/ 131824 w 1394458"/>
                <a:gd name="connsiteY30" fmla="*/ 233244 h 273890"/>
                <a:gd name="connsiteX31" fmla="*/ 149363 w 1394458"/>
                <a:gd name="connsiteY31" fmla="*/ 216050 h 273890"/>
                <a:gd name="connsiteX32" fmla="*/ 157354 w 1394458"/>
                <a:gd name="connsiteY32" fmla="*/ 188088 h 273890"/>
                <a:gd name="connsiteX33" fmla="*/ 313837 w 1394458"/>
                <a:gd name="connsiteY33" fmla="*/ 270418 h 273890"/>
                <a:gd name="connsiteX34" fmla="*/ 259825 w 1394458"/>
                <a:gd name="connsiteY34" fmla="*/ 270418 h 273890"/>
                <a:gd name="connsiteX35" fmla="*/ 260170 w 1394458"/>
                <a:gd name="connsiteY35" fmla="*/ 235856 h 273890"/>
                <a:gd name="connsiteX36" fmla="*/ 313837 w 1394458"/>
                <a:gd name="connsiteY36" fmla="*/ 235856 h 273890"/>
                <a:gd name="connsiteX37" fmla="*/ 353088 w 1394458"/>
                <a:gd name="connsiteY37" fmla="*/ 225608 h 273890"/>
                <a:gd name="connsiteX38" fmla="*/ 377057 w 1394458"/>
                <a:gd name="connsiteY38" fmla="*/ 196255 h 273890"/>
                <a:gd name="connsiteX39" fmla="*/ 385218 w 1394458"/>
                <a:gd name="connsiteY39" fmla="*/ 150754 h 273890"/>
                <a:gd name="connsiteX40" fmla="*/ 385218 w 1394458"/>
                <a:gd name="connsiteY40" fmla="*/ 137033 h 273890"/>
                <a:gd name="connsiteX41" fmla="*/ 380530 w 1394458"/>
                <a:gd name="connsiteY41" fmla="*/ 100734 h 273890"/>
                <a:gd name="connsiteX42" fmla="*/ 366984 w 1394458"/>
                <a:gd name="connsiteY42" fmla="*/ 74163 h 273890"/>
                <a:gd name="connsiteX43" fmla="*/ 345102 w 1394458"/>
                <a:gd name="connsiteY43" fmla="*/ 57840 h 273890"/>
                <a:gd name="connsiteX44" fmla="*/ 315403 w 1394458"/>
                <a:gd name="connsiteY44" fmla="*/ 52281 h 273890"/>
                <a:gd name="connsiteX45" fmla="*/ 258784 w 1394458"/>
                <a:gd name="connsiteY45" fmla="*/ 52281 h 273890"/>
                <a:gd name="connsiteX46" fmla="*/ 258784 w 1394458"/>
                <a:gd name="connsiteY46" fmla="*/ 17544 h 273890"/>
                <a:gd name="connsiteX47" fmla="*/ 315403 w 1394458"/>
                <a:gd name="connsiteY47" fmla="*/ 17544 h 273890"/>
                <a:gd name="connsiteX48" fmla="*/ 361429 w 1394458"/>
                <a:gd name="connsiteY48" fmla="*/ 26055 h 273890"/>
                <a:gd name="connsiteX49" fmla="*/ 397383 w 1394458"/>
                <a:gd name="connsiteY49" fmla="*/ 50195 h 273890"/>
                <a:gd name="connsiteX50" fmla="*/ 420826 w 1394458"/>
                <a:gd name="connsiteY50" fmla="*/ 88054 h 273890"/>
                <a:gd name="connsiteX51" fmla="*/ 428988 w 1394458"/>
                <a:gd name="connsiteY51" fmla="*/ 137378 h 273890"/>
                <a:gd name="connsiteX52" fmla="*/ 428988 w 1394458"/>
                <a:gd name="connsiteY52" fmla="*/ 150754 h 273890"/>
                <a:gd name="connsiteX53" fmla="*/ 420826 w 1394458"/>
                <a:gd name="connsiteY53" fmla="*/ 200078 h 273890"/>
                <a:gd name="connsiteX54" fmla="*/ 397383 w 1394458"/>
                <a:gd name="connsiteY54" fmla="*/ 237938 h 273890"/>
                <a:gd name="connsiteX55" fmla="*/ 360909 w 1394458"/>
                <a:gd name="connsiteY55" fmla="*/ 262077 h 273890"/>
                <a:gd name="connsiteX56" fmla="*/ 313842 w 1394458"/>
                <a:gd name="connsiteY56" fmla="*/ 270413 h 273890"/>
                <a:gd name="connsiteX57" fmla="*/ 283964 w 1394458"/>
                <a:gd name="connsiteY57" fmla="*/ 17544 h 273890"/>
                <a:gd name="connsiteX58" fmla="*/ 283964 w 1394458"/>
                <a:gd name="connsiteY58" fmla="*/ 270418 h 273890"/>
                <a:gd name="connsiteX59" fmla="*/ 240369 w 1394458"/>
                <a:gd name="connsiteY59" fmla="*/ 270418 h 273890"/>
                <a:gd name="connsiteX60" fmla="*/ 240369 w 1394458"/>
                <a:gd name="connsiteY60" fmla="*/ 17544 h 273890"/>
                <a:gd name="connsiteX61" fmla="*/ 283964 w 1394458"/>
                <a:gd name="connsiteY61" fmla="*/ 17544 h 273890"/>
                <a:gd name="connsiteX62" fmla="*/ 519299 w 1394458"/>
                <a:gd name="connsiteY62" fmla="*/ 17544 h 273890"/>
                <a:gd name="connsiteX63" fmla="*/ 519299 w 1394458"/>
                <a:gd name="connsiteY63" fmla="*/ 270418 h 273890"/>
                <a:gd name="connsiteX64" fmla="*/ 475705 w 1394458"/>
                <a:gd name="connsiteY64" fmla="*/ 270418 h 273890"/>
                <a:gd name="connsiteX65" fmla="*/ 475705 w 1394458"/>
                <a:gd name="connsiteY65" fmla="*/ 17544 h 273890"/>
                <a:gd name="connsiteX66" fmla="*/ 519299 w 1394458"/>
                <a:gd name="connsiteY66" fmla="*/ 17544 h 273890"/>
                <a:gd name="connsiteX67" fmla="*/ 811424 w 1394458"/>
                <a:gd name="connsiteY67" fmla="*/ 188093 h 273890"/>
                <a:gd name="connsiteX68" fmla="*/ 854843 w 1394458"/>
                <a:gd name="connsiteY68" fmla="*/ 188093 h 273890"/>
                <a:gd name="connsiteX69" fmla="*/ 840947 w 1394458"/>
                <a:gd name="connsiteY69" fmla="*/ 232383 h 273890"/>
                <a:gd name="connsiteX70" fmla="*/ 807776 w 1394458"/>
                <a:gd name="connsiteY70" fmla="*/ 262777 h 273890"/>
                <a:gd name="connsiteX71" fmla="*/ 755845 w 1394458"/>
                <a:gd name="connsiteY71" fmla="*/ 273891 h 273890"/>
                <a:gd name="connsiteX72" fmla="*/ 713642 w 1394458"/>
                <a:gd name="connsiteY72" fmla="*/ 265554 h 273890"/>
                <a:gd name="connsiteX73" fmla="*/ 681512 w 1394458"/>
                <a:gd name="connsiteY73" fmla="*/ 241585 h 273890"/>
                <a:gd name="connsiteX74" fmla="*/ 661021 w 1394458"/>
                <a:gd name="connsiteY74" fmla="*/ 203896 h 273890"/>
                <a:gd name="connsiteX75" fmla="*/ 654075 w 1394458"/>
                <a:gd name="connsiteY75" fmla="*/ 154572 h 273890"/>
                <a:gd name="connsiteX76" fmla="*/ 654075 w 1394458"/>
                <a:gd name="connsiteY76" fmla="*/ 133555 h 273890"/>
                <a:gd name="connsiteX77" fmla="*/ 661196 w 1394458"/>
                <a:gd name="connsiteY77" fmla="*/ 84231 h 273890"/>
                <a:gd name="connsiteX78" fmla="*/ 682037 w 1394458"/>
                <a:gd name="connsiteY78" fmla="*/ 46547 h 273890"/>
                <a:gd name="connsiteX79" fmla="*/ 714513 w 1394458"/>
                <a:gd name="connsiteY79" fmla="*/ 22403 h 273890"/>
                <a:gd name="connsiteX80" fmla="*/ 757411 w 1394458"/>
                <a:gd name="connsiteY80" fmla="*/ 14066 h 273890"/>
                <a:gd name="connsiteX81" fmla="*/ 808472 w 1394458"/>
                <a:gd name="connsiteY81" fmla="*/ 25180 h 273890"/>
                <a:gd name="connsiteX82" fmla="*/ 840777 w 1394458"/>
                <a:gd name="connsiteY82" fmla="*/ 55919 h 273890"/>
                <a:gd name="connsiteX83" fmla="*/ 855018 w 1394458"/>
                <a:gd name="connsiteY83" fmla="*/ 100900 h 273890"/>
                <a:gd name="connsiteX84" fmla="*/ 811599 w 1394458"/>
                <a:gd name="connsiteY84" fmla="*/ 100900 h 273890"/>
                <a:gd name="connsiteX85" fmla="*/ 803958 w 1394458"/>
                <a:gd name="connsiteY85" fmla="*/ 72938 h 273890"/>
                <a:gd name="connsiteX86" fmla="*/ 786940 w 1394458"/>
                <a:gd name="connsiteY86" fmla="*/ 55224 h 273890"/>
                <a:gd name="connsiteX87" fmla="*/ 757416 w 1394458"/>
                <a:gd name="connsiteY87" fmla="*/ 48969 h 273890"/>
                <a:gd name="connsiteX88" fmla="*/ 731366 w 1394458"/>
                <a:gd name="connsiteY88" fmla="*/ 54528 h 273890"/>
                <a:gd name="connsiteX89" fmla="*/ 712781 w 1394458"/>
                <a:gd name="connsiteY89" fmla="*/ 70856 h 273890"/>
                <a:gd name="connsiteX90" fmla="*/ 701492 w 1394458"/>
                <a:gd name="connsiteY90" fmla="*/ 97427 h 273890"/>
                <a:gd name="connsiteX91" fmla="*/ 697844 w 1394458"/>
                <a:gd name="connsiteY91" fmla="*/ 133205 h 273890"/>
                <a:gd name="connsiteX92" fmla="*/ 697844 w 1394458"/>
                <a:gd name="connsiteY92" fmla="*/ 154567 h 273890"/>
                <a:gd name="connsiteX93" fmla="*/ 701142 w 1394458"/>
                <a:gd name="connsiteY93" fmla="*/ 189299 h 273890"/>
                <a:gd name="connsiteX94" fmla="*/ 711565 w 1394458"/>
                <a:gd name="connsiteY94" fmla="*/ 215870 h 273890"/>
                <a:gd name="connsiteX95" fmla="*/ 729629 w 1394458"/>
                <a:gd name="connsiteY95" fmla="*/ 233064 h 273890"/>
                <a:gd name="connsiteX96" fmla="*/ 755855 w 1394458"/>
                <a:gd name="connsiteY96" fmla="*/ 239144 h 273890"/>
                <a:gd name="connsiteX97" fmla="*/ 785904 w 1394458"/>
                <a:gd name="connsiteY97" fmla="*/ 233239 h 273890"/>
                <a:gd name="connsiteX98" fmla="*/ 803443 w 1394458"/>
                <a:gd name="connsiteY98" fmla="*/ 216046 h 273890"/>
                <a:gd name="connsiteX99" fmla="*/ 811434 w 1394458"/>
                <a:gd name="connsiteY99" fmla="*/ 188084 h 273890"/>
                <a:gd name="connsiteX100" fmla="*/ 882285 w 1394458"/>
                <a:gd name="connsiteY100" fmla="*/ 178541 h 273890"/>
                <a:gd name="connsiteX101" fmla="*/ 882285 w 1394458"/>
                <a:gd name="connsiteY101" fmla="*/ 174548 h 273890"/>
                <a:gd name="connsiteX102" fmla="*/ 888190 w 1394458"/>
                <a:gd name="connsiteY102" fmla="*/ 136858 h 273890"/>
                <a:gd name="connsiteX103" fmla="*/ 905208 w 1394458"/>
                <a:gd name="connsiteY103" fmla="*/ 106464 h 273890"/>
                <a:gd name="connsiteX104" fmla="*/ 932650 w 1394458"/>
                <a:gd name="connsiteY104" fmla="*/ 86318 h 273890"/>
                <a:gd name="connsiteX105" fmla="*/ 969469 w 1394458"/>
                <a:gd name="connsiteY105" fmla="*/ 79022 h 273890"/>
                <a:gd name="connsiteX106" fmla="*/ 1006288 w 1394458"/>
                <a:gd name="connsiteY106" fmla="*/ 86318 h 273890"/>
                <a:gd name="connsiteX107" fmla="*/ 1033899 w 1394458"/>
                <a:gd name="connsiteY107" fmla="*/ 106464 h 273890"/>
                <a:gd name="connsiteX108" fmla="*/ 1051093 w 1394458"/>
                <a:gd name="connsiteY108" fmla="*/ 136858 h 273890"/>
                <a:gd name="connsiteX109" fmla="*/ 1056998 w 1394458"/>
                <a:gd name="connsiteY109" fmla="*/ 174548 h 273890"/>
                <a:gd name="connsiteX110" fmla="*/ 1056998 w 1394458"/>
                <a:gd name="connsiteY110" fmla="*/ 178541 h 273890"/>
                <a:gd name="connsiteX111" fmla="*/ 1051093 w 1394458"/>
                <a:gd name="connsiteY111" fmla="*/ 216230 h 273890"/>
                <a:gd name="connsiteX112" fmla="*/ 1033899 w 1394458"/>
                <a:gd name="connsiteY112" fmla="*/ 246624 h 273890"/>
                <a:gd name="connsiteX113" fmla="*/ 1006458 w 1394458"/>
                <a:gd name="connsiteY113" fmla="*/ 266770 h 273890"/>
                <a:gd name="connsiteX114" fmla="*/ 969814 w 1394458"/>
                <a:gd name="connsiteY114" fmla="*/ 273891 h 273890"/>
                <a:gd name="connsiteX115" fmla="*/ 932820 w 1394458"/>
                <a:gd name="connsiteY115" fmla="*/ 266770 h 273890"/>
                <a:gd name="connsiteX116" fmla="*/ 905378 w 1394458"/>
                <a:gd name="connsiteY116" fmla="*/ 246624 h 273890"/>
                <a:gd name="connsiteX117" fmla="*/ 888185 w 1394458"/>
                <a:gd name="connsiteY117" fmla="*/ 216230 h 273890"/>
                <a:gd name="connsiteX118" fmla="*/ 882280 w 1394458"/>
                <a:gd name="connsiteY118" fmla="*/ 178541 h 273890"/>
                <a:gd name="connsiteX119" fmla="*/ 924143 w 1394458"/>
                <a:gd name="connsiteY119" fmla="*/ 174548 h 273890"/>
                <a:gd name="connsiteX120" fmla="*/ 924143 w 1394458"/>
                <a:gd name="connsiteY120" fmla="*/ 178541 h 273890"/>
                <a:gd name="connsiteX121" fmla="*/ 926750 w 1394458"/>
                <a:gd name="connsiteY121" fmla="*/ 202510 h 273890"/>
                <a:gd name="connsiteX122" fmla="*/ 934911 w 1394458"/>
                <a:gd name="connsiteY122" fmla="*/ 222310 h 273890"/>
                <a:gd name="connsiteX123" fmla="*/ 949152 w 1394458"/>
                <a:gd name="connsiteY123" fmla="*/ 235681 h 273890"/>
                <a:gd name="connsiteX124" fmla="*/ 969819 w 1394458"/>
                <a:gd name="connsiteY124" fmla="*/ 240545 h 273890"/>
                <a:gd name="connsiteX125" fmla="*/ 989965 w 1394458"/>
                <a:gd name="connsiteY125" fmla="*/ 235681 h 273890"/>
                <a:gd name="connsiteX126" fmla="*/ 1004206 w 1394458"/>
                <a:gd name="connsiteY126" fmla="*/ 222310 h 273890"/>
                <a:gd name="connsiteX127" fmla="*/ 1012367 w 1394458"/>
                <a:gd name="connsiteY127" fmla="*/ 202510 h 273890"/>
                <a:gd name="connsiteX128" fmla="*/ 1015145 w 1394458"/>
                <a:gd name="connsiteY128" fmla="*/ 178541 h 273890"/>
                <a:gd name="connsiteX129" fmla="*/ 1015145 w 1394458"/>
                <a:gd name="connsiteY129" fmla="*/ 174548 h 273890"/>
                <a:gd name="connsiteX130" fmla="*/ 1012367 w 1394458"/>
                <a:gd name="connsiteY130" fmla="*/ 150929 h 273890"/>
                <a:gd name="connsiteX131" fmla="*/ 1004031 w 1394458"/>
                <a:gd name="connsiteY131" fmla="*/ 130958 h 273890"/>
                <a:gd name="connsiteX132" fmla="*/ 989790 w 1394458"/>
                <a:gd name="connsiteY132" fmla="*/ 117412 h 273890"/>
                <a:gd name="connsiteX133" fmla="*/ 969469 w 1394458"/>
                <a:gd name="connsiteY133" fmla="*/ 112378 h 273890"/>
                <a:gd name="connsiteX134" fmla="*/ 948977 w 1394458"/>
                <a:gd name="connsiteY134" fmla="*/ 117412 h 273890"/>
                <a:gd name="connsiteX135" fmla="*/ 934911 w 1394458"/>
                <a:gd name="connsiteY135" fmla="*/ 130958 h 273890"/>
                <a:gd name="connsiteX136" fmla="*/ 926750 w 1394458"/>
                <a:gd name="connsiteY136" fmla="*/ 150929 h 273890"/>
                <a:gd name="connsiteX137" fmla="*/ 924143 w 1394458"/>
                <a:gd name="connsiteY137" fmla="*/ 174548 h 273890"/>
                <a:gd name="connsiteX138" fmla="*/ 1133598 w 1394458"/>
                <a:gd name="connsiteY138" fmla="*/ 122617 h 273890"/>
                <a:gd name="connsiteX139" fmla="*/ 1133598 w 1394458"/>
                <a:gd name="connsiteY139" fmla="*/ 270418 h 273890"/>
                <a:gd name="connsiteX140" fmla="*/ 1091745 w 1394458"/>
                <a:gd name="connsiteY140" fmla="*/ 270418 h 273890"/>
                <a:gd name="connsiteX141" fmla="*/ 1091745 w 1394458"/>
                <a:gd name="connsiteY141" fmla="*/ 82495 h 273890"/>
                <a:gd name="connsiteX142" fmla="*/ 1131171 w 1394458"/>
                <a:gd name="connsiteY142" fmla="*/ 82495 h 273890"/>
                <a:gd name="connsiteX143" fmla="*/ 1133603 w 1394458"/>
                <a:gd name="connsiteY143" fmla="*/ 122617 h 273890"/>
                <a:gd name="connsiteX144" fmla="*/ 1126132 w 1394458"/>
                <a:gd name="connsiteY144" fmla="*/ 169509 h 273890"/>
                <a:gd name="connsiteX145" fmla="*/ 1112586 w 1394458"/>
                <a:gd name="connsiteY145" fmla="*/ 169334 h 273890"/>
                <a:gd name="connsiteX146" fmla="*/ 1118145 w 1394458"/>
                <a:gd name="connsiteY146" fmla="*/ 132690 h 273890"/>
                <a:gd name="connsiteX147" fmla="*/ 1133428 w 1394458"/>
                <a:gd name="connsiteY147" fmla="*/ 104032 h 273890"/>
                <a:gd name="connsiteX148" fmla="*/ 1157046 w 1394458"/>
                <a:gd name="connsiteY148" fmla="*/ 85623 h 273890"/>
                <a:gd name="connsiteX149" fmla="*/ 1187615 w 1394458"/>
                <a:gd name="connsiteY149" fmla="*/ 79022 h 273890"/>
                <a:gd name="connsiteX150" fmla="*/ 1212105 w 1394458"/>
                <a:gd name="connsiteY150" fmla="*/ 82840 h 273890"/>
                <a:gd name="connsiteX151" fmla="*/ 1231034 w 1394458"/>
                <a:gd name="connsiteY151" fmla="*/ 94825 h 273890"/>
                <a:gd name="connsiteX152" fmla="*/ 1243189 w 1394458"/>
                <a:gd name="connsiteY152" fmla="*/ 116532 h 273890"/>
                <a:gd name="connsiteX153" fmla="*/ 1247357 w 1394458"/>
                <a:gd name="connsiteY153" fmla="*/ 149013 h 273890"/>
                <a:gd name="connsiteX154" fmla="*/ 1247357 w 1394458"/>
                <a:gd name="connsiteY154" fmla="*/ 270413 h 273890"/>
                <a:gd name="connsiteX155" fmla="*/ 1205329 w 1394458"/>
                <a:gd name="connsiteY155" fmla="*/ 270413 h 273890"/>
                <a:gd name="connsiteX156" fmla="*/ 1205329 w 1394458"/>
                <a:gd name="connsiteY156" fmla="*/ 148837 h 273890"/>
                <a:gd name="connsiteX157" fmla="*/ 1201336 w 1394458"/>
                <a:gd name="connsiteY157" fmla="*/ 127476 h 273890"/>
                <a:gd name="connsiteX158" fmla="*/ 1190047 w 1394458"/>
                <a:gd name="connsiteY158" fmla="*/ 116187 h 273890"/>
                <a:gd name="connsiteX159" fmla="*/ 1171813 w 1394458"/>
                <a:gd name="connsiteY159" fmla="*/ 112714 h 273890"/>
                <a:gd name="connsiteX160" fmla="*/ 1152533 w 1394458"/>
                <a:gd name="connsiteY160" fmla="*/ 117228 h 273890"/>
                <a:gd name="connsiteX161" fmla="*/ 1138116 w 1394458"/>
                <a:gd name="connsiteY161" fmla="*/ 129557 h 273890"/>
                <a:gd name="connsiteX162" fmla="*/ 1129259 w 1394458"/>
                <a:gd name="connsiteY162" fmla="*/ 147621 h 273890"/>
                <a:gd name="connsiteX163" fmla="*/ 1126132 w 1394458"/>
                <a:gd name="connsiteY163" fmla="*/ 169504 h 273890"/>
                <a:gd name="connsiteX164" fmla="*/ 1346701 w 1394458"/>
                <a:gd name="connsiteY164" fmla="*/ 270418 h 273890"/>
                <a:gd name="connsiteX165" fmla="*/ 1304843 w 1394458"/>
                <a:gd name="connsiteY165" fmla="*/ 270418 h 273890"/>
                <a:gd name="connsiteX166" fmla="*/ 1304843 w 1394458"/>
                <a:gd name="connsiteY166" fmla="*/ 64436 h 273890"/>
                <a:gd name="connsiteX167" fmla="*/ 1312659 w 1394458"/>
                <a:gd name="connsiteY167" fmla="*/ 29178 h 273890"/>
                <a:gd name="connsiteX168" fmla="*/ 1335412 w 1394458"/>
                <a:gd name="connsiteY168" fmla="*/ 7471 h 273890"/>
                <a:gd name="connsiteX169" fmla="*/ 1370319 w 1394458"/>
                <a:gd name="connsiteY169" fmla="*/ 0 h 273890"/>
                <a:gd name="connsiteX170" fmla="*/ 1382649 w 1394458"/>
                <a:gd name="connsiteY170" fmla="*/ 871 h 273890"/>
                <a:gd name="connsiteX171" fmla="*/ 1394458 w 1394458"/>
                <a:gd name="connsiteY171" fmla="*/ 3127 h 273890"/>
                <a:gd name="connsiteX172" fmla="*/ 1393418 w 1394458"/>
                <a:gd name="connsiteY172" fmla="*/ 35433 h 273890"/>
                <a:gd name="connsiteX173" fmla="*/ 1385776 w 1394458"/>
                <a:gd name="connsiteY173" fmla="*/ 34217 h 273890"/>
                <a:gd name="connsiteX174" fmla="*/ 1377095 w 1394458"/>
                <a:gd name="connsiteY174" fmla="*/ 33872 h 273890"/>
                <a:gd name="connsiteX175" fmla="*/ 1360596 w 1394458"/>
                <a:gd name="connsiteY175" fmla="*/ 37519 h 273890"/>
                <a:gd name="connsiteX176" fmla="*/ 1350178 w 1394458"/>
                <a:gd name="connsiteY176" fmla="*/ 47767 h 273890"/>
                <a:gd name="connsiteX177" fmla="*/ 1346706 w 1394458"/>
                <a:gd name="connsiteY177" fmla="*/ 64441 h 273890"/>
                <a:gd name="connsiteX178" fmla="*/ 1346706 w 1394458"/>
                <a:gd name="connsiteY178" fmla="*/ 270423 h 273890"/>
                <a:gd name="connsiteX179" fmla="*/ 1385431 w 1394458"/>
                <a:gd name="connsiteY179" fmla="*/ 82500 h 273890"/>
                <a:gd name="connsiteX180" fmla="*/ 1385431 w 1394458"/>
                <a:gd name="connsiteY180" fmla="*/ 113069 h 273890"/>
                <a:gd name="connsiteX181" fmla="*/ 1276015 w 1394458"/>
                <a:gd name="connsiteY181" fmla="*/ 113069 h 273890"/>
                <a:gd name="connsiteX182" fmla="*/ 1276015 w 1394458"/>
                <a:gd name="connsiteY182" fmla="*/ 82500 h 273890"/>
                <a:gd name="connsiteX183" fmla="*/ 1385431 w 1394458"/>
                <a:gd name="connsiteY183" fmla="*/ 82500 h 2738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</a:cxnLst>
              <a:rect l="l" t="t" r="r" b="b"/>
              <a:pathLst>
                <a:path w="1394458" h="273890">
                  <a:moveTo>
                    <a:pt x="157354" y="188093"/>
                  </a:moveTo>
                  <a:lnTo>
                    <a:pt x="200773" y="188093"/>
                  </a:lnTo>
                  <a:cubicBezTo>
                    <a:pt x="199382" y="204650"/>
                    <a:pt x="194752" y="219411"/>
                    <a:pt x="186877" y="232383"/>
                  </a:cubicBezTo>
                  <a:cubicBezTo>
                    <a:pt x="179003" y="245233"/>
                    <a:pt x="167947" y="255365"/>
                    <a:pt x="153706" y="262777"/>
                  </a:cubicBezTo>
                  <a:cubicBezTo>
                    <a:pt x="139465" y="270185"/>
                    <a:pt x="122155" y="273891"/>
                    <a:pt x="101775" y="273891"/>
                  </a:cubicBezTo>
                  <a:cubicBezTo>
                    <a:pt x="86143" y="273891"/>
                    <a:pt x="72077" y="271114"/>
                    <a:pt x="59572" y="265554"/>
                  </a:cubicBezTo>
                  <a:cubicBezTo>
                    <a:pt x="47067" y="259878"/>
                    <a:pt x="36357" y="251892"/>
                    <a:pt x="27442" y="241585"/>
                  </a:cubicBezTo>
                  <a:cubicBezTo>
                    <a:pt x="18526" y="231162"/>
                    <a:pt x="11697" y="218604"/>
                    <a:pt x="6950" y="203896"/>
                  </a:cubicBezTo>
                  <a:cubicBezTo>
                    <a:pt x="2315" y="189192"/>
                    <a:pt x="0" y="172753"/>
                    <a:pt x="0" y="154577"/>
                  </a:cubicBezTo>
                  <a:lnTo>
                    <a:pt x="0" y="133560"/>
                  </a:lnTo>
                  <a:cubicBezTo>
                    <a:pt x="0" y="115379"/>
                    <a:pt x="2374" y="98940"/>
                    <a:pt x="7121" y="84236"/>
                  </a:cubicBezTo>
                  <a:cubicBezTo>
                    <a:pt x="11984" y="69533"/>
                    <a:pt x="18930" y="56970"/>
                    <a:pt x="27962" y="46552"/>
                  </a:cubicBezTo>
                  <a:cubicBezTo>
                    <a:pt x="36994" y="36017"/>
                    <a:pt x="47816" y="27967"/>
                    <a:pt x="60438" y="22408"/>
                  </a:cubicBezTo>
                  <a:cubicBezTo>
                    <a:pt x="73171" y="16848"/>
                    <a:pt x="87471" y="14071"/>
                    <a:pt x="103336" y="14071"/>
                  </a:cubicBezTo>
                  <a:cubicBezTo>
                    <a:pt x="123482" y="14071"/>
                    <a:pt x="140506" y="17777"/>
                    <a:pt x="154397" y="25185"/>
                  </a:cubicBezTo>
                  <a:cubicBezTo>
                    <a:pt x="168293" y="32597"/>
                    <a:pt x="179056" y="42840"/>
                    <a:pt x="186702" y="55924"/>
                  </a:cubicBezTo>
                  <a:cubicBezTo>
                    <a:pt x="194460" y="69008"/>
                    <a:pt x="199207" y="84003"/>
                    <a:pt x="200943" y="100905"/>
                  </a:cubicBezTo>
                  <a:lnTo>
                    <a:pt x="157524" y="100905"/>
                  </a:lnTo>
                  <a:cubicBezTo>
                    <a:pt x="156367" y="90019"/>
                    <a:pt x="153818" y="80700"/>
                    <a:pt x="149883" y="72943"/>
                  </a:cubicBezTo>
                  <a:cubicBezTo>
                    <a:pt x="146065" y="65185"/>
                    <a:pt x="140389" y="59280"/>
                    <a:pt x="132865" y="55229"/>
                  </a:cubicBezTo>
                  <a:cubicBezTo>
                    <a:pt x="125340" y="51060"/>
                    <a:pt x="115496" y="48974"/>
                    <a:pt x="103341" y="48974"/>
                  </a:cubicBezTo>
                  <a:cubicBezTo>
                    <a:pt x="93385" y="48974"/>
                    <a:pt x="84698" y="50827"/>
                    <a:pt x="77291" y="54533"/>
                  </a:cubicBezTo>
                  <a:cubicBezTo>
                    <a:pt x="69878" y="58239"/>
                    <a:pt x="63687" y="63682"/>
                    <a:pt x="58706" y="70861"/>
                  </a:cubicBezTo>
                  <a:cubicBezTo>
                    <a:pt x="53730" y="78040"/>
                    <a:pt x="49966" y="86897"/>
                    <a:pt x="47417" y="97432"/>
                  </a:cubicBezTo>
                  <a:cubicBezTo>
                    <a:pt x="44985" y="107850"/>
                    <a:pt x="43769" y="119776"/>
                    <a:pt x="43769" y="133210"/>
                  </a:cubicBezTo>
                  <a:lnTo>
                    <a:pt x="43769" y="154572"/>
                  </a:lnTo>
                  <a:cubicBezTo>
                    <a:pt x="43769" y="167305"/>
                    <a:pt x="44869" y="178886"/>
                    <a:pt x="47067" y="189304"/>
                  </a:cubicBezTo>
                  <a:cubicBezTo>
                    <a:pt x="49382" y="199611"/>
                    <a:pt x="52855" y="208468"/>
                    <a:pt x="57490" y="215875"/>
                  </a:cubicBezTo>
                  <a:cubicBezTo>
                    <a:pt x="62237" y="223288"/>
                    <a:pt x="68259" y="229017"/>
                    <a:pt x="75550" y="233069"/>
                  </a:cubicBezTo>
                  <a:cubicBezTo>
                    <a:pt x="82845" y="237120"/>
                    <a:pt x="91585" y="239149"/>
                    <a:pt x="101775" y="239149"/>
                  </a:cubicBezTo>
                  <a:cubicBezTo>
                    <a:pt x="114163" y="239149"/>
                    <a:pt x="124178" y="237179"/>
                    <a:pt x="131824" y="233244"/>
                  </a:cubicBezTo>
                  <a:cubicBezTo>
                    <a:pt x="139582" y="229309"/>
                    <a:pt x="145428" y="223575"/>
                    <a:pt x="149363" y="216050"/>
                  </a:cubicBezTo>
                  <a:cubicBezTo>
                    <a:pt x="153414" y="208409"/>
                    <a:pt x="156080" y="199090"/>
                    <a:pt x="157354" y="188088"/>
                  </a:cubicBezTo>
                  <a:close/>
                  <a:moveTo>
                    <a:pt x="313837" y="270418"/>
                  </a:moveTo>
                  <a:lnTo>
                    <a:pt x="259825" y="270418"/>
                  </a:lnTo>
                  <a:lnTo>
                    <a:pt x="260170" y="235856"/>
                  </a:lnTo>
                  <a:lnTo>
                    <a:pt x="313837" y="235856"/>
                  </a:lnTo>
                  <a:cubicBezTo>
                    <a:pt x="329469" y="235856"/>
                    <a:pt x="342553" y="232441"/>
                    <a:pt x="353088" y="225608"/>
                  </a:cubicBezTo>
                  <a:cubicBezTo>
                    <a:pt x="363740" y="218779"/>
                    <a:pt x="371731" y="208993"/>
                    <a:pt x="377057" y="196255"/>
                  </a:cubicBezTo>
                  <a:cubicBezTo>
                    <a:pt x="382499" y="183521"/>
                    <a:pt x="385218" y="168351"/>
                    <a:pt x="385218" y="150754"/>
                  </a:cubicBezTo>
                  <a:lnTo>
                    <a:pt x="385218" y="137033"/>
                  </a:lnTo>
                  <a:cubicBezTo>
                    <a:pt x="385218" y="123371"/>
                    <a:pt x="383657" y="111269"/>
                    <a:pt x="380530" y="100734"/>
                  </a:cubicBezTo>
                  <a:cubicBezTo>
                    <a:pt x="377519" y="90199"/>
                    <a:pt x="373005" y="81342"/>
                    <a:pt x="366984" y="74163"/>
                  </a:cubicBezTo>
                  <a:cubicBezTo>
                    <a:pt x="361079" y="66984"/>
                    <a:pt x="353784" y="61542"/>
                    <a:pt x="345102" y="57840"/>
                  </a:cubicBezTo>
                  <a:cubicBezTo>
                    <a:pt x="336532" y="54134"/>
                    <a:pt x="326634" y="52281"/>
                    <a:pt x="315403" y="52281"/>
                  </a:cubicBezTo>
                  <a:lnTo>
                    <a:pt x="258784" y="52281"/>
                  </a:lnTo>
                  <a:lnTo>
                    <a:pt x="258784" y="17544"/>
                  </a:lnTo>
                  <a:lnTo>
                    <a:pt x="315403" y="17544"/>
                  </a:lnTo>
                  <a:cubicBezTo>
                    <a:pt x="332193" y="17544"/>
                    <a:pt x="347534" y="20379"/>
                    <a:pt x="361429" y="26055"/>
                  </a:cubicBezTo>
                  <a:cubicBezTo>
                    <a:pt x="375325" y="31615"/>
                    <a:pt x="387310" y="39660"/>
                    <a:pt x="397383" y="50195"/>
                  </a:cubicBezTo>
                  <a:cubicBezTo>
                    <a:pt x="407572" y="60730"/>
                    <a:pt x="415389" y="73351"/>
                    <a:pt x="420826" y="88054"/>
                  </a:cubicBezTo>
                  <a:cubicBezTo>
                    <a:pt x="426269" y="102758"/>
                    <a:pt x="428988" y="119202"/>
                    <a:pt x="428988" y="137378"/>
                  </a:cubicBezTo>
                  <a:lnTo>
                    <a:pt x="428988" y="150754"/>
                  </a:lnTo>
                  <a:cubicBezTo>
                    <a:pt x="428988" y="168930"/>
                    <a:pt x="426269" y="185374"/>
                    <a:pt x="420826" y="200078"/>
                  </a:cubicBezTo>
                  <a:cubicBezTo>
                    <a:pt x="415384" y="214781"/>
                    <a:pt x="407568" y="227403"/>
                    <a:pt x="397383" y="237938"/>
                  </a:cubicBezTo>
                  <a:cubicBezTo>
                    <a:pt x="387193" y="248356"/>
                    <a:pt x="375038" y="256405"/>
                    <a:pt x="360909" y="262077"/>
                  </a:cubicBezTo>
                  <a:cubicBezTo>
                    <a:pt x="346896" y="267636"/>
                    <a:pt x="331211" y="270413"/>
                    <a:pt x="313842" y="270413"/>
                  </a:cubicBezTo>
                  <a:close/>
                  <a:moveTo>
                    <a:pt x="283964" y="17544"/>
                  </a:moveTo>
                  <a:lnTo>
                    <a:pt x="283964" y="270418"/>
                  </a:lnTo>
                  <a:lnTo>
                    <a:pt x="240369" y="270418"/>
                  </a:lnTo>
                  <a:lnTo>
                    <a:pt x="240369" y="17544"/>
                  </a:lnTo>
                  <a:lnTo>
                    <a:pt x="283964" y="17544"/>
                  </a:lnTo>
                  <a:close/>
                  <a:moveTo>
                    <a:pt x="519299" y="17544"/>
                  </a:moveTo>
                  <a:lnTo>
                    <a:pt x="519299" y="270418"/>
                  </a:lnTo>
                  <a:lnTo>
                    <a:pt x="475705" y="270418"/>
                  </a:lnTo>
                  <a:lnTo>
                    <a:pt x="475705" y="17544"/>
                  </a:lnTo>
                  <a:lnTo>
                    <a:pt x="519299" y="17544"/>
                  </a:lnTo>
                  <a:close/>
                  <a:moveTo>
                    <a:pt x="811424" y="188093"/>
                  </a:moveTo>
                  <a:lnTo>
                    <a:pt x="854843" y="188093"/>
                  </a:lnTo>
                  <a:cubicBezTo>
                    <a:pt x="853452" y="204650"/>
                    <a:pt x="848822" y="219411"/>
                    <a:pt x="840947" y="232383"/>
                  </a:cubicBezTo>
                  <a:cubicBezTo>
                    <a:pt x="833073" y="245233"/>
                    <a:pt x="822017" y="255365"/>
                    <a:pt x="807776" y="262777"/>
                  </a:cubicBezTo>
                  <a:cubicBezTo>
                    <a:pt x="793535" y="270185"/>
                    <a:pt x="776225" y="273891"/>
                    <a:pt x="755845" y="273891"/>
                  </a:cubicBezTo>
                  <a:cubicBezTo>
                    <a:pt x="740213" y="273891"/>
                    <a:pt x="726147" y="271114"/>
                    <a:pt x="713642" y="265554"/>
                  </a:cubicBezTo>
                  <a:cubicBezTo>
                    <a:pt x="701137" y="259878"/>
                    <a:pt x="690427" y="251892"/>
                    <a:pt x="681512" y="241585"/>
                  </a:cubicBezTo>
                  <a:cubicBezTo>
                    <a:pt x="672596" y="231162"/>
                    <a:pt x="665768" y="218604"/>
                    <a:pt x="661021" y="203896"/>
                  </a:cubicBezTo>
                  <a:cubicBezTo>
                    <a:pt x="656390" y="189192"/>
                    <a:pt x="654075" y="172748"/>
                    <a:pt x="654075" y="154572"/>
                  </a:cubicBezTo>
                  <a:lnTo>
                    <a:pt x="654075" y="133555"/>
                  </a:lnTo>
                  <a:cubicBezTo>
                    <a:pt x="654075" y="115374"/>
                    <a:pt x="656449" y="98935"/>
                    <a:pt x="661196" y="84231"/>
                  </a:cubicBezTo>
                  <a:cubicBezTo>
                    <a:pt x="666059" y="69528"/>
                    <a:pt x="673005" y="56965"/>
                    <a:pt x="682037" y="46547"/>
                  </a:cubicBezTo>
                  <a:cubicBezTo>
                    <a:pt x="691069" y="36012"/>
                    <a:pt x="701891" y="27962"/>
                    <a:pt x="714513" y="22403"/>
                  </a:cubicBezTo>
                  <a:cubicBezTo>
                    <a:pt x="727246" y="16843"/>
                    <a:pt x="741546" y="14066"/>
                    <a:pt x="757411" y="14066"/>
                  </a:cubicBezTo>
                  <a:cubicBezTo>
                    <a:pt x="777557" y="14066"/>
                    <a:pt x="794581" y="17772"/>
                    <a:pt x="808472" y="25180"/>
                  </a:cubicBezTo>
                  <a:cubicBezTo>
                    <a:pt x="822368" y="32592"/>
                    <a:pt x="833131" y="42836"/>
                    <a:pt x="840777" y="55919"/>
                  </a:cubicBezTo>
                  <a:cubicBezTo>
                    <a:pt x="848535" y="69003"/>
                    <a:pt x="853282" y="83998"/>
                    <a:pt x="855018" y="100900"/>
                  </a:cubicBezTo>
                  <a:lnTo>
                    <a:pt x="811599" y="100900"/>
                  </a:lnTo>
                  <a:cubicBezTo>
                    <a:pt x="810442" y="90015"/>
                    <a:pt x="807893" y="80695"/>
                    <a:pt x="803958" y="72938"/>
                  </a:cubicBezTo>
                  <a:cubicBezTo>
                    <a:pt x="800140" y="65180"/>
                    <a:pt x="794464" y="59275"/>
                    <a:pt x="786940" y="55224"/>
                  </a:cubicBezTo>
                  <a:cubicBezTo>
                    <a:pt x="779415" y="51055"/>
                    <a:pt x="769571" y="48969"/>
                    <a:pt x="757416" y="48969"/>
                  </a:cubicBezTo>
                  <a:cubicBezTo>
                    <a:pt x="747460" y="48969"/>
                    <a:pt x="738773" y="50822"/>
                    <a:pt x="731366" y="54528"/>
                  </a:cubicBezTo>
                  <a:cubicBezTo>
                    <a:pt x="723953" y="58234"/>
                    <a:pt x="717762" y="63677"/>
                    <a:pt x="712781" y="70856"/>
                  </a:cubicBezTo>
                  <a:cubicBezTo>
                    <a:pt x="707801" y="78035"/>
                    <a:pt x="704041" y="86892"/>
                    <a:pt x="701492" y="97427"/>
                  </a:cubicBezTo>
                  <a:cubicBezTo>
                    <a:pt x="699060" y="107845"/>
                    <a:pt x="697844" y="119771"/>
                    <a:pt x="697844" y="133205"/>
                  </a:cubicBezTo>
                  <a:lnTo>
                    <a:pt x="697844" y="154567"/>
                  </a:lnTo>
                  <a:cubicBezTo>
                    <a:pt x="697844" y="167300"/>
                    <a:pt x="698944" y="178881"/>
                    <a:pt x="701142" y="189299"/>
                  </a:cubicBezTo>
                  <a:cubicBezTo>
                    <a:pt x="703457" y="199606"/>
                    <a:pt x="706930" y="208463"/>
                    <a:pt x="711565" y="215870"/>
                  </a:cubicBezTo>
                  <a:cubicBezTo>
                    <a:pt x="716312" y="223283"/>
                    <a:pt x="722334" y="229012"/>
                    <a:pt x="729629" y="233064"/>
                  </a:cubicBezTo>
                  <a:cubicBezTo>
                    <a:pt x="736925" y="237116"/>
                    <a:pt x="745665" y="239144"/>
                    <a:pt x="755855" y="239144"/>
                  </a:cubicBezTo>
                  <a:cubicBezTo>
                    <a:pt x="768243" y="239144"/>
                    <a:pt x="778258" y="237174"/>
                    <a:pt x="785904" y="233239"/>
                  </a:cubicBezTo>
                  <a:cubicBezTo>
                    <a:pt x="793661" y="229304"/>
                    <a:pt x="799508" y="223570"/>
                    <a:pt x="803443" y="216046"/>
                  </a:cubicBezTo>
                  <a:cubicBezTo>
                    <a:pt x="807494" y="208405"/>
                    <a:pt x="810159" y="199085"/>
                    <a:pt x="811434" y="188084"/>
                  </a:cubicBezTo>
                  <a:close/>
                  <a:moveTo>
                    <a:pt x="882285" y="178541"/>
                  </a:moveTo>
                  <a:lnTo>
                    <a:pt x="882285" y="174548"/>
                  </a:lnTo>
                  <a:cubicBezTo>
                    <a:pt x="882285" y="161002"/>
                    <a:pt x="884255" y="148439"/>
                    <a:pt x="888190" y="136858"/>
                  </a:cubicBezTo>
                  <a:cubicBezTo>
                    <a:pt x="892124" y="125165"/>
                    <a:pt x="897800" y="115034"/>
                    <a:pt x="905208" y="106464"/>
                  </a:cubicBezTo>
                  <a:cubicBezTo>
                    <a:pt x="912732" y="97782"/>
                    <a:pt x="921881" y="91065"/>
                    <a:pt x="932650" y="86318"/>
                  </a:cubicBezTo>
                  <a:cubicBezTo>
                    <a:pt x="943535" y="81454"/>
                    <a:pt x="955806" y="79022"/>
                    <a:pt x="969469" y="79022"/>
                  </a:cubicBezTo>
                  <a:cubicBezTo>
                    <a:pt x="983131" y="79022"/>
                    <a:pt x="995519" y="81454"/>
                    <a:pt x="1006288" y="86318"/>
                  </a:cubicBezTo>
                  <a:cubicBezTo>
                    <a:pt x="1017173" y="91065"/>
                    <a:pt x="1026375" y="97782"/>
                    <a:pt x="1033899" y="106464"/>
                  </a:cubicBezTo>
                  <a:cubicBezTo>
                    <a:pt x="1041424" y="115034"/>
                    <a:pt x="1047158" y="125165"/>
                    <a:pt x="1051093" y="136858"/>
                  </a:cubicBezTo>
                  <a:cubicBezTo>
                    <a:pt x="1055028" y="148439"/>
                    <a:pt x="1056998" y="160997"/>
                    <a:pt x="1056998" y="174548"/>
                  </a:cubicBezTo>
                  <a:lnTo>
                    <a:pt x="1056998" y="178541"/>
                  </a:lnTo>
                  <a:cubicBezTo>
                    <a:pt x="1056998" y="192086"/>
                    <a:pt x="1055028" y="204650"/>
                    <a:pt x="1051093" y="216230"/>
                  </a:cubicBezTo>
                  <a:cubicBezTo>
                    <a:pt x="1047153" y="227806"/>
                    <a:pt x="1041424" y="237938"/>
                    <a:pt x="1033899" y="246624"/>
                  </a:cubicBezTo>
                  <a:cubicBezTo>
                    <a:pt x="1026375" y="255194"/>
                    <a:pt x="1017226" y="261906"/>
                    <a:pt x="1006458" y="266770"/>
                  </a:cubicBezTo>
                  <a:cubicBezTo>
                    <a:pt x="995689" y="271517"/>
                    <a:pt x="983476" y="273891"/>
                    <a:pt x="969814" y="273891"/>
                  </a:cubicBezTo>
                  <a:cubicBezTo>
                    <a:pt x="956151" y="273891"/>
                    <a:pt x="943705" y="271517"/>
                    <a:pt x="932820" y="266770"/>
                  </a:cubicBezTo>
                  <a:cubicBezTo>
                    <a:pt x="922051" y="261906"/>
                    <a:pt x="912907" y="255189"/>
                    <a:pt x="905378" y="246624"/>
                  </a:cubicBezTo>
                  <a:cubicBezTo>
                    <a:pt x="897854" y="237942"/>
                    <a:pt x="892119" y="227811"/>
                    <a:pt x="888185" y="216230"/>
                  </a:cubicBezTo>
                  <a:cubicBezTo>
                    <a:pt x="884245" y="204650"/>
                    <a:pt x="882280" y="192086"/>
                    <a:pt x="882280" y="178541"/>
                  </a:cubicBezTo>
                  <a:close/>
                  <a:moveTo>
                    <a:pt x="924143" y="174548"/>
                  </a:moveTo>
                  <a:lnTo>
                    <a:pt x="924143" y="178541"/>
                  </a:lnTo>
                  <a:cubicBezTo>
                    <a:pt x="924143" y="186994"/>
                    <a:pt x="925013" y="194980"/>
                    <a:pt x="926750" y="202510"/>
                  </a:cubicBezTo>
                  <a:cubicBezTo>
                    <a:pt x="928486" y="210034"/>
                    <a:pt x="931210" y="216634"/>
                    <a:pt x="934911" y="222310"/>
                  </a:cubicBezTo>
                  <a:cubicBezTo>
                    <a:pt x="938617" y="227981"/>
                    <a:pt x="943365" y="232441"/>
                    <a:pt x="949152" y="235681"/>
                  </a:cubicBezTo>
                  <a:cubicBezTo>
                    <a:pt x="954940" y="238925"/>
                    <a:pt x="961832" y="240545"/>
                    <a:pt x="969819" y="240545"/>
                  </a:cubicBezTo>
                  <a:cubicBezTo>
                    <a:pt x="977805" y="240545"/>
                    <a:pt x="984293" y="238925"/>
                    <a:pt x="989965" y="235681"/>
                  </a:cubicBezTo>
                  <a:cubicBezTo>
                    <a:pt x="995753" y="232441"/>
                    <a:pt x="1000500" y="227981"/>
                    <a:pt x="1004206" y="222310"/>
                  </a:cubicBezTo>
                  <a:cubicBezTo>
                    <a:pt x="1007912" y="216634"/>
                    <a:pt x="1010631" y="210039"/>
                    <a:pt x="1012367" y="202510"/>
                  </a:cubicBezTo>
                  <a:cubicBezTo>
                    <a:pt x="1014220" y="194985"/>
                    <a:pt x="1015145" y="186994"/>
                    <a:pt x="1015145" y="178541"/>
                  </a:cubicBezTo>
                  <a:lnTo>
                    <a:pt x="1015145" y="174548"/>
                  </a:lnTo>
                  <a:cubicBezTo>
                    <a:pt x="1015145" y="166211"/>
                    <a:pt x="1014220" y="158336"/>
                    <a:pt x="1012367" y="150929"/>
                  </a:cubicBezTo>
                  <a:cubicBezTo>
                    <a:pt x="1010631" y="143405"/>
                    <a:pt x="1007854" y="136746"/>
                    <a:pt x="1004031" y="130958"/>
                  </a:cubicBezTo>
                  <a:cubicBezTo>
                    <a:pt x="1000325" y="125170"/>
                    <a:pt x="995578" y="120652"/>
                    <a:pt x="989790" y="117412"/>
                  </a:cubicBezTo>
                  <a:cubicBezTo>
                    <a:pt x="984118" y="114056"/>
                    <a:pt x="977343" y="112378"/>
                    <a:pt x="969469" y="112378"/>
                  </a:cubicBezTo>
                  <a:cubicBezTo>
                    <a:pt x="961594" y="112378"/>
                    <a:pt x="954765" y="114056"/>
                    <a:pt x="948977" y="117412"/>
                  </a:cubicBezTo>
                  <a:cubicBezTo>
                    <a:pt x="943301" y="120657"/>
                    <a:pt x="938613" y="125170"/>
                    <a:pt x="934911" y="130958"/>
                  </a:cubicBezTo>
                  <a:cubicBezTo>
                    <a:pt x="931205" y="136746"/>
                    <a:pt x="928486" y="143405"/>
                    <a:pt x="926750" y="150929"/>
                  </a:cubicBezTo>
                  <a:cubicBezTo>
                    <a:pt x="925013" y="158341"/>
                    <a:pt x="924143" y="166211"/>
                    <a:pt x="924143" y="174548"/>
                  </a:cubicBezTo>
                  <a:close/>
                  <a:moveTo>
                    <a:pt x="1133598" y="122617"/>
                  </a:moveTo>
                  <a:lnTo>
                    <a:pt x="1133598" y="270418"/>
                  </a:lnTo>
                  <a:lnTo>
                    <a:pt x="1091745" y="270418"/>
                  </a:lnTo>
                  <a:lnTo>
                    <a:pt x="1091745" y="82495"/>
                  </a:lnTo>
                  <a:lnTo>
                    <a:pt x="1131171" y="82495"/>
                  </a:lnTo>
                  <a:lnTo>
                    <a:pt x="1133603" y="122617"/>
                  </a:lnTo>
                  <a:close/>
                  <a:moveTo>
                    <a:pt x="1126132" y="169509"/>
                  </a:moveTo>
                  <a:lnTo>
                    <a:pt x="1112586" y="169334"/>
                  </a:lnTo>
                  <a:cubicBezTo>
                    <a:pt x="1112703" y="156016"/>
                    <a:pt x="1114556" y="143803"/>
                    <a:pt x="1118145" y="132690"/>
                  </a:cubicBezTo>
                  <a:cubicBezTo>
                    <a:pt x="1121852" y="121576"/>
                    <a:pt x="1126944" y="112023"/>
                    <a:pt x="1133428" y="104032"/>
                  </a:cubicBezTo>
                  <a:cubicBezTo>
                    <a:pt x="1140028" y="96041"/>
                    <a:pt x="1147902" y="89908"/>
                    <a:pt x="1157046" y="85623"/>
                  </a:cubicBezTo>
                  <a:cubicBezTo>
                    <a:pt x="1166195" y="81226"/>
                    <a:pt x="1176385" y="79022"/>
                    <a:pt x="1187615" y="79022"/>
                  </a:cubicBezTo>
                  <a:cubicBezTo>
                    <a:pt x="1196647" y="79022"/>
                    <a:pt x="1204809" y="80297"/>
                    <a:pt x="1212105" y="82840"/>
                  </a:cubicBezTo>
                  <a:cubicBezTo>
                    <a:pt x="1219517" y="85272"/>
                    <a:pt x="1225825" y="89265"/>
                    <a:pt x="1231034" y="94825"/>
                  </a:cubicBezTo>
                  <a:cubicBezTo>
                    <a:pt x="1236360" y="100384"/>
                    <a:pt x="1240412" y="107617"/>
                    <a:pt x="1243189" y="116532"/>
                  </a:cubicBezTo>
                  <a:cubicBezTo>
                    <a:pt x="1245966" y="125331"/>
                    <a:pt x="1247357" y="136157"/>
                    <a:pt x="1247357" y="149013"/>
                  </a:cubicBezTo>
                  <a:lnTo>
                    <a:pt x="1247357" y="270413"/>
                  </a:lnTo>
                  <a:lnTo>
                    <a:pt x="1205329" y="270413"/>
                  </a:lnTo>
                  <a:lnTo>
                    <a:pt x="1205329" y="148837"/>
                  </a:lnTo>
                  <a:cubicBezTo>
                    <a:pt x="1205329" y="139805"/>
                    <a:pt x="1203996" y="132685"/>
                    <a:pt x="1201336" y="127476"/>
                  </a:cubicBezTo>
                  <a:cubicBezTo>
                    <a:pt x="1198787" y="122150"/>
                    <a:pt x="1195028" y="118385"/>
                    <a:pt x="1190047" y="116187"/>
                  </a:cubicBezTo>
                  <a:cubicBezTo>
                    <a:pt x="1185183" y="113872"/>
                    <a:pt x="1179104" y="112714"/>
                    <a:pt x="1171813" y="112714"/>
                  </a:cubicBezTo>
                  <a:cubicBezTo>
                    <a:pt x="1164522" y="112714"/>
                    <a:pt x="1158209" y="114217"/>
                    <a:pt x="1152533" y="117228"/>
                  </a:cubicBezTo>
                  <a:cubicBezTo>
                    <a:pt x="1146861" y="120238"/>
                    <a:pt x="1142056" y="124348"/>
                    <a:pt x="1138116" y="129557"/>
                  </a:cubicBezTo>
                  <a:cubicBezTo>
                    <a:pt x="1134293" y="134766"/>
                    <a:pt x="1131341" y="140788"/>
                    <a:pt x="1129259" y="147621"/>
                  </a:cubicBezTo>
                  <a:cubicBezTo>
                    <a:pt x="1127178" y="154450"/>
                    <a:pt x="1126132" y="161746"/>
                    <a:pt x="1126132" y="169504"/>
                  </a:cubicBezTo>
                  <a:close/>
                  <a:moveTo>
                    <a:pt x="1346701" y="270418"/>
                  </a:moveTo>
                  <a:lnTo>
                    <a:pt x="1304843" y="270418"/>
                  </a:lnTo>
                  <a:lnTo>
                    <a:pt x="1304843" y="64436"/>
                  </a:lnTo>
                  <a:cubicBezTo>
                    <a:pt x="1304843" y="50428"/>
                    <a:pt x="1307450" y="38672"/>
                    <a:pt x="1312659" y="29178"/>
                  </a:cubicBezTo>
                  <a:cubicBezTo>
                    <a:pt x="1317985" y="19567"/>
                    <a:pt x="1325567" y="12330"/>
                    <a:pt x="1335412" y="7471"/>
                  </a:cubicBezTo>
                  <a:cubicBezTo>
                    <a:pt x="1345256" y="2490"/>
                    <a:pt x="1356890" y="0"/>
                    <a:pt x="1370319" y="0"/>
                  </a:cubicBezTo>
                  <a:cubicBezTo>
                    <a:pt x="1374488" y="0"/>
                    <a:pt x="1378597" y="292"/>
                    <a:pt x="1382649" y="871"/>
                  </a:cubicBezTo>
                  <a:cubicBezTo>
                    <a:pt x="1386701" y="1333"/>
                    <a:pt x="1390640" y="2087"/>
                    <a:pt x="1394458" y="3127"/>
                  </a:cubicBezTo>
                  <a:lnTo>
                    <a:pt x="1393418" y="35433"/>
                  </a:lnTo>
                  <a:cubicBezTo>
                    <a:pt x="1391102" y="34854"/>
                    <a:pt x="1388554" y="34450"/>
                    <a:pt x="1385776" y="34217"/>
                  </a:cubicBezTo>
                  <a:cubicBezTo>
                    <a:pt x="1383116" y="33983"/>
                    <a:pt x="1380217" y="33872"/>
                    <a:pt x="1377095" y="33872"/>
                  </a:cubicBezTo>
                  <a:cubicBezTo>
                    <a:pt x="1370728" y="33872"/>
                    <a:pt x="1365227" y="35088"/>
                    <a:pt x="1360596" y="37519"/>
                  </a:cubicBezTo>
                  <a:cubicBezTo>
                    <a:pt x="1356083" y="39835"/>
                    <a:pt x="1352605" y="43249"/>
                    <a:pt x="1350178" y="47767"/>
                  </a:cubicBezTo>
                  <a:cubicBezTo>
                    <a:pt x="1347863" y="52286"/>
                    <a:pt x="1346706" y="57840"/>
                    <a:pt x="1346706" y="64441"/>
                  </a:cubicBezTo>
                  <a:lnTo>
                    <a:pt x="1346706" y="270423"/>
                  </a:lnTo>
                  <a:close/>
                  <a:moveTo>
                    <a:pt x="1385431" y="82500"/>
                  </a:moveTo>
                  <a:lnTo>
                    <a:pt x="1385431" y="113069"/>
                  </a:lnTo>
                  <a:lnTo>
                    <a:pt x="1276015" y="113069"/>
                  </a:lnTo>
                  <a:lnTo>
                    <a:pt x="1276015" y="82500"/>
                  </a:lnTo>
                  <a:lnTo>
                    <a:pt x="1385431" y="82500"/>
                  </a:lnTo>
                  <a:close/>
                </a:path>
              </a:pathLst>
            </a:custGeom>
            <a:solidFill>
              <a:srgbClr val="EE3431"/>
            </a:solidFill>
            <a:ln w="4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6" name="Полилиния: фигура 45">
              <a:extLst>
                <a:ext uri="{FF2B5EF4-FFF2-40B4-BE49-F238E27FC236}">
                  <a16:creationId xmlns:a16="http://schemas.microsoft.com/office/drawing/2014/main" id="{EB80AEA3-6D76-4813-B83E-E98064CA7762}"/>
                </a:ext>
              </a:extLst>
            </p:cNvPr>
            <p:cNvSpPr/>
            <p:nvPr/>
          </p:nvSpPr>
          <p:spPr>
            <a:xfrm>
              <a:off x="7406975" y="5855999"/>
              <a:ext cx="1394458" cy="273890"/>
            </a:xfrm>
            <a:custGeom>
              <a:avLst/>
              <a:gdLst>
                <a:gd name="connsiteX0" fmla="*/ 157354 w 1394458"/>
                <a:gd name="connsiteY0" fmla="*/ 188093 h 273890"/>
                <a:gd name="connsiteX1" fmla="*/ 200773 w 1394458"/>
                <a:gd name="connsiteY1" fmla="*/ 188093 h 273890"/>
                <a:gd name="connsiteX2" fmla="*/ 186877 w 1394458"/>
                <a:gd name="connsiteY2" fmla="*/ 232383 h 273890"/>
                <a:gd name="connsiteX3" fmla="*/ 153706 w 1394458"/>
                <a:gd name="connsiteY3" fmla="*/ 262777 h 273890"/>
                <a:gd name="connsiteX4" fmla="*/ 101775 w 1394458"/>
                <a:gd name="connsiteY4" fmla="*/ 273891 h 273890"/>
                <a:gd name="connsiteX5" fmla="*/ 59572 w 1394458"/>
                <a:gd name="connsiteY5" fmla="*/ 265554 h 273890"/>
                <a:gd name="connsiteX6" fmla="*/ 27442 w 1394458"/>
                <a:gd name="connsiteY6" fmla="*/ 241585 h 273890"/>
                <a:gd name="connsiteX7" fmla="*/ 6950 w 1394458"/>
                <a:gd name="connsiteY7" fmla="*/ 203901 h 273890"/>
                <a:gd name="connsiteX8" fmla="*/ 0 w 1394458"/>
                <a:gd name="connsiteY8" fmla="*/ 154572 h 273890"/>
                <a:gd name="connsiteX9" fmla="*/ 0 w 1394458"/>
                <a:gd name="connsiteY9" fmla="*/ 133555 h 273890"/>
                <a:gd name="connsiteX10" fmla="*/ 7121 w 1394458"/>
                <a:gd name="connsiteY10" fmla="*/ 84231 h 273890"/>
                <a:gd name="connsiteX11" fmla="*/ 27962 w 1394458"/>
                <a:gd name="connsiteY11" fmla="*/ 46542 h 273890"/>
                <a:gd name="connsiteX12" fmla="*/ 60438 w 1394458"/>
                <a:gd name="connsiteY12" fmla="*/ 22403 h 273890"/>
                <a:gd name="connsiteX13" fmla="*/ 103336 w 1394458"/>
                <a:gd name="connsiteY13" fmla="*/ 14066 h 273890"/>
                <a:gd name="connsiteX14" fmla="*/ 154397 w 1394458"/>
                <a:gd name="connsiteY14" fmla="*/ 25180 h 273890"/>
                <a:gd name="connsiteX15" fmla="*/ 186702 w 1394458"/>
                <a:gd name="connsiteY15" fmla="*/ 55919 h 273890"/>
                <a:gd name="connsiteX16" fmla="*/ 200943 w 1394458"/>
                <a:gd name="connsiteY16" fmla="*/ 100900 h 273890"/>
                <a:gd name="connsiteX17" fmla="*/ 157524 w 1394458"/>
                <a:gd name="connsiteY17" fmla="*/ 100900 h 273890"/>
                <a:gd name="connsiteX18" fmla="*/ 149883 w 1394458"/>
                <a:gd name="connsiteY18" fmla="*/ 72938 h 273890"/>
                <a:gd name="connsiteX19" fmla="*/ 132865 w 1394458"/>
                <a:gd name="connsiteY19" fmla="*/ 55224 h 273890"/>
                <a:gd name="connsiteX20" fmla="*/ 103341 w 1394458"/>
                <a:gd name="connsiteY20" fmla="*/ 48969 h 273890"/>
                <a:gd name="connsiteX21" fmla="*/ 77291 w 1394458"/>
                <a:gd name="connsiteY21" fmla="*/ 54528 h 273890"/>
                <a:gd name="connsiteX22" fmla="*/ 58706 w 1394458"/>
                <a:gd name="connsiteY22" fmla="*/ 70856 h 273890"/>
                <a:gd name="connsiteX23" fmla="*/ 47417 w 1394458"/>
                <a:gd name="connsiteY23" fmla="*/ 97427 h 273890"/>
                <a:gd name="connsiteX24" fmla="*/ 43769 w 1394458"/>
                <a:gd name="connsiteY24" fmla="*/ 133205 h 273890"/>
                <a:gd name="connsiteX25" fmla="*/ 43769 w 1394458"/>
                <a:gd name="connsiteY25" fmla="*/ 154567 h 273890"/>
                <a:gd name="connsiteX26" fmla="*/ 47067 w 1394458"/>
                <a:gd name="connsiteY26" fmla="*/ 189304 h 273890"/>
                <a:gd name="connsiteX27" fmla="*/ 57490 w 1394458"/>
                <a:gd name="connsiteY27" fmla="*/ 215875 h 273890"/>
                <a:gd name="connsiteX28" fmla="*/ 75550 w 1394458"/>
                <a:gd name="connsiteY28" fmla="*/ 233069 h 273890"/>
                <a:gd name="connsiteX29" fmla="*/ 101775 w 1394458"/>
                <a:gd name="connsiteY29" fmla="*/ 239149 h 273890"/>
                <a:gd name="connsiteX30" fmla="*/ 131824 w 1394458"/>
                <a:gd name="connsiteY30" fmla="*/ 233244 h 273890"/>
                <a:gd name="connsiteX31" fmla="*/ 149363 w 1394458"/>
                <a:gd name="connsiteY31" fmla="*/ 216050 h 273890"/>
                <a:gd name="connsiteX32" fmla="*/ 157354 w 1394458"/>
                <a:gd name="connsiteY32" fmla="*/ 188088 h 273890"/>
                <a:gd name="connsiteX33" fmla="*/ 313837 w 1394458"/>
                <a:gd name="connsiteY33" fmla="*/ 270418 h 273890"/>
                <a:gd name="connsiteX34" fmla="*/ 259825 w 1394458"/>
                <a:gd name="connsiteY34" fmla="*/ 270418 h 273890"/>
                <a:gd name="connsiteX35" fmla="*/ 260170 w 1394458"/>
                <a:gd name="connsiteY35" fmla="*/ 235856 h 273890"/>
                <a:gd name="connsiteX36" fmla="*/ 313837 w 1394458"/>
                <a:gd name="connsiteY36" fmla="*/ 235856 h 273890"/>
                <a:gd name="connsiteX37" fmla="*/ 353088 w 1394458"/>
                <a:gd name="connsiteY37" fmla="*/ 225608 h 273890"/>
                <a:gd name="connsiteX38" fmla="*/ 377057 w 1394458"/>
                <a:gd name="connsiteY38" fmla="*/ 196255 h 273890"/>
                <a:gd name="connsiteX39" fmla="*/ 385218 w 1394458"/>
                <a:gd name="connsiteY39" fmla="*/ 150754 h 273890"/>
                <a:gd name="connsiteX40" fmla="*/ 385218 w 1394458"/>
                <a:gd name="connsiteY40" fmla="*/ 137033 h 273890"/>
                <a:gd name="connsiteX41" fmla="*/ 380530 w 1394458"/>
                <a:gd name="connsiteY41" fmla="*/ 100734 h 273890"/>
                <a:gd name="connsiteX42" fmla="*/ 366984 w 1394458"/>
                <a:gd name="connsiteY42" fmla="*/ 74163 h 273890"/>
                <a:gd name="connsiteX43" fmla="*/ 345102 w 1394458"/>
                <a:gd name="connsiteY43" fmla="*/ 57840 h 273890"/>
                <a:gd name="connsiteX44" fmla="*/ 315403 w 1394458"/>
                <a:gd name="connsiteY44" fmla="*/ 52281 h 273890"/>
                <a:gd name="connsiteX45" fmla="*/ 258784 w 1394458"/>
                <a:gd name="connsiteY45" fmla="*/ 52281 h 273890"/>
                <a:gd name="connsiteX46" fmla="*/ 258784 w 1394458"/>
                <a:gd name="connsiteY46" fmla="*/ 17544 h 273890"/>
                <a:gd name="connsiteX47" fmla="*/ 315403 w 1394458"/>
                <a:gd name="connsiteY47" fmla="*/ 17544 h 273890"/>
                <a:gd name="connsiteX48" fmla="*/ 361429 w 1394458"/>
                <a:gd name="connsiteY48" fmla="*/ 26055 h 273890"/>
                <a:gd name="connsiteX49" fmla="*/ 397383 w 1394458"/>
                <a:gd name="connsiteY49" fmla="*/ 50195 h 273890"/>
                <a:gd name="connsiteX50" fmla="*/ 420826 w 1394458"/>
                <a:gd name="connsiteY50" fmla="*/ 88054 h 273890"/>
                <a:gd name="connsiteX51" fmla="*/ 428988 w 1394458"/>
                <a:gd name="connsiteY51" fmla="*/ 137378 h 273890"/>
                <a:gd name="connsiteX52" fmla="*/ 428988 w 1394458"/>
                <a:gd name="connsiteY52" fmla="*/ 150754 h 273890"/>
                <a:gd name="connsiteX53" fmla="*/ 420826 w 1394458"/>
                <a:gd name="connsiteY53" fmla="*/ 200078 h 273890"/>
                <a:gd name="connsiteX54" fmla="*/ 397383 w 1394458"/>
                <a:gd name="connsiteY54" fmla="*/ 237938 h 273890"/>
                <a:gd name="connsiteX55" fmla="*/ 360909 w 1394458"/>
                <a:gd name="connsiteY55" fmla="*/ 262077 h 273890"/>
                <a:gd name="connsiteX56" fmla="*/ 313842 w 1394458"/>
                <a:gd name="connsiteY56" fmla="*/ 270413 h 273890"/>
                <a:gd name="connsiteX57" fmla="*/ 283964 w 1394458"/>
                <a:gd name="connsiteY57" fmla="*/ 17544 h 273890"/>
                <a:gd name="connsiteX58" fmla="*/ 283964 w 1394458"/>
                <a:gd name="connsiteY58" fmla="*/ 270418 h 273890"/>
                <a:gd name="connsiteX59" fmla="*/ 240369 w 1394458"/>
                <a:gd name="connsiteY59" fmla="*/ 270418 h 273890"/>
                <a:gd name="connsiteX60" fmla="*/ 240369 w 1394458"/>
                <a:gd name="connsiteY60" fmla="*/ 17544 h 273890"/>
                <a:gd name="connsiteX61" fmla="*/ 283964 w 1394458"/>
                <a:gd name="connsiteY61" fmla="*/ 17544 h 273890"/>
                <a:gd name="connsiteX62" fmla="*/ 519299 w 1394458"/>
                <a:gd name="connsiteY62" fmla="*/ 17544 h 273890"/>
                <a:gd name="connsiteX63" fmla="*/ 519299 w 1394458"/>
                <a:gd name="connsiteY63" fmla="*/ 270418 h 273890"/>
                <a:gd name="connsiteX64" fmla="*/ 475705 w 1394458"/>
                <a:gd name="connsiteY64" fmla="*/ 270418 h 273890"/>
                <a:gd name="connsiteX65" fmla="*/ 475705 w 1394458"/>
                <a:gd name="connsiteY65" fmla="*/ 17544 h 273890"/>
                <a:gd name="connsiteX66" fmla="*/ 519299 w 1394458"/>
                <a:gd name="connsiteY66" fmla="*/ 17544 h 273890"/>
                <a:gd name="connsiteX67" fmla="*/ 811424 w 1394458"/>
                <a:gd name="connsiteY67" fmla="*/ 188093 h 273890"/>
                <a:gd name="connsiteX68" fmla="*/ 854843 w 1394458"/>
                <a:gd name="connsiteY68" fmla="*/ 188093 h 273890"/>
                <a:gd name="connsiteX69" fmla="*/ 840947 w 1394458"/>
                <a:gd name="connsiteY69" fmla="*/ 232383 h 273890"/>
                <a:gd name="connsiteX70" fmla="*/ 807776 w 1394458"/>
                <a:gd name="connsiteY70" fmla="*/ 262777 h 273890"/>
                <a:gd name="connsiteX71" fmla="*/ 755845 w 1394458"/>
                <a:gd name="connsiteY71" fmla="*/ 273891 h 273890"/>
                <a:gd name="connsiteX72" fmla="*/ 713642 w 1394458"/>
                <a:gd name="connsiteY72" fmla="*/ 265554 h 273890"/>
                <a:gd name="connsiteX73" fmla="*/ 681512 w 1394458"/>
                <a:gd name="connsiteY73" fmla="*/ 241585 h 273890"/>
                <a:gd name="connsiteX74" fmla="*/ 661021 w 1394458"/>
                <a:gd name="connsiteY74" fmla="*/ 203901 h 273890"/>
                <a:gd name="connsiteX75" fmla="*/ 654075 w 1394458"/>
                <a:gd name="connsiteY75" fmla="*/ 154577 h 273890"/>
                <a:gd name="connsiteX76" fmla="*/ 654075 w 1394458"/>
                <a:gd name="connsiteY76" fmla="*/ 133560 h 273890"/>
                <a:gd name="connsiteX77" fmla="*/ 661196 w 1394458"/>
                <a:gd name="connsiteY77" fmla="*/ 84236 h 273890"/>
                <a:gd name="connsiteX78" fmla="*/ 682037 w 1394458"/>
                <a:gd name="connsiteY78" fmla="*/ 46547 h 273890"/>
                <a:gd name="connsiteX79" fmla="*/ 714513 w 1394458"/>
                <a:gd name="connsiteY79" fmla="*/ 22408 h 273890"/>
                <a:gd name="connsiteX80" fmla="*/ 757411 w 1394458"/>
                <a:gd name="connsiteY80" fmla="*/ 14071 h 273890"/>
                <a:gd name="connsiteX81" fmla="*/ 808472 w 1394458"/>
                <a:gd name="connsiteY81" fmla="*/ 25185 h 273890"/>
                <a:gd name="connsiteX82" fmla="*/ 840777 w 1394458"/>
                <a:gd name="connsiteY82" fmla="*/ 55924 h 273890"/>
                <a:gd name="connsiteX83" fmla="*/ 855018 w 1394458"/>
                <a:gd name="connsiteY83" fmla="*/ 100905 h 273890"/>
                <a:gd name="connsiteX84" fmla="*/ 811599 w 1394458"/>
                <a:gd name="connsiteY84" fmla="*/ 100905 h 273890"/>
                <a:gd name="connsiteX85" fmla="*/ 803958 w 1394458"/>
                <a:gd name="connsiteY85" fmla="*/ 72943 h 273890"/>
                <a:gd name="connsiteX86" fmla="*/ 786940 w 1394458"/>
                <a:gd name="connsiteY86" fmla="*/ 55229 h 273890"/>
                <a:gd name="connsiteX87" fmla="*/ 757416 w 1394458"/>
                <a:gd name="connsiteY87" fmla="*/ 48974 h 273890"/>
                <a:gd name="connsiteX88" fmla="*/ 731366 w 1394458"/>
                <a:gd name="connsiteY88" fmla="*/ 54533 h 273890"/>
                <a:gd name="connsiteX89" fmla="*/ 712781 w 1394458"/>
                <a:gd name="connsiteY89" fmla="*/ 70861 h 273890"/>
                <a:gd name="connsiteX90" fmla="*/ 701492 w 1394458"/>
                <a:gd name="connsiteY90" fmla="*/ 97432 h 273890"/>
                <a:gd name="connsiteX91" fmla="*/ 697844 w 1394458"/>
                <a:gd name="connsiteY91" fmla="*/ 133210 h 273890"/>
                <a:gd name="connsiteX92" fmla="*/ 697844 w 1394458"/>
                <a:gd name="connsiteY92" fmla="*/ 154572 h 273890"/>
                <a:gd name="connsiteX93" fmla="*/ 701142 w 1394458"/>
                <a:gd name="connsiteY93" fmla="*/ 189309 h 273890"/>
                <a:gd name="connsiteX94" fmla="*/ 711565 w 1394458"/>
                <a:gd name="connsiteY94" fmla="*/ 215880 h 273890"/>
                <a:gd name="connsiteX95" fmla="*/ 729629 w 1394458"/>
                <a:gd name="connsiteY95" fmla="*/ 233074 h 273890"/>
                <a:gd name="connsiteX96" fmla="*/ 755855 w 1394458"/>
                <a:gd name="connsiteY96" fmla="*/ 239154 h 273890"/>
                <a:gd name="connsiteX97" fmla="*/ 785904 w 1394458"/>
                <a:gd name="connsiteY97" fmla="*/ 233249 h 273890"/>
                <a:gd name="connsiteX98" fmla="*/ 803443 w 1394458"/>
                <a:gd name="connsiteY98" fmla="*/ 216055 h 273890"/>
                <a:gd name="connsiteX99" fmla="*/ 811434 w 1394458"/>
                <a:gd name="connsiteY99" fmla="*/ 188093 h 273890"/>
                <a:gd name="connsiteX100" fmla="*/ 882285 w 1394458"/>
                <a:gd name="connsiteY100" fmla="*/ 178541 h 273890"/>
                <a:gd name="connsiteX101" fmla="*/ 882285 w 1394458"/>
                <a:gd name="connsiteY101" fmla="*/ 174548 h 273890"/>
                <a:gd name="connsiteX102" fmla="*/ 888190 w 1394458"/>
                <a:gd name="connsiteY102" fmla="*/ 136858 h 273890"/>
                <a:gd name="connsiteX103" fmla="*/ 905208 w 1394458"/>
                <a:gd name="connsiteY103" fmla="*/ 106464 h 273890"/>
                <a:gd name="connsiteX104" fmla="*/ 932650 w 1394458"/>
                <a:gd name="connsiteY104" fmla="*/ 86318 h 273890"/>
                <a:gd name="connsiteX105" fmla="*/ 969469 w 1394458"/>
                <a:gd name="connsiteY105" fmla="*/ 79022 h 273890"/>
                <a:gd name="connsiteX106" fmla="*/ 1006288 w 1394458"/>
                <a:gd name="connsiteY106" fmla="*/ 86318 h 273890"/>
                <a:gd name="connsiteX107" fmla="*/ 1033899 w 1394458"/>
                <a:gd name="connsiteY107" fmla="*/ 106464 h 273890"/>
                <a:gd name="connsiteX108" fmla="*/ 1051093 w 1394458"/>
                <a:gd name="connsiteY108" fmla="*/ 136858 h 273890"/>
                <a:gd name="connsiteX109" fmla="*/ 1056998 w 1394458"/>
                <a:gd name="connsiteY109" fmla="*/ 174548 h 273890"/>
                <a:gd name="connsiteX110" fmla="*/ 1056998 w 1394458"/>
                <a:gd name="connsiteY110" fmla="*/ 178541 h 273890"/>
                <a:gd name="connsiteX111" fmla="*/ 1051093 w 1394458"/>
                <a:gd name="connsiteY111" fmla="*/ 216226 h 273890"/>
                <a:gd name="connsiteX112" fmla="*/ 1033899 w 1394458"/>
                <a:gd name="connsiteY112" fmla="*/ 246619 h 273890"/>
                <a:gd name="connsiteX113" fmla="*/ 1006458 w 1394458"/>
                <a:gd name="connsiteY113" fmla="*/ 266765 h 273890"/>
                <a:gd name="connsiteX114" fmla="*/ 969814 w 1394458"/>
                <a:gd name="connsiteY114" fmla="*/ 273886 h 273890"/>
                <a:gd name="connsiteX115" fmla="*/ 932820 w 1394458"/>
                <a:gd name="connsiteY115" fmla="*/ 266765 h 273890"/>
                <a:gd name="connsiteX116" fmla="*/ 905378 w 1394458"/>
                <a:gd name="connsiteY116" fmla="*/ 246619 h 273890"/>
                <a:gd name="connsiteX117" fmla="*/ 888185 w 1394458"/>
                <a:gd name="connsiteY117" fmla="*/ 216226 h 273890"/>
                <a:gd name="connsiteX118" fmla="*/ 882280 w 1394458"/>
                <a:gd name="connsiteY118" fmla="*/ 178541 h 273890"/>
                <a:gd name="connsiteX119" fmla="*/ 924143 w 1394458"/>
                <a:gd name="connsiteY119" fmla="*/ 174548 h 273890"/>
                <a:gd name="connsiteX120" fmla="*/ 924143 w 1394458"/>
                <a:gd name="connsiteY120" fmla="*/ 178541 h 273890"/>
                <a:gd name="connsiteX121" fmla="*/ 926750 w 1394458"/>
                <a:gd name="connsiteY121" fmla="*/ 202510 h 273890"/>
                <a:gd name="connsiteX122" fmla="*/ 934911 w 1394458"/>
                <a:gd name="connsiteY122" fmla="*/ 222310 h 273890"/>
                <a:gd name="connsiteX123" fmla="*/ 949152 w 1394458"/>
                <a:gd name="connsiteY123" fmla="*/ 235681 h 273890"/>
                <a:gd name="connsiteX124" fmla="*/ 969819 w 1394458"/>
                <a:gd name="connsiteY124" fmla="*/ 240545 h 273890"/>
                <a:gd name="connsiteX125" fmla="*/ 989965 w 1394458"/>
                <a:gd name="connsiteY125" fmla="*/ 235681 h 273890"/>
                <a:gd name="connsiteX126" fmla="*/ 1004206 w 1394458"/>
                <a:gd name="connsiteY126" fmla="*/ 222310 h 273890"/>
                <a:gd name="connsiteX127" fmla="*/ 1012367 w 1394458"/>
                <a:gd name="connsiteY127" fmla="*/ 202510 h 273890"/>
                <a:gd name="connsiteX128" fmla="*/ 1015145 w 1394458"/>
                <a:gd name="connsiteY128" fmla="*/ 178541 h 273890"/>
                <a:gd name="connsiteX129" fmla="*/ 1015145 w 1394458"/>
                <a:gd name="connsiteY129" fmla="*/ 174548 h 273890"/>
                <a:gd name="connsiteX130" fmla="*/ 1012367 w 1394458"/>
                <a:gd name="connsiteY130" fmla="*/ 150929 h 273890"/>
                <a:gd name="connsiteX131" fmla="*/ 1004031 w 1394458"/>
                <a:gd name="connsiteY131" fmla="*/ 130958 h 273890"/>
                <a:gd name="connsiteX132" fmla="*/ 989790 w 1394458"/>
                <a:gd name="connsiteY132" fmla="*/ 117412 h 273890"/>
                <a:gd name="connsiteX133" fmla="*/ 969469 w 1394458"/>
                <a:gd name="connsiteY133" fmla="*/ 112373 h 273890"/>
                <a:gd name="connsiteX134" fmla="*/ 948977 w 1394458"/>
                <a:gd name="connsiteY134" fmla="*/ 117412 h 273890"/>
                <a:gd name="connsiteX135" fmla="*/ 934911 w 1394458"/>
                <a:gd name="connsiteY135" fmla="*/ 130958 h 273890"/>
                <a:gd name="connsiteX136" fmla="*/ 926750 w 1394458"/>
                <a:gd name="connsiteY136" fmla="*/ 150929 h 273890"/>
                <a:gd name="connsiteX137" fmla="*/ 924143 w 1394458"/>
                <a:gd name="connsiteY137" fmla="*/ 174548 h 273890"/>
                <a:gd name="connsiteX138" fmla="*/ 1133598 w 1394458"/>
                <a:gd name="connsiteY138" fmla="*/ 122617 h 273890"/>
                <a:gd name="connsiteX139" fmla="*/ 1133598 w 1394458"/>
                <a:gd name="connsiteY139" fmla="*/ 270418 h 273890"/>
                <a:gd name="connsiteX140" fmla="*/ 1091745 w 1394458"/>
                <a:gd name="connsiteY140" fmla="*/ 270418 h 273890"/>
                <a:gd name="connsiteX141" fmla="*/ 1091745 w 1394458"/>
                <a:gd name="connsiteY141" fmla="*/ 82495 h 273890"/>
                <a:gd name="connsiteX142" fmla="*/ 1131171 w 1394458"/>
                <a:gd name="connsiteY142" fmla="*/ 82495 h 273890"/>
                <a:gd name="connsiteX143" fmla="*/ 1133603 w 1394458"/>
                <a:gd name="connsiteY143" fmla="*/ 122617 h 273890"/>
                <a:gd name="connsiteX144" fmla="*/ 1126132 w 1394458"/>
                <a:gd name="connsiteY144" fmla="*/ 169509 h 273890"/>
                <a:gd name="connsiteX145" fmla="*/ 1112586 w 1394458"/>
                <a:gd name="connsiteY145" fmla="*/ 169334 h 273890"/>
                <a:gd name="connsiteX146" fmla="*/ 1118145 w 1394458"/>
                <a:gd name="connsiteY146" fmla="*/ 132690 h 273890"/>
                <a:gd name="connsiteX147" fmla="*/ 1133428 w 1394458"/>
                <a:gd name="connsiteY147" fmla="*/ 104032 h 273890"/>
                <a:gd name="connsiteX148" fmla="*/ 1157046 w 1394458"/>
                <a:gd name="connsiteY148" fmla="*/ 85623 h 273890"/>
                <a:gd name="connsiteX149" fmla="*/ 1187615 w 1394458"/>
                <a:gd name="connsiteY149" fmla="*/ 79022 h 273890"/>
                <a:gd name="connsiteX150" fmla="*/ 1212105 w 1394458"/>
                <a:gd name="connsiteY150" fmla="*/ 82840 h 273890"/>
                <a:gd name="connsiteX151" fmla="*/ 1231034 w 1394458"/>
                <a:gd name="connsiteY151" fmla="*/ 94825 h 273890"/>
                <a:gd name="connsiteX152" fmla="*/ 1243189 w 1394458"/>
                <a:gd name="connsiteY152" fmla="*/ 116532 h 273890"/>
                <a:gd name="connsiteX153" fmla="*/ 1247357 w 1394458"/>
                <a:gd name="connsiteY153" fmla="*/ 149008 h 273890"/>
                <a:gd name="connsiteX154" fmla="*/ 1247357 w 1394458"/>
                <a:gd name="connsiteY154" fmla="*/ 270408 h 273890"/>
                <a:gd name="connsiteX155" fmla="*/ 1205329 w 1394458"/>
                <a:gd name="connsiteY155" fmla="*/ 270408 h 273890"/>
                <a:gd name="connsiteX156" fmla="*/ 1205329 w 1394458"/>
                <a:gd name="connsiteY156" fmla="*/ 148833 h 273890"/>
                <a:gd name="connsiteX157" fmla="*/ 1201336 w 1394458"/>
                <a:gd name="connsiteY157" fmla="*/ 127471 h 273890"/>
                <a:gd name="connsiteX158" fmla="*/ 1190047 w 1394458"/>
                <a:gd name="connsiteY158" fmla="*/ 116182 h 273890"/>
                <a:gd name="connsiteX159" fmla="*/ 1171813 w 1394458"/>
                <a:gd name="connsiteY159" fmla="*/ 112709 h 273890"/>
                <a:gd name="connsiteX160" fmla="*/ 1152533 w 1394458"/>
                <a:gd name="connsiteY160" fmla="*/ 117223 h 273890"/>
                <a:gd name="connsiteX161" fmla="*/ 1138116 w 1394458"/>
                <a:gd name="connsiteY161" fmla="*/ 129552 h 273890"/>
                <a:gd name="connsiteX162" fmla="*/ 1129259 w 1394458"/>
                <a:gd name="connsiteY162" fmla="*/ 147617 h 273890"/>
                <a:gd name="connsiteX163" fmla="*/ 1126132 w 1394458"/>
                <a:gd name="connsiteY163" fmla="*/ 169499 h 273890"/>
                <a:gd name="connsiteX164" fmla="*/ 1346701 w 1394458"/>
                <a:gd name="connsiteY164" fmla="*/ 270418 h 273890"/>
                <a:gd name="connsiteX165" fmla="*/ 1304843 w 1394458"/>
                <a:gd name="connsiteY165" fmla="*/ 270418 h 273890"/>
                <a:gd name="connsiteX166" fmla="*/ 1304843 w 1394458"/>
                <a:gd name="connsiteY166" fmla="*/ 64436 h 273890"/>
                <a:gd name="connsiteX167" fmla="*/ 1312659 w 1394458"/>
                <a:gd name="connsiteY167" fmla="*/ 29178 h 273890"/>
                <a:gd name="connsiteX168" fmla="*/ 1335412 w 1394458"/>
                <a:gd name="connsiteY168" fmla="*/ 7471 h 273890"/>
                <a:gd name="connsiteX169" fmla="*/ 1370319 w 1394458"/>
                <a:gd name="connsiteY169" fmla="*/ 0 h 273890"/>
                <a:gd name="connsiteX170" fmla="*/ 1382649 w 1394458"/>
                <a:gd name="connsiteY170" fmla="*/ 871 h 273890"/>
                <a:gd name="connsiteX171" fmla="*/ 1394458 w 1394458"/>
                <a:gd name="connsiteY171" fmla="*/ 3127 h 273890"/>
                <a:gd name="connsiteX172" fmla="*/ 1393418 w 1394458"/>
                <a:gd name="connsiteY172" fmla="*/ 35433 h 273890"/>
                <a:gd name="connsiteX173" fmla="*/ 1385776 w 1394458"/>
                <a:gd name="connsiteY173" fmla="*/ 34217 h 273890"/>
                <a:gd name="connsiteX174" fmla="*/ 1377095 w 1394458"/>
                <a:gd name="connsiteY174" fmla="*/ 33867 h 273890"/>
                <a:gd name="connsiteX175" fmla="*/ 1360596 w 1394458"/>
                <a:gd name="connsiteY175" fmla="*/ 37515 h 273890"/>
                <a:gd name="connsiteX176" fmla="*/ 1350178 w 1394458"/>
                <a:gd name="connsiteY176" fmla="*/ 47763 h 273890"/>
                <a:gd name="connsiteX177" fmla="*/ 1346706 w 1394458"/>
                <a:gd name="connsiteY177" fmla="*/ 64436 h 273890"/>
                <a:gd name="connsiteX178" fmla="*/ 1346706 w 1394458"/>
                <a:gd name="connsiteY178" fmla="*/ 270418 h 273890"/>
                <a:gd name="connsiteX179" fmla="*/ 1385431 w 1394458"/>
                <a:gd name="connsiteY179" fmla="*/ 82500 h 273890"/>
                <a:gd name="connsiteX180" fmla="*/ 1385431 w 1394458"/>
                <a:gd name="connsiteY180" fmla="*/ 113069 h 273890"/>
                <a:gd name="connsiteX181" fmla="*/ 1276015 w 1394458"/>
                <a:gd name="connsiteY181" fmla="*/ 113069 h 273890"/>
                <a:gd name="connsiteX182" fmla="*/ 1276015 w 1394458"/>
                <a:gd name="connsiteY182" fmla="*/ 82500 h 273890"/>
                <a:gd name="connsiteX183" fmla="*/ 1385431 w 1394458"/>
                <a:gd name="connsiteY183" fmla="*/ 82500 h 2738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</a:cxnLst>
              <a:rect l="l" t="t" r="r" b="b"/>
              <a:pathLst>
                <a:path w="1394458" h="273890">
                  <a:moveTo>
                    <a:pt x="157354" y="188093"/>
                  </a:moveTo>
                  <a:lnTo>
                    <a:pt x="200773" y="188093"/>
                  </a:lnTo>
                  <a:cubicBezTo>
                    <a:pt x="199382" y="204650"/>
                    <a:pt x="194752" y="219411"/>
                    <a:pt x="186877" y="232383"/>
                  </a:cubicBezTo>
                  <a:cubicBezTo>
                    <a:pt x="179003" y="245233"/>
                    <a:pt x="167947" y="255365"/>
                    <a:pt x="153706" y="262777"/>
                  </a:cubicBezTo>
                  <a:cubicBezTo>
                    <a:pt x="139465" y="270185"/>
                    <a:pt x="122155" y="273891"/>
                    <a:pt x="101775" y="273891"/>
                  </a:cubicBezTo>
                  <a:cubicBezTo>
                    <a:pt x="86143" y="273891"/>
                    <a:pt x="72077" y="271114"/>
                    <a:pt x="59572" y="265554"/>
                  </a:cubicBezTo>
                  <a:cubicBezTo>
                    <a:pt x="47067" y="259878"/>
                    <a:pt x="36357" y="251892"/>
                    <a:pt x="27442" y="241585"/>
                  </a:cubicBezTo>
                  <a:cubicBezTo>
                    <a:pt x="18526" y="231167"/>
                    <a:pt x="11697" y="218604"/>
                    <a:pt x="6950" y="203901"/>
                  </a:cubicBezTo>
                  <a:cubicBezTo>
                    <a:pt x="2315" y="189192"/>
                    <a:pt x="0" y="172753"/>
                    <a:pt x="0" y="154572"/>
                  </a:cubicBezTo>
                  <a:lnTo>
                    <a:pt x="0" y="133555"/>
                  </a:lnTo>
                  <a:cubicBezTo>
                    <a:pt x="0" y="115379"/>
                    <a:pt x="2374" y="98935"/>
                    <a:pt x="7121" y="84231"/>
                  </a:cubicBezTo>
                  <a:cubicBezTo>
                    <a:pt x="11984" y="69528"/>
                    <a:pt x="18930" y="56965"/>
                    <a:pt x="27962" y="46542"/>
                  </a:cubicBezTo>
                  <a:cubicBezTo>
                    <a:pt x="36994" y="36007"/>
                    <a:pt x="47816" y="27957"/>
                    <a:pt x="60438" y="22403"/>
                  </a:cubicBezTo>
                  <a:cubicBezTo>
                    <a:pt x="73171" y="16843"/>
                    <a:pt x="87471" y="14066"/>
                    <a:pt x="103336" y="14066"/>
                  </a:cubicBezTo>
                  <a:cubicBezTo>
                    <a:pt x="123482" y="14066"/>
                    <a:pt x="140506" y="17772"/>
                    <a:pt x="154397" y="25180"/>
                  </a:cubicBezTo>
                  <a:cubicBezTo>
                    <a:pt x="168293" y="32592"/>
                    <a:pt x="179056" y="42836"/>
                    <a:pt x="186702" y="55919"/>
                  </a:cubicBezTo>
                  <a:cubicBezTo>
                    <a:pt x="194460" y="69003"/>
                    <a:pt x="199207" y="83998"/>
                    <a:pt x="200943" y="100900"/>
                  </a:cubicBezTo>
                  <a:lnTo>
                    <a:pt x="157524" y="100900"/>
                  </a:lnTo>
                  <a:cubicBezTo>
                    <a:pt x="156367" y="90015"/>
                    <a:pt x="153818" y="80695"/>
                    <a:pt x="149883" y="72938"/>
                  </a:cubicBezTo>
                  <a:cubicBezTo>
                    <a:pt x="146065" y="65180"/>
                    <a:pt x="140389" y="59275"/>
                    <a:pt x="132865" y="55224"/>
                  </a:cubicBezTo>
                  <a:cubicBezTo>
                    <a:pt x="125340" y="51055"/>
                    <a:pt x="115496" y="48969"/>
                    <a:pt x="103341" y="48969"/>
                  </a:cubicBezTo>
                  <a:cubicBezTo>
                    <a:pt x="93385" y="48969"/>
                    <a:pt x="84698" y="50822"/>
                    <a:pt x="77291" y="54528"/>
                  </a:cubicBezTo>
                  <a:cubicBezTo>
                    <a:pt x="69878" y="58234"/>
                    <a:pt x="63687" y="63677"/>
                    <a:pt x="58706" y="70856"/>
                  </a:cubicBezTo>
                  <a:cubicBezTo>
                    <a:pt x="53730" y="78035"/>
                    <a:pt x="49966" y="86892"/>
                    <a:pt x="47417" y="97427"/>
                  </a:cubicBezTo>
                  <a:cubicBezTo>
                    <a:pt x="44985" y="107845"/>
                    <a:pt x="43769" y="119771"/>
                    <a:pt x="43769" y="133205"/>
                  </a:cubicBezTo>
                  <a:lnTo>
                    <a:pt x="43769" y="154567"/>
                  </a:lnTo>
                  <a:cubicBezTo>
                    <a:pt x="43769" y="167305"/>
                    <a:pt x="44869" y="178881"/>
                    <a:pt x="47067" y="189304"/>
                  </a:cubicBezTo>
                  <a:cubicBezTo>
                    <a:pt x="49382" y="199611"/>
                    <a:pt x="52855" y="208468"/>
                    <a:pt x="57490" y="215875"/>
                  </a:cubicBezTo>
                  <a:cubicBezTo>
                    <a:pt x="62237" y="223288"/>
                    <a:pt x="68259" y="229017"/>
                    <a:pt x="75550" y="233069"/>
                  </a:cubicBezTo>
                  <a:cubicBezTo>
                    <a:pt x="82845" y="237120"/>
                    <a:pt x="91585" y="239149"/>
                    <a:pt x="101775" y="239149"/>
                  </a:cubicBezTo>
                  <a:cubicBezTo>
                    <a:pt x="114163" y="239149"/>
                    <a:pt x="124178" y="237179"/>
                    <a:pt x="131824" y="233244"/>
                  </a:cubicBezTo>
                  <a:cubicBezTo>
                    <a:pt x="139582" y="229304"/>
                    <a:pt x="145428" y="223575"/>
                    <a:pt x="149363" y="216050"/>
                  </a:cubicBezTo>
                  <a:cubicBezTo>
                    <a:pt x="153414" y="208409"/>
                    <a:pt x="156080" y="199090"/>
                    <a:pt x="157354" y="188088"/>
                  </a:cubicBezTo>
                  <a:close/>
                  <a:moveTo>
                    <a:pt x="313837" y="270418"/>
                  </a:moveTo>
                  <a:lnTo>
                    <a:pt x="259825" y="270418"/>
                  </a:lnTo>
                  <a:lnTo>
                    <a:pt x="260170" y="235856"/>
                  </a:lnTo>
                  <a:lnTo>
                    <a:pt x="313837" y="235856"/>
                  </a:lnTo>
                  <a:cubicBezTo>
                    <a:pt x="329469" y="235856"/>
                    <a:pt x="342553" y="232441"/>
                    <a:pt x="353088" y="225608"/>
                  </a:cubicBezTo>
                  <a:cubicBezTo>
                    <a:pt x="363740" y="218779"/>
                    <a:pt x="371731" y="208993"/>
                    <a:pt x="377057" y="196255"/>
                  </a:cubicBezTo>
                  <a:cubicBezTo>
                    <a:pt x="382499" y="183516"/>
                    <a:pt x="385218" y="168351"/>
                    <a:pt x="385218" y="150754"/>
                  </a:cubicBezTo>
                  <a:lnTo>
                    <a:pt x="385218" y="137033"/>
                  </a:lnTo>
                  <a:cubicBezTo>
                    <a:pt x="385218" y="123371"/>
                    <a:pt x="383657" y="111269"/>
                    <a:pt x="380530" y="100734"/>
                  </a:cubicBezTo>
                  <a:cubicBezTo>
                    <a:pt x="377519" y="90199"/>
                    <a:pt x="373005" y="81342"/>
                    <a:pt x="366984" y="74163"/>
                  </a:cubicBezTo>
                  <a:cubicBezTo>
                    <a:pt x="361079" y="66984"/>
                    <a:pt x="353784" y="61542"/>
                    <a:pt x="345102" y="57840"/>
                  </a:cubicBezTo>
                  <a:cubicBezTo>
                    <a:pt x="336532" y="54134"/>
                    <a:pt x="326634" y="52281"/>
                    <a:pt x="315403" y="52281"/>
                  </a:cubicBezTo>
                  <a:lnTo>
                    <a:pt x="258784" y="52281"/>
                  </a:lnTo>
                  <a:lnTo>
                    <a:pt x="258784" y="17544"/>
                  </a:lnTo>
                  <a:lnTo>
                    <a:pt x="315403" y="17544"/>
                  </a:lnTo>
                  <a:cubicBezTo>
                    <a:pt x="332193" y="17544"/>
                    <a:pt x="347534" y="20379"/>
                    <a:pt x="361429" y="26055"/>
                  </a:cubicBezTo>
                  <a:cubicBezTo>
                    <a:pt x="375325" y="31615"/>
                    <a:pt x="387310" y="39660"/>
                    <a:pt x="397383" y="50195"/>
                  </a:cubicBezTo>
                  <a:cubicBezTo>
                    <a:pt x="407572" y="60730"/>
                    <a:pt x="415389" y="73351"/>
                    <a:pt x="420826" y="88054"/>
                  </a:cubicBezTo>
                  <a:cubicBezTo>
                    <a:pt x="426269" y="102758"/>
                    <a:pt x="428988" y="119202"/>
                    <a:pt x="428988" y="137378"/>
                  </a:cubicBezTo>
                  <a:lnTo>
                    <a:pt x="428988" y="150754"/>
                  </a:lnTo>
                  <a:cubicBezTo>
                    <a:pt x="428988" y="168930"/>
                    <a:pt x="426269" y="185374"/>
                    <a:pt x="420826" y="200078"/>
                  </a:cubicBezTo>
                  <a:cubicBezTo>
                    <a:pt x="415384" y="214781"/>
                    <a:pt x="407568" y="227403"/>
                    <a:pt x="397383" y="237938"/>
                  </a:cubicBezTo>
                  <a:cubicBezTo>
                    <a:pt x="387193" y="248356"/>
                    <a:pt x="375038" y="256405"/>
                    <a:pt x="360909" y="262077"/>
                  </a:cubicBezTo>
                  <a:cubicBezTo>
                    <a:pt x="346896" y="267636"/>
                    <a:pt x="331211" y="270413"/>
                    <a:pt x="313842" y="270413"/>
                  </a:cubicBezTo>
                  <a:close/>
                  <a:moveTo>
                    <a:pt x="283964" y="17544"/>
                  </a:moveTo>
                  <a:lnTo>
                    <a:pt x="283964" y="270418"/>
                  </a:lnTo>
                  <a:lnTo>
                    <a:pt x="240369" y="270418"/>
                  </a:lnTo>
                  <a:lnTo>
                    <a:pt x="240369" y="17544"/>
                  </a:lnTo>
                  <a:lnTo>
                    <a:pt x="283964" y="17544"/>
                  </a:lnTo>
                  <a:close/>
                  <a:moveTo>
                    <a:pt x="519299" y="17544"/>
                  </a:moveTo>
                  <a:lnTo>
                    <a:pt x="519299" y="270418"/>
                  </a:lnTo>
                  <a:lnTo>
                    <a:pt x="475705" y="270418"/>
                  </a:lnTo>
                  <a:lnTo>
                    <a:pt x="475705" y="17544"/>
                  </a:lnTo>
                  <a:lnTo>
                    <a:pt x="519299" y="17544"/>
                  </a:lnTo>
                  <a:close/>
                  <a:moveTo>
                    <a:pt x="811424" y="188093"/>
                  </a:moveTo>
                  <a:lnTo>
                    <a:pt x="854843" y="188093"/>
                  </a:lnTo>
                  <a:cubicBezTo>
                    <a:pt x="853452" y="204650"/>
                    <a:pt x="848822" y="219411"/>
                    <a:pt x="840947" y="232383"/>
                  </a:cubicBezTo>
                  <a:cubicBezTo>
                    <a:pt x="833073" y="245233"/>
                    <a:pt x="822017" y="255365"/>
                    <a:pt x="807776" y="262777"/>
                  </a:cubicBezTo>
                  <a:cubicBezTo>
                    <a:pt x="793535" y="270185"/>
                    <a:pt x="776225" y="273891"/>
                    <a:pt x="755845" y="273891"/>
                  </a:cubicBezTo>
                  <a:cubicBezTo>
                    <a:pt x="740213" y="273891"/>
                    <a:pt x="726147" y="271114"/>
                    <a:pt x="713642" y="265554"/>
                  </a:cubicBezTo>
                  <a:cubicBezTo>
                    <a:pt x="701137" y="259878"/>
                    <a:pt x="690427" y="251892"/>
                    <a:pt x="681512" y="241585"/>
                  </a:cubicBezTo>
                  <a:cubicBezTo>
                    <a:pt x="672596" y="231167"/>
                    <a:pt x="665768" y="218604"/>
                    <a:pt x="661021" y="203901"/>
                  </a:cubicBezTo>
                  <a:cubicBezTo>
                    <a:pt x="656390" y="189197"/>
                    <a:pt x="654075" y="172753"/>
                    <a:pt x="654075" y="154577"/>
                  </a:cubicBezTo>
                  <a:lnTo>
                    <a:pt x="654075" y="133560"/>
                  </a:lnTo>
                  <a:cubicBezTo>
                    <a:pt x="654075" y="115384"/>
                    <a:pt x="656449" y="98940"/>
                    <a:pt x="661196" y="84236"/>
                  </a:cubicBezTo>
                  <a:cubicBezTo>
                    <a:pt x="666059" y="69533"/>
                    <a:pt x="673005" y="56970"/>
                    <a:pt x="682037" y="46547"/>
                  </a:cubicBezTo>
                  <a:cubicBezTo>
                    <a:pt x="691069" y="36012"/>
                    <a:pt x="701891" y="27962"/>
                    <a:pt x="714513" y="22408"/>
                  </a:cubicBezTo>
                  <a:cubicBezTo>
                    <a:pt x="727246" y="16848"/>
                    <a:pt x="741546" y="14071"/>
                    <a:pt x="757411" y="14071"/>
                  </a:cubicBezTo>
                  <a:cubicBezTo>
                    <a:pt x="777557" y="14071"/>
                    <a:pt x="794581" y="17777"/>
                    <a:pt x="808472" y="25185"/>
                  </a:cubicBezTo>
                  <a:cubicBezTo>
                    <a:pt x="822368" y="32597"/>
                    <a:pt x="833131" y="42840"/>
                    <a:pt x="840777" y="55924"/>
                  </a:cubicBezTo>
                  <a:cubicBezTo>
                    <a:pt x="848535" y="69008"/>
                    <a:pt x="853282" y="84003"/>
                    <a:pt x="855018" y="100905"/>
                  </a:cubicBezTo>
                  <a:lnTo>
                    <a:pt x="811599" y="100905"/>
                  </a:lnTo>
                  <a:cubicBezTo>
                    <a:pt x="810442" y="90019"/>
                    <a:pt x="807893" y="80700"/>
                    <a:pt x="803958" y="72943"/>
                  </a:cubicBezTo>
                  <a:cubicBezTo>
                    <a:pt x="800140" y="65185"/>
                    <a:pt x="794464" y="59280"/>
                    <a:pt x="786940" y="55229"/>
                  </a:cubicBezTo>
                  <a:cubicBezTo>
                    <a:pt x="779415" y="51060"/>
                    <a:pt x="769571" y="48974"/>
                    <a:pt x="757416" y="48974"/>
                  </a:cubicBezTo>
                  <a:cubicBezTo>
                    <a:pt x="747460" y="48974"/>
                    <a:pt x="738773" y="50827"/>
                    <a:pt x="731366" y="54533"/>
                  </a:cubicBezTo>
                  <a:cubicBezTo>
                    <a:pt x="723953" y="58239"/>
                    <a:pt x="717762" y="63682"/>
                    <a:pt x="712781" y="70861"/>
                  </a:cubicBezTo>
                  <a:cubicBezTo>
                    <a:pt x="707801" y="78040"/>
                    <a:pt x="704041" y="86897"/>
                    <a:pt x="701492" y="97432"/>
                  </a:cubicBezTo>
                  <a:cubicBezTo>
                    <a:pt x="699060" y="107850"/>
                    <a:pt x="697844" y="119776"/>
                    <a:pt x="697844" y="133210"/>
                  </a:cubicBezTo>
                  <a:lnTo>
                    <a:pt x="697844" y="154572"/>
                  </a:lnTo>
                  <a:cubicBezTo>
                    <a:pt x="697844" y="167310"/>
                    <a:pt x="698944" y="178886"/>
                    <a:pt x="701142" y="189309"/>
                  </a:cubicBezTo>
                  <a:cubicBezTo>
                    <a:pt x="703457" y="199616"/>
                    <a:pt x="706930" y="208473"/>
                    <a:pt x="711565" y="215880"/>
                  </a:cubicBezTo>
                  <a:cubicBezTo>
                    <a:pt x="716312" y="223293"/>
                    <a:pt x="722334" y="229022"/>
                    <a:pt x="729629" y="233074"/>
                  </a:cubicBezTo>
                  <a:cubicBezTo>
                    <a:pt x="736925" y="237125"/>
                    <a:pt x="745665" y="239154"/>
                    <a:pt x="755855" y="239154"/>
                  </a:cubicBezTo>
                  <a:cubicBezTo>
                    <a:pt x="768243" y="239154"/>
                    <a:pt x="778258" y="237184"/>
                    <a:pt x="785904" y="233249"/>
                  </a:cubicBezTo>
                  <a:cubicBezTo>
                    <a:pt x="793661" y="229309"/>
                    <a:pt x="799508" y="223580"/>
                    <a:pt x="803443" y="216055"/>
                  </a:cubicBezTo>
                  <a:cubicBezTo>
                    <a:pt x="807494" y="208414"/>
                    <a:pt x="810159" y="199095"/>
                    <a:pt x="811434" y="188093"/>
                  </a:cubicBezTo>
                  <a:close/>
                  <a:moveTo>
                    <a:pt x="882285" y="178541"/>
                  </a:moveTo>
                  <a:lnTo>
                    <a:pt x="882285" y="174548"/>
                  </a:lnTo>
                  <a:cubicBezTo>
                    <a:pt x="882285" y="161002"/>
                    <a:pt x="884255" y="148439"/>
                    <a:pt x="888190" y="136858"/>
                  </a:cubicBezTo>
                  <a:cubicBezTo>
                    <a:pt x="892124" y="125165"/>
                    <a:pt x="897800" y="115034"/>
                    <a:pt x="905208" y="106464"/>
                  </a:cubicBezTo>
                  <a:cubicBezTo>
                    <a:pt x="912732" y="97782"/>
                    <a:pt x="921881" y="91065"/>
                    <a:pt x="932650" y="86318"/>
                  </a:cubicBezTo>
                  <a:cubicBezTo>
                    <a:pt x="943535" y="81454"/>
                    <a:pt x="955806" y="79022"/>
                    <a:pt x="969469" y="79022"/>
                  </a:cubicBezTo>
                  <a:cubicBezTo>
                    <a:pt x="983131" y="79022"/>
                    <a:pt x="995519" y="81454"/>
                    <a:pt x="1006288" y="86318"/>
                  </a:cubicBezTo>
                  <a:cubicBezTo>
                    <a:pt x="1017173" y="91065"/>
                    <a:pt x="1026375" y="97782"/>
                    <a:pt x="1033899" y="106464"/>
                  </a:cubicBezTo>
                  <a:cubicBezTo>
                    <a:pt x="1041424" y="115034"/>
                    <a:pt x="1047158" y="125165"/>
                    <a:pt x="1051093" y="136858"/>
                  </a:cubicBezTo>
                  <a:cubicBezTo>
                    <a:pt x="1055028" y="148434"/>
                    <a:pt x="1056998" y="160997"/>
                    <a:pt x="1056998" y="174548"/>
                  </a:cubicBezTo>
                  <a:lnTo>
                    <a:pt x="1056998" y="178541"/>
                  </a:lnTo>
                  <a:cubicBezTo>
                    <a:pt x="1056998" y="192086"/>
                    <a:pt x="1055028" y="204650"/>
                    <a:pt x="1051093" y="216226"/>
                  </a:cubicBezTo>
                  <a:cubicBezTo>
                    <a:pt x="1047153" y="227806"/>
                    <a:pt x="1041424" y="237938"/>
                    <a:pt x="1033899" y="246619"/>
                  </a:cubicBezTo>
                  <a:cubicBezTo>
                    <a:pt x="1026375" y="255189"/>
                    <a:pt x="1017226" y="261902"/>
                    <a:pt x="1006458" y="266765"/>
                  </a:cubicBezTo>
                  <a:cubicBezTo>
                    <a:pt x="995689" y="271512"/>
                    <a:pt x="983476" y="273886"/>
                    <a:pt x="969814" y="273886"/>
                  </a:cubicBezTo>
                  <a:cubicBezTo>
                    <a:pt x="956151" y="273886"/>
                    <a:pt x="943705" y="271512"/>
                    <a:pt x="932820" y="266765"/>
                  </a:cubicBezTo>
                  <a:cubicBezTo>
                    <a:pt x="922051" y="261902"/>
                    <a:pt x="912907" y="255189"/>
                    <a:pt x="905378" y="246619"/>
                  </a:cubicBezTo>
                  <a:cubicBezTo>
                    <a:pt x="897854" y="237938"/>
                    <a:pt x="892119" y="227806"/>
                    <a:pt x="888185" y="216226"/>
                  </a:cubicBezTo>
                  <a:cubicBezTo>
                    <a:pt x="884245" y="204650"/>
                    <a:pt x="882280" y="192086"/>
                    <a:pt x="882280" y="178541"/>
                  </a:cubicBezTo>
                  <a:close/>
                  <a:moveTo>
                    <a:pt x="924143" y="174548"/>
                  </a:moveTo>
                  <a:lnTo>
                    <a:pt x="924143" y="178541"/>
                  </a:lnTo>
                  <a:cubicBezTo>
                    <a:pt x="924143" y="186994"/>
                    <a:pt x="925013" y="194980"/>
                    <a:pt x="926750" y="202510"/>
                  </a:cubicBezTo>
                  <a:cubicBezTo>
                    <a:pt x="928486" y="210034"/>
                    <a:pt x="931210" y="216634"/>
                    <a:pt x="934911" y="222310"/>
                  </a:cubicBezTo>
                  <a:cubicBezTo>
                    <a:pt x="938617" y="227981"/>
                    <a:pt x="943365" y="232441"/>
                    <a:pt x="949152" y="235681"/>
                  </a:cubicBezTo>
                  <a:cubicBezTo>
                    <a:pt x="954940" y="238925"/>
                    <a:pt x="961832" y="240545"/>
                    <a:pt x="969819" y="240545"/>
                  </a:cubicBezTo>
                  <a:cubicBezTo>
                    <a:pt x="977805" y="240545"/>
                    <a:pt x="984293" y="238925"/>
                    <a:pt x="989965" y="235681"/>
                  </a:cubicBezTo>
                  <a:cubicBezTo>
                    <a:pt x="995753" y="232441"/>
                    <a:pt x="1000500" y="227981"/>
                    <a:pt x="1004206" y="222310"/>
                  </a:cubicBezTo>
                  <a:cubicBezTo>
                    <a:pt x="1007912" y="216634"/>
                    <a:pt x="1010631" y="210039"/>
                    <a:pt x="1012367" y="202510"/>
                  </a:cubicBezTo>
                  <a:cubicBezTo>
                    <a:pt x="1014220" y="194985"/>
                    <a:pt x="1015145" y="186994"/>
                    <a:pt x="1015145" y="178541"/>
                  </a:cubicBezTo>
                  <a:lnTo>
                    <a:pt x="1015145" y="174548"/>
                  </a:lnTo>
                  <a:cubicBezTo>
                    <a:pt x="1015145" y="166211"/>
                    <a:pt x="1014220" y="158336"/>
                    <a:pt x="1012367" y="150929"/>
                  </a:cubicBezTo>
                  <a:cubicBezTo>
                    <a:pt x="1010631" y="143405"/>
                    <a:pt x="1007854" y="136746"/>
                    <a:pt x="1004031" y="130958"/>
                  </a:cubicBezTo>
                  <a:cubicBezTo>
                    <a:pt x="1000325" y="125170"/>
                    <a:pt x="995578" y="120652"/>
                    <a:pt x="989790" y="117412"/>
                  </a:cubicBezTo>
                  <a:cubicBezTo>
                    <a:pt x="984118" y="114056"/>
                    <a:pt x="977343" y="112373"/>
                    <a:pt x="969469" y="112373"/>
                  </a:cubicBezTo>
                  <a:cubicBezTo>
                    <a:pt x="961594" y="112373"/>
                    <a:pt x="954765" y="114051"/>
                    <a:pt x="948977" y="117412"/>
                  </a:cubicBezTo>
                  <a:cubicBezTo>
                    <a:pt x="943301" y="120657"/>
                    <a:pt x="938613" y="125170"/>
                    <a:pt x="934911" y="130958"/>
                  </a:cubicBezTo>
                  <a:cubicBezTo>
                    <a:pt x="931205" y="136746"/>
                    <a:pt x="928486" y="143405"/>
                    <a:pt x="926750" y="150929"/>
                  </a:cubicBezTo>
                  <a:cubicBezTo>
                    <a:pt x="925013" y="158336"/>
                    <a:pt x="924143" y="166211"/>
                    <a:pt x="924143" y="174548"/>
                  </a:cubicBezTo>
                  <a:close/>
                  <a:moveTo>
                    <a:pt x="1133598" y="122617"/>
                  </a:moveTo>
                  <a:lnTo>
                    <a:pt x="1133598" y="270418"/>
                  </a:lnTo>
                  <a:lnTo>
                    <a:pt x="1091745" y="270418"/>
                  </a:lnTo>
                  <a:lnTo>
                    <a:pt x="1091745" y="82495"/>
                  </a:lnTo>
                  <a:lnTo>
                    <a:pt x="1131171" y="82495"/>
                  </a:lnTo>
                  <a:lnTo>
                    <a:pt x="1133603" y="122617"/>
                  </a:lnTo>
                  <a:close/>
                  <a:moveTo>
                    <a:pt x="1126132" y="169509"/>
                  </a:moveTo>
                  <a:lnTo>
                    <a:pt x="1112586" y="169334"/>
                  </a:lnTo>
                  <a:cubicBezTo>
                    <a:pt x="1112703" y="156016"/>
                    <a:pt x="1114556" y="143803"/>
                    <a:pt x="1118145" y="132690"/>
                  </a:cubicBezTo>
                  <a:cubicBezTo>
                    <a:pt x="1121852" y="121576"/>
                    <a:pt x="1126944" y="112023"/>
                    <a:pt x="1133428" y="104032"/>
                  </a:cubicBezTo>
                  <a:cubicBezTo>
                    <a:pt x="1140028" y="96046"/>
                    <a:pt x="1147902" y="89908"/>
                    <a:pt x="1157046" y="85623"/>
                  </a:cubicBezTo>
                  <a:cubicBezTo>
                    <a:pt x="1166195" y="81226"/>
                    <a:pt x="1176385" y="79022"/>
                    <a:pt x="1187615" y="79022"/>
                  </a:cubicBezTo>
                  <a:cubicBezTo>
                    <a:pt x="1196647" y="79022"/>
                    <a:pt x="1204809" y="80297"/>
                    <a:pt x="1212105" y="82840"/>
                  </a:cubicBezTo>
                  <a:cubicBezTo>
                    <a:pt x="1219517" y="85272"/>
                    <a:pt x="1225825" y="89265"/>
                    <a:pt x="1231034" y="94825"/>
                  </a:cubicBezTo>
                  <a:cubicBezTo>
                    <a:pt x="1236360" y="100384"/>
                    <a:pt x="1240412" y="107617"/>
                    <a:pt x="1243189" y="116532"/>
                  </a:cubicBezTo>
                  <a:cubicBezTo>
                    <a:pt x="1245966" y="125331"/>
                    <a:pt x="1247357" y="136157"/>
                    <a:pt x="1247357" y="149008"/>
                  </a:cubicBezTo>
                  <a:lnTo>
                    <a:pt x="1247357" y="270408"/>
                  </a:lnTo>
                  <a:lnTo>
                    <a:pt x="1205329" y="270408"/>
                  </a:lnTo>
                  <a:lnTo>
                    <a:pt x="1205329" y="148833"/>
                  </a:lnTo>
                  <a:cubicBezTo>
                    <a:pt x="1205329" y="139800"/>
                    <a:pt x="1203996" y="132680"/>
                    <a:pt x="1201336" y="127471"/>
                  </a:cubicBezTo>
                  <a:cubicBezTo>
                    <a:pt x="1198787" y="122145"/>
                    <a:pt x="1195028" y="118380"/>
                    <a:pt x="1190047" y="116182"/>
                  </a:cubicBezTo>
                  <a:cubicBezTo>
                    <a:pt x="1185183" y="113867"/>
                    <a:pt x="1179104" y="112709"/>
                    <a:pt x="1171813" y="112709"/>
                  </a:cubicBezTo>
                  <a:cubicBezTo>
                    <a:pt x="1164522" y="112709"/>
                    <a:pt x="1158209" y="114212"/>
                    <a:pt x="1152533" y="117223"/>
                  </a:cubicBezTo>
                  <a:cubicBezTo>
                    <a:pt x="1146861" y="120233"/>
                    <a:pt x="1142056" y="124343"/>
                    <a:pt x="1138116" y="129552"/>
                  </a:cubicBezTo>
                  <a:cubicBezTo>
                    <a:pt x="1134293" y="134762"/>
                    <a:pt x="1131341" y="140783"/>
                    <a:pt x="1129259" y="147617"/>
                  </a:cubicBezTo>
                  <a:cubicBezTo>
                    <a:pt x="1127178" y="154445"/>
                    <a:pt x="1126132" y="161741"/>
                    <a:pt x="1126132" y="169499"/>
                  </a:cubicBezTo>
                  <a:close/>
                  <a:moveTo>
                    <a:pt x="1346701" y="270418"/>
                  </a:moveTo>
                  <a:lnTo>
                    <a:pt x="1304843" y="270418"/>
                  </a:lnTo>
                  <a:lnTo>
                    <a:pt x="1304843" y="64436"/>
                  </a:lnTo>
                  <a:cubicBezTo>
                    <a:pt x="1304843" y="50428"/>
                    <a:pt x="1307450" y="38672"/>
                    <a:pt x="1312659" y="29178"/>
                  </a:cubicBezTo>
                  <a:cubicBezTo>
                    <a:pt x="1317985" y="19567"/>
                    <a:pt x="1325567" y="12330"/>
                    <a:pt x="1335412" y="7471"/>
                  </a:cubicBezTo>
                  <a:cubicBezTo>
                    <a:pt x="1345256" y="2490"/>
                    <a:pt x="1356890" y="0"/>
                    <a:pt x="1370319" y="0"/>
                  </a:cubicBezTo>
                  <a:cubicBezTo>
                    <a:pt x="1374488" y="0"/>
                    <a:pt x="1378597" y="292"/>
                    <a:pt x="1382649" y="871"/>
                  </a:cubicBezTo>
                  <a:cubicBezTo>
                    <a:pt x="1386701" y="1333"/>
                    <a:pt x="1390640" y="2087"/>
                    <a:pt x="1394458" y="3127"/>
                  </a:cubicBezTo>
                  <a:lnTo>
                    <a:pt x="1393418" y="35433"/>
                  </a:lnTo>
                  <a:cubicBezTo>
                    <a:pt x="1391102" y="34854"/>
                    <a:pt x="1388554" y="34450"/>
                    <a:pt x="1385776" y="34217"/>
                  </a:cubicBezTo>
                  <a:cubicBezTo>
                    <a:pt x="1383116" y="33983"/>
                    <a:pt x="1380217" y="33867"/>
                    <a:pt x="1377095" y="33867"/>
                  </a:cubicBezTo>
                  <a:cubicBezTo>
                    <a:pt x="1370728" y="33867"/>
                    <a:pt x="1365227" y="35083"/>
                    <a:pt x="1360596" y="37515"/>
                  </a:cubicBezTo>
                  <a:cubicBezTo>
                    <a:pt x="1356083" y="39830"/>
                    <a:pt x="1352605" y="43244"/>
                    <a:pt x="1350178" y="47763"/>
                  </a:cubicBezTo>
                  <a:cubicBezTo>
                    <a:pt x="1347863" y="52281"/>
                    <a:pt x="1346706" y="57836"/>
                    <a:pt x="1346706" y="64436"/>
                  </a:cubicBezTo>
                  <a:lnTo>
                    <a:pt x="1346706" y="270418"/>
                  </a:lnTo>
                  <a:close/>
                  <a:moveTo>
                    <a:pt x="1385431" y="82500"/>
                  </a:moveTo>
                  <a:lnTo>
                    <a:pt x="1385431" y="113069"/>
                  </a:lnTo>
                  <a:lnTo>
                    <a:pt x="1276015" y="113069"/>
                  </a:lnTo>
                  <a:lnTo>
                    <a:pt x="1276015" y="82500"/>
                  </a:lnTo>
                  <a:lnTo>
                    <a:pt x="1385431" y="82500"/>
                  </a:lnTo>
                  <a:close/>
                </a:path>
              </a:pathLst>
            </a:custGeom>
            <a:solidFill>
              <a:schemeClr val="tx1"/>
            </a:solidFill>
            <a:ln w="4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7" name="Полилиния: фигура 46">
              <a:extLst>
                <a:ext uri="{FF2B5EF4-FFF2-40B4-BE49-F238E27FC236}">
                  <a16:creationId xmlns:a16="http://schemas.microsoft.com/office/drawing/2014/main" id="{0E6F0FB0-99D0-4190-B058-29B8184B7C5F}"/>
                </a:ext>
              </a:extLst>
            </p:cNvPr>
            <p:cNvSpPr/>
            <p:nvPr/>
          </p:nvSpPr>
          <p:spPr>
            <a:xfrm>
              <a:off x="8902858" y="5892336"/>
              <a:ext cx="774600" cy="259834"/>
            </a:xfrm>
            <a:custGeom>
              <a:avLst/>
              <a:gdLst>
                <a:gd name="connsiteX0" fmla="*/ 174372 w 774600"/>
                <a:gd name="connsiteY0" fmla="*/ 223015 h 259834"/>
                <a:gd name="connsiteX1" fmla="*/ 174372 w 774600"/>
                <a:gd name="connsiteY1" fmla="*/ 256362 h 259834"/>
                <a:gd name="connsiteX2" fmla="*/ 4859 w 774600"/>
                <a:gd name="connsiteY2" fmla="*/ 256362 h 259834"/>
                <a:gd name="connsiteX3" fmla="*/ 4859 w 774600"/>
                <a:gd name="connsiteY3" fmla="*/ 227704 h 259834"/>
                <a:gd name="connsiteX4" fmla="*/ 87193 w 774600"/>
                <a:gd name="connsiteY4" fmla="*/ 137913 h 259834"/>
                <a:gd name="connsiteX5" fmla="*/ 108541 w 774600"/>
                <a:gd name="connsiteY5" fmla="*/ 111513 h 259834"/>
                <a:gd name="connsiteX6" fmla="*/ 119499 w 774600"/>
                <a:gd name="connsiteY6" fmla="*/ 91542 h 259834"/>
                <a:gd name="connsiteX7" fmla="*/ 122797 w 774600"/>
                <a:gd name="connsiteY7" fmla="*/ 73998 h 259834"/>
                <a:gd name="connsiteX8" fmla="*/ 118278 w 774600"/>
                <a:gd name="connsiteY8" fmla="*/ 52981 h 259834"/>
                <a:gd name="connsiteX9" fmla="*/ 105413 w 774600"/>
                <a:gd name="connsiteY9" fmla="*/ 38565 h 259834"/>
                <a:gd name="connsiteX10" fmla="*/ 84752 w 774600"/>
                <a:gd name="connsiteY10" fmla="*/ 33181 h 259834"/>
                <a:gd name="connsiteX11" fmla="*/ 61138 w 774600"/>
                <a:gd name="connsiteY11" fmla="*/ 39261 h 259834"/>
                <a:gd name="connsiteX12" fmla="*/ 46712 w 774600"/>
                <a:gd name="connsiteY12" fmla="*/ 56109 h 259834"/>
                <a:gd name="connsiteX13" fmla="*/ 41853 w 774600"/>
                <a:gd name="connsiteY13" fmla="*/ 80423 h 259834"/>
                <a:gd name="connsiteX14" fmla="*/ 0 w 774600"/>
                <a:gd name="connsiteY14" fmla="*/ 80423 h 259834"/>
                <a:gd name="connsiteX15" fmla="*/ 10083 w 774600"/>
                <a:gd name="connsiteY15" fmla="*/ 40131 h 259834"/>
                <a:gd name="connsiteX16" fmla="*/ 39261 w 774600"/>
                <a:gd name="connsiteY16" fmla="*/ 10953 h 259834"/>
                <a:gd name="connsiteX17" fmla="*/ 85272 w 774600"/>
                <a:gd name="connsiteY17" fmla="*/ 10 h 259834"/>
                <a:gd name="connsiteX18" fmla="*/ 128346 w 774600"/>
                <a:gd name="connsiteY18" fmla="*/ 8521 h 259834"/>
                <a:gd name="connsiteX19" fmla="*/ 155277 w 774600"/>
                <a:gd name="connsiteY19" fmla="*/ 32660 h 259834"/>
                <a:gd name="connsiteX20" fmla="*/ 164654 w 774600"/>
                <a:gd name="connsiteY20" fmla="*/ 69655 h 259834"/>
                <a:gd name="connsiteX21" fmla="*/ 160827 w 774600"/>
                <a:gd name="connsiteY21" fmla="*/ 93103 h 259834"/>
                <a:gd name="connsiteX22" fmla="*/ 149888 w 774600"/>
                <a:gd name="connsiteY22" fmla="*/ 116376 h 259834"/>
                <a:gd name="connsiteX23" fmla="*/ 133400 w 774600"/>
                <a:gd name="connsiteY23" fmla="*/ 139475 h 259834"/>
                <a:gd name="connsiteX24" fmla="*/ 112378 w 774600"/>
                <a:gd name="connsiteY24" fmla="*/ 162748 h 259834"/>
                <a:gd name="connsiteX25" fmla="*/ 57675 w 774600"/>
                <a:gd name="connsiteY25" fmla="*/ 223015 h 259834"/>
                <a:gd name="connsiteX26" fmla="*/ 174377 w 774600"/>
                <a:gd name="connsiteY26" fmla="*/ 223015 h 259834"/>
                <a:gd name="connsiteX27" fmla="*/ 371848 w 774600"/>
                <a:gd name="connsiteY27" fmla="*/ 108735 h 259834"/>
                <a:gd name="connsiteX28" fmla="*/ 371848 w 774600"/>
                <a:gd name="connsiteY28" fmla="*/ 150068 h 259834"/>
                <a:gd name="connsiteX29" fmla="*/ 365938 w 774600"/>
                <a:gd name="connsiteY29" fmla="*/ 200783 h 259834"/>
                <a:gd name="connsiteX30" fmla="*/ 349260 w 774600"/>
                <a:gd name="connsiteY30" fmla="*/ 234650 h 259834"/>
                <a:gd name="connsiteX31" fmla="*/ 323035 w 774600"/>
                <a:gd name="connsiteY31" fmla="*/ 253755 h 259834"/>
                <a:gd name="connsiteX32" fmla="*/ 289168 w 774600"/>
                <a:gd name="connsiteY32" fmla="*/ 259834 h 259834"/>
                <a:gd name="connsiteX33" fmla="*/ 261381 w 774600"/>
                <a:gd name="connsiteY33" fmla="*/ 256011 h 259834"/>
                <a:gd name="connsiteX34" fmla="*/ 238468 w 774600"/>
                <a:gd name="connsiteY34" fmla="*/ 244027 h 259834"/>
                <a:gd name="connsiteX35" fmla="*/ 220914 w 774600"/>
                <a:gd name="connsiteY35" fmla="*/ 223011 h 259834"/>
                <a:gd name="connsiteX36" fmla="*/ 209800 w 774600"/>
                <a:gd name="connsiteY36" fmla="*/ 191921 h 259834"/>
                <a:gd name="connsiteX37" fmla="*/ 205972 w 774600"/>
                <a:gd name="connsiteY37" fmla="*/ 150063 h 259834"/>
                <a:gd name="connsiteX38" fmla="*/ 205972 w 774600"/>
                <a:gd name="connsiteY38" fmla="*/ 108730 h 259834"/>
                <a:gd name="connsiteX39" fmla="*/ 211882 w 774600"/>
                <a:gd name="connsiteY39" fmla="*/ 58366 h 259834"/>
                <a:gd name="connsiteX40" fmla="*/ 228730 w 774600"/>
                <a:gd name="connsiteY40" fmla="*/ 24844 h 259834"/>
                <a:gd name="connsiteX41" fmla="*/ 254786 w 774600"/>
                <a:gd name="connsiteY41" fmla="*/ 5914 h 259834"/>
                <a:gd name="connsiteX42" fmla="*/ 288827 w 774600"/>
                <a:gd name="connsiteY42" fmla="*/ 10 h 259834"/>
                <a:gd name="connsiteX43" fmla="*/ 316614 w 774600"/>
                <a:gd name="connsiteY43" fmla="*/ 3833 h 259834"/>
                <a:gd name="connsiteX44" fmla="*/ 339542 w 774600"/>
                <a:gd name="connsiteY44" fmla="*/ 15467 h 259834"/>
                <a:gd name="connsiteX45" fmla="*/ 356906 w 774600"/>
                <a:gd name="connsiteY45" fmla="*/ 36308 h 259834"/>
                <a:gd name="connsiteX46" fmla="*/ 368020 w 774600"/>
                <a:gd name="connsiteY46" fmla="*/ 67048 h 259834"/>
                <a:gd name="connsiteX47" fmla="*/ 371848 w 774600"/>
                <a:gd name="connsiteY47" fmla="*/ 108730 h 259834"/>
                <a:gd name="connsiteX48" fmla="*/ 329995 w 774600"/>
                <a:gd name="connsiteY48" fmla="*/ 155978 h 259834"/>
                <a:gd name="connsiteX49" fmla="*/ 329995 w 774600"/>
                <a:gd name="connsiteY49" fmla="*/ 102485 h 259834"/>
                <a:gd name="connsiteX50" fmla="*/ 328258 w 774600"/>
                <a:gd name="connsiteY50" fmla="*/ 75914 h 259834"/>
                <a:gd name="connsiteX51" fmla="*/ 323039 w 774600"/>
                <a:gd name="connsiteY51" fmla="*/ 56289 h 259834"/>
                <a:gd name="connsiteX52" fmla="*/ 314708 w 774600"/>
                <a:gd name="connsiteY52" fmla="*/ 43088 h 259834"/>
                <a:gd name="connsiteX53" fmla="*/ 303234 w 774600"/>
                <a:gd name="connsiteY53" fmla="*/ 35623 h 259834"/>
                <a:gd name="connsiteX54" fmla="*/ 288823 w 774600"/>
                <a:gd name="connsiteY54" fmla="*/ 33191 h 259834"/>
                <a:gd name="connsiteX55" fmla="*/ 271459 w 774600"/>
                <a:gd name="connsiteY55" fmla="*/ 37014 h 259834"/>
                <a:gd name="connsiteX56" fmla="*/ 258613 w 774600"/>
                <a:gd name="connsiteY56" fmla="*/ 48823 h 259834"/>
                <a:gd name="connsiteX57" fmla="*/ 250608 w 774600"/>
                <a:gd name="connsiteY57" fmla="*/ 70360 h 259834"/>
                <a:gd name="connsiteX58" fmla="*/ 248015 w 774600"/>
                <a:gd name="connsiteY58" fmla="*/ 102490 h 259834"/>
                <a:gd name="connsiteX59" fmla="*/ 248015 w 774600"/>
                <a:gd name="connsiteY59" fmla="*/ 155982 h 259834"/>
                <a:gd name="connsiteX60" fmla="*/ 249752 w 774600"/>
                <a:gd name="connsiteY60" fmla="*/ 182904 h 259834"/>
                <a:gd name="connsiteX61" fmla="*/ 254956 w 774600"/>
                <a:gd name="connsiteY61" fmla="*/ 202874 h 259834"/>
                <a:gd name="connsiteX62" fmla="*/ 263302 w 774600"/>
                <a:gd name="connsiteY62" fmla="*/ 216420 h 259834"/>
                <a:gd name="connsiteX63" fmla="*/ 274756 w 774600"/>
                <a:gd name="connsiteY63" fmla="*/ 224061 h 259834"/>
                <a:gd name="connsiteX64" fmla="*/ 289168 w 774600"/>
                <a:gd name="connsiteY64" fmla="*/ 226493 h 259834"/>
                <a:gd name="connsiteX65" fmla="*/ 306721 w 774600"/>
                <a:gd name="connsiteY65" fmla="*/ 222670 h 259834"/>
                <a:gd name="connsiteX66" fmla="*/ 319567 w 774600"/>
                <a:gd name="connsiteY66" fmla="*/ 210511 h 259834"/>
                <a:gd name="connsiteX67" fmla="*/ 327383 w 774600"/>
                <a:gd name="connsiteY67" fmla="*/ 188453 h 259834"/>
                <a:gd name="connsiteX68" fmla="*/ 329995 w 774600"/>
                <a:gd name="connsiteY68" fmla="*/ 155978 h 259834"/>
                <a:gd name="connsiteX69" fmla="*/ 578701 w 774600"/>
                <a:gd name="connsiteY69" fmla="*/ 223015 h 259834"/>
                <a:gd name="connsiteX70" fmla="*/ 578701 w 774600"/>
                <a:gd name="connsiteY70" fmla="*/ 256362 h 259834"/>
                <a:gd name="connsiteX71" fmla="*/ 409187 w 774600"/>
                <a:gd name="connsiteY71" fmla="*/ 256362 h 259834"/>
                <a:gd name="connsiteX72" fmla="*/ 409187 w 774600"/>
                <a:gd name="connsiteY72" fmla="*/ 227704 h 259834"/>
                <a:gd name="connsiteX73" fmla="*/ 491507 w 774600"/>
                <a:gd name="connsiteY73" fmla="*/ 137913 h 259834"/>
                <a:gd name="connsiteX74" fmla="*/ 512874 w 774600"/>
                <a:gd name="connsiteY74" fmla="*/ 111513 h 259834"/>
                <a:gd name="connsiteX75" fmla="*/ 523813 w 774600"/>
                <a:gd name="connsiteY75" fmla="*/ 91542 h 259834"/>
                <a:gd name="connsiteX76" fmla="*/ 527110 w 774600"/>
                <a:gd name="connsiteY76" fmla="*/ 73998 h 259834"/>
                <a:gd name="connsiteX77" fmla="*/ 522592 w 774600"/>
                <a:gd name="connsiteY77" fmla="*/ 52981 h 259834"/>
                <a:gd name="connsiteX78" fmla="*/ 509746 w 774600"/>
                <a:gd name="connsiteY78" fmla="*/ 38565 h 259834"/>
                <a:gd name="connsiteX79" fmla="*/ 489085 w 774600"/>
                <a:gd name="connsiteY79" fmla="*/ 33181 h 259834"/>
                <a:gd name="connsiteX80" fmla="*/ 465452 w 774600"/>
                <a:gd name="connsiteY80" fmla="*/ 39261 h 259834"/>
                <a:gd name="connsiteX81" fmla="*/ 451040 w 774600"/>
                <a:gd name="connsiteY81" fmla="*/ 56109 h 259834"/>
                <a:gd name="connsiteX82" fmla="*/ 446181 w 774600"/>
                <a:gd name="connsiteY82" fmla="*/ 80423 h 259834"/>
                <a:gd name="connsiteX83" fmla="*/ 404328 w 774600"/>
                <a:gd name="connsiteY83" fmla="*/ 80423 h 259834"/>
                <a:gd name="connsiteX84" fmla="*/ 414391 w 774600"/>
                <a:gd name="connsiteY84" fmla="*/ 40131 h 259834"/>
                <a:gd name="connsiteX85" fmla="*/ 443569 w 774600"/>
                <a:gd name="connsiteY85" fmla="*/ 10953 h 259834"/>
                <a:gd name="connsiteX86" fmla="*/ 489596 w 774600"/>
                <a:gd name="connsiteY86" fmla="*/ 10 h 259834"/>
                <a:gd name="connsiteX87" fmla="*/ 532670 w 774600"/>
                <a:gd name="connsiteY87" fmla="*/ 8521 h 259834"/>
                <a:gd name="connsiteX88" fmla="*/ 559581 w 774600"/>
                <a:gd name="connsiteY88" fmla="*/ 32660 h 259834"/>
                <a:gd name="connsiteX89" fmla="*/ 568958 w 774600"/>
                <a:gd name="connsiteY89" fmla="*/ 69655 h 259834"/>
                <a:gd name="connsiteX90" fmla="*/ 565145 w 774600"/>
                <a:gd name="connsiteY90" fmla="*/ 93103 h 259834"/>
                <a:gd name="connsiteX91" fmla="*/ 554207 w 774600"/>
                <a:gd name="connsiteY91" fmla="*/ 116376 h 259834"/>
                <a:gd name="connsiteX92" fmla="*/ 537704 w 774600"/>
                <a:gd name="connsiteY92" fmla="*/ 139475 h 259834"/>
                <a:gd name="connsiteX93" fmla="*/ 516697 w 774600"/>
                <a:gd name="connsiteY93" fmla="*/ 162748 h 259834"/>
                <a:gd name="connsiteX94" fmla="*/ 461979 w 774600"/>
                <a:gd name="connsiteY94" fmla="*/ 223015 h 259834"/>
                <a:gd name="connsiteX95" fmla="*/ 578701 w 774600"/>
                <a:gd name="connsiteY95" fmla="*/ 223015 h 259834"/>
                <a:gd name="connsiteX96" fmla="*/ 660505 w 774600"/>
                <a:gd name="connsiteY96" fmla="*/ 110992 h 259834"/>
                <a:gd name="connsiteX97" fmla="*/ 685510 w 774600"/>
                <a:gd name="connsiteY97" fmla="*/ 110992 h 259834"/>
                <a:gd name="connsiteX98" fmla="*/ 709639 w 774600"/>
                <a:gd name="connsiteY98" fmla="*/ 105953 h 259834"/>
                <a:gd name="connsiteX99" fmla="*/ 724065 w 774600"/>
                <a:gd name="connsiteY99" fmla="*/ 92057 h 259834"/>
                <a:gd name="connsiteX100" fmla="*/ 728754 w 774600"/>
                <a:gd name="connsiteY100" fmla="*/ 71736 h 259834"/>
                <a:gd name="connsiteX101" fmla="*/ 724411 w 774600"/>
                <a:gd name="connsiteY101" fmla="*/ 51240 h 259834"/>
                <a:gd name="connsiteX102" fmla="*/ 711565 w 774600"/>
                <a:gd name="connsiteY102" fmla="*/ 37865 h 259834"/>
                <a:gd name="connsiteX103" fmla="*/ 689858 w 774600"/>
                <a:gd name="connsiteY103" fmla="*/ 33176 h 259834"/>
                <a:gd name="connsiteX104" fmla="*/ 669712 w 774600"/>
                <a:gd name="connsiteY104" fmla="*/ 37690 h 259834"/>
                <a:gd name="connsiteX105" fmla="*/ 655626 w 774600"/>
                <a:gd name="connsiteY105" fmla="*/ 50195 h 259834"/>
                <a:gd name="connsiteX106" fmla="*/ 650422 w 774600"/>
                <a:gd name="connsiteY106" fmla="*/ 69300 h 259834"/>
                <a:gd name="connsiteX107" fmla="*/ 608394 w 774600"/>
                <a:gd name="connsiteY107" fmla="*/ 69300 h 259834"/>
                <a:gd name="connsiteX108" fmla="*/ 618992 w 774600"/>
                <a:gd name="connsiteY108" fmla="*/ 33521 h 259834"/>
                <a:gd name="connsiteX109" fmla="*/ 647810 w 774600"/>
                <a:gd name="connsiteY109" fmla="*/ 9032 h 259834"/>
                <a:gd name="connsiteX110" fmla="*/ 689148 w 774600"/>
                <a:gd name="connsiteY110" fmla="*/ 0 h 259834"/>
                <a:gd name="connsiteX111" fmla="*/ 731876 w 774600"/>
                <a:gd name="connsiteY111" fmla="*/ 8161 h 259834"/>
                <a:gd name="connsiteX112" fmla="*/ 760524 w 774600"/>
                <a:gd name="connsiteY112" fmla="*/ 32130 h 259834"/>
                <a:gd name="connsiteX113" fmla="*/ 770777 w 774600"/>
                <a:gd name="connsiteY113" fmla="*/ 71731 h 259834"/>
                <a:gd name="connsiteX114" fmla="*/ 765743 w 774600"/>
                <a:gd name="connsiteY114" fmla="*/ 93614 h 259834"/>
                <a:gd name="connsiteX115" fmla="*/ 750802 w 774600"/>
                <a:gd name="connsiteY115" fmla="*/ 113935 h 259834"/>
                <a:gd name="connsiteX116" fmla="*/ 726137 w 774600"/>
                <a:gd name="connsiteY116" fmla="*/ 128696 h 259834"/>
                <a:gd name="connsiteX117" fmla="*/ 691925 w 774600"/>
                <a:gd name="connsiteY117" fmla="*/ 134256 h 259834"/>
                <a:gd name="connsiteX118" fmla="*/ 660495 w 774600"/>
                <a:gd name="connsiteY118" fmla="*/ 134256 h 259834"/>
                <a:gd name="connsiteX119" fmla="*/ 660495 w 774600"/>
                <a:gd name="connsiteY119" fmla="*/ 110982 h 259834"/>
                <a:gd name="connsiteX120" fmla="*/ 660505 w 774600"/>
                <a:gd name="connsiteY120" fmla="*/ 143643 h 259834"/>
                <a:gd name="connsiteX121" fmla="*/ 660505 w 774600"/>
                <a:gd name="connsiteY121" fmla="*/ 120715 h 259834"/>
                <a:gd name="connsiteX122" fmla="*/ 691935 w 774600"/>
                <a:gd name="connsiteY122" fmla="*/ 120715 h 259834"/>
                <a:gd name="connsiteX123" fmla="*/ 729790 w 774600"/>
                <a:gd name="connsiteY123" fmla="*/ 125924 h 259834"/>
                <a:gd name="connsiteX124" fmla="*/ 755500 w 774600"/>
                <a:gd name="connsiteY124" fmla="*/ 140340 h 259834"/>
                <a:gd name="connsiteX125" fmla="*/ 769911 w 774600"/>
                <a:gd name="connsiteY125" fmla="*/ 161007 h 259834"/>
                <a:gd name="connsiteX126" fmla="*/ 774600 w 774600"/>
                <a:gd name="connsiteY126" fmla="*/ 185671 h 259834"/>
                <a:gd name="connsiteX127" fmla="*/ 768175 w 774600"/>
                <a:gd name="connsiteY127" fmla="*/ 217281 h 259834"/>
                <a:gd name="connsiteX128" fmla="*/ 750296 w 774600"/>
                <a:gd name="connsiteY128" fmla="*/ 240554 h 259834"/>
                <a:gd name="connsiteX129" fmla="*/ 723024 w 774600"/>
                <a:gd name="connsiteY129" fmla="*/ 254971 h 259834"/>
                <a:gd name="connsiteX130" fmla="*/ 689328 w 774600"/>
                <a:gd name="connsiteY130" fmla="*/ 259834 h 259834"/>
                <a:gd name="connsiteX131" fmla="*/ 658068 w 774600"/>
                <a:gd name="connsiteY131" fmla="*/ 255316 h 259834"/>
                <a:gd name="connsiteX132" fmla="*/ 631327 w 774600"/>
                <a:gd name="connsiteY132" fmla="*/ 241945 h 259834"/>
                <a:gd name="connsiteX133" fmla="*/ 612572 w 774600"/>
                <a:gd name="connsiteY133" fmla="*/ 219543 h 259834"/>
                <a:gd name="connsiteX134" fmla="*/ 605787 w 774600"/>
                <a:gd name="connsiteY134" fmla="*/ 188283 h 259834"/>
                <a:gd name="connsiteX135" fmla="*/ 647640 w 774600"/>
                <a:gd name="connsiteY135" fmla="*/ 188283 h 259834"/>
                <a:gd name="connsiteX136" fmla="*/ 652859 w 774600"/>
                <a:gd name="connsiteY136" fmla="*/ 208254 h 259834"/>
                <a:gd name="connsiteX137" fmla="*/ 667786 w 774600"/>
                <a:gd name="connsiteY137" fmla="*/ 221624 h 259834"/>
                <a:gd name="connsiteX138" fmla="*/ 690028 w 774600"/>
                <a:gd name="connsiteY138" fmla="*/ 226488 h 259834"/>
                <a:gd name="connsiteX139" fmla="*/ 712767 w 774600"/>
                <a:gd name="connsiteY139" fmla="*/ 221799 h 259834"/>
                <a:gd name="connsiteX140" fmla="*/ 727363 w 774600"/>
                <a:gd name="connsiteY140" fmla="*/ 207904 h 259834"/>
                <a:gd name="connsiteX141" fmla="*/ 732567 w 774600"/>
                <a:gd name="connsiteY141" fmla="*/ 185671 h 259834"/>
                <a:gd name="connsiteX142" fmla="*/ 726847 w 774600"/>
                <a:gd name="connsiteY142" fmla="*/ 161702 h 259834"/>
                <a:gd name="connsiteX143" fmla="*/ 710515 w 774600"/>
                <a:gd name="connsiteY143" fmla="*/ 148157 h 259834"/>
                <a:gd name="connsiteX144" fmla="*/ 685510 w 774600"/>
                <a:gd name="connsiteY144" fmla="*/ 143643 h 259834"/>
                <a:gd name="connsiteX145" fmla="*/ 660505 w 774600"/>
                <a:gd name="connsiteY145" fmla="*/ 143643 h 2598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</a:cxnLst>
              <a:rect l="l" t="t" r="r" b="b"/>
              <a:pathLst>
                <a:path w="774600" h="259834">
                  <a:moveTo>
                    <a:pt x="174372" y="223015"/>
                  </a:moveTo>
                  <a:lnTo>
                    <a:pt x="174372" y="256362"/>
                  </a:lnTo>
                  <a:lnTo>
                    <a:pt x="4859" y="256362"/>
                  </a:lnTo>
                  <a:lnTo>
                    <a:pt x="4859" y="227704"/>
                  </a:lnTo>
                  <a:lnTo>
                    <a:pt x="87193" y="137913"/>
                  </a:lnTo>
                  <a:cubicBezTo>
                    <a:pt x="96211" y="127724"/>
                    <a:pt x="103336" y="118925"/>
                    <a:pt x="108541" y="111513"/>
                  </a:cubicBezTo>
                  <a:cubicBezTo>
                    <a:pt x="113760" y="104100"/>
                    <a:pt x="117403" y="97446"/>
                    <a:pt x="119499" y="91542"/>
                  </a:cubicBezTo>
                  <a:cubicBezTo>
                    <a:pt x="121697" y="85520"/>
                    <a:pt x="122797" y="79674"/>
                    <a:pt x="122797" y="73998"/>
                  </a:cubicBezTo>
                  <a:cubicBezTo>
                    <a:pt x="122797" y="66012"/>
                    <a:pt x="121284" y="59003"/>
                    <a:pt x="118278" y="52981"/>
                  </a:cubicBezTo>
                  <a:cubicBezTo>
                    <a:pt x="115374" y="46843"/>
                    <a:pt x="111099" y="42038"/>
                    <a:pt x="105413" y="38565"/>
                  </a:cubicBezTo>
                  <a:cubicBezTo>
                    <a:pt x="99747" y="34976"/>
                    <a:pt x="92860" y="33181"/>
                    <a:pt x="84752" y="33181"/>
                  </a:cubicBezTo>
                  <a:cubicBezTo>
                    <a:pt x="75374" y="33181"/>
                    <a:pt x="67510" y="35209"/>
                    <a:pt x="61138" y="39261"/>
                  </a:cubicBezTo>
                  <a:cubicBezTo>
                    <a:pt x="54766" y="43312"/>
                    <a:pt x="49956" y="48930"/>
                    <a:pt x="46712" y="56109"/>
                  </a:cubicBezTo>
                  <a:cubicBezTo>
                    <a:pt x="43482" y="63171"/>
                    <a:pt x="41853" y="71279"/>
                    <a:pt x="41853" y="80423"/>
                  </a:cubicBezTo>
                  <a:lnTo>
                    <a:pt x="0" y="80423"/>
                  </a:lnTo>
                  <a:cubicBezTo>
                    <a:pt x="0" y="65720"/>
                    <a:pt x="3366" y="52286"/>
                    <a:pt x="10083" y="40131"/>
                  </a:cubicBezTo>
                  <a:cubicBezTo>
                    <a:pt x="16800" y="27860"/>
                    <a:pt x="26517" y="18132"/>
                    <a:pt x="39261" y="10953"/>
                  </a:cubicBezTo>
                  <a:cubicBezTo>
                    <a:pt x="51989" y="3658"/>
                    <a:pt x="67325" y="10"/>
                    <a:pt x="85272" y="10"/>
                  </a:cubicBezTo>
                  <a:cubicBezTo>
                    <a:pt x="102189" y="10"/>
                    <a:pt x="116546" y="2845"/>
                    <a:pt x="128346" y="8521"/>
                  </a:cubicBezTo>
                  <a:cubicBezTo>
                    <a:pt x="140160" y="14193"/>
                    <a:pt x="149129" y="22242"/>
                    <a:pt x="155277" y="32660"/>
                  </a:cubicBezTo>
                  <a:cubicBezTo>
                    <a:pt x="161527" y="43079"/>
                    <a:pt x="164654" y="55413"/>
                    <a:pt x="164654" y="69655"/>
                  </a:cubicBezTo>
                  <a:cubicBezTo>
                    <a:pt x="164654" y="77529"/>
                    <a:pt x="163385" y="85345"/>
                    <a:pt x="160827" y="93103"/>
                  </a:cubicBezTo>
                  <a:cubicBezTo>
                    <a:pt x="158283" y="100861"/>
                    <a:pt x="154645" y="108619"/>
                    <a:pt x="149888" y="116376"/>
                  </a:cubicBezTo>
                  <a:cubicBezTo>
                    <a:pt x="145267" y="124017"/>
                    <a:pt x="139757" y="131717"/>
                    <a:pt x="133400" y="139475"/>
                  </a:cubicBezTo>
                  <a:cubicBezTo>
                    <a:pt x="127028" y="147116"/>
                    <a:pt x="120019" y="154873"/>
                    <a:pt x="112378" y="162748"/>
                  </a:cubicBezTo>
                  <a:lnTo>
                    <a:pt x="57675" y="223015"/>
                  </a:lnTo>
                  <a:lnTo>
                    <a:pt x="174377" y="223015"/>
                  </a:lnTo>
                  <a:close/>
                  <a:moveTo>
                    <a:pt x="371848" y="108735"/>
                  </a:moveTo>
                  <a:lnTo>
                    <a:pt x="371848" y="150068"/>
                  </a:lnTo>
                  <a:cubicBezTo>
                    <a:pt x="371848" y="169869"/>
                    <a:pt x="369873" y="186770"/>
                    <a:pt x="365938" y="200783"/>
                  </a:cubicBezTo>
                  <a:cubicBezTo>
                    <a:pt x="362125" y="214674"/>
                    <a:pt x="356561" y="225963"/>
                    <a:pt x="349260" y="234650"/>
                  </a:cubicBezTo>
                  <a:cubicBezTo>
                    <a:pt x="341960" y="243332"/>
                    <a:pt x="333219" y="249703"/>
                    <a:pt x="323035" y="253755"/>
                  </a:cubicBezTo>
                  <a:cubicBezTo>
                    <a:pt x="312971" y="257806"/>
                    <a:pt x="301668" y="259834"/>
                    <a:pt x="289168" y="259834"/>
                  </a:cubicBezTo>
                  <a:cubicBezTo>
                    <a:pt x="279221" y="259834"/>
                    <a:pt x="269951" y="258560"/>
                    <a:pt x="261381" y="256011"/>
                  </a:cubicBezTo>
                  <a:cubicBezTo>
                    <a:pt x="252933" y="253463"/>
                    <a:pt x="245287" y="249470"/>
                    <a:pt x="238468" y="244027"/>
                  </a:cubicBezTo>
                  <a:cubicBezTo>
                    <a:pt x="231634" y="238584"/>
                    <a:pt x="225773" y="231581"/>
                    <a:pt x="220914" y="223011"/>
                  </a:cubicBezTo>
                  <a:cubicBezTo>
                    <a:pt x="216172" y="214329"/>
                    <a:pt x="212466" y="203964"/>
                    <a:pt x="209800" y="191921"/>
                  </a:cubicBezTo>
                  <a:cubicBezTo>
                    <a:pt x="207256" y="179878"/>
                    <a:pt x="205972" y="165929"/>
                    <a:pt x="205972" y="150063"/>
                  </a:cubicBezTo>
                  <a:lnTo>
                    <a:pt x="205972" y="108730"/>
                  </a:lnTo>
                  <a:cubicBezTo>
                    <a:pt x="205972" y="88813"/>
                    <a:pt x="207947" y="72028"/>
                    <a:pt x="211882" y="58366"/>
                  </a:cubicBezTo>
                  <a:cubicBezTo>
                    <a:pt x="215831" y="44587"/>
                    <a:pt x="221430" y="33414"/>
                    <a:pt x="228730" y="24844"/>
                  </a:cubicBezTo>
                  <a:cubicBezTo>
                    <a:pt x="236031" y="16162"/>
                    <a:pt x="244722" y="9849"/>
                    <a:pt x="254786" y="5914"/>
                  </a:cubicBezTo>
                  <a:cubicBezTo>
                    <a:pt x="264970" y="1980"/>
                    <a:pt x="276323" y="10"/>
                    <a:pt x="288827" y="10"/>
                  </a:cubicBezTo>
                  <a:cubicBezTo>
                    <a:pt x="298910" y="10"/>
                    <a:pt x="308166" y="1284"/>
                    <a:pt x="316614" y="3833"/>
                  </a:cubicBezTo>
                  <a:cubicBezTo>
                    <a:pt x="325184" y="6265"/>
                    <a:pt x="332825" y="10141"/>
                    <a:pt x="339542" y="15467"/>
                  </a:cubicBezTo>
                  <a:cubicBezTo>
                    <a:pt x="346376" y="20793"/>
                    <a:pt x="352164" y="27743"/>
                    <a:pt x="356906" y="36308"/>
                  </a:cubicBezTo>
                  <a:cubicBezTo>
                    <a:pt x="361765" y="44762"/>
                    <a:pt x="365476" y="55010"/>
                    <a:pt x="368020" y="67048"/>
                  </a:cubicBezTo>
                  <a:cubicBezTo>
                    <a:pt x="370578" y="78974"/>
                    <a:pt x="371848" y="92870"/>
                    <a:pt x="371848" y="108730"/>
                  </a:cubicBezTo>
                  <a:close/>
                  <a:moveTo>
                    <a:pt x="329995" y="155978"/>
                  </a:moveTo>
                  <a:lnTo>
                    <a:pt x="329995" y="102485"/>
                  </a:lnTo>
                  <a:cubicBezTo>
                    <a:pt x="329995" y="92412"/>
                    <a:pt x="329411" y="83555"/>
                    <a:pt x="328258" y="75914"/>
                  </a:cubicBezTo>
                  <a:cubicBezTo>
                    <a:pt x="327091" y="68157"/>
                    <a:pt x="325355" y="61615"/>
                    <a:pt x="323039" y="56289"/>
                  </a:cubicBezTo>
                  <a:cubicBezTo>
                    <a:pt x="320841" y="50846"/>
                    <a:pt x="318059" y="46445"/>
                    <a:pt x="314708" y="43088"/>
                  </a:cubicBezTo>
                  <a:cubicBezTo>
                    <a:pt x="311342" y="39616"/>
                    <a:pt x="307529" y="37125"/>
                    <a:pt x="303234" y="35623"/>
                  </a:cubicBezTo>
                  <a:cubicBezTo>
                    <a:pt x="298959" y="34003"/>
                    <a:pt x="294148" y="33191"/>
                    <a:pt x="288823" y="33191"/>
                  </a:cubicBezTo>
                  <a:cubicBezTo>
                    <a:pt x="282349" y="33191"/>
                    <a:pt x="276542" y="34465"/>
                    <a:pt x="271459" y="37014"/>
                  </a:cubicBezTo>
                  <a:cubicBezTo>
                    <a:pt x="266357" y="39445"/>
                    <a:pt x="262081" y="43380"/>
                    <a:pt x="258613" y="48823"/>
                  </a:cubicBezTo>
                  <a:cubicBezTo>
                    <a:pt x="255126" y="54266"/>
                    <a:pt x="252466" y="61445"/>
                    <a:pt x="250608" y="70360"/>
                  </a:cubicBezTo>
                  <a:cubicBezTo>
                    <a:pt x="248871" y="79159"/>
                    <a:pt x="248015" y="89869"/>
                    <a:pt x="248015" y="102490"/>
                  </a:cubicBezTo>
                  <a:lnTo>
                    <a:pt x="248015" y="155982"/>
                  </a:lnTo>
                  <a:cubicBezTo>
                    <a:pt x="248015" y="166172"/>
                    <a:pt x="248584" y="175146"/>
                    <a:pt x="249752" y="182904"/>
                  </a:cubicBezTo>
                  <a:cubicBezTo>
                    <a:pt x="250904" y="190661"/>
                    <a:pt x="252636" y="197320"/>
                    <a:pt x="254956" y="202874"/>
                  </a:cubicBezTo>
                  <a:cubicBezTo>
                    <a:pt x="257276" y="208317"/>
                    <a:pt x="260058" y="212831"/>
                    <a:pt x="263302" y="216420"/>
                  </a:cubicBezTo>
                  <a:cubicBezTo>
                    <a:pt x="266653" y="219893"/>
                    <a:pt x="270481" y="222441"/>
                    <a:pt x="274756" y="224061"/>
                  </a:cubicBezTo>
                  <a:cubicBezTo>
                    <a:pt x="279153" y="225681"/>
                    <a:pt x="283964" y="226493"/>
                    <a:pt x="289168" y="226493"/>
                  </a:cubicBezTo>
                  <a:cubicBezTo>
                    <a:pt x="295778" y="226493"/>
                    <a:pt x="301619" y="225219"/>
                    <a:pt x="306721" y="222670"/>
                  </a:cubicBezTo>
                  <a:cubicBezTo>
                    <a:pt x="311804" y="220121"/>
                    <a:pt x="316099" y="216070"/>
                    <a:pt x="319567" y="210511"/>
                  </a:cubicBezTo>
                  <a:cubicBezTo>
                    <a:pt x="323035" y="204839"/>
                    <a:pt x="325646" y="197485"/>
                    <a:pt x="327383" y="188453"/>
                  </a:cubicBezTo>
                  <a:cubicBezTo>
                    <a:pt x="329119" y="179421"/>
                    <a:pt x="329995" y="168594"/>
                    <a:pt x="329995" y="155978"/>
                  </a:cubicBezTo>
                  <a:close/>
                  <a:moveTo>
                    <a:pt x="578701" y="223015"/>
                  </a:moveTo>
                  <a:lnTo>
                    <a:pt x="578701" y="256362"/>
                  </a:lnTo>
                  <a:lnTo>
                    <a:pt x="409187" y="256362"/>
                  </a:lnTo>
                  <a:lnTo>
                    <a:pt x="409187" y="227704"/>
                  </a:lnTo>
                  <a:lnTo>
                    <a:pt x="491507" y="137913"/>
                  </a:lnTo>
                  <a:cubicBezTo>
                    <a:pt x="500539" y="127724"/>
                    <a:pt x="507670" y="118925"/>
                    <a:pt x="512874" y="111513"/>
                  </a:cubicBezTo>
                  <a:cubicBezTo>
                    <a:pt x="518078" y="104100"/>
                    <a:pt x="521736" y="97446"/>
                    <a:pt x="523813" y="91542"/>
                  </a:cubicBezTo>
                  <a:cubicBezTo>
                    <a:pt x="526011" y="85520"/>
                    <a:pt x="527110" y="79674"/>
                    <a:pt x="527110" y="73998"/>
                  </a:cubicBezTo>
                  <a:cubicBezTo>
                    <a:pt x="527110" y="66012"/>
                    <a:pt x="525617" y="59003"/>
                    <a:pt x="522592" y="52981"/>
                  </a:cubicBezTo>
                  <a:cubicBezTo>
                    <a:pt x="519708" y="46843"/>
                    <a:pt x="515413" y="42038"/>
                    <a:pt x="509746" y="38565"/>
                  </a:cubicBezTo>
                  <a:cubicBezTo>
                    <a:pt x="504080" y="34976"/>
                    <a:pt x="497193" y="33181"/>
                    <a:pt x="489085" y="33181"/>
                  </a:cubicBezTo>
                  <a:cubicBezTo>
                    <a:pt x="479708" y="33181"/>
                    <a:pt x="471823" y="35209"/>
                    <a:pt x="465452" y="39261"/>
                  </a:cubicBezTo>
                  <a:cubicBezTo>
                    <a:pt x="459095" y="43312"/>
                    <a:pt x="454289" y="48930"/>
                    <a:pt x="451040" y="56109"/>
                  </a:cubicBezTo>
                  <a:cubicBezTo>
                    <a:pt x="447796" y="63171"/>
                    <a:pt x="446181" y="71279"/>
                    <a:pt x="446181" y="80423"/>
                  </a:cubicBezTo>
                  <a:lnTo>
                    <a:pt x="404328" y="80423"/>
                  </a:lnTo>
                  <a:cubicBezTo>
                    <a:pt x="404328" y="65720"/>
                    <a:pt x="407679" y="52286"/>
                    <a:pt x="414391" y="40131"/>
                  </a:cubicBezTo>
                  <a:cubicBezTo>
                    <a:pt x="421108" y="27860"/>
                    <a:pt x="430846" y="18132"/>
                    <a:pt x="443569" y="10953"/>
                  </a:cubicBezTo>
                  <a:cubicBezTo>
                    <a:pt x="456313" y="3658"/>
                    <a:pt x="471648" y="10"/>
                    <a:pt x="489596" y="10"/>
                  </a:cubicBezTo>
                  <a:cubicBezTo>
                    <a:pt x="506497" y="10"/>
                    <a:pt x="520855" y="2845"/>
                    <a:pt x="532670" y="8521"/>
                  </a:cubicBezTo>
                  <a:cubicBezTo>
                    <a:pt x="544484" y="14193"/>
                    <a:pt x="553453" y="22242"/>
                    <a:pt x="559581" y="32660"/>
                  </a:cubicBezTo>
                  <a:cubicBezTo>
                    <a:pt x="565831" y="43079"/>
                    <a:pt x="568958" y="55413"/>
                    <a:pt x="568958" y="69655"/>
                  </a:cubicBezTo>
                  <a:cubicBezTo>
                    <a:pt x="568958" y="77529"/>
                    <a:pt x="567689" y="85345"/>
                    <a:pt x="565145" y="93103"/>
                  </a:cubicBezTo>
                  <a:cubicBezTo>
                    <a:pt x="562601" y="100861"/>
                    <a:pt x="558944" y="108619"/>
                    <a:pt x="554207" y="116376"/>
                  </a:cubicBezTo>
                  <a:cubicBezTo>
                    <a:pt x="549571" y="124017"/>
                    <a:pt x="544075" y="131717"/>
                    <a:pt x="537704" y="139475"/>
                  </a:cubicBezTo>
                  <a:cubicBezTo>
                    <a:pt x="531332" y="147116"/>
                    <a:pt x="524323" y="154873"/>
                    <a:pt x="516697" y="162748"/>
                  </a:cubicBezTo>
                  <a:lnTo>
                    <a:pt x="461979" y="223015"/>
                  </a:lnTo>
                  <a:lnTo>
                    <a:pt x="578701" y="223015"/>
                  </a:lnTo>
                  <a:close/>
                  <a:moveTo>
                    <a:pt x="660505" y="110992"/>
                  </a:moveTo>
                  <a:lnTo>
                    <a:pt x="685510" y="110992"/>
                  </a:lnTo>
                  <a:cubicBezTo>
                    <a:pt x="695233" y="110992"/>
                    <a:pt x="703287" y="109314"/>
                    <a:pt x="709639" y="105953"/>
                  </a:cubicBezTo>
                  <a:cubicBezTo>
                    <a:pt x="716132" y="102597"/>
                    <a:pt x="720943" y="97962"/>
                    <a:pt x="724065" y="92057"/>
                  </a:cubicBezTo>
                  <a:cubicBezTo>
                    <a:pt x="727188" y="86153"/>
                    <a:pt x="728754" y="79377"/>
                    <a:pt x="728754" y="71736"/>
                  </a:cubicBezTo>
                  <a:cubicBezTo>
                    <a:pt x="728754" y="64095"/>
                    <a:pt x="727295" y="56916"/>
                    <a:pt x="724411" y="51240"/>
                  </a:cubicBezTo>
                  <a:cubicBezTo>
                    <a:pt x="721628" y="45452"/>
                    <a:pt x="717353" y="40992"/>
                    <a:pt x="711565" y="37865"/>
                  </a:cubicBezTo>
                  <a:cubicBezTo>
                    <a:pt x="705879" y="34737"/>
                    <a:pt x="698652" y="33176"/>
                    <a:pt x="689858" y="33176"/>
                  </a:cubicBezTo>
                  <a:cubicBezTo>
                    <a:pt x="682441" y="33176"/>
                    <a:pt x="675724" y="34684"/>
                    <a:pt x="669712" y="37690"/>
                  </a:cubicBezTo>
                  <a:cubicBezTo>
                    <a:pt x="663803" y="40584"/>
                    <a:pt x="659114" y="44752"/>
                    <a:pt x="655626" y="50195"/>
                  </a:cubicBezTo>
                  <a:cubicBezTo>
                    <a:pt x="652159" y="55520"/>
                    <a:pt x="650422" y="61887"/>
                    <a:pt x="650422" y="69300"/>
                  </a:cubicBezTo>
                  <a:lnTo>
                    <a:pt x="608394" y="69300"/>
                  </a:lnTo>
                  <a:cubicBezTo>
                    <a:pt x="608394" y="55871"/>
                    <a:pt x="611916" y="43945"/>
                    <a:pt x="618992" y="33521"/>
                  </a:cubicBezTo>
                  <a:cubicBezTo>
                    <a:pt x="626050" y="23103"/>
                    <a:pt x="635670" y="14937"/>
                    <a:pt x="647810" y="9032"/>
                  </a:cubicBezTo>
                  <a:cubicBezTo>
                    <a:pt x="660092" y="3011"/>
                    <a:pt x="673866" y="0"/>
                    <a:pt x="689148" y="0"/>
                  </a:cubicBezTo>
                  <a:cubicBezTo>
                    <a:pt x="705480" y="0"/>
                    <a:pt x="719717" y="2724"/>
                    <a:pt x="731876" y="8161"/>
                  </a:cubicBezTo>
                  <a:cubicBezTo>
                    <a:pt x="744138" y="13487"/>
                    <a:pt x="753705" y="21479"/>
                    <a:pt x="760524" y="32130"/>
                  </a:cubicBezTo>
                  <a:cubicBezTo>
                    <a:pt x="767358" y="42782"/>
                    <a:pt x="770777" y="55982"/>
                    <a:pt x="770777" y="71731"/>
                  </a:cubicBezTo>
                  <a:cubicBezTo>
                    <a:pt x="770777" y="78910"/>
                    <a:pt x="769094" y="86206"/>
                    <a:pt x="765743" y="93614"/>
                  </a:cubicBezTo>
                  <a:cubicBezTo>
                    <a:pt x="762378" y="101026"/>
                    <a:pt x="757397" y="107797"/>
                    <a:pt x="750802" y="113935"/>
                  </a:cubicBezTo>
                  <a:cubicBezTo>
                    <a:pt x="744206" y="119956"/>
                    <a:pt x="735982" y="124873"/>
                    <a:pt x="726137" y="128696"/>
                  </a:cubicBezTo>
                  <a:cubicBezTo>
                    <a:pt x="716298" y="132403"/>
                    <a:pt x="704892" y="134256"/>
                    <a:pt x="691925" y="134256"/>
                  </a:cubicBezTo>
                  <a:lnTo>
                    <a:pt x="660495" y="134256"/>
                  </a:lnTo>
                  <a:lnTo>
                    <a:pt x="660495" y="110982"/>
                  </a:lnTo>
                  <a:close/>
                  <a:moveTo>
                    <a:pt x="660505" y="143643"/>
                  </a:moveTo>
                  <a:lnTo>
                    <a:pt x="660505" y="120715"/>
                  </a:lnTo>
                  <a:lnTo>
                    <a:pt x="691935" y="120715"/>
                  </a:lnTo>
                  <a:cubicBezTo>
                    <a:pt x="706755" y="120715"/>
                    <a:pt x="719381" y="122451"/>
                    <a:pt x="729790" y="125924"/>
                  </a:cubicBezTo>
                  <a:cubicBezTo>
                    <a:pt x="740335" y="129397"/>
                    <a:pt x="748905" y="134202"/>
                    <a:pt x="755500" y="140340"/>
                  </a:cubicBezTo>
                  <a:cubicBezTo>
                    <a:pt x="762095" y="146362"/>
                    <a:pt x="766906" y="153249"/>
                    <a:pt x="769911" y="161007"/>
                  </a:cubicBezTo>
                  <a:cubicBezTo>
                    <a:pt x="773039" y="168764"/>
                    <a:pt x="774600" y="176984"/>
                    <a:pt x="774600" y="185671"/>
                  </a:cubicBezTo>
                  <a:cubicBezTo>
                    <a:pt x="774600" y="197480"/>
                    <a:pt x="772470" y="208015"/>
                    <a:pt x="768175" y="217281"/>
                  </a:cubicBezTo>
                  <a:cubicBezTo>
                    <a:pt x="764016" y="226430"/>
                    <a:pt x="758044" y="234188"/>
                    <a:pt x="750296" y="240554"/>
                  </a:cubicBezTo>
                  <a:cubicBezTo>
                    <a:pt x="742533" y="246921"/>
                    <a:pt x="733447" y="251726"/>
                    <a:pt x="723024" y="254971"/>
                  </a:cubicBezTo>
                  <a:cubicBezTo>
                    <a:pt x="712718" y="258215"/>
                    <a:pt x="701487" y="259834"/>
                    <a:pt x="689328" y="259834"/>
                  </a:cubicBezTo>
                  <a:cubicBezTo>
                    <a:pt x="678457" y="259834"/>
                    <a:pt x="668029" y="258327"/>
                    <a:pt x="658068" y="255316"/>
                  </a:cubicBezTo>
                  <a:cubicBezTo>
                    <a:pt x="648107" y="252305"/>
                    <a:pt x="639192" y="247850"/>
                    <a:pt x="631327" y="241945"/>
                  </a:cubicBezTo>
                  <a:cubicBezTo>
                    <a:pt x="623443" y="235924"/>
                    <a:pt x="617193" y="228458"/>
                    <a:pt x="612572" y="219543"/>
                  </a:cubicBezTo>
                  <a:cubicBezTo>
                    <a:pt x="608054" y="210511"/>
                    <a:pt x="605787" y="200092"/>
                    <a:pt x="605787" y="188283"/>
                  </a:cubicBezTo>
                  <a:lnTo>
                    <a:pt x="647640" y="188283"/>
                  </a:lnTo>
                  <a:cubicBezTo>
                    <a:pt x="647640" y="195807"/>
                    <a:pt x="649377" y="202466"/>
                    <a:pt x="652859" y="208254"/>
                  </a:cubicBezTo>
                  <a:cubicBezTo>
                    <a:pt x="656449" y="213925"/>
                    <a:pt x="661429" y="218385"/>
                    <a:pt x="667786" y="221624"/>
                  </a:cubicBezTo>
                  <a:cubicBezTo>
                    <a:pt x="674279" y="224869"/>
                    <a:pt x="681682" y="226488"/>
                    <a:pt x="690028" y="226488"/>
                  </a:cubicBezTo>
                  <a:cubicBezTo>
                    <a:pt x="698822" y="226488"/>
                    <a:pt x="706415" y="224927"/>
                    <a:pt x="712767" y="221799"/>
                  </a:cubicBezTo>
                  <a:cubicBezTo>
                    <a:pt x="719138" y="218672"/>
                    <a:pt x="723997" y="214042"/>
                    <a:pt x="727363" y="207904"/>
                  </a:cubicBezTo>
                  <a:cubicBezTo>
                    <a:pt x="730831" y="201765"/>
                    <a:pt x="732567" y="194358"/>
                    <a:pt x="732567" y="185671"/>
                  </a:cubicBezTo>
                  <a:cubicBezTo>
                    <a:pt x="732567" y="175827"/>
                    <a:pt x="730660" y="167840"/>
                    <a:pt x="726847" y="161702"/>
                  </a:cubicBezTo>
                  <a:cubicBezTo>
                    <a:pt x="723019" y="155564"/>
                    <a:pt x="717572" y="151050"/>
                    <a:pt x="710515" y="148157"/>
                  </a:cubicBezTo>
                  <a:cubicBezTo>
                    <a:pt x="703457" y="145146"/>
                    <a:pt x="695111" y="143643"/>
                    <a:pt x="685510" y="143643"/>
                  </a:cubicBezTo>
                  <a:lnTo>
                    <a:pt x="660505" y="143643"/>
                  </a:lnTo>
                  <a:close/>
                </a:path>
              </a:pathLst>
            </a:custGeom>
            <a:solidFill>
              <a:srgbClr val="EE3431"/>
            </a:solidFill>
            <a:ln w="4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8" name="Полилиния: фигура 47">
              <a:extLst>
                <a:ext uri="{FF2B5EF4-FFF2-40B4-BE49-F238E27FC236}">
                  <a16:creationId xmlns:a16="http://schemas.microsoft.com/office/drawing/2014/main" id="{C3ADAD60-17B9-4A06-AE0E-BCB35AB4E7E8}"/>
                </a:ext>
              </a:extLst>
            </p:cNvPr>
            <p:cNvSpPr/>
            <p:nvPr/>
          </p:nvSpPr>
          <p:spPr>
            <a:xfrm>
              <a:off x="8902858" y="5870060"/>
              <a:ext cx="774600" cy="259829"/>
            </a:xfrm>
            <a:custGeom>
              <a:avLst/>
              <a:gdLst>
                <a:gd name="connsiteX0" fmla="*/ 174372 w 774600"/>
                <a:gd name="connsiteY0" fmla="*/ 223011 h 259829"/>
                <a:gd name="connsiteX1" fmla="*/ 174372 w 774600"/>
                <a:gd name="connsiteY1" fmla="*/ 256357 h 259829"/>
                <a:gd name="connsiteX2" fmla="*/ 4859 w 774600"/>
                <a:gd name="connsiteY2" fmla="*/ 256357 h 259829"/>
                <a:gd name="connsiteX3" fmla="*/ 4859 w 774600"/>
                <a:gd name="connsiteY3" fmla="*/ 227699 h 259829"/>
                <a:gd name="connsiteX4" fmla="*/ 87193 w 774600"/>
                <a:gd name="connsiteY4" fmla="*/ 137908 h 259829"/>
                <a:gd name="connsiteX5" fmla="*/ 108541 w 774600"/>
                <a:gd name="connsiteY5" fmla="*/ 111508 h 259829"/>
                <a:gd name="connsiteX6" fmla="*/ 119499 w 774600"/>
                <a:gd name="connsiteY6" fmla="*/ 91537 h 259829"/>
                <a:gd name="connsiteX7" fmla="*/ 122797 w 774600"/>
                <a:gd name="connsiteY7" fmla="*/ 73993 h 259829"/>
                <a:gd name="connsiteX8" fmla="*/ 118278 w 774600"/>
                <a:gd name="connsiteY8" fmla="*/ 52977 h 259829"/>
                <a:gd name="connsiteX9" fmla="*/ 105413 w 774600"/>
                <a:gd name="connsiteY9" fmla="*/ 38560 h 259829"/>
                <a:gd name="connsiteX10" fmla="*/ 84752 w 774600"/>
                <a:gd name="connsiteY10" fmla="*/ 33176 h 259829"/>
                <a:gd name="connsiteX11" fmla="*/ 61138 w 774600"/>
                <a:gd name="connsiteY11" fmla="*/ 39256 h 259829"/>
                <a:gd name="connsiteX12" fmla="*/ 46712 w 774600"/>
                <a:gd name="connsiteY12" fmla="*/ 56104 h 259829"/>
                <a:gd name="connsiteX13" fmla="*/ 41853 w 774600"/>
                <a:gd name="connsiteY13" fmla="*/ 80418 h 259829"/>
                <a:gd name="connsiteX14" fmla="*/ 0 w 774600"/>
                <a:gd name="connsiteY14" fmla="*/ 80418 h 259829"/>
                <a:gd name="connsiteX15" fmla="*/ 10083 w 774600"/>
                <a:gd name="connsiteY15" fmla="*/ 40126 h 259829"/>
                <a:gd name="connsiteX16" fmla="*/ 39261 w 774600"/>
                <a:gd name="connsiteY16" fmla="*/ 10948 h 259829"/>
                <a:gd name="connsiteX17" fmla="*/ 85272 w 774600"/>
                <a:gd name="connsiteY17" fmla="*/ 5 h 259829"/>
                <a:gd name="connsiteX18" fmla="*/ 128346 w 774600"/>
                <a:gd name="connsiteY18" fmla="*/ 8517 h 259829"/>
                <a:gd name="connsiteX19" fmla="*/ 155277 w 774600"/>
                <a:gd name="connsiteY19" fmla="*/ 32660 h 259829"/>
                <a:gd name="connsiteX20" fmla="*/ 164654 w 774600"/>
                <a:gd name="connsiteY20" fmla="*/ 69655 h 259829"/>
                <a:gd name="connsiteX21" fmla="*/ 160827 w 774600"/>
                <a:gd name="connsiteY21" fmla="*/ 93103 h 259829"/>
                <a:gd name="connsiteX22" fmla="*/ 149888 w 774600"/>
                <a:gd name="connsiteY22" fmla="*/ 116376 h 259829"/>
                <a:gd name="connsiteX23" fmla="*/ 133400 w 774600"/>
                <a:gd name="connsiteY23" fmla="*/ 139475 h 259829"/>
                <a:gd name="connsiteX24" fmla="*/ 112378 w 774600"/>
                <a:gd name="connsiteY24" fmla="*/ 162748 h 259829"/>
                <a:gd name="connsiteX25" fmla="*/ 57675 w 774600"/>
                <a:gd name="connsiteY25" fmla="*/ 223015 h 259829"/>
                <a:gd name="connsiteX26" fmla="*/ 174377 w 774600"/>
                <a:gd name="connsiteY26" fmla="*/ 223015 h 259829"/>
                <a:gd name="connsiteX27" fmla="*/ 371848 w 774600"/>
                <a:gd name="connsiteY27" fmla="*/ 108730 h 259829"/>
                <a:gd name="connsiteX28" fmla="*/ 371848 w 774600"/>
                <a:gd name="connsiteY28" fmla="*/ 150063 h 259829"/>
                <a:gd name="connsiteX29" fmla="*/ 365938 w 774600"/>
                <a:gd name="connsiteY29" fmla="*/ 200778 h 259829"/>
                <a:gd name="connsiteX30" fmla="*/ 349260 w 774600"/>
                <a:gd name="connsiteY30" fmla="*/ 234645 h 259829"/>
                <a:gd name="connsiteX31" fmla="*/ 323035 w 774600"/>
                <a:gd name="connsiteY31" fmla="*/ 253750 h 259829"/>
                <a:gd name="connsiteX32" fmla="*/ 289168 w 774600"/>
                <a:gd name="connsiteY32" fmla="*/ 259830 h 259829"/>
                <a:gd name="connsiteX33" fmla="*/ 261381 w 774600"/>
                <a:gd name="connsiteY33" fmla="*/ 256011 h 259829"/>
                <a:gd name="connsiteX34" fmla="*/ 238468 w 774600"/>
                <a:gd name="connsiteY34" fmla="*/ 244027 h 259829"/>
                <a:gd name="connsiteX35" fmla="*/ 220914 w 774600"/>
                <a:gd name="connsiteY35" fmla="*/ 223011 h 259829"/>
                <a:gd name="connsiteX36" fmla="*/ 209800 w 774600"/>
                <a:gd name="connsiteY36" fmla="*/ 191921 h 259829"/>
                <a:gd name="connsiteX37" fmla="*/ 205972 w 774600"/>
                <a:gd name="connsiteY37" fmla="*/ 150063 h 259829"/>
                <a:gd name="connsiteX38" fmla="*/ 205972 w 774600"/>
                <a:gd name="connsiteY38" fmla="*/ 108730 h 259829"/>
                <a:gd name="connsiteX39" fmla="*/ 211882 w 774600"/>
                <a:gd name="connsiteY39" fmla="*/ 58366 h 259829"/>
                <a:gd name="connsiteX40" fmla="*/ 228730 w 774600"/>
                <a:gd name="connsiteY40" fmla="*/ 24844 h 259829"/>
                <a:gd name="connsiteX41" fmla="*/ 254786 w 774600"/>
                <a:gd name="connsiteY41" fmla="*/ 5914 h 259829"/>
                <a:gd name="connsiteX42" fmla="*/ 288827 w 774600"/>
                <a:gd name="connsiteY42" fmla="*/ 10 h 259829"/>
                <a:gd name="connsiteX43" fmla="*/ 316614 w 774600"/>
                <a:gd name="connsiteY43" fmla="*/ 3833 h 259829"/>
                <a:gd name="connsiteX44" fmla="*/ 339542 w 774600"/>
                <a:gd name="connsiteY44" fmla="*/ 15467 h 259829"/>
                <a:gd name="connsiteX45" fmla="*/ 356906 w 774600"/>
                <a:gd name="connsiteY45" fmla="*/ 36308 h 259829"/>
                <a:gd name="connsiteX46" fmla="*/ 368020 w 774600"/>
                <a:gd name="connsiteY46" fmla="*/ 67048 h 259829"/>
                <a:gd name="connsiteX47" fmla="*/ 371848 w 774600"/>
                <a:gd name="connsiteY47" fmla="*/ 108730 h 259829"/>
                <a:gd name="connsiteX48" fmla="*/ 329995 w 774600"/>
                <a:gd name="connsiteY48" fmla="*/ 155968 h 259829"/>
                <a:gd name="connsiteX49" fmla="*/ 329995 w 774600"/>
                <a:gd name="connsiteY49" fmla="*/ 102476 h 259829"/>
                <a:gd name="connsiteX50" fmla="*/ 328258 w 774600"/>
                <a:gd name="connsiteY50" fmla="*/ 75905 h 259829"/>
                <a:gd name="connsiteX51" fmla="*/ 323039 w 774600"/>
                <a:gd name="connsiteY51" fmla="*/ 56279 h 259829"/>
                <a:gd name="connsiteX52" fmla="*/ 314708 w 774600"/>
                <a:gd name="connsiteY52" fmla="*/ 43079 h 259829"/>
                <a:gd name="connsiteX53" fmla="*/ 303234 w 774600"/>
                <a:gd name="connsiteY53" fmla="*/ 35613 h 259829"/>
                <a:gd name="connsiteX54" fmla="*/ 288823 w 774600"/>
                <a:gd name="connsiteY54" fmla="*/ 33181 h 259829"/>
                <a:gd name="connsiteX55" fmla="*/ 271459 w 774600"/>
                <a:gd name="connsiteY55" fmla="*/ 37004 h 259829"/>
                <a:gd name="connsiteX56" fmla="*/ 258613 w 774600"/>
                <a:gd name="connsiteY56" fmla="*/ 48813 h 259829"/>
                <a:gd name="connsiteX57" fmla="*/ 250608 w 774600"/>
                <a:gd name="connsiteY57" fmla="*/ 70350 h 259829"/>
                <a:gd name="connsiteX58" fmla="*/ 248015 w 774600"/>
                <a:gd name="connsiteY58" fmla="*/ 102480 h 259829"/>
                <a:gd name="connsiteX59" fmla="*/ 248015 w 774600"/>
                <a:gd name="connsiteY59" fmla="*/ 155973 h 259829"/>
                <a:gd name="connsiteX60" fmla="*/ 249752 w 774600"/>
                <a:gd name="connsiteY60" fmla="*/ 182894 h 259829"/>
                <a:gd name="connsiteX61" fmla="*/ 254956 w 774600"/>
                <a:gd name="connsiteY61" fmla="*/ 202865 h 259829"/>
                <a:gd name="connsiteX62" fmla="*/ 263302 w 774600"/>
                <a:gd name="connsiteY62" fmla="*/ 216410 h 259829"/>
                <a:gd name="connsiteX63" fmla="*/ 274756 w 774600"/>
                <a:gd name="connsiteY63" fmla="*/ 224051 h 259829"/>
                <a:gd name="connsiteX64" fmla="*/ 289168 w 774600"/>
                <a:gd name="connsiteY64" fmla="*/ 226483 h 259829"/>
                <a:gd name="connsiteX65" fmla="*/ 306721 w 774600"/>
                <a:gd name="connsiteY65" fmla="*/ 222660 h 259829"/>
                <a:gd name="connsiteX66" fmla="*/ 319567 w 774600"/>
                <a:gd name="connsiteY66" fmla="*/ 210501 h 259829"/>
                <a:gd name="connsiteX67" fmla="*/ 327383 w 774600"/>
                <a:gd name="connsiteY67" fmla="*/ 188443 h 259829"/>
                <a:gd name="connsiteX68" fmla="*/ 329995 w 774600"/>
                <a:gd name="connsiteY68" fmla="*/ 155963 h 259829"/>
                <a:gd name="connsiteX69" fmla="*/ 578701 w 774600"/>
                <a:gd name="connsiteY69" fmla="*/ 223006 h 259829"/>
                <a:gd name="connsiteX70" fmla="*/ 578701 w 774600"/>
                <a:gd name="connsiteY70" fmla="*/ 256352 h 259829"/>
                <a:gd name="connsiteX71" fmla="*/ 409187 w 774600"/>
                <a:gd name="connsiteY71" fmla="*/ 256352 h 259829"/>
                <a:gd name="connsiteX72" fmla="*/ 409187 w 774600"/>
                <a:gd name="connsiteY72" fmla="*/ 227694 h 259829"/>
                <a:gd name="connsiteX73" fmla="*/ 491507 w 774600"/>
                <a:gd name="connsiteY73" fmla="*/ 137904 h 259829"/>
                <a:gd name="connsiteX74" fmla="*/ 512874 w 774600"/>
                <a:gd name="connsiteY74" fmla="*/ 111503 h 259829"/>
                <a:gd name="connsiteX75" fmla="*/ 523813 w 774600"/>
                <a:gd name="connsiteY75" fmla="*/ 91532 h 259829"/>
                <a:gd name="connsiteX76" fmla="*/ 527110 w 774600"/>
                <a:gd name="connsiteY76" fmla="*/ 73988 h 259829"/>
                <a:gd name="connsiteX77" fmla="*/ 522592 w 774600"/>
                <a:gd name="connsiteY77" fmla="*/ 52972 h 259829"/>
                <a:gd name="connsiteX78" fmla="*/ 509746 w 774600"/>
                <a:gd name="connsiteY78" fmla="*/ 38555 h 259829"/>
                <a:gd name="connsiteX79" fmla="*/ 489085 w 774600"/>
                <a:gd name="connsiteY79" fmla="*/ 33171 h 259829"/>
                <a:gd name="connsiteX80" fmla="*/ 465452 w 774600"/>
                <a:gd name="connsiteY80" fmla="*/ 39251 h 259829"/>
                <a:gd name="connsiteX81" fmla="*/ 451040 w 774600"/>
                <a:gd name="connsiteY81" fmla="*/ 56099 h 259829"/>
                <a:gd name="connsiteX82" fmla="*/ 446181 w 774600"/>
                <a:gd name="connsiteY82" fmla="*/ 80413 h 259829"/>
                <a:gd name="connsiteX83" fmla="*/ 404328 w 774600"/>
                <a:gd name="connsiteY83" fmla="*/ 80413 h 259829"/>
                <a:gd name="connsiteX84" fmla="*/ 414391 w 774600"/>
                <a:gd name="connsiteY84" fmla="*/ 40122 h 259829"/>
                <a:gd name="connsiteX85" fmla="*/ 443569 w 774600"/>
                <a:gd name="connsiteY85" fmla="*/ 10944 h 259829"/>
                <a:gd name="connsiteX86" fmla="*/ 489596 w 774600"/>
                <a:gd name="connsiteY86" fmla="*/ 0 h 259829"/>
                <a:gd name="connsiteX87" fmla="*/ 532670 w 774600"/>
                <a:gd name="connsiteY87" fmla="*/ 8512 h 259829"/>
                <a:gd name="connsiteX88" fmla="*/ 559581 w 774600"/>
                <a:gd name="connsiteY88" fmla="*/ 32656 h 259829"/>
                <a:gd name="connsiteX89" fmla="*/ 568958 w 774600"/>
                <a:gd name="connsiteY89" fmla="*/ 69650 h 259829"/>
                <a:gd name="connsiteX90" fmla="*/ 565145 w 774600"/>
                <a:gd name="connsiteY90" fmla="*/ 93098 h 259829"/>
                <a:gd name="connsiteX91" fmla="*/ 554207 w 774600"/>
                <a:gd name="connsiteY91" fmla="*/ 116372 h 259829"/>
                <a:gd name="connsiteX92" fmla="*/ 537704 w 774600"/>
                <a:gd name="connsiteY92" fmla="*/ 139470 h 259829"/>
                <a:gd name="connsiteX93" fmla="*/ 516697 w 774600"/>
                <a:gd name="connsiteY93" fmla="*/ 162743 h 259829"/>
                <a:gd name="connsiteX94" fmla="*/ 461979 w 774600"/>
                <a:gd name="connsiteY94" fmla="*/ 223011 h 259829"/>
                <a:gd name="connsiteX95" fmla="*/ 578701 w 774600"/>
                <a:gd name="connsiteY95" fmla="*/ 223011 h 259829"/>
                <a:gd name="connsiteX96" fmla="*/ 660505 w 774600"/>
                <a:gd name="connsiteY96" fmla="*/ 110982 h 259829"/>
                <a:gd name="connsiteX97" fmla="*/ 685510 w 774600"/>
                <a:gd name="connsiteY97" fmla="*/ 110982 h 259829"/>
                <a:gd name="connsiteX98" fmla="*/ 709639 w 774600"/>
                <a:gd name="connsiteY98" fmla="*/ 105948 h 259829"/>
                <a:gd name="connsiteX99" fmla="*/ 724065 w 774600"/>
                <a:gd name="connsiteY99" fmla="*/ 92052 h 259829"/>
                <a:gd name="connsiteX100" fmla="*/ 728754 w 774600"/>
                <a:gd name="connsiteY100" fmla="*/ 71731 h 259829"/>
                <a:gd name="connsiteX101" fmla="*/ 724411 w 774600"/>
                <a:gd name="connsiteY101" fmla="*/ 51240 h 259829"/>
                <a:gd name="connsiteX102" fmla="*/ 711565 w 774600"/>
                <a:gd name="connsiteY102" fmla="*/ 37865 h 259829"/>
                <a:gd name="connsiteX103" fmla="*/ 689858 w 774600"/>
                <a:gd name="connsiteY103" fmla="*/ 33176 h 259829"/>
                <a:gd name="connsiteX104" fmla="*/ 669712 w 774600"/>
                <a:gd name="connsiteY104" fmla="*/ 37690 h 259829"/>
                <a:gd name="connsiteX105" fmla="*/ 655626 w 774600"/>
                <a:gd name="connsiteY105" fmla="*/ 50195 h 259829"/>
                <a:gd name="connsiteX106" fmla="*/ 650422 w 774600"/>
                <a:gd name="connsiteY106" fmla="*/ 69300 h 259829"/>
                <a:gd name="connsiteX107" fmla="*/ 608394 w 774600"/>
                <a:gd name="connsiteY107" fmla="*/ 69300 h 259829"/>
                <a:gd name="connsiteX108" fmla="*/ 618992 w 774600"/>
                <a:gd name="connsiteY108" fmla="*/ 33521 h 259829"/>
                <a:gd name="connsiteX109" fmla="*/ 647810 w 774600"/>
                <a:gd name="connsiteY109" fmla="*/ 9032 h 259829"/>
                <a:gd name="connsiteX110" fmla="*/ 689148 w 774600"/>
                <a:gd name="connsiteY110" fmla="*/ 0 h 259829"/>
                <a:gd name="connsiteX111" fmla="*/ 731876 w 774600"/>
                <a:gd name="connsiteY111" fmla="*/ 8161 h 259829"/>
                <a:gd name="connsiteX112" fmla="*/ 760524 w 774600"/>
                <a:gd name="connsiteY112" fmla="*/ 32130 h 259829"/>
                <a:gd name="connsiteX113" fmla="*/ 770777 w 774600"/>
                <a:gd name="connsiteY113" fmla="*/ 71727 h 259829"/>
                <a:gd name="connsiteX114" fmla="*/ 765743 w 774600"/>
                <a:gd name="connsiteY114" fmla="*/ 93609 h 259829"/>
                <a:gd name="connsiteX115" fmla="*/ 750802 w 774600"/>
                <a:gd name="connsiteY115" fmla="*/ 113930 h 259829"/>
                <a:gd name="connsiteX116" fmla="*/ 726137 w 774600"/>
                <a:gd name="connsiteY116" fmla="*/ 128692 h 259829"/>
                <a:gd name="connsiteX117" fmla="*/ 691925 w 774600"/>
                <a:gd name="connsiteY117" fmla="*/ 134251 h 259829"/>
                <a:gd name="connsiteX118" fmla="*/ 660495 w 774600"/>
                <a:gd name="connsiteY118" fmla="*/ 134251 h 259829"/>
                <a:gd name="connsiteX119" fmla="*/ 660495 w 774600"/>
                <a:gd name="connsiteY119" fmla="*/ 110978 h 259829"/>
                <a:gd name="connsiteX120" fmla="*/ 660505 w 774600"/>
                <a:gd name="connsiteY120" fmla="*/ 143633 h 259829"/>
                <a:gd name="connsiteX121" fmla="*/ 660505 w 774600"/>
                <a:gd name="connsiteY121" fmla="*/ 120705 h 259829"/>
                <a:gd name="connsiteX122" fmla="*/ 691935 w 774600"/>
                <a:gd name="connsiteY122" fmla="*/ 120705 h 259829"/>
                <a:gd name="connsiteX123" fmla="*/ 729790 w 774600"/>
                <a:gd name="connsiteY123" fmla="*/ 125914 h 259829"/>
                <a:gd name="connsiteX124" fmla="*/ 755500 w 774600"/>
                <a:gd name="connsiteY124" fmla="*/ 140331 h 259829"/>
                <a:gd name="connsiteX125" fmla="*/ 769911 w 774600"/>
                <a:gd name="connsiteY125" fmla="*/ 160997 h 259829"/>
                <a:gd name="connsiteX126" fmla="*/ 774600 w 774600"/>
                <a:gd name="connsiteY126" fmla="*/ 185661 h 259829"/>
                <a:gd name="connsiteX127" fmla="*/ 768175 w 774600"/>
                <a:gd name="connsiteY127" fmla="*/ 217271 h 259829"/>
                <a:gd name="connsiteX128" fmla="*/ 750296 w 774600"/>
                <a:gd name="connsiteY128" fmla="*/ 240545 h 259829"/>
                <a:gd name="connsiteX129" fmla="*/ 723024 w 774600"/>
                <a:gd name="connsiteY129" fmla="*/ 254961 h 259829"/>
                <a:gd name="connsiteX130" fmla="*/ 689328 w 774600"/>
                <a:gd name="connsiteY130" fmla="*/ 259825 h 259829"/>
                <a:gd name="connsiteX131" fmla="*/ 658068 w 774600"/>
                <a:gd name="connsiteY131" fmla="*/ 255311 h 259829"/>
                <a:gd name="connsiteX132" fmla="*/ 631327 w 774600"/>
                <a:gd name="connsiteY132" fmla="*/ 241940 h 259829"/>
                <a:gd name="connsiteX133" fmla="*/ 612572 w 774600"/>
                <a:gd name="connsiteY133" fmla="*/ 219538 h 259829"/>
                <a:gd name="connsiteX134" fmla="*/ 605787 w 774600"/>
                <a:gd name="connsiteY134" fmla="*/ 188273 h 259829"/>
                <a:gd name="connsiteX135" fmla="*/ 647640 w 774600"/>
                <a:gd name="connsiteY135" fmla="*/ 188273 h 259829"/>
                <a:gd name="connsiteX136" fmla="*/ 652859 w 774600"/>
                <a:gd name="connsiteY136" fmla="*/ 208249 h 259829"/>
                <a:gd name="connsiteX137" fmla="*/ 667786 w 774600"/>
                <a:gd name="connsiteY137" fmla="*/ 221619 h 259829"/>
                <a:gd name="connsiteX138" fmla="*/ 690028 w 774600"/>
                <a:gd name="connsiteY138" fmla="*/ 226483 h 259829"/>
                <a:gd name="connsiteX139" fmla="*/ 712767 w 774600"/>
                <a:gd name="connsiteY139" fmla="*/ 221795 h 259829"/>
                <a:gd name="connsiteX140" fmla="*/ 727363 w 774600"/>
                <a:gd name="connsiteY140" fmla="*/ 207899 h 259829"/>
                <a:gd name="connsiteX141" fmla="*/ 732567 w 774600"/>
                <a:gd name="connsiteY141" fmla="*/ 185671 h 259829"/>
                <a:gd name="connsiteX142" fmla="*/ 726847 w 774600"/>
                <a:gd name="connsiteY142" fmla="*/ 161702 h 259829"/>
                <a:gd name="connsiteX143" fmla="*/ 710515 w 774600"/>
                <a:gd name="connsiteY143" fmla="*/ 148157 h 259829"/>
                <a:gd name="connsiteX144" fmla="*/ 685510 w 774600"/>
                <a:gd name="connsiteY144" fmla="*/ 143643 h 259829"/>
                <a:gd name="connsiteX145" fmla="*/ 660505 w 774600"/>
                <a:gd name="connsiteY145" fmla="*/ 143643 h 2598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</a:cxnLst>
              <a:rect l="l" t="t" r="r" b="b"/>
              <a:pathLst>
                <a:path w="774600" h="259829">
                  <a:moveTo>
                    <a:pt x="174372" y="223011"/>
                  </a:moveTo>
                  <a:lnTo>
                    <a:pt x="174372" y="256357"/>
                  </a:lnTo>
                  <a:lnTo>
                    <a:pt x="4859" y="256357"/>
                  </a:lnTo>
                  <a:lnTo>
                    <a:pt x="4859" y="227699"/>
                  </a:lnTo>
                  <a:lnTo>
                    <a:pt x="87193" y="137908"/>
                  </a:lnTo>
                  <a:cubicBezTo>
                    <a:pt x="96211" y="127719"/>
                    <a:pt x="103336" y="118920"/>
                    <a:pt x="108541" y="111508"/>
                  </a:cubicBezTo>
                  <a:cubicBezTo>
                    <a:pt x="113760" y="104095"/>
                    <a:pt x="117403" y="97442"/>
                    <a:pt x="119499" y="91537"/>
                  </a:cubicBezTo>
                  <a:cubicBezTo>
                    <a:pt x="121697" y="85516"/>
                    <a:pt x="122797" y="79669"/>
                    <a:pt x="122797" y="73993"/>
                  </a:cubicBezTo>
                  <a:cubicBezTo>
                    <a:pt x="122797" y="66002"/>
                    <a:pt x="121284" y="58998"/>
                    <a:pt x="118278" y="52977"/>
                  </a:cubicBezTo>
                  <a:cubicBezTo>
                    <a:pt x="115374" y="46838"/>
                    <a:pt x="111099" y="42033"/>
                    <a:pt x="105413" y="38560"/>
                  </a:cubicBezTo>
                  <a:cubicBezTo>
                    <a:pt x="99747" y="34971"/>
                    <a:pt x="92860" y="33176"/>
                    <a:pt x="84752" y="33176"/>
                  </a:cubicBezTo>
                  <a:cubicBezTo>
                    <a:pt x="75374" y="33176"/>
                    <a:pt x="67510" y="35204"/>
                    <a:pt x="61138" y="39256"/>
                  </a:cubicBezTo>
                  <a:cubicBezTo>
                    <a:pt x="54766" y="43307"/>
                    <a:pt x="49956" y="48925"/>
                    <a:pt x="46712" y="56104"/>
                  </a:cubicBezTo>
                  <a:cubicBezTo>
                    <a:pt x="43482" y="63166"/>
                    <a:pt x="41853" y="71274"/>
                    <a:pt x="41853" y="80418"/>
                  </a:cubicBezTo>
                  <a:lnTo>
                    <a:pt x="0" y="80418"/>
                  </a:lnTo>
                  <a:cubicBezTo>
                    <a:pt x="0" y="65715"/>
                    <a:pt x="3366" y="52281"/>
                    <a:pt x="10083" y="40126"/>
                  </a:cubicBezTo>
                  <a:cubicBezTo>
                    <a:pt x="16800" y="27855"/>
                    <a:pt x="26517" y="18127"/>
                    <a:pt x="39261" y="10948"/>
                  </a:cubicBezTo>
                  <a:cubicBezTo>
                    <a:pt x="51989" y="3653"/>
                    <a:pt x="67325" y="5"/>
                    <a:pt x="85272" y="5"/>
                  </a:cubicBezTo>
                  <a:cubicBezTo>
                    <a:pt x="102189" y="5"/>
                    <a:pt x="116546" y="2840"/>
                    <a:pt x="128346" y="8517"/>
                  </a:cubicBezTo>
                  <a:cubicBezTo>
                    <a:pt x="140160" y="14193"/>
                    <a:pt x="149129" y="22237"/>
                    <a:pt x="155277" y="32660"/>
                  </a:cubicBezTo>
                  <a:cubicBezTo>
                    <a:pt x="161527" y="43079"/>
                    <a:pt x="164654" y="55413"/>
                    <a:pt x="164654" y="69655"/>
                  </a:cubicBezTo>
                  <a:cubicBezTo>
                    <a:pt x="164654" y="77529"/>
                    <a:pt x="163385" y="85345"/>
                    <a:pt x="160827" y="93103"/>
                  </a:cubicBezTo>
                  <a:cubicBezTo>
                    <a:pt x="158283" y="100861"/>
                    <a:pt x="154645" y="108619"/>
                    <a:pt x="149888" y="116376"/>
                  </a:cubicBezTo>
                  <a:cubicBezTo>
                    <a:pt x="145267" y="124017"/>
                    <a:pt x="139757" y="131717"/>
                    <a:pt x="133400" y="139475"/>
                  </a:cubicBezTo>
                  <a:cubicBezTo>
                    <a:pt x="127028" y="147116"/>
                    <a:pt x="120019" y="154873"/>
                    <a:pt x="112378" y="162748"/>
                  </a:cubicBezTo>
                  <a:lnTo>
                    <a:pt x="57675" y="223015"/>
                  </a:lnTo>
                  <a:lnTo>
                    <a:pt x="174377" y="223015"/>
                  </a:lnTo>
                  <a:close/>
                  <a:moveTo>
                    <a:pt x="371848" y="108730"/>
                  </a:moveTo>
                  <a:lnTo>
                    <a:pt x="371848" y="150063"/>
                  </a:lnTo>
                  <a:cubicBezTo>
                    <a:pt x="371848" y="169864"/>
                    <a:pt x="369873" y="186765"/>
                    <a:pt x="365938" y="200778"/>
                  </a:cubicBezTo>
                  <a:cubicBezTo>
                    <a:pt x="362125" y="214674"/>
                    <a:pt x="356561" y="225963"/>
                    <a:pt x="349260" y="234645"/>
                  </a:cubicBezTo>
                  <a:cubicBezTo>
                    <a:pt x="341960" y="243327"/>
                    <a:pt x="333219" y="249698"/>
                    <a:pt x="323035" y="253750"/>
                  </a:cubicBezTo>
                  <a:cubicBezTo>
                    <a:pt x="312971" y="257801"/>
                    <a:pt x="301668" y="259830"/>
                    <a:pt x="289168" y="259830"/>
                  </a:cubicBezTo>
                  <a:cubicBezTo>
                    <a:pt x="279221" y="259830"/>
                    <a:pt x="269951" y="258555"/>
                    <a:pt x="261381" y="256011"/>
                  </a:cubicBezTo>
                  <a:cubicBezTo>
                    <a:pt x="252933" y="253463"/>
                    <a:pt x="245287" y="249470"/>
                    <a:pt x="238468" y="244027"/>
                  </a:cubicBezTo>
                  <a:cubicBezTo>
                    <a:pt x="231634" y="238584"/>
                    <a:pt x="225773" y="231581"/>
                    <a:pt x="220914" y="223011"/>
                  </a:cubicBezTo>
                  <a:cubicBezTo>
                    <a:pt x="216172" y="214329"/>
                    <a:pt x="212466" y="203964"/>
                    <a:pt x="209800" y="191921"/>
                  </a:cubicBezTo>
                  <a:cubicBezTo>
                    <a:pt x="207256" y="179878"/>
                    <a:pt x="205972" y="165929"/>
                    <a:pt x="205972" y="150063"/>
                  </a:cubicBezTo>
                  <a:lnTo>
                    <a:pt x="205972" y="108730"/>
                  </a:lnTo>
                  <a:cubicBezTo>
                    <a:pt x="205972" y="88813"/>
                    <a:pt x="207947" y="72028"/>
                    <a:pt x="211882" y="58366"/>
                  </a:cubicBezTo>
                  <a:cubicBezTo>
                    <a:pt x="215831" y="44587"/>
                    <a:pt x="221430" y="33414"/>
                    <a:pt x="228730" y="24844"/>
                  </a:cubicBezTo>
                  <a:cubicBezTo>
                    <a:pt x="236031" y="16162"/>
                    <a:pt x="244722" y="9849"/>
                    <a:pt x="254786" y="5914"/>
                  </a:cubicBezTo>
                  <a:cubicBezTo>
                    <a:pt x="264970" y="1975"/>
                    <a:pt x="276323" y="10"/>
                    <a:pt x="288827" y="10"/>
                  </a:cubicBezTo>
                  <a:cubicBezTo>
                    <a:pt x="298910" y="10"/>
                    <a:pt x="308166" y="1284"/>
                    <a:pt x="316614" y="3833"/>
                  </a:cubicBezTo>
                  <a:cubicBezTo>
                    <a:pt x="325184" y="6265"/>
                    <a:pt x="332825" y="10141"/>
                    <a:pt x="339542" y="15467"/>
                  </a:cubicBezTo>
                  <a:cubicBezTo>
                    <a:pt x="346376" y="20793"/>
                    <a:pt x="352164" y="27738"/>
                    <a:pt x="356906" y="36308"/>
                  </a:cubicBezTo>
                  <a:cubicBezTo>
                    <a:pt x="361765" y="44762"/>
                    <a:pt x="365476" y="55010"/>
                    <a:pt x="368020" y="67048"/>
                  </a:cubicBezTo>
                  <a:cubicBezTo>
                    <a:pt x="370578" y="78974"/>
                    <a:pt x="371848" y="92870"/>
                    <a:pt x="371848" y="108730"/>
                  </a:cubicBezTo>
                  <a:close/>
                  <a:moveTo>
                    <a:pt x="329995" y="155968"/>
                  </a:moveTo>
                  <a:lnTo>
                    <a:pt x="329995" y="102476"/>
                  </a:lnTo>
                  <a:cubicBezTo>
                    <a:pt x="329995" y="92403"/>
                    <a:pt x="329411" y="83546"/>
                    <a:pt x="328258" y="75905"/>
                  </a:cubicBezTo>
                  <a:cubicBezTo>
                    <a:pt x="327091" y="68147"/>
                    <a:pt x="325355" y="61605"/>
                    <a:pt x="323039" y="56279"/>
                  </a:cubicBezTo>
                  <a:cubicBezTo>
                    <a:pt x="320841" y="50837"/>
                    <a:pt x="318059" y="46440"/>
                    <a:pt x="314708" y="43079"/>
                  </a:cubicBezTo>
                  <a:cubicBezTo>
                    <a:pt x="311342" y="39606"/>
                    <a:pt x="307529" y="37116"/>
                    <a:pt x="303234" y="35613"/>
                  </a:cubicBezTo>
                  <a:cubicBezTo>
                    <a:pt x="298959" y="33993"/>
                    <a:pt x="294148" y="33181"/>
                    <a:pt x="288823" y="33181"/>
                  </a:cubicBezTo>
                  <a:cubicBezTo>
                    <a:pt x="282349" y="33181"/>
                    <a:pt x="276542" y="34455"/>
                    <a:pt x="271459" y="37004"/>
                  </a:cubicBezTo>
                  <a:cubicBezTo>
                    <a:pt x="266357" y="39436"/>
                    <a:pt x="262081" y="43371"/>
                    <a:pt x="258613" y="48813"/>
                  </a:cubicBezTo>
                  <a:cubicBezTo>
                    <a:pt x="255126" y="54256"/>
                    <a:pt x="252466" y="61435"/>
                    <a:pt x="250608" y="70350"/>
                  </a:cubicBezTo>
                  <a:cubicBezTo>
                    <a:pt x="248871" y="79149"/>
                    <a:pt x="248015" y="89859"/>
                    <a:pt x="248015" y="102480"/>
                  </a:cubicBezTo>
                  <a:lnTo>
                    <a:pt x="248015" y="155973"/>
                  </a:lnTo>
                  <a:cubicBezTo>
                    <a:pt x="248015" y="166162"/>
                    <a:pt x="248584" y="175136"/>
                    <a:pt x="249752" y="182894"/>
                  </a:cubicBezTo>
                  <a:cubicBezTo>
                    <a:pt x="250904" y="190652"/>
                    <a:pt x="252636" y="197310"/>
                    <a:pt x="254956" y="202865"/>
                  </a:cubicBezTo>
                  <a:cubicBezTo>
                    <a:pt x="257276" y="208307"/>
                    <a:pt x="260058" y="212821"/>
                    <a:pt x="263302" y="216410"/>
                  </a:cubicBezTo>
                  <a:cubicBezTo>
                    <a:pt x="266653" y="219883"/>
                    <a:pt x="270481" y="222432"/>
                    <a:pt x="274756" y="224051"/>
                  </a:cubicBezTo>
                  <a:cubicBezTo>
                    <a:pt x="279153" y="225671"/>
                    <a:pt x="283964" y="226483"/>
                    <a:pt x="289168" y="226483"/>
                  </a:cubicBezTo>
                  <a:cubicBezTo>
                    <a:pt x="295778" y="226483"/>
                    <a:pt x="301619" y="225209"/>
                    <a:pt x="306721" y="222660"/>
                  </a:cubicBezTo>
                  <a:cubicBezTo>
                    <a:pt x="311804" y="220112"/>
                    <a:pt x="316099" y="216060"/>
                    <a:pt x="319567" y="210501"/>
                  </a:cubicBezTo>
                  <a:cubicBezTo>
                    <a:pt x="323035" y="204830"/>
                    <a:pt x="325646" y="197476"/>
                    <a:pt x="327383" y="188443"/>
                  </a:cubicBezTo>
                  <a:cubicBezTo>
                    <a:pt x="329119" y="179411"/>
                    <a:pt x="329995" y="168585"/>
                    <a:pt x="329995" y="155963"/>
                  </a:cubicBezTo>
                  <a:close/>
                  <a:moveTo>
                    <a:pt x="578701" y="223006"/>
                  </a:moveTo>
                  <a:lnTo>
                    <a:pt x="578701" y="256352"/>
                  </a:lnTo>
                  <a:lnTo>
                    <a:pt x="409187" y="256352"/>
                  </a:lnTo>
                  <a:lnTo>
                    <a:pt x="409187" y="227694"/>
                  </a:lnTo>
                  <a:lnTo>
                    <a:pt x="491507" y="137904"/>
                  </a:lnTo>
                  <a:cubicBezTo>
                    <a:pt x="500539" y="127714"/>
                    <a:pt x="507670" y="118915"/>
                    <a:pt x="512874" y="111503"/>
                  </a:cubicBezTo>
                  <a:cubicBezTo>
                    <a:pt x="518078" y="104090"/>
                    <a:pt x="521736" y="97437"/>
                    <a:pt x="523813" y="91532"/>
                  </a:cubicBezTo>
                  <a:cubicBezTo>
                    <a:pt x="526011" y="85511"/>
                    <a:pt x="527110" y="79664"/>
                    <a:pt x="527110" y="73988"/>
                  </a:cubicBezTo>
                  <a:cubicBezTo>
                    <a:pt x="527110" y="65997"/>
                    <a:pt x="525617" y="58993"/>
                    <a:pt x="522592" y="52972"/>
                  </a:cubicBezTo>
                  <a:cubicBezTo>
                    <a:pt x="519708" y="46834"/>
                    <a:pt x="515413" y="42028"/>
                    <a:pt x="509746" y="38555"/>
                  </a:cubicBezTo>
                  <a:cubicBezTo>
                    <a:pt x="504080" y="34966"/>
                    <a:pt x="497193" y="33171"/>
                    <a:pt x="489085" y="33171"/>
                  </a:cubicBezTo>
                  <a:cubicBezTo>
                    <a:pt x="479708" y="33171"/>
                    <a:pt x="471823" y="35199"/>
                    <a:pt x="465452" y="39251"/>
                  </a:cubicBezTo>
                  <a:cubicBezTo>
                    <a:pt x="459095" y="43302"/>
                    <a:pt x="454289" y="48920"/>
                    <a:pt x="451040" y="56099"/>
                  </a:cubicBezTo>
                  <a:cubicBezTo>
                    <a:pt x="447796" y="63161"/>
                    <a:pt x="446181" y="71269"/>
                    <a:pt x="446181" y="80413"/>
                  </a:cubicBezTo>
                  <a:lnTo>
                    <a:pt x="404328" y="80413"/>
                  </a:lnTo>
                  <a:cubicBezTo>
                    <a:pt x="404328" y="65710"/>
                    <a:pt x="407679" y="52276"/>
                    <a:pt x="414391" y="40122"/>
                  </a:cubicBezTo>
                  <a:cubicBezTo>
                    <a:pt x="421108" y="27850"/>
                    <a:pt x="430846" y="18123"/>
                    <a:pt x="443569" y="10944"/>
                  </a:cubicBezTo>
                  <a:cubicBezTo>
                    <a:pt x="456313" y="3648"/>
                    <a:pt x="471648" y="0"/>
                    <a:pt x="489596" y="0"/>
                  </a:cubicBezTo>
                  <a:cubicBezTo>
                    <a:pt x="506497" y="0"/>
                    <a:pt x="520855" y="2836"/>
                    <a:pt x="532670" y="8512"/>
                  </a:cubicBezTo>
                  <a:cubicBezTo>
                    <a:pt x="544484" y="14188"/>
                    <a:pt x="553453" y="22232"/>
                    <a:pt x="559581" y="32656"/>
                  </a:cubicBezTo>
                  <a:cubicBezTo>
                    <a:pt x="565831" y="43074"/>
                    <a:pt x="568958" y="55409"/>
                    <a:pt x="568958" y="69650"/>
                  </a:cubicBezTo>
                  <a:cubicBezTo>
                    <a:pt x="568958" y="77524"/>
                    <a:pt x="567689" y="85340"/>
                    <a:pt x="565145" y="93098"/>
                  </a:cubicBezTo>
                  <a:cubicBezTo>
                    <a:pt x="562601" y="100856"/>
                    <a:pt x="558944" y="108614"/>
                    <a:pt x="554207" y="116372"/>
                  </a:cubicBezTo>
                  <a:cubicBezTo>
                    <a:pt x="549571" y="124013"/>
                    <a:pt x="544075" y="131712"/>
                    <a:pt x="537704" y="139470"/>
                  </a:cubicBezTo>
                  <a:cubicBezTo>
                    <a:pt x="531332" y="147111"/>
                    <a:pt x="524323" y="154869"/>
                    <a:pt x="516697" y="162743"/>
                  </a:cubicBezTo>
                  <a:lnTo>
                    <a:pt x="461979" y="223011"/>
                  </a:lnTo>
                  <a:lnTo>
                    <a:pt x="578701" y="223011"/>
                  </a:lnTo>
                  <a:close/>
                  <a:moveTo>
                    <a:pt x="660505" y="110982"/>
                  </a:moveTo>
                  <a:lnTo>
                    <a:pt x="685510" y="110982"/>
                  </a:lnTo>
                  <a:cubicBezTo>
                    <a:pt x="695233" y="110982"/>
                    <a:pt x="703287" y="109304"/>
                    <a:pt x="709639" y="105948"/>
                  </a:cubicBezTo>
                  <a:cubicBezTo>
                    <a:pt x="716132" y="102592"/>
                    <a:pt x="720943" y="97957"/>
                    <a:pt x="724065" y="92052"/>
                  </a:cubicBezTo>
                  <a:cubicBezTo>
                    <a:pt x="727193" y="86148"/>
                    <a:pt x="728754" y="79373"/>
                    <a:pt x="728754" y="71731"/>
                  </a:cubicBezTo>
                  <a:cubicBezTo>
                    <a:pt x="728754" y="64090"/>
                    <a:pt x="727295" y="56911"/>
                    <a:pt x="724411" y="51240"/>
                  </a:cubicBezTo>
                  <a:cubicBezTo>
                    <a:pt x="721628" y="45452"/>
                    <a:pt x="717353" y="40992"/>
                    <a:pt x="711565" y="37865"/>
                  </a:cubicBezTo>
                  <a:cubicBezTo>
                    <a:pt x="705879" y="34737"/>
                    <a:pt x="698652" y="33176"/>
                    <a:pt x="689858" y="33176"/>
                  </a:cubicBezTo>
                  <a:cubicBezTo>
                    <a:pt x="682441" y="33176"/>
                    <a:pt x="675724" y="34679"/>
                    <a:pt x="669712" y="37690"/>
                  </a:cubicBezTo>
                  <a:cubicBezTo>
                    <a:pt x="663803" y="40584"/>
                    <a:pt x="659114" y="44752"/>
                    <a:pt x="655626" y="50195"/>
                  </a:cubicBezTo>
                  <a:cubicBezTo>
                    <a:pt x="652159" y="55520"/>
                    <a:pt x="650422" y="61887"/>
                    <a:pt x="650422" y="69300"/>
                  </a:cubicBezTo>
                  <a:lnTo>
                    <a:pt x="608394" y="69300"/>
                  </a:lnTo>
                  <a:cubicBezTo>
                    <a:pt x="608394" y="55866"/>
                    <a:pt x="611916" y="43945"/>
                    <a:pt x="618992" y="33521"/>
                  </a:cubicBezTo>
                  <a:cubicBezTo>
                    <a:pt x="626050" y="23103"/>
                    <a:pt x="635670" y="14937"/>
                    <a:pt x="647810" y="9032"/>
                  </a:cubicBezTo>
                  <a:cubicBezTo>
                    <a:pt x="660092" y="3011"/>
                    <a:pt x="673866" y="0"/>
                    <a:pt x="689148" y="0"/>
                  </a:cubicBezTo>
                  <a:cubicBezTo>
                    <a:pt x="705480" y="0"/>
                    <a:pt x="719717" y="2724"/>
                    <a:pt x="731876" y="8161"/>
                  </a:cubicBezTo>
                  <a:cubicBezTo>
                    <a:pt x="744138" y="13487"/>
                    <a:pt x="753705" y="21479"/>
                    <a:pt x="760524" y="32130"/>
                  </a:cubicBezTo>
                  <a:cubicBezTo>
                    <a:pt x="767358" y="42782"/>
                    <a:pt x="770777" y="55982"/>
                    <a:pt x="770777" y="71727"/>
                  </a:cubicBezTo>
                  <a:cubicBezTo>
                    <a:pt x="770777" y="78906"/>
                    <a:pt x="769094" y="86201"/>
                    <a:pt x="765743" y="93609"/>
                  </a:cubicBezTo>
                  <a:cubicBezTo>
                    <a:pt x="762378" y="101021"/>
                    <a:pt x="757397" y="107792"/>
                    <a:pt x="750802" y="113930"/>
                  </a:cubicBezTo>
                  <a:cubicBezTo>
                    <a:pt x="744206" y="119951"/>
                    <a:pt x="735982" y="124869"/>
                    <a:pt x="726137" y="128692"/>
                  </a:cubicBezTo>
                  <a:cubicBezTo>
                    <a:pt x="716298" y="132398"/>
                    <a:pt x="704892" y="134251"/>
                    <a:pt x="691925" y="134251"/>
                  </a:cubicBezTo>
                  <a:lnTo>
                    <a:pt x="660495" y="134251"/>
                  </a:lnTo>
                  <a:lnTo>
                    <a:pt x="660495" y="110978"/>
                  </a:lnTo>
                  <a:close/>
                  <a:moveTo>
                    <a:pt x="660505" y="143633"/>
                  </a:moveTo>
                  <a:lnTo>
                    <a:pt x="660505" y="120705"/>
                  </a:lnTo>
                  <a:lnTo>
                    <a:pt x="691935" y="120705"/>
                  </a:lnTo>
                  <a:cubicBezTo>
                    <a:pt x="706755" y="120705"/>
                    <a:pt x="719381" y="122442"/>
                    <a:pt x="729790" y="125914"/>
                  </a:cubicBezTo>
                  <a:cubicBezTo>
                    <a:pt x="740335" y="129387"/>
                    <a:pt x="748905" y="134193"/>
                    <a:pt x="755500" y="140331"/>
                  </a:cubicBezTo>
                  <a:cubicBezTo>
                    <a:pt x="762095" y="146352"/>
                    <a:pt x="766906" y="153239"/>
                    <a:pt x="769911" y="160997"/>
                  </a:cubicBezTo>
                  <a:cubicBezTo>
                    <a:pt x="773039" y="168755"/>
                    <a:pt x="774600" y="176975"/>
                    <a:pt x="774600" y="185661"/>
                  </a:cubicBezTo>
                  <a:cubicBezTo>
                    <a:pt x="774600" y="197471"/>
                    <a:pt x="772470" y="208006"/>
                    <a:pt x="768175" y="217271"/>
                  </a:cubicBezTo>
                  <a:cubicBezTo>
                    <a:pt x="764016" y="226420"/>
                    <a:pt x="758044" y="234178"/>
                    <a:pt x="750296" y="240545"/>
                  </a:cubicBezTo>
                  <a:cubicBezTo>
                    <a:pt x="742533" y="246911"/>
                    <a:pt x="733447" y="251717"/>
                    <a:pt x="723024" y="254961"/>
                  </a:cubicBezTo>
                  <a:cubicBezTo>
                    <a:pt x="712718" y="258205"/>
                    <a:pt x="701487" y="259825"/>
                    <a:pt x="689328" y="259825"/>
                  </a:cubicBezTo>
                  <a:cubicBezTo>
                    <a:pt x="678457" y="259825"/>
                    <a:pt x="668029" y="258322"/>
                    <a:pt x="658068" y="255311"/>
                  </a:cubicBezTo>
                  <a:cubicBezTo>
                    <a:pt x="648107" y="252300"/>
                    <a:pt x="639192" y="247845"/>
                    <a:pt x="631327" y="241940"/>
                  </a:cubicBezTo>
                  <a:cubicBezTo>
                    <a:pt x="623443" y="235919"/>
                    <a:pt x="617193" y="228453"/>
                    <a:pt x="612572" y="219538"/>
                  </a:cubicBezTo>
                  <a:cubicBezTo>
                    <a:pt x="608054" y="210506"/>
                    <a:pt x="605787" y="200087"/>
                    <a:pt x="605787" y="188273"/>
                  </a:cubicBezTo>
                  <a:lnTo>
                    <a:pt x="647640" y="188273"/>
                  </a:lnTo>
                  <a:cubicBezTo>
                    <a:pt x="647640" y="195802"/>
                    <a:pt x="649377" y="202456"/>
                    <a:pt x="652859" y="208249"/>
                  </a:cubicBezTo>
                  <a:cubicBezTo>
                    <a:pt x="656449" y="213920"/>
                    <a:pt x="661429" y="218380"/>
                    <a:pt x="667786" y="221619"/>
                  </a:cubicBezTo>
                  <a:cubicBezTo>
                    <a:pt x="674279" y="224864"/>
                    <a:pt x="681682" y="226483"/>
                    <a:pt x="690028" y="226483"/>
                  </a:cubicBezTo>
                  <a:cubicBezTo>
                    <a:pt x="698822" y="226483"/>
                    <a:pt x="706415" y="224922"/>
                    <a:pt x="712767" y="221795"/>
                  </a:cubicBezTo>
                  <a:cubicBezTo>
                    <a:pt x="719138" y="218667"/>
                    <a:pt x="723997" y="214037"/>
                    <a:pt x="727363" y="207899"/>
                  </a:cubicBezTo>
                  <a:cubicBezTo>
                    <a:pt x="730831" y="201761"/>
                    <a:pt x="732567" y="194353"/>
                    <a:pt x="732567" y="185671"/>
                  </a:cubicBezTo>
                  <a:cubicBezTo>
                    <a:pt x="732567" y="175827"/>
                    <a:pt x="730660" y="167840"/>
                    <a:pt x="726847" y="161702"/>
                  </a:cubicBezTo>
                  <a:cubicBezTo>
                    <a:pt x="723019" y="155564"/>
                    <a:pt x="717572" y="151050"/>
                    <a:pt x="710515" y="148157"/>
                  </a:cubicBezTo>
                  <a:cubicBezTo>
                    <a:pt x="703457" y="145146"/>
                    <a:pt x="695111" y="143643"/>
                    <a:pt x="685510" y="143643"/>
                  </a:cubicBezTo>
                  <a:lnTo>
                    <a:pt x="660505" y="143643"/>
                  </a:lnTo>
                  <a:close/>
                </a:path>
              </a:pathLst>
            </a:custGeom>
            <a:solidFill>
              <a:schemeClr val="tx1"/>
            </a:solidFill>
            <a:ln w="4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pic>
        <p:nvPicPr>
          <p:cNvPr id="389" name="Рисунок 388">
            <a:extLst>
              <a:ext uri="{FF2B5EF4-FFF2-40B4-BE49-F238E27FC236}">
                <a16:creationId xmlns:a16="http://schemas.microsoft.com/office/drawing/2014/main" id="{B78B384F-F3A2-4E10-8405-6E2FAB593BD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03721" y="6049020"/>
            <a:ext cx="1688608" cy="472507"/>
          </a:xfrm>
          <a:prstGeom prst="rect">
            <a:avLst/>
          </a:prstGeom>
        </p:spPr>
      </p:pic>
      <p:grpSp>
        <p:nvGrpSpPr>
          <p:cNvPr id="2" name="Группа 1">
            <a:extLst>
              <a:ext uri="{FF2B5EF4-FFF2-40B4-BE49-F238E27FC236}">
                <a16:creationId xmlns:a16="http://schemas.microsoft.com/office/drawing/2014/main" id="{42918885-DC3C-425A-B583-A334D23EBD04}"/>
              </a:ext>
            </a:extLst>
          </p:cNvPr>
          <p:cNvGrpSpPr/>
          <p:nvPr/>
        </p:nvGrpSpPr>
        <p:grpSpPr>
          <a:xfrm>
            <a:off x="838784" y="2028337"/>
            <a:ext cx="3166090" cy="2801326"/>
            <a:chOff x="838784" y="2028337"/>
            <a:chExt cx="3166090" cy="2801326"/>
          </a:xfrm>
        </p:grpSpPr>
        <p:sp>
          <p:nvSpPr>
            <p:cNvPr id="31" name="Shape_фон">
              <a:extLst>
                <a:ext uri="{FF2B5EF4-FFF2-40B4-BE49-F238E27FC236}">
                  <a16:creationId xmlns:a16="http://schemas.microsoft.com/office/drawing/2014/main" id="{BB03D6B7-BF89-4805-9BF0-98D134C0B5AF}"/>
                </a:ext>
              </a:extLst>
            </p:cNvPr>
            <p:cNvSpPr/>
            <p:nvPr/>
          </p:nvSpPr>
          <p:spPr>
            <a:xfrm>
              <a:off x="838784" y="2028337"/>
              <a:ext cx="3166090" cy="2801326"/>
            </a:xfrm>
            <a:prstGeom prst="roundRect">
              <a:avLst>
                <a:gd name="adj" fmla="val 8571"/>
              </a:avLst>
            </a:prstGeom>
            <a:solidFill>
              <a:schemeClr val="bg1"/>
            </a:solidFill>
            <a:ln w="12700" cap="flat">
              <a:noFill/>
              <a:prstDash val="solid"/>
              <a:miter/>
            </a:ln>
            <a:effectLst>
              <a:outerShdw blurRad="1003300" sx="102000" sy="102000" algn="ctr" rotWithShape="0">
                <a:schemeClr val="tx1">
                  <a:alpha val="20000"/>
                </a:schemeClr>
              </a:outerShdw>
            </a:effectLst>
          </p:spPr>
          <p:txBody>
            <a:bodyPr lIns="0" tIns="0" rIns="0" bIns="0" anchor="ctr"/>
            <a:lstStyle/>
            <a:p>
              <a:pPr marL="0" marR="0" lvl="0" indent="0" algn="ctr" defTabSz="309563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itchFamily="2" charset="0"/>
                <a:ea typeface="Roboto" pitchFamily="2" charset="0"/>
                <a:cs typeface="Poppins Bold"/>
                <a:sym typeface="Poppins Bold"/>
              </a:endParaRPr>
            </a:p>
          </p:txBody>
        </p:sp>
        <p:sp>
          <p:nvSpPr>
            <p:cNvPr id="37" name="Заголовок">
              <a:extLst>
                <a:ext uri="{FF2B5EF4-FFF2-40B4-BE49-F238E27FC236}">
                  <a16:creationId xmlns:a16="http://schemas.microsoft.com/office/drawing/2014/main" id="{E6A8F930-56C4-43BC-B6E6-B3F52C65F3E5}"/>
                </a:ext>
              </a:extLst>
            </p:cNvPr>
            <p:cNvSpPr txBox="1"/>
            <p:nvPr/>
          </p:nvSpPr>
          <p:spPr>
            <a:xfrm>
              <a:off x="1281249" y="2429688"/>
              <a:ext cx="2281161" cy="132343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8000" dirty="0">
                  <a:solidFill>
                    <a:schemeClr val="bg2"/>
                  </a:solidFill>
                  <a:latin typeface="SB Sans Text Medium" panose="020B0603040504020204" pitchFamily="34" charset="-52"/>
                  <a:ea typeface="Roboto" pitchFamily="2" charset="0"/>
                  <a:cs typeface="SB Sans Text Medium" panose="020B0603040504020204" pitchFamily="34" charset="-52"/>
                </a:rPr>
                <a:t>&gt;21</a:t>
              </a:r>
              <a:endParaRPr lang="ru-RU" sz="8000" dirty="0">
                <a:solidFill>
                  <a:schemeClr val="bg2"/>
                </a:solidFill>
                <a:latin typeface="SB Sans Text Medium" panose="020B0603040504020204" pitchFamily="34" charset="-52"/>
                <a:ea typeface="Roboto" pitchFamily="2" charset="0"/>
                <a:cs typeface="SB Sans Text Medium" panose="020B0603040504020204" pitchFamily="34" charset="-52"/>
              </a:endParaRPr>
            </a:p>
          </p:txBody>
        </p:sp>
        <p:sp>
          <p:nvSpPr>
            <p:cNvPr id="38" name="Motion design">
              <a:extLst>
                <a:ext uri="{FF2B5EF4-FFF2-40B4-BE49-F238E27FC236}">
                  <a16:creationId xmlns:a16="http://schemas.microsoft.com/office/drawing/2014/main" id="{DA93684F-37BE-48D7-AD10-22B5F35451C6}"/>
                </a:ext>
              </a:extLst>
            </p:cNvPr>
            <p:cNvSpPr txBox="1"/>
            <p:nvPr/>
          </p:nvSpPr>
          <p:spPr>
            <a:xfrm>
              <a:off x="1311727" y="3882477"/>
              <a:ext cx="2220204" cy="611449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</a:ext>
            </a:extLst>
          </p:spPr>
          <p:txBody>
            <a:bodyPr wrap="square" lIns="0" tIns="0" rIns="0" bIns="0" anchor="ctr">
              <a:spAutoFit/>
            </a:bodyPr>
            <a:lstStyle>
              <a:lvl1pPr>
                <a:lnSpc>
                  <a:spcPct val="130000"/>
                </a:lnSpc>
                <a:defRPr sz="3000">
                  <a:latin typeface="+mn-lt"/>
                  <a:ea typeface="+mn-ea"/>
                  <a:cs typeface="+mn-cs"/>
                  <a:sym typeface="Poppins SemiBold"/>
                </a:defRPr>
              </a:lvl1pPr>
            </a:lstStyle>
            <a:p>
              <a:pPr algn="ctr" defTabSz="309563" hangingPunct="0">
                <a:buClrTx/>
                <a:defRPr/>
              </a:pPr>
              <a:r>
                <a:rPr lang="ru-RU" sz="1600" dirty="0">
                  <a:solidFill>
                    <a:srgbClr val="0D0D0D"/>
                  </a:solidFill>
                  <a:latin typeface="SB Sans Text Light" panose="020B0303040504020204" pitchFamily="34" charset="-52"/>
                  <a:ea typeface="Roboto Light" panose="02000000000000000000" pitchFamily="2" charset="0"/>
                  <a:cs typeface="SB Sans Text Light" panose="020B0303040504020204" pitchFamily="34" charset="-52"/>
                </a:rPr>
                <a:t>млн исторических записей</a:t>
              </a:r>
            </a:p>
          </p:txBody>
        </p:sp>
      </p:grpSp>
      <p:grpSp>
        <p:nvGrpSpPr>
          <p:cNvPr id="6" name="Группа 5">
            <a:extLst>
              <a:ext uri="{FF2B5EF4-FFF2-40B4-BE49-F238E27FC236}">
                <a16:creationId xmlns:a16="http://schemas.microsoft.com/office/drawing/2014/main" id="{B46ECB4F-CA48-49C8-9D11-094380DC46D2}"/>
              </a:ext>
            </a:extLst>
          </p:cNvPr>
          <p:cNvGrpSpPr/>
          <p:nvPr/>
        </p:nvGrpSpPr>
        <p:grpSpPr>
          <a:xfrm>
            <a:off x="4530523" y="2028337"/>
            <a:ext cx="3166090" cy="2801326"/>
            <a:chOff x="4530523" y="2028337"/>
            <a:chExt cx="3166090" cy="2801326"/>
          </a:xfrm>
        </p:grpSpPr>
        <p:sp>
          <p:nvSpPr>
            <p:cNvPr id="33" name="Shape_фон">
              <a:extLst>
                <a:ext uri="{FF2B5EF4-FFF2-40B4-BE49-F238E27FC236}">
                  <a16:creationId xmlns:a16="http://schemas.microsoft.com/office/drawing/2014/main" id="{CD095046-E8CC-484B-AEA1-2CAEDE3282EF}"/>
                </a:ext>
              </a:extLst>
            </p:cNvPr>
            <p:cNvSpPr/>
            <p:nvPr/>
          </p:nvSpPr>
          <p:spPr>
            <a:xfrm>
              <a:off x="4530523" y="2028337"/>
              <a:ext cx="3166090" cy="2801326"/>
            </a:xfrm>
            <a:prstGeom prst="roundRect">
              <a:avLst>
                <a:gd name="adj" fmla="val 8571"/>
              </a:avLst>
            </a:prstGeom>
            <a:solidFill>
              <a:schemeClr val="bg1"/>
            </a:solidFill>
            <a:ln w="12700" cap="flat">
              <a:noFill/>
              <a:prstDash val="solid"/>
              <a:miter/>
            </a:ln>
            <a:effectLst>
              <a:outerShdw blurRad="1003300" sx="102000" sy="102000" algn="ctr" rotWithShape="0">
                <a:schemeClr val="tx1">
                  <a:alpha val="20000"/>
                </a:schemeClr>
              </a:outerShdw>
            </a:effectLst>
          </p:spPr>
          <p:txBody>
            <a:bodyPr lIns="0" tIns="0" rIns="0" bIns="0" anchor="ctr"/>
            <a:lstStyle/>
            <a:p>
              <a:pPr marL="0" marR="0" lvl="0" indent="0" algn="ctr" defTabSz="309563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itchFamily="2" charset="0"/>
                <a:ea typeface="Roboto" pitchFamily="2" charset="0"/>
                <a:cs typeface="Poppins Bold"/>
                <a:sym typeface="Poppins Bold"/>
              </a:endParaRPr>
            </a:p>
          </p:txBody>
        </p:sp>
        <p:sp>
          <p:nvSpPr>
            <p:cNvPr id="39" name="Заголовок">
              <a:extLst>
                <a:ext uri="{FF2B5EF4-FFF2-40B4-BE49-F238E27FC236}">
                  <a16:creationId xmlns:a16="http://schemas.microsoft.com/office/drawing/2014/main" id="{1C0C9BDF-E390-4B3D-A681-881B94924572}"/>
                </a:ext>
              </a:extLst>
            </p:cNvPr>
            <p:cNvSpPr txBox="1"/>
            <p:nvPr/>
          </p:nvSpPr>
          <p:spPr>
            <a:xfrm>
              <a:off x="4767079" y="2429688"/>
              <a:ext cx="2692979" cy="132343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8000" dirty="0">
                  <a:solidFill>
                    <a:schemeClr val="bg2"/>
                  </a:solidFill>
                  <a:latin typeface="SB Sans Text Medium" panose="020B0603040504020204" pitchFamily="34" charset="-52"/>
                  <a:ea typeface="Roboto" pitchFamily="2" charset="0"/>
                  <a:cs typeface="SB Sans Text Medium" panose="020B0603040504020204" pitchFamily="34" charset="-52"/>
                </a:rPr>
                <a:t>10,4</a:t>
              </a:r>
              <a:endParaRPr lang="ru-RU" sz="8000" dirty="0">
                <a:solidFill>
                  <a:schemeClr val="bg2"/>
                </a:solidFill>
                <a:latin typeface="SB Sans Text Medium" panose="020B0603040504020204" pitchFamily="34" charset="-52"/>
                <a:ea typeface="Roboto" pitchFamily="2" charset="0"/>
                <a:cs typeface="SB Sans Text Medium" panose="020B0603040504020204" pitchFamily="34" charset="-52"/>
              </a:endParaRPr>
            </a:p>
          </p:txBody>
        </p:sp>
        <p:sp>
          <p:nvSpPr>
            <p:cNvPr id="40" name="Motion design">
              <a:extLst>
                <a:ext uri="{FF2B5EF4-FFF2-40B4-BE49-F238E27FC236}">
                  <a16:creationId xmlns:a16="http://schemas.microsoft.com/office/drawing/2014/main" id="{69D721E3-D26B-4853-AF00-3723F20ED0A7}"/>
                </a:ext>
              </a:extLst>
            </p:cNvPr>
            <p:cNvSpPr txBox="1"/>
            <p:nvPr/>
          </p:nvSpPr>
          <p:spPr>
            <a:xfrm>
              <a:off x="4815340" y="3882477"/>
              <a:ext cx="2596456" cy="611449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</a:ext>
            </a:extLst>
          </p:spPr>
          <p:txBody>
            <a:bodyPr wrap="square" lIns="0" tIns="0" rIns="0" bIns="0" anchor="ctr">
              <a:spAutoFit/>
            </a:bodyPr>
            <a:lstStyle>
              <a:lvl1pPr>
                <a:lnSpc>
                  <a:spcPct val="130000"/>
                </a:lnSpc>
                <a:defRPr sz="3000">
                  <a:latin typeface="+mn-lt"/>
                  <a:ea typeface="+mn-ea"/>
                  <a:cs typeface="+mn-cs"/>
                  <a:sym typeface="Poppins SemiBold"/>
                </a:defRPr>
              </a:lvl1pPr>
            </a:lstStyle>
            <a:p>
              <a:pPr algn="ctr" defTabSz="309563" hangingPunct="0">
                <a:buClrTx/>
                <a:defRPr/>
              </a:pPr>
              <a:r>
                <a:rPr lang="ru-RU" sz="1600" dirty="0">
                  <a:solidFill>
                    <a:srgbClr val="0D0D0D"/>
                  </a:solidFill>
                  <a:latin typeface="SB Sans Text Light" panose="020B0303040504020204" pitchFamily="34" charset="-52"/>
                  <a:ea typeface="Roboto Light" panose="02000000000000000000" pitchFamily="2" charset="0"/>
                  <a:cs typeface="SB Sans Text Light" panose="020B0303040504020204" pitchFamily="34" charset="-52"/>
                </a:rPr>
                <a:t>млн записей </a:t>
              </a:r>
              <a:br>
                <a:rPr lang="en-US" sz="1600" dirty="0">
                  <a:solidFill>
                    <a:srgbClr val="0D0D0D"/>
                  </a:solidFill>
                  <a:latin typeface="SB Sans Text Light" panose="020B0303040504020204" pitchFamily="34" charset="-52"/>
                  <a:ea typeface="Roboto Light" panose="02000000000000000000" pitchFamily="2" charset="0"/>
                  <a:cs typeface="SB Sans Text Light" panose="020B0303040504020204" pitchFamily="34" charset="-52"/>
                </a:rPr>
              </a:br>
              <a:r>
                <a:rPr lang="ru-RU" sz="1600" dirty="0">
                  <a:solidFill>
                    <a:srgbClr val="0D0D0D"/>
                  </a:solidFill>
                  <a:latin typeface="SB Sans Text Light" panose="020B0303040504020204" pitchFamily="34" charset="-52"/>
                  <a:ea typeface="Roboto Light" panose="02000000000000000000" pitchFamily="2" charset="0"/>
                  <a:cs typeface="SB Sans Text Light" panose="020B0303040504020204" pitchFamily="34" charset="-52"/>
                </a:rPr>
                <a:t>с активными договорами</a:t>
              </a:r>
            </a:p>
          </p:txBody>
        </p:sp>
      </p:grpSp>
      <p:grpSp>
        <p:nvGrpSpPr>
          <p:cNvPr id="7" name="Группа 6">
            <a:extLst>
              <a:ext uri="{FF2B5EF4-FFF2-40B4-BE49-F238E27FC236}">
                <a16:creationId xmlns:a16="http://schemas.microsoft.com/office/drawing/2014/main" id="{D8C231C0-3201-4AA6-83B7-853827028A76}"/>
              </a:ext>
            </a:extLst>
          </p:cNvPr>
          <p:cNvGrpSpPr/>
          <p:nvPr/>
        </p:nvGrpSpPr>
        <p:grpSpPr>
          <a:xfrm>
            <a:off x="12969637" y="2028337"/>
            <a:ext cx="3166090" cy="2801326"/>
            <a:chOff x="8187126" y="2028337"/>
            <a:chExt cx="3166090" cy="2801326"/>
          </a:xfrm>
        </p:grpSpPr>
        <p:sp>
          <p:nvSpPr>
            <p:cNvPr id="34" name="Shape_фон">
              <a:extLst>
                <a:ext uri="{FF2B5EF4-FFF2-40B4-BE49-F238E27FC236}">
                  <a16:creationId xmlns:a16="http://schemas.microsoft.com/office/drawing/2014/main" id="{1A7EE97F-685C-4CD0-813D-8E3617FA9688}"/>
                </a:ext>
              </a:extLst>
            </p:cNvPr>
            <p:cNvSpPr/>
            <p:nvPr/>
          </p:nvSpPr>
          <p:spPr>
            <a:xfrm>
              <a:off x="8187126" y="2028337"/>
              <a:ext cx="3166090" cy="2801326"/>
            </a:xfrm>
            <a:prstGeom prst="roundRect">
              <a:avLst>
                <a:gd name="adj" fmla="val 8571"/>
              </a:avLst>
            </a:prstGeom>
            <a:solidFill>
              <a:schemeClr val="bg1"/>
            </a:solidFill>
            <a:ln w="12700" cap="flat">
              <a:noFill/>
              <a:prstDash val="solid"/>
              <a:miter/>
            </a:ln>
            <a:effectLst>
              <a:outerShdw blurRad="1003300" sx="102000" sy="102000" algn="ctr" rotWithShape="0">
                <a:schemeClr val="tx1">
                  <a:alpha val="20000"/>
                </a:schemeClr>
              </a:outerShdw>
            </a:effectLst>
          </p:spPr>
          <p:txBody>
            <a:bodyPr lIns="0" tIns="0" rIns="0" bIns="0" anchor="ctr"/>
            <a:lstStyle/>
            <a:p>
              <a:pPr marL="0" marR="0" lvl="0" indent="0" algn="ctr" defTabSz="309563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itchFamily="2" charset="0"/>
                <a:ea typeface="Roboto" pitchFamily="2" charset="0"/>
                <a:cs typeface="Poppins Bold"/>
                <a:sym typeface="Poppins Bold"/>
              </a:endParaRPr>
            </a:p>
          </p:txBody>
        </p:sp>
        <p:sp>
          <p:nvSpPr>
            <p:cNvPr id="43" name="Заголовок">
              <a:extLst>
                <a:ext uri="{FF2B5EF4-FFF2-40B4-BE49-F238E27FC236}">
                  <a16:creationId xmlns:a16="http://schemas.microsoft.com/office/drawing/2014/main" id="{F19605E8-E141-4097-925F-46379DCD89D2}"/>
                </a:ext>
              </a:extLst>
            </p:cNvPr>
            <p:cNvSpPr txBox="1"/>
            <p:nvPr/>
          </p:nvSpPr>
          <p:spPr>
            <a:xfrm>
              <a:off x="8784945" y="2429688"/>
              <a:ext cx="1970453" cy="132343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ru-RU" sz="8000" dirty="0">
                  <a:solidFill>
                    <a:schemeClr val="bg2"/>
                  </a:solidFill>
                  <a:latin typeface="SB Sans Text Medium" panose="020B0603040504020204" pitchFamily="34" charset="-52"/>
                  <a:ea typeface="Roboto" pitchFamily="2" charset="0"/>
                  <a:cs typeface="SB Sans Text Medium" panose="020B0603040504020204" pitchFamily="34" charset="-52"/>
                </a:rPr>
                <a:t>8,8</a:t>
              </a:r>
            </a:p>
          </p:txBody>
        </p:sp>
        <p:sp>
          <p:nvSpPr>
            <p:cNvPr id="50" name="Motion design">
              <a:extLst>
                <a:ext uri="{FF2B5EF4-FFF2-40B4-BE49-F238E27FC236}">
                  <a16:creationId xmlns:a16="http://schemas.microsoft.com/office/drawing/2014/main" id="{C12542EF-0901-4851-ABB5-DCB55110690D}"/>
                </a:ext>
              </a:extLst>
            </p:cNvPr>
            <p:cNvSpPr txBox="1"/>
            <p:nvPr/>
          </p:nvSpPr>
          <p:spPr>
            <a:xfrm>
              <a:off x="8660069" y="3882477"/>
              <a:ext cx="2220204" cy="611449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</a:ext>
            </a:extLst>
          </p:spPr>
          <p:txBody>
            <a:bodyPr wrap="square" lIns="0" tIns="0" rIns="0" bIns="0" anchor="ctr">
              <a:spAutoFit/>
            </a:bodyPr>
            <a:lstStyle>
              <a:lvl1pPr>
                <a:lnSpc>
                  <a:spcPct val="130000"/>
                </a:lnSpc>
                <a:defRPr sz="3000">
                  <a:latin typeface="+mn-lt"/>
                  <a:ea typeface="+mn-ea"/>
                  <a:cs typeface="+mn-cs"/>
                  <a:sym typeface="Poppins SemiBold"/>
                </a:defRPr>
              </a:lvl1pPr>
            </a:lstStyle>
            <a:p>
              <a:pPr algn="ctr" defTabSz="309563" hangingPunct="0">
                <a:buClrTx/>
                <a:defRPr/>
              </a:pPr>
              <a:r>
                <a:rPr lang="ru-RU" sz="1600" dirty="0">
                  <a:solidFill>
                    <a:srgbClr val="0D0D0D"/>
                  </a:solidFill>
                  <a:latin typeface="SB Sans Text Light" panose="020B0303040504020204" pitchFamily="34" charset="-52"/>
                  <a:ea typeface="Roboto Light" panose="02000000000000000000" pitchFamily="2" charset="0"/>
                  <a:cs typeface="SB Sans Text Light" panose="020B0303040504020204" pitchFamily="34" charset="-52"/>
                </a:rPr>
                <a:t>млн активных клиентов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26797794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1250">
        <p159:morph option="byObject"/>
      </p:transition>
    </mc:Choice>
    <mc:Fallback xmlns="">
      <p:transition spd="slow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Rounded Rectangle">
            <a:extLst>
              <a:ext uri="{FF2B5EF4-FFF2-40B4-BE49-F238E27FC236}">
                <a16:creationId xmlns:a16="http://schemas.microsoft.com/office/drawing/2014/main" id="{4A1A861F-77ED-4663-9389-8E9FD44BABD1}"/>
              </a:ext>
            </a:extLst>
          </p:cNvPr>
          <p:cNvSpPr/>
          <p:nvPr/>
        </p:nvSpPr>
        <p:spPr>
          <a:xfrm>
            <a:off x="0" y="2579435"/>
            <a:ext cx="12192000" cy="1785141"/>
          </a:xfrm>
          <a:prstGeom prst="roundRect">
            <a:avLst>
              <a:gd name="adj" fmla="val 0"/>
            </a:avLst>
          </a:prstGeom>
          <a:solidFill>
            <a:schemeClr val="bg1">
              <a:alpha val="96000"/>
            </a:schemeClr>
          </a:solidFill>
          <a:ln w="12700" cap="flat">
            <a:noFill/>
            <a:prstDash val="solid"/>
            <a:miter/>
          </a:ln>
          <a:effectLst>
            <a:outerShdw blurRad="1003300" sx="102000" sy="102000" algn="ctr" rotWithShape="0">
              <a:schemeClr val="tx1">
                <a:alpha val="20000"/>
              </a:schemeClr>
            </a:outerShdw>
          </a:effectLst>
        </p:spPr>
        <p:txBody>
          <a:bodyPr lIns="0" tIns="0" rIns="0" bIns="0" anchor="ctr"/>
          <a:lstStyle/>
          <a:p>
            <a:pPr marL="0" marR="0" lvl="0" indent="0" algn="ctr" defTabSz="309563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" pitchFamily="2" charset="0"/>
              <a:ea typeface="Roboto" pitchFamily="2" charset="0"/>
              <a:cs typeface="Poppins Bold"/>
              <a:sym typeface="Poppins Bold"/>
            </a:endParaRPr>
          </a:p>
        </p:txBody>
      </p:sp>
      <p:sp>
        <p:nvSpPr>
          <p:cNvPr id="41" name="Заголовок">
            <a:extLst>
              <a:ext uri="{FF2B5EF4-FFF2-40B4-BE49-F238E27FC236}">
                <a16:creationId xmlns:a16="http://schemas.microsoft.com/office/drawing/2014/main" id="{C2DC1C9A-4F65-42B1-86E3-6E4D91075984}"/>
              </a:ext>
            </a:extLst>
          </p:cNvPr>
          <p:cNvSpPr txBox="1"/>
          <p:nvPr/>
        </p:nvSpPr>
        <p:spPr>
          <a:xfrm>
            <a:off x="507067" y="376044"/>
            <a:ext cx="5192693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4400" dirty="0">
                <a:solidFill>
                  <a:srgbClr val="0D0D0D">
                    <a:lumMod val="75000"/>
                    <a:lumOff val="25000"/>
                  </a:srgbClr>
                </a:solidFill>
                <a:latin typeface="SB Sans Text Medium" panose="020B0603040504020204" pitchFamily="34" charset="-52"/>
                <a:ea typeface="Roboto" pitchFamily="2" charset="0"/>
                <a:cs typeface="SB Sans Text Medium" panose="020B0603040504020204" pitchFamily="34" charset="-52"/>
              </a:rPr>
              <a:t>А теперь цифры</a:t>
            </a:r>
          </a:p>
        </p:txBody>
      </p:sp>
      <p:grpSp>
        <p:nvGrpSpPr>
          <p:cNvPr id="42" name="CDIConf_Black">
            <a:extLst>
              <a:ext uri="{FF2B5EF4-FFF2-40B4-BE49-F238E27FC236}">
                <a16:creationId xmlns:a16="http://schemas.microsoft.com/office/drawing/2014/main" id="{F3F1710A-CB9B-4080-B969-0477C48F22E5}"/>
              </a:ext>
            </a:extLst>
          </p:cNvPr>
          <p:cNvGrpSpPr/>
          <p:nvPr/>
        </p:nvGrpSpPr>
        <p:grpSpPr>
          <a:xfrm>
            <a:off x="9284984" y="6140223"/>
            <a:ext cx="2270483" cy="296171"/>
            <a:chOff x="7406975" y="5855999"/>
            <a:chExt cx="2270483" cy="296171"/>
          </a:xfrm>
        </p:grpSpPr>
        <p:sp>
          <p:nvSpPr>
            <p:cNvPr id="45" name="Полилиния: фигура 44">
              <a:extLst>
                <a:ext uri="{FF2B5EF4-FFF2-40B4-BE49-F238E27FC236}">
                  <a16:creationId xmlns:a16="http://schemas.microsoft.com/office/drawing/2014/main" id="{13A11B35-F320-4F31-908D-85B2D024FD4B}"/>
                </a:ext>
              </a:extLst>
            </p:cNvPr>
            <p:cNvSpPr/>
            <p:nvPr/>
          </p:nvSpPr>
          <p:spPr>
            <a:xfrm>
              <a:off x="7406975" y="5878280"/>
              <a:ext cx="1394458" cy="273890"/>
            </a:xfrm>
            <a:custGeom>
              <a:avLst/>
              <a:gdLst>
                <a:gd name="connsiteX0" fmla="*/ 157354 w 1394458"/>
                <a:gd name="connsiteY0" fmla="*/ 188093 h 273890"/>
                <a:gd name="connsiteX1" fmla="*/ 200773 w 1394458"/>
                <a:gd name="connsiteY1" fmla="*/ 188093 h 273890"/>
                <a:gd name="connsiteX2" fmla="*/ 186877 w 1394458"/>
                <a:gd name="connsiteY2" fmla="*/ 232383 h 273890"/>
                <a:gd name="connsiteX3" fmla="*/ 153706 w 1394458"/>
                <a:gd name="connsiteY3" fmla="*/ 262777 h 273890"/>
                <a:gd name="connsiteX4" fmla="*/ 101775 w 1394458"/>
                <a:gd name="connsiteY4" fmla="*/ 273891 h 273890"/>
                <a:gd name="connsiteX5" fmla="*/ 59572 w 1394458"/>
                <a:gd name="connsiteY5" fmla="*/ 265554 h 273890"/>
                <a:gd name="connsiteX6" fmla="*/ 27442 w 1394458"/>
                <a:gd name="connsiteY6" fmla="*/ 241585 h 273890"/>
                <a:gd name="connsiteX7" fmla="*/ 6950 w 1394458"/>
                <a:gd name="connsiteY7" fmla="*/ 203896 h 273890"/>
                <a:gd name="connsiteX8" fmla="*/ 0 w 1394458"/>
                <a:gd name="connsiteY8" fmla="*/ 154577 h 273890"/>
                <a:gd name="connsiteX9" fmla="*/ 0 w 1394458"/>
                <a:gd name="connsiteY9" fmla="*/ 133560 h 273890"/>
                <a:gd name="connsiteX10" fmla="*/ 7121 w 1394458"/>
                <a:gd name="connsiteY10" fmla="*/ 84236 h 273890"/>
                <a:gd name="connsiteX11" fmla="*/ 27962 w 1394458"/>
                <a:gd name="connsiteY11" fmla="*/ 46552 h 273890"/>
                <a:gd name="connsiteX12" fmla="*/ 60438 w 1394458"/>
                <a:gd name="connsiteY12" fmla="*/ 22408 h 273890"/>
                <a:gd name="connsiteX13" fmla="*/ 103336 w 1394458"/>
                <a:gd name="connsiteY13" fmla="*/ 14071 h 273890"/>
                <a:gd name="connsiteX14" fmla="*/ 154397 w 1394458"/>
                <a:gd name="connsiteY14" fmla="*/ 25185 h 273890"/>
                <a:gd name="connsiteX15" fmla="*/ 186702 w 1394458"/>
                <a:gd name="connsiteY15" fmla="*/ 55924 h 273890"/>
                <a:gd name="connsiteX16" fmla="*/ 200943 w 1394458"/>
                <a:gd name="connsiteY16" fmla="*/ 100905 h 273890"/>
                <a:gd name="connsiteX17" fmla="*/ 157524 w 1394458"/>
                <a:gd name="connsiteY17" fmla="*/ 100905 h 273890"/>
                <a:gd name="connsiteX18" fmla="*/ 149883 w 1394458"/>
                <a:gd name="connsiteY18" fmla="*/ 72943 h 273890"/>
                <a:gd name="connsiteX19" fmla="*/ 132865 w 1394458"/>
                <a:gd name="connsiteY19" fmla="*/ 55229 h 273890"/>
                <a:gd name="connsiteX20" fmla="*/ 103341 w 1394458"/>
                <a:gd name="connsiteY20" fmla="*/ 48974 h 273890"/>
                <a:gd name="connsiteX21" fmla="*/ 77291 w 1394458"/>
                <a:gd name="connsiteY21" fmla="*/ 54533 h 273890"/>
                <a:gd name="connsiteX22" fmla="*/ 58706 w 1394458"/>
                <a:gd name="connsiteY22" fmla="*/ 70861 h 273890"/>
                <a:gd name="connsiteX23" fmla="*/ 47417 w 1394458"/>
                <a:gd name="connsiteY23" fmla="*/ 97432 h 273890"/>
                <a:gd name="connsiteX24" fmla="*/ 43769 w 1394458"/>
                <a:gd name="connsiteY24" fmla="*/ 133210 h 273890"/>
                <a:gd name="connsiteX25" fmla="*/ 43769 w 1394458"/>
                <a:gd name="connsiteY25" fmla="*/ 154572 h 273890"/>
                <a:gd name="connsiteX26" fmla="*/ 47067 w 1394458"/>
                <a:gd name="connsiteY26" fmla="*/ 189304 h 273890"/>
                <a:gd name="connsiteX27" fmla="*/ 57490 w 1394458"/>
                <a:gd name="connsiteY27" fmla="*/ 215875 h 273890"/>
                <a:gd name="connsiteX28" fmla="*/ 75550 w 1394458"/>
                <a:gd name="connsiteY28" fmla="*/ 233069 h 273890"/>
                <a:gd name="connsiteX29" fmla="*/ 101775 w 1394458"/>
                <a:gd name="connsiteY29" fmla="*/ 239149 h 273890"/>
                <a:gd name="connsiteX30" fmla="*/ 131824 w 1394458"/>
                <a:gd name="connsiteY30" fmla="*/ 233244 h 273890"/>
                <a:gd name="connsiteX31" fmla="*/ 149363 w 1394458"/>
                <a:gd name="connsiteY31" fmla="*/ 216050 h 273890"/>
                <a:gd name="connsiteX32" fmla="*/ 157354 w 1394458"/>
                <a:gd name="connsiteY32" fmla="*/ 188088 h 273890"/>
                <a:gd name="connsiteX33" fmla="*/ 313837 w 1394458"/>
                <a:gd name="connsiteY33" fmla="*/ 270418 h 273890"/>
                <a:gd name="connsiteX34" fmla="*/ 259825 w 1394458"/>
                <a:gd name="connsiteY34" fmla="*/ 270418 h 273890"/>
                <a:gd name="connsiteX35" fmla="*/ 260170 w 1394458"/>
                <a:gd name="connsiteY35" fmla="*/ 235856 h 273890"/>
                <a:gd name="connsiteX36" fmla="*/ 313837 w 1394458"/>
                <a:gd name="connsiteY36" fmla="*/ 235856 h 273890"/>
                <a:gd name="connsiteX37" fmla="*/ 353088 w 1394458"/>
                <a:gd name="connsiteY37" fmla="*/ 225608 h 273890"/>
                <a:gd name="connsiteX38" fmla="*/ 377057 w 1394458"/>
                <a:gd name="connsiteY38" fmla="*/ 196255 h 273890"/>
                <a:gd name="connsiteX39" fmla="*/ 385218 w 1394458"/>
                <a:gd name="connsiteY39" fmla="*/ 150754 h 273890"/>
                <a:gd name="connsiteX40" fmla="*/ 385218 w 1394458"/>
                <a:gd name="connsiteY40" fmla="*/ 137033 h 273890"/>
                <a:gd name="connsiteX41" fmla="*/ 380530 w 1394458"/>
                <a:gd name="connsiteY41" fmla="*/ 100734 h 273890"/>
                <a:gd name="connsiteX42" fmla="*/ 366984 w 1394458"/>
                <a:gd name="connsiteY42" fmla="*/ 74163 h 273890"/>
                <a:gd name="connsiteX43" fmla="*/ 345102 w 1394458"/>
                <a:gd name="connsiteY43" fmla="*/ 57840 h 273890"/>
                <a:gd name="connsiteX44" fmla="*/ 315403 w 1394458"/>
                <a:gd name="connsiteY44" fmla="*/ 52281 h 273890"/>
                <a:gd name="connsiteX45" fmla="*/ 258784 w 1394458"/>
                <a:gd name="connsiteY45" fmla="*/ 52281 h 273890"/>
                <a:gd name="connsiteX46" fmla="*/ 258784 w 1394458"/>
                <a:gd name="connsiteY46" fmla="*/ 17544 h 273890"/>
                <a:gd name="connsiteX47" fmla="*/ 315403 w 1394458"/>
                <a:gd name="connsiteY47" fmla="*/ 17544 h 273890"/>
                <a:gd name="connsiteX48" fmla="*/ 361429 w 1394458"/>
                <a:gd name="connsiteY48" fmla="*/ 26055 h 273890"/>
                <a:gd name="connsiteX49" fmla="*/ 397383 w 1394458"/>
                <a:gd name="connsiteY49" fmla="*/ 50195 h 273890"/>
                <a:gd name="connsiteX50" fmla="*/ 420826 w 1394458"/>
                <a:gd name="connsiteY50" fmla="*/ 88054 h 273890"/>
                <a:gd name="connsiteX51" fmla="*/ 428988 w 1394458"/>
                <a:gd name="connsiteY51" fmla="*/ 137378 h 273890"/>
                <a:gd name="connsiteX52" fmla="*/ 428988 w 1394458"/>
                <a:gd name="connsiteY52" fmla="*/ 150754 h 273890"/>
                <a:gd name="connsiteX53" fmla="*/ 420826 w 1394458"/>
                <a:gd name="connsiteY53" fmla="*/ 200078 h 273890"/>
                <a:gd name="connsiteX54" fmla="*/ 397383 w 1394458"/>
                <a:gd name="connsiteY54" fmla="*/ 237938 h 273890"/>
                <a:gd name="connsiteX55" fmla="*/ 360909 w 1394458"/>
                <a:gd name="connsiteY55" fmla="*/ 262077 h 273890"/>
                <a:gd name="connsiteX56" fmla="*/ 313842 w 1394458"/>
                <a:gd name="connsiteY56" fmla="*/ 270413 h 273890"/>
                <a:gd name="connsiteX57" fmla="*/ 283964 w 1394458"/>
                <a:gd name="connsiteY57" fmla="*/ 17544 h 273890"/>
                <a:gd name="connsiteX58" fmla="*/ 283964 w 1394458"/>
                <a:gd name="connsiteY58" fmla="*/ 270418 h 273890"/>
                <a:gd name="connsiteX59" fmla="*/ 240369 w 1394458"/>
                <a:gd name="connsiteY59" fmla="*/ 270418 h 273890"/>
                <a:gd name="connsiteX60" fmla="*/ 240369 w 1394458"/>
                <a:gd name="connsiteY60" fmla="*/ 17544 h 273890"/>
                <a:gd name="connsiteX61" fmla="*/ 283964 w 1394458"/>
                <a:gd name="connsiteY61" fmla="*/ 17544 h 273890"/>
                <a:gd name="connsiteX62" fmla="*/ 519299 w 1394458"/>
                <a:gd name="connsiteY62" fmla="*/ 17544 h 273890"/>
                <a:gd name="connsiteX63" fmla="*/ 519299 w 1394458"/>
                <a:gd name="connsiteY63" fmla="*/ 270418 h 273890"/>
                <a:gd name="connsiteX64" fmla="*/ 475705 w 1394458"/>
                <a:gd name="connsiteY64" fmla="*/ 270418 h 273890"/>
                <a:gd name="connsiteX65" fmla="*/ 475705 w 1394458"/>
                <a:gd name="connsiteY65" fmla="*/ 17544 h 273890"/>
                <a:gd name="connsiteX66" fmla="*/ 519299 w 1394458"/>
                <a:gd name="connsiteY66" fmla="*/ 17544 h 273890"/>
                <a:gd name="connsiteX67" fmla="*/ 811424 w 1394458"/>
                <a:gd name="connsiteY67" fmla="*/ 188093 h 273890"/>
                <a:gd name="connsiteX68" fmla="*/ 854843 w 1394458"/>
                <a:gd name="connsiteY68" fmla="*/ 188093 h 273890"/>
                <a:gd name="connsiteX69" fmla="*/ 840947 w 1394458"/>
                <a:gd name="connsiteY69" fmla="*/ 232383 h 273890"/>
                <a:gd name="connsiteX70" fmla="*/ 807776 w 1394458"/>
                <a:gd name="connsiteY70" fmla="*/ 262777 h 273890"/>
                <a:gd name="connsiteX71" fmla="*/ 755845 w 1394458"/>
                <a:gd name="connsiteY71" fmla="*/ 273891 h 273890"/>
                <a:gd name="connsiteX72" fmla="*/ 713642 w 1394458"/>
                <a:gd name="connsiteY72" fmla="*/ 265554 h 273890"/>
                <a:gd name="connsiteX73" fmla="*/ 681512 w 1394458"/>
                <a:gd name="connsiteY73" fmla="*/ 241585 h 273890"/>
                <a:gd name="connsiteX74" fmla="*/ 661021 w 1394458"/>
                <a:gd name="connsiteY74" fmla="*/ 203896 h 273890"/>
                <a:gd name="connsiteX75" fmla="*/ 654075 w 1394458"/>
                <a:gd name="connsiteY75" fmla="*/ 154572 h 273890"/>
                <a:gd name="connsiteX76" fmla="*/ 654075 w 1394458"/>
                <a:gd name="connsiteY76" fmla="*/ 133555 h 273890"/>
                <a:gd name="connsiteX77" fmla="*/ 661196 w 1394458"/>
                <a:gd name="connsiteY77" fmla="*/ 84231 h 273890"/>
                <a:gd name="connsiteX78" fmla="*/ 682037 w 1394458"/>
                <a:gd name="connsiteY78" fmla="*/ 46547 h 273890"/>
                <a:gd name="connsiteX79" fmla="*/ 714513 w 1394458"/>
                <a:gd name="connsiteY79" fmla="*/ 22403 h 273890"/>
                <a:gd name="connsiteX80" fmla="*/ 757411 w 1394458"/>
                <a:gd name="connsiteY80" fmla="*/ 14066 h 273890"/>
                <a:gd name="connsiteX81" fmla="*/ 808472 w 1394458"/>
                <a:gd name="connsiteY81" fmla="*/ 25180 h 273890"/>
                <a:gd name="connsiteX82" fmla="*/ 840777 w 1394458"/>
                <a:gd name="connsiteY82" fmla="*/ 55919 h 273890"/>
                <a:gd name="connsiteX83" fmla="*/ 855018 w 1394458"/>
                <a:gd name="connsiteY83" fmla="*/ 100900 h 273890"/>
                <a:gd name="connsiteX84" fmla="*/ 811599 w 1394458"/>
                <a:gd name="connsiteY84" fmla="*/ 100900 h 273890"/>
                <a:gd name="connsiteX85" fmla="*/ 803958 w 1394458"/>
                <a:gd name="connsiteY85" fmla="*/ 72938 h 273890"/>
                <a:gd name="connsiteX86" fmla="*/ 786940 w 1394458"/>
                <a:gd name="connsiteY86" fmla="*/ 55224 h 273890"/>
                <a:gd name="connsiteX87" fmla="*/ 757416 w 1394458"/>
                <a:gd name="connsiteY87" fmla="*/ 48969 h 273890"/>
                <a:gd name="connsiteX88" fmla="*/ 731366 w 1394458"/>
                <a:gd name="connsiteY88" fmla="*/ 54528 h 273890"/>
                <a:gd name="connsiteX89" fmla="*/ 712781 w 1394458"/>
                <a:gd name="connsiteY89" fmla="*/ 70856 h 273890"/>
                <a:gd name="connsiteX90" fmla="*/ 701492 w 1394458"/>
                <a:gd name="connsiteY90" fmla="*/ 97427 h 273890"/>
                <a:gd name="connsiteX91" fmla="*/ 697844 w 1394458"/>
                <a:gd name="connsiteY91" fmla="*/ 133205 h 273890"/>
                <a:gd name="connsiteX92" fmla="*/ 697844 w 1394458"/>
                <a:gd name="connsiteY92" fmla="*/ 154567 h 273890"/>
                <a:gd name="connsiteX93" fmla="*/ 701142 w 1394458"/>
                <a:gd name="connsiteY93" fmla="*/ 189299 h 273890"/>
                <a:gd name="connsiteX94" fmla="*/ 711565 w 1394458"/>
                <a:gd name="connsiteY94" fmla="*/ 215870 h 273890"/>
                <a:gd name="connsiteX95" fmla="*/ 729629 w 1394458"/>
                <a:gd name="connsiteY95" fmla="*/ 233064 h 273890"/>
                <a:gd name="connsiteX96" fmla="*/ 755855 w 1394458"/>
                <a:gd name="connsiteY96" fmla="*/ 239144 h 273890"/>
                <a:gd name="connsiteX97" fmla="*/ 785904 w 1394458"/>
                <a:gd name="connsiteY97" fmla="*/ 233239 h 273890"/>
                <a:gd name="connsiteX98" fmla="*/ 803443 w 1394458"/>
                <a:gd name="connsiteY98" fmla="*/ 216046 h 273890"/>
                <a:gd name="connsiteX99" fmla="*/ 811434 w 1394458"/>
                <a:gd name="connsiteY99" fmla="*/ 188084 h 273890"/>
                <a:gd name="connsiteX100" fmla="*/ 882285 w 1394458"/>
                <a:gd name="connsiteY100" fmla="*/ 178541 h 273890"/>
                <a:gd name="connsiteX101" fmla="*/ 882285 w 1394458"/>
                <a:gd name="connsiteY101" fmla="*/ 174548 h 273890"/>
                <a:gd name="connsiteX102" fmla="*/ 888190 w 1394458"/>
                <a:gd name="connsiteY102" fmla="*/ 136858 h 273890"/>
                <a:gd name="connsiteX103" fmla="*/ 905208 w 1394458"/>
                <a:gd name="connsiteY103" fmla="*/ 106464 h 273890"/>
                <a:gd name="connsiteX104" fmla="*/ 932650 w 1394458"/>
                <a:gd name="connsiteY104" fmla="*/ 86318 h 273890"/>
                <a:gd name="connsiteX105" fmla="*/ 969469 w 1394458"/>
                <a:gd name="connsiteY105" fmla="*/ 79022 h 273890"/>
                <a:gd name="connsiteX106" fmla="*/ 1006288 w 1394458"/>
                <a:gd name="connsiteY106" fmla="*/ 86318 h 273890"/>
                <a:gd name="connsiteX107" fmla="*/ 1033899 w 1394458"/>
                <a:gd name="connsiteY107" fmla="*/ 106464 h 273890"/>
                <a:gd name="connsiteX108" fmla="*/ 1051093 w 1394458"/>
                <a:gd name="connsiteY108" fmla="*/ 136858 h 273890"/>
                <a:gd name="connsiteX109" fmla="*/ 1056998 w 1394458"/>
                <a:gd name="connsiteY109" fmla="*/ 174548 h 273890"/>
                <a:gd name="connsiteX110" fmla="*/ 1056998 w 1394458"/>
                <a:gd name="connsiteY110" fmla="*/ 178541 h 273890"/>
                <a:gd name="connsiteX111" fmla="*/ 1051093 w 1394458"/>
                <a:gd name="connsiteY111" fmla="*/ 216230 h 273890"/>
                <a:gd name="connsiteX112" fmla="*/ 1033899 w 1394458"/>
                <a:gd name="connsiteY112" fmla="*/ 246624 h 273890"/>
                <a:gd name="connsiteX113" fmla="*/ 1006458 w 1394458"/>
                <a:gd name="connsiteY113" fmla="*/ 266770 h 273890"/>
                <a:gd name="connsiteX114" fmla="*/ 969814 w 1394458"/>
                <a:gd name="connsiteY114" fmla="*/ 273891 h 273890"/>
                <a:gd name="connsiteX115" fmla="*/ 932820 w 1394458"/>
                <a:gd name="connsiteY115" fmla="*/ 266770 h 273890"/>
                <a:gd name="connsiteX116" fmla="*/ 905378 w 1394458"/>
                <a:gd name="connsiteY116" fmla="*/ 246624 h 273890"/>
                <a:gd name="connsiteX117" fmla="*/ 888185 w 1394458"/>
                <a:gd name="connsiteY117" fmla="*/ 216230 h 273890"/>
                <a:gd name="connsiteX118" fmla="*/ 882280 w 1394458"/>
                <a:gd name="connsiteY118" fmla="*/ 178541 h 273890"/>
                <a:gd name="connsiteX119" fmla="*/ 924143 w 1394458"/>
                <a:gd name="connsiteY119" fmla="*/ 174548 h 273890"/>
                <a:gd name="connsiteX120" fmla="*/ 924143 w 1394458"/>
                <a:gd name="connsiteY120" fmla="*/ 178541 h 273890"/>
                <a:gd name="connsiteX121" fmla="*/ 926750 w 1394458"/>
                <a:gd name="connsiteY121" fmla="*/ 202510 h 273890"/>
                <a:gd name="connsiteX122" fmla="*/ 934911 w 1394458"/>
                <a:gd name="connsiteY122" fmla="*/ 222310 h 273890"/>
                <a:gd name="connsiteX123" fmla="*/ 949152 w 1394458"/>
                <a:gd name="connsiteY123" fmla="*/ 235681 h 273890"/>
                <a:gd name="connsiteX124" fmla="*/ 969819 w 1394458"/>
                <a:gd name="connsiteY124" fmla="*/ 240545 h 273890"/>
                <a:gd name="connsiteX125" fmla="*/ 989965 w 1394458"/>
                <a:gd name="connsiteY125" fmla="*/ 235681 h 273890"/>
                <a:gd name="connsiteX126" fmla="*/ 1004206 w 1394458"/>
                <a:gd name="connsiteY126" fmla="*/ 222310 h 273890"/>
                <a:gd name="connsiteX127" fmla="*/ 1012367 w 1394458"/>
                <a:gd name="connsiteY127" fmla="*/ 202510 h 273890"/>
                <a:gd name="connsiteX128" fmla="*/ 1015145 w 1394458"/>
                <a:gd name="connsiteY128" fmla="*/ 178541 h 273890"/>
                <a:gd name="connsiteX129" fmla="*/ 1015145 w 1394458"/>
                <a:gd name="connsiteY129" fmla="*/ 174548 h 273890"/>
                <a:gd name="connsiteX130" fmla="*/ 1012367 w 1394458"/>
                <a:gd name="connsiteY130" fmla="*/ 150929 h 273890"/>
                <a:gd name="connsiteX131" fmla="*/ 1004031 w 1394458"/>
                <a:gd name="connsiteY131" fmla="*/ 130958 h 273890"/>
                <a:gd name="connsiteX132" fmla="*/ 989790 w 1394458"/>
                <a:gd name="connsiteY132" fmla="*/ 117412 h 273890"/>
                <a:gd name="connsiteX133" fmla="*/ 969469 w 1394458"/>
                <a:gd name="connsiteY133" fmla="*/ 112378 h 273890"/>
                <a:gd name="connsiteX134" fmla="*/ 948977 w 1394458"/>
                <a:gd name="connsiteY134" fmla="*/ 117412 h 273890"/>
                <a:gd name="connsiteX135" fmla="*/ 934911 w 1394458"/>
                <a:gd name="connsiteY135" fmla="*/ 130958 h 273890"/>
                <a:gd name="connsiteX136" fmla="*/ 926750 w 1394458"/>
                <a:gd name="connsiteY136" fmla="*/ 150929 h 273890"/>
                <a:gd name="connsiteX137" fmla="*/ 924143 w 1394458"/>
                <a:gd name="connsiteY137" fmla="*/ 174548 h 273890"/>
                <a:gd name="connsiteX138" fmla="*/ 1133598 w 1394458"/>
                <a:gd name="connsiteY138" fmla="*/ 122617 h 273890"/>
                <a:gd name="connsiteX139" fmla="*/ 1133598 w 1394458"/>
                <a:gd name="connsiteY139" fmla="*/ 270418 h 273890"/>
                <a:gd name="connsiteX140" fmla="*/ 1091745 w 1394458"/>
                <a:gd name="connsiteY140" fmla="*/ 270418 h 273890"/>
                <a:gd name="connsiteX141" fmla="*/ 1091745 w 1394458"/>
                <a:gd name="connsiteY141" fmla="*/ 82495 h 273890"/>
                <a:gd name="connsiteX142" fmla="*/ 1131171 w 1394458"/>
                <a:gd name="connsiteY142" fmla="*/ 82495 h 273890"/>
                <a:gd name="connsiteX143" fmla="*/ 1133603 w 1394458"/>
                <a:gd name="connsiteY143" fmla="*/ 122617 h 273890"/>
                <a:gd name="connsiteX144" fmla="*/ 1126132 w 1394458"/>
                <a:gd name="connsiteY144" fmla="*/ 169509 h 273890"/>
                <a:gd name="connsiteX145" fmla="*/ 1112586 w 1394458"/>
                <a:gd name="connsiteY145" fmla="*/ 169334 h 273890"/>
                <a:gd name="connsiteX146" fmla="*/ 1118145 w 1394458"/>
                <a:gd name="connsiteY146" fmla="*/ 132690 h 273890"/>
                <a:gd name="connsiteX147" fmla="*/ 1133428 w 1394458"/>
                <a:gd name="connsiteY147" fmla="*/ 104032 h 273890"/>
                <a:gd name="connsiteX148" fmla="*/ 1157046 w 1394458"/>
                <a:gd name="connsiteY148" fmla="*/ 85623 h 273890"/>
                <a:gd name="connsiteX149" fmla="*/ 1187615 w 1394458"/>
                <a:gd name="connsiteY149" fmla="*/ 79022 h 273890"/>
                <a:gd name="connsiteX150" fmla="*/ 1212105 w 1394458"/>
                <a:gd name="connsiteY150" fmla="*/ 82840 h 273890"/>
                <a:gd name="connsiteX151" fmla="*/ 1231034 w 1394458"/>
                <a:gd name="connsiteY151" fmla="*/ 94825 h 273890"/>
                <a:gd name="connsiteX152" fmla="*/ 1243189 w 1394458"/>
                <a:gd name="connsiteY152" fmla="*/ 116532 h 273890"/>
                <a:gd name="connsiteX153" fmla="*/ 1247357 w 1394458"/>
                <a:gd name="connsiteY153" fmla="*/ 149013 h 273890"/>
                <a:gd name="connsiteX154" fmla="*/ 1247357 w 1394458"/>
                <a:gd name="connsiteY154" fmla="*/ 270413 h 273890"/>
                <a:gd name="connsiteX155" fmla="*/ 1205329 w 1394458"/>
                <a:gd name="connsiteY155" fmla="*/ 270413 h 273890"/>
                <a:gd name="connsiteX156" fmla="*/ 1205329 w 1394458"/>
                <a:gd name="connsiteY156" fmla="*/ 148837 h 273890"/>
                <a:gd name="connsiteX157" fmla="*/ 1201336 w 1394458"/>
                <a:gd name="connsiteY157" fmla="*/ 127476 h 273890"/>
                <a:gd name="connsiteX158" fmla="*/ 1190047 w 1394458"/>
                <a:gd name="connsiteY158" fmla="*/ 116187 h 273890"/>
                <a:gd name="connsiteX159" fmla="*/ 1171813 w 1394458"/>
                <a:gd name="connsiteY159" fmla="*/ 112714 h 273890"/>
                <a:gd name="connsiteX160" fmla="*/ 1152533 w 1394458"/>
                <a:gd name="connsiteY160" fmla="*/ 117228 h 273890"/>
                <a:gd name="connsiteX161" fmla="*/ 1138116 w 1394458"/>
                <a:gd name="connsiteY161" fmla="*/ 129557 h 273890"/>
                <a:gd name="connsiteX162" fmla="*/ 1129259 w 1394458"/>
                <a:gd name="connsiteY162" fmla="*/ 147621 h 273890"/>
                <a:gd name="connsiteX163" fmla="*/ 1126132 w 1394458"/>
                <a:gd name="connsiteY163" fmla="*/ 169504 h 273890"/>
                <a:gd name="connsiteX164" fmla="*/ 1346701 w 1394458"/>
                <a:gd name="connsiteY164" fmla="*/ 270418 h 273890"/>
                <a:gd name="connsiteX165" fmla="*/ 1304843 w 1394458"/>
                <a:gd name="connsiteY165" fmla="*/ 270418 h 273890"/>
                <a:gd name="connsiteX166" fmla="*/ 1304843 w 1394458"/>
                <a:gd name="connsiteY166" fmla="*/ 64436 h 273890"/>
                <a:gd name="connsiteX167" fmla="*/ 1312659 w 1394458"/>
                <a:gd name="connsiteY167" fmla="*/ 29178 h 273890"/>
                <a:gd name="connsiteX168" fmla="*/ 1335412 w 1394458"/>
                <a:gd name="connsiteY168" fmla="*/ 7471 h 273890"/>
                <a:gd name="connsiteX169" fmla="*/ 1370319 w 1394458"/>
                <a:gd name="connsiteY169" fmla="*/ 0 h 273890"/>
                <a:gd name="connsiteX170" fmla="*/ 1382649 w 1394458"/>
                <a:gd name="connsiteY170" fmla="*/ 871 h 273890"/>
                <a:gd name="connsiteX171" fmla="*/ 1394458 w 1394458"/>
                <a:gd name="connsiteY171" fmla="*/ 3127 h 273890"/>
                <a:gd name="connsiteX172" fmla="*/ 1393418 w 1394458"/>
                <a:gd name="connsiteY172" fmla="*/ 35433 h 273890"/>
                <a:gd name="connsiteX173" fmla="*/ 1385776 w 1394458"/>
                <a:gd name="connsiteY173" fmla="*/ 34217 h 273890"/>
                <a:gd name="connsiteX174" fmla="*/ 1377095 w 1394458"/>
                <a:gd name="connsiteY174" fmla="*/ 33872 h 273890"/>
                <a:gd name="connsiteX175" fmla="*/ 1360596 w 1394458"/>
                <a:gd name="connsiteY175" fmla="*/ 37519 h 273890"/>
                <a:gd name="connsiteX176" fmla="*/ 1350178 w 1394458"/>
                <a:gd name="connsiteY176" fmla="*/ 47767 h 273890"/>
                <a:gd name="connsiteX177" fmla="*/ 1346706 w 1394458"/>
                <a:gd name="connsiteY177" fmla="*/ 64441 h 273890"/>
                <a:gd name="connsiteX178" fmla="*/ 1346706 w 1394458"/>
                <a:gd name="connsiteY178" fmla="*/ 270423 h 273890"/>
                <a:gd name="connsiteX179" fmla="*/ 1385431 w 1394458"/>
                <a:gd name="connsiteY179" fmla="*/ 82500 h 273890"/>
                <a:gd name="connsiteX180" fmla="*/ 1385431 w 1394458"/>
                <a:gd name="connsiteY180" fmla="*/ 113069 h 273890"/>
                <a:gd name="connsiteX181" fmla="*/ 1276015 w 1394458"/>
                <a:gd name="connsiteY181" fmla="*/ 113069 h 273890"/>
                <a:gd name="connsiteX182" fmla="*/ 1276015 w 1394458"/>
                <a:gd name="connsiteY182" fmla="*/ 82500 h 273890"/>
                <a:gd name="connsiteX183" fmla="*/ 1385431 w 1394458"/>
                <a:gd name="connsiteY183" fmla="*/ 82500 h 2738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</a:cxnLst>
              <a:rect l="l" t="t" r="r" b="b"/>
              <a:pathLst>
                <a:path w="1394458" h="273890">
                  <a:moveTo>
                    <a:pt x="157354" y="188093"/>
                  </a:moveTo>
                  <a:lnTo>
                    <a:pt x="200773" y="188093"/>
                  </a:lnTo>
                  <a:cubicBezTo>
                    <a:pt x="199382" y="204650"/>
                    <a:pt x="194752" y="219411"/>
                    <a:pt x="186877" y="232383"/>
                  </a:cubicBezTo>
                  <a:cubicBezTo>
                    <a:pt x="179003" y="245233"/>
                    <a:pt x="167947" y="255365"/>
                    <a:pt x="153706" y="262777"/>
                  </a:cubicBezTo>
                  <a:cubicBezTo>
                    <a:pt x="139465" y="270185"/>
                    <a:pt x="122155" y="273891"/>
                    <a:pt x="101775" y="273891"/>
                  </a:cubicBezTo>
                  <a:cubicBezTo>
                    <a:pt x="86143" y="273891"/>
                    <a:pt x="72077" y="271114"/>
                    <a:pt x="59572" y="265554"/>
                  </a:cubicBezTo>
                  <a:cubicBezTo>
                    <a:pt x="47067" y="259878"/>
                    <a:pt x="36357" y="251892"/>
                    <a:pt x="27442" y="241585"/>
                  </a:cubicBezTo>
                  <a:cubicBezTo>
                    <a:pt x="18526" y="231162"/>
                    <a:pt x="11697" y="218604"/>
                    <a:pt x="6950" y="203896"/>
                  </a:cubicBezTo>
                  <a:cubicBezTo>
                    <a:pt x="2315" y="189192"/>
                    <a:pt x="0" y="172753"/>
                    <a:pt x="0" y="154577"/>
                  </a:cubicBezTo>
                  <a:lnTo>
                    <a:pt x="0" y="133560"/>
                  </a:lnTo>
                  <a:cubicBezTo>
                    <a:pt x="0" y="115379"/>
                    <a:pt x="2374" y="98940"/>
                    <a:pt x="7121" y="84236"/>
                  </a:cubicBezTo>
                  <a:cubicBezTo>
                    <a:pt x="11984" y="69533"/>
                    <a:pt x="18930" y="56970"/>
                    <a:pt x="27962" y="46552"/>
                  </a:cubicBezTo>
                  <a:cubicBezTo>
                    <a:pt x="36994" y="36017"/>
                    <a:pt x="47816" y="27967"/>
                    <a:pt x="60438" y="22408"/>
                  </a:cubicBezTo>
                  <a:cubicBezTo>
                    <a:pt x="73171" y="16848"/>
                    <a:pt x="87471" y="14071"/>
                    <a:pt x="103336" y="14071"/>
                  </a:cubicBezTo>
                  <a:cubicBezTo>
                    <a:pt x="123482" y="14071"/>
                    <a:pt x="140506" y="17777"/>
                    <a:pt x="154397" y="25185"/>
                  </a:cubicBezTo>
                  <a:cubicBezTo>
                    <a:pt x="168293" y="32597"/>
                    <a:pt x="179056" y="42840"/>
                    <a:pt x="186702" y="55924"/>
                  </a:cubicBezTo>
                  <a:cubicBezTo>
                    <a:pt x="194460" y="69008"/>
                    <a:pt x="199207" y="84003"/>
                    <a:pt x="200943" y="100905"/>
                  </a:cubicBezTo>
                  <a:lnTo>
                    <a:pt x="157524" y="100905"/>
                  </a:lnTo>
                  <a:cubicBezTo>
                    <a:pt x="156367" y="90019"/>
                    <a:pt x="153818" y="80700"/>
                    <a:pt x="149883" y="72943"/>
                  </a:cubicBezTo>
                  <a:cubicBezTo>
                    <a:pt x="146065" y="65185"/>
                    <a:pt x="140389" y="59280"/>
                    <a:pt x="132865" y="55229"/>
                  </a:cubicBezTo>
                  <a:cubicBezTo>
                    <a:pt x="125340" y="51060"/>
                    <a:pt x="115496" y="48974"/>
                    <a:pt x="103341" y="48974"/>
                  </a:cubicBezTo>
                  <a:cubicBezTo>
                    <a:pt x="93385" y="48974"/>
                    <a:pt x="84698" y="50827"/>
                    <a:pt x="77291" y="54533"/>
                  </a:cubicBezTo>
                  <a:cubicBezTo>
                    <a:pt x="69878" y="58239"/>
                    <a:pt x="63687" y="63682"/>
                    <a:pt x="58706" y="70861"/>
                  </a:cubicBezTo>
                  <a:cubicBezTo>
                    <a:pt x="53730" y="78040"/>
                    <a:pt x="49966" y="86897"/>
                    <a:pt x="47417" y="97432"/>
                  </a:cubicBezTo>
                  <a:cubicBezTo>
                    <a:pt x="44985" y="107850"/>
                    <a:pt x="43769" y="119776"/>
                    <a:pt x="43769" y="133210"/>
                  </a:cubicBezTo>
                  <a:lnTo>
                    <a:pt x="43769" y="154572"/>
                  </a:lnTo>
                  <a:cubicBezTo>
                    <a:pt x="43769" y="167305"/>
                    <a:pt x="44869" y="178886"/>
                    <a:pt x="47067" y="189304"/>
                  </a:cubicBezTo>
                  <a:cubicBezTo>
                    <a:pt x="49382" y="199611"/>
                    <a:pt x="52855" y="208468"/>
                    <a:pt x="57490" y="215875"/>
                  </a:cubicBezTo>
                  <a:cubicBezTo>
                    <a:pt x="62237" y="223288"/>
                    <a:pt x="68259" y="229017"/>
                    <a:pt x="75550" y="233069"/>
                  </a:cubicBezTo>
                  <a:cubicBezTo>
                    <a:pt x="82845" y="237120"/>
                    <a:pt x="91585" y="239149"/>
                    <a:pt x="101775" y="239149"/>
                  </a:cubicBezTo>
                  <a:cubicBezTo>
                    <a:pt x="114163" y="239149"/>
                    <a:pt x="124178" y="237179"/>
                    <a:pt x="131824" y="233244"/>
                  </a:cubicBezTo>
                  <a:cubicBezTo>
                    <a:pt x="139582" y="229309"/>
                    <a:pt x="145428" y="223575"/>
                    <a:pt x="149363" y="216050"/>
                  </a:cubicBezTo>
                  <a:cubicBezTo>
                    <a:pt x="153414" y="208409"/>
                    <a:pt x="156080" y="199090"/>
                    <a:pt x="157354" y="188088"/>
                  </a:cubicBezTo>
                  <a:close/>
                  <a:moveTo>
                    <a:pt x="313837" y="270418"/>
                  </a:moveTo>
                  <a:lnTo>
                    <a:pt x="259825" y="270418"/>
                  </a:lnTo>
                  <a:lnTo>
                    <a:pt x="260170" y="235856"/>
                  </a:lnTo>
                  <a:lnTo>
                    <a:pt x="313837" y="235856"/>
                  </a:lnTo>
                  <a:cubicBezTo>
                    <a:pt x="329469" y="235856"/>
                    <a:pt x="342553" y="232441"/>
                    <a:pt x="353088" y="225608"/>
                  </a:cubicBezTo>
                  <a:cubicBezTo>
                    <a:pt x="363740" y="218779"/>
                    <a:pt x="371731" y="208993"/>
                    <a:pt x="377057" y="196255"/>
                  </a:cubicBezTo>
                  <a:cubicBezTo>
                    <a:pt x="382499" y="183521"/>
                    <a:pt x="385218" y="168351"/>
                    <a:pt x="385218" y="150754"/>
                  </a:cubicBezTo>
                  <a:lnTo>
                    <a:pt x="385218" y="137033"/>
                  </a:lnTo>
                  <a:cubicBezTo>
                    <a:pt x="385218" y="123371"/>
                    <a:pt x="383657" y="111269"/>
                    <a:pt x="380530" y="100734"/>
                  </a:cubicBezTo>
                  <a:cubicBezTo>
                    <a:pt x="377519" y="90199"/>
                    <a:pt x="373005" y="81342"/>
                    <a:pt x="366984" y="74163"/>
                  </a:cubicBezTo>
                  <a:cubicBezTo>
                    <a:pt x="361079" y="66984"/>
                    <a:pt x="353784" y="61542"/>
                    <a:pt x="345102" y="57840"/>
                  </a:cubicBezTo>
                  <a:cubicBezTo>
                    <a:pt x="336532" y="54134"/>
                    <a:pt x="326634" y="52281"/>
                    <a:pt x="315403" y="52281"/>
                  </a:cubicBezTo>
                  <a:lnTo>
                    <a:pt x="258784" y="52281"/>
                  </a:lnTo>
                  <a:lnTo>
                    <a:pt x="258784" y="17544"/>
                  </a:lnTo>
                  <a:lnTo>
                    <a:pt x="315403" y="17544"/>
                  </a:lnTo>
                  <a:cubicBezTo>
                    <a:pt x="332193" y="17544"/>
                    <a:pt x="347534" y="20379"/>
                    <a:pt x="361429" y="26055"/>
                  </a:cubicBezTo>
                  <a:cubicBezTo>
                    <a:pt x="375325" y="31615"/>
                    <a:pt x="387310" y="39660"/>
                    <a:pt x="397383" y="50195"/>
                  </a:cubicBezTo>
                  <a:cubicBezTo>
                    <a:pt x="407572" y="60730"/>
                    <a:pt x="415389" y="73351"/>
                    <a:pt x="420826" y="88054"/>
                  </a:cubicBezTo>
                  <a:cubicBezTo>
                    <a:pt x="426269" y="102758"/>
                    <a:pt x="428988" y="119202"/>
                    <a:pt x="428988" y="137378"/>
                  </a:cubicBezTo>
                  <a:lnTo>
                    <a:pt x="428988" y="150754"/>
                  </a:lnTo>
                  <a:cubicBezTo>
                    <a:pt x="428988" y="168930"/>
                    <a:pt x="426269" y="185374"/>
                    <a:pt x="420826" y="200078"/>
                  </a:cubicBezTo>
                  <a:cubicBezTo>
                    <a:pt x="415384" y="214781"/>
                    <a:pt x="407568" y="227403"/>
                    <a:pt x="397383" y="237938"/>
                  </a:cubicBezTo>
                  <a:cubicBezTo>
                    <a:pt x="387193" y="248356"/>
                    <a:pt x="375038" y="256405"/>
                    <a:pt x="360909" y="262077"/>
                  </a:cubicBezTo>
                  <a:cubicBezTo>
                    <a:pt x="346896" y="267636"/>
                    <a:pt x="331211" y="270413"/>
                    <a:pt x="313842" y="270413"/>
                  </a:cubicBezTo>
                  <a:close/>
                  <a:moveTo>
                    <a:pt x="283964" y="17544"/>
                  </a:moveTo>
                  <a:lnTo>
                    <a:pt x="283964" y="270418"/>
                  </a:lnTo>
                  <a:lnTo>
                    <a:pt x="240369" y="270418"/>
                  </a:lnTo>
                  <a:lnTo>
                    <a:pt x="240369" y="17544"/>
                  </a:lnTo>
                  <a:lnTo>
                    <a:pt x="283964" y="17544"/>
                  </a:lnTo>
                  <a:close/>
                  <a:moveTo>
                    <a:pt x="519299" y="17544"/>
                  </a:moveTo>
                  <a:lnTo>
                    <a:pt x="519299" y="270418"/>
                  </a:lnTo>
                  <a:lnTo>
                    <a:pt x="475705" y="270418"/>
                  </a:lnTo>
                  <a:lnTo>
                    <a:pt x="475705" y="17544"/>
                  </a:lnTo>
                  <a:lnTo>
                    <a:pt x="519299" y="17544"/>
                  </a:lnTo>
                  <a:close/>
                  <a:moveTo>
                    <a:pt x="811424" y="188093"/>
                  </a:moveTo>
                  <a:lnTo>
                    <a:pt x="854843" y="188093"/>
                  </a:lnTo>
                  <a:cubicBezTo>
                    <a:pt x="853452" y="204650"/>
                    <a:pt x="848822" y="219411"/>
                    <a:pt x="840947" y="232383"/>
                  </a:cubicBezTo>
                  <a:cubicBezTo>
                    <a:pt x="833073" y="245233"/>
                    <a:pt x="822017" y="255365"/>
                    <a:pt x="807776" y="262777"/>
                  </a:cubicBezTo>
                  <a:cubicBezTo>
                    <a:pt x="793535" y="270185"/>
                    <a:pt x="776225" y="273891"/>
                    <a:pt x="755845" y="273891"/>
                  </a:cubicBezTo>
                  <a:cubicBezTo>
                    <a:pt x="740213" y="273891"/>
                    <a:pt x="726147" y="271114"/>
                    <a:pt x="713642" y="265554"/>
                  </a:cubicBezTo>
                  <a:cubicBezTo>
                    <a:pt x="701137" y="259878"/>
                    <a:pt x="690427" y="251892"/>
                    <a:pt x="681512" y="241585"/>
                  </a:cubicBezTo>
                  <a:cubicBezTo>
                    <a:pt x="672596" y="231162"/>
                    <a:pt x="665768" y="218604"/>
                    <a:pt x="661021" y="203896"/>
                  </a:cubicBezTo>
                  <a:cubicBezTo>
                    <a:pt x="656390" y="189192"/>
                    <a:pt x="654075" y="172748"/>
                    <a:pt x="654075" y="154572"/>
                  </a:cubicBezTo>
                  <a:lnTo>
                    <a:pt x="654075" y="133555"/>
                  </a:lnTo>
                  <a:cubicBezTo>
                    <a:pt x="654075" y="115374"/>
                    <a:pt x="656449" y="98935"/>
                    <a:pt x="661196" y="84231"/>
                  </a:cubicBezTo>
                  <a:cubicBezTo>
                    <a:pt x="666059" y="69528"/>
                    <a:pt x="673005" y="56965"/>
                    <a:pt x="682037" y="46547"/>
                  </a:cubicBezTo>
                  <a:cubicBezTo>
                    <a:pt x="691069" y="36012"/>
                    <a:pt x="701891" y="27962"/>
                    <a:pt x="714513" y="22403"/>
                  </a:cubicBezTo>
                  <a:cubicBezTo>
                    <a:pt x="727246" y="16843"/>
                    <a:pt x="741546" y="14066"/>
                    <a:pt x="757411" y="14066"/>
                  </a:cubicBezTo>
                  <a:cubicBezTo>
                    <a:pt x="777557" y="14066"/>
                    <a:pt x="794581" y="17772"/>
                    <a:pt x="808472" y="25180"/>
                  </a:cubicBezTo>
                  <a:cubicBezTo>
                    <a:pt x="822368" y="32592"/>
                    <a:pt x="833131" y="42836"/>
                    <a:pt x="840777" y="55919"/>
                  </a:cubicBezTo>
                  <a:cubicBezTo>
                    <a:pt x="848535" y="69003"/>
                    <a:pt x="853282" y="83998"/>
                    <a:pt x="855018" y="100900"/>
                  </a:cubicBezTo>
                  <a:lnTo>
                    <a:pt x="811599" y="100900"/>
                  </a:lnTo>
                  <a:cubicBezTo>
                    <a:pt x="810442" y="90015"/>
                    <a:pt x="807893" y="80695"/>
                    <a:pt x="803958" y="72938"/>
                  </a:cubicBezTo>
                  <a:cubicBezTo>
                    <a:pt x="800140" y="65180"/>
                    <a:pt x="794464" y="59275"/>
                    <a:pt x="786940" y="55224"/>
                  </a:cubicBezTo>
                  <a:cubicBezTo>
                    <a:pt x="779415" y="51055"/>
                    <a:pt x="769571" y="48969"/>
                    <a:pt x="757416" y="48969"/>
                  </a:cubicBezTo>
                  <a:cubicBezTo>
                    <a:pt x="747460" y="48969"/>
                    <a:pt x="738773" y="50822"/>
                    <a:pt x="731366" y="54528"/>
                  </a:cubicBezTo>
                  <a:cubicBezTo>
                    <a:pt x="723953" y="58234"/>
                    <a:pt x="717762" y="63677"/>
                    <a:pt x="712781" y="70856"/>
                  </a:cubicBezTo>
                  <a:cubicBezTo>
                    <a:pt x="707801" y="78035"/>
                    <a:pt x="704041" y="86892"/>
                    <a:pt x="701492" y="97427"/>
                  </a:cubicBezTo>
                  <a:cubicBezTo>
                    <a:pt x="699060" y="107845"/>
                    <a:pt x="697844" y="119771"/>
                    <a:pt x="697844" y="133205"/>
                  </a:cubicBezTo>
                  <a:lnTo>
                    <a:pt x="697844" y="154567"/>
                  </a:lnTo>
                  <a:cubicBezTo>
                    <a:pt x="697844" y="167300"/>
                    <a:pt x="698944" y="178881"/>
                    <a:pt x="701142" y="189299"/>
                  </a:cubicBezTo>
                  <a:cubicBezTo>
                    <a:pt x="703457" y="199606"/>
                    <a:pt x="706930" y="208463"/>
                    <a:pt x="711565" y="215870"/>
                  </a:cubicBezTo>
                  <a:cubicBezTo>
                    <a:pt x="716312" y="223283"/>
                    <a:pt x="722334" y="229012"/>
                    <a:pt x="729629" y="233064"/>
                  </a:cubicBezTo>
                  <a:cubicBezTo>
                    <a:pt x="736925" y="237116"/>
                    <a:pt x="745665" y="239144"/>
                    <a:pt x="755855" y="239144"/>
                  </a:cubicBezTo>
                  <a:cubicBezTo>
                    <a:pt x="768243" y="239144"/>
                    <a:pt x="778258" y="237174"/>
                    <a:pt x="785904" y="233239"/>
                  </a:cubicBezTo>
                  <a:cubicBezTo>
                    <a:pt x="793661" y="229304"/>
                    <a:pt x="799508" y="223570"/>
                    <a:pt x="803443" y="216046"/>
                  </a:cubicBezTo>
                  <a:cubicBezTo>
                    <a:pt x="807494" y="208405"/>
                    <a:pt x="810159" y="199085"/>
                    <a:pt x="811434" y="188084"/>
                  </a:cubicBezTo>
                  <a:close/>
                  <a:moveTo>
                    <a:pt x="882285" y="178541"/>
                  </a:moveTo>
                  <a:lnTo>
                    <a:pt x="882285" y="174548"/>
                  </a:lnTo>
                  <a:cubicBezTo>
                    <a:pt x="882285" y="161002"/>
                    <a:pt x="884255" y="148439"/>
                    <a:pt x="888190" y="136858"/>
                  </a:cubicBezTo>
                  <a:cubicBezTo>
                    <a:pt x="892124" y="125165"/>
                    <a:pt x="897800" y="115034"/>
                    <a:pt x="905208" y="106464"/>
                  </a:cubicBezTo>
                  <a:cubicBezTo>
                    <a:pt x="912732" y="97782"/>
                    <a:pt x="921881" y="91065"/>
                    <a:pt x="932650" y="86318"/>
                  </a:cubicBezTo>
                  <a:cubicBezTo>
                    <a:pt x="943535" y="81454"/>
                    <a:pt x="955806" y="79022"/>
                    <a:pt x="969469" y="79022"/>
                  </a:cubicBezTo>
                  <a:cubicBezTo>
                    <a:pt x="983131" y="79022"/>
                    <a:pt x="995519" y="81454"/>
                    <a:pt x="1006288" y="86318"/>
                  </a:cubicBezTo>
                  <a:cubicBezTo>
                    <a:pt x="1017173" y="91065"/>
                    <a:pt x="1026375" y="97782"/>
                    <a:pt x="1033899" y="106464"/>
                  </a:cubicBezTo>
                  <a:cubicBezTo>
                    <a:pt x="1041424" y="115034"/>
                    <a:pt x="1047158" y="125165"/>
                    <a:pt x="1051093" y="136858"/>
                  </a:cubicBezTo>
                  <a:cubicBezTo>
                    <a:pt x="1055028" y="148439"/>
                    <a:pt x="1056998" y="160997"/>
                    <a:pt x="1056998" y="174548"/>
                  </a:cubicBezTo>
                  <a:lnTo>
                    <a:pt x="1056998" y="178541"/>
                  </a:lnTo>
                  <a:cubicBezTo>
                    <a:pt x="1056998" y="192086"/>
                    <a:pt x="1055028" y="204650"/>
                    <a:pt x="1051093" y="216230"/>
                  </a:cubicBezTo>
                  <a:cubicBezTo>
                    <a:pt x="1047153" y="227806"/>
                    <a:pt x="1041424" y="237938"/>
                    <a:pt x="1033899" y="246624"/>
                  </a:cubicBezTo>
                  <a:cubicBezTo>
                    <a:pt x="1026375" y="255194"/>
                    <a:pt x="1017226" y="261906"/>
                    <a:pt x="1006458" y="266770"/>
                  </a:cubicBezTo>
                  <a:cubicBezTo>
                    <a:pt x="995689" y="271517"/>
                    <a:pt x="983476" y="273891"/>
                    <a:pt x="969814" y="273891"/>
                  </a:cubicBezTo>
                  <a:cubicBezTo>
                    <a:pt x="956151" y="273891"/>
                    <a:pt x="943705" y="271517"/>
                    <a:pt x="932820" y="266770"/>
                  </a:cubicBezTo>
                  <a:cubicBezTo>
                    <a:pt x="922051" y="261906"/>
                    <a:pt x="912907" y="255189"/>
                    <a:pt x="905378" y="246624"/>
                  </a:cubicBezTo>
                  <a:cubicBezTo>
                    <a:pt x="897854" y="237942"/>
                    <a:pt x="892119" y="227811"/>
                    <a:pt x="888185" y="216230"/>
                  </a:cubicBezTo>
                  <a:cubicBezTo>
                    <a:pt x="884245" y="204650"/>
                    <a:pt x="882280" y="192086"/>
                    <a:pt x="882280" y="178541"/>
                  </a:cubicBezTo>
                  <a:close/>
                  <a:moveTo>
                    <a:pt x="924143" y="174548"/>
                  </a:moveTo>
                  <a:lnTo>
                    <a:pt x="924143" y="178541"/>
                  </a:lnTo>
                  <a:cubicBezTo>
                    <a:pt x="924143" y="186994"/>
                    <a:pt x="925013" y="194980"/>
                    <a:pt x="926750" y="202510"/>
                  </a:cubicBezTo>
                  <a:cubicBezTo>
                    <a:pt x="928486" y="210034"/>
                    <a:pt x="931210" y="216634"/>
                    <a:pt x="934911" y="222310"/>
                  </a:cubicBezTo>
                  <a:cubicBezTo>
                    <a:pt x="938617" y="227981"/>
                    <a:pt x="943365" y="232441"/>
                    <a:pt x="949152" y="235681"/>
                  </a:cubicBezTo>
                  <a:cubicBezTo>
                    <a:pt x="954940" y="238925"/>
                    <a:pt x="961832" y="240545"/>
                    <a:pt x="969819" y="240545"/>
                  </a:cubicBezTo>
                  <a:cubicBezTo>
                    <a:pt x="977805" y="240545"/>
                    <a:pt x="984293" y="238925"/>
                    <a:pt x="989965" y="235681"/>
                  </a:cubicBezTo>
                  <a:cubicBezTo>
                    <a:pt x="995753" y="232441"/>
                    <a:pt x="1000500" y="227981"/>
                    <a:pt x="1004206" y="222310"/>
                  </a:cubicBezTo>
                  <a:cubicBezTo>
                    <a:pt x="1007912" y="216634"/>
                    <a:pt x="1010631" y="210039"/>
                    <a:pt x="1012367" y="202510"/>
                  </a:cubicBezTo>
                  <a:cubicBezTo>
                    <a:pt x="1014220" y="194985"/>
                    <a:pt x="1015145" y="186994"/>
                    <a:pt x="1015145" y="178541"/>
                  </a:cubicBezTo>
                  <a:lnTo>
                    <a:pt x="1015145" y="174548"/>
                  </a:lnTo>
                  <a:cubicBezTo>
                    <a:pt x="1015145" y="166211"/>
                    <a:pt x="1014220" y="158336"/>
                    <a:pt x="1012367" y="150929"/>
                  </a:cubicBezTo>
                  <a:cubicBezTo>
                    <a:pt x="1010631" y="143405"/>
                    <a:pt x="1007854" y="136746"/>
                    <a:pt x="1004031" y="130958"/>
                  </a:cubicBezTo>
                  <a:cubicBezTo>
                    <a:pt x="1000325" y="125170"/>
                    <a:pt x="995578" y="120652"/>
                    <a:pt x="989790" y="117412"/>
                  </a:cubicBezTo>
                  <a:cubicBezTo>
                    <a:pt x="984118" y="114056"/>
                    <a:pt x="977343" y="112378"/>
                    <a:pt x="969469" y="112378"/>
                  </a:cubicBezTo>
                  <a:cubicBezTo>
                    <a:pt x="961594" y="112378"/>
                    <a:pt x="954765" y="114056"/>
                    <a:pt x="948977" y="117412"/>
                  </a:cubicBezTo>
                  <a:cubicBezTo>
                    <a:pt x="943301" y="120657"/>
                    <a:pt x="938613" y="125170"/>
                    <a:pt x="934911" y="130958"/>
                  </a:cubicBezTo>
                  <a:cubicBezTo>
                    <a:pt x="931205" y="136746"/>
                    <a:pt x="928486" y="143405"/>
                    <a:pt x="926750" y="150929"/>
                  </a:cubicBezTo>
                  <a:cubicBezTo>
                    <a:pt x="925013" y="158341"/>
                    <a:pt x="924143" y="166211"/>
                    <a:pt x="924143" y="174548"/>
                  </a:cubicBezTo>
                  <a:close/>
                  <a:moveTo>
                    <a:pt x="1133598" y="122617"/>
                  </a:moveTo>
                  <a:lnTo>
                    <a:pt x="1133598" y="270418"/>
                  </a:lnTo>
                  <a:lnTo>
                    <a:pt x="1091745" y="270418"/>
                  </a:lnTo>
                  <a:lnTo>
                    <a:pt x="1091745" y="82495"/>
                  </a:lnTo>
                  <a:lnTo>
                    <a:pt x="1131171" y="82495"/>
                  </a:lnTo>
                  <a:lnTo>
                    <a:pt x="1133603" y="122617"/>
                  </a:lnTo>
                  <a:close/>
                  <a:moveTo>
                    <a:pt x="1126132" y="169509"/>
                  </a:moveTo>
                  <a:lnTo>
                    <a:pt x="1112586" y="169334"/>
                  </a:lnTo>
                  <a:cubicBezTo>
                    <a:pt x="1112703" y="156016"/>
                    <a:pt x="1114556" y="143803"/>
                    <a:pt x="1118145" y="132690"/>
                  </a:cubicBezTo>
                  <a:cubicBezTo>
                    <a:pt x="1121852" y="121576"/>
                    <a:pt x="1126944" y="112023"/>
                    <a:pt x="1133428" y="104032"/>
                  </a:cubicBezTo>
                  <a:cubicBezTo>
                    <a:pt x="1140028" y="96041"/>
                    <a:pt x="1147902" y="89908"/>
                    <a:pt x="1157046" y="85623"/>
                  </a:cubicBezTo>
                  <a:cubicBezTo>
                    <a:pt x="1166195" y="81226"/>
                    <a:pt x="1176385" y="79022"/>
                    <a:pt x="1187615" y="79022"/>
                  </a:cubicBezTo>
                  <a:cubicBezTo>
                    <a:pt x="1196647" y="79022"/>
                    <a:pt x="1204809" y="80297"/>
                    <a:pt x="1212105" y="82840"/>
                  </a:cubicBezTo>
                  <a:cubicBezTo>
                    <a:pt x="1219517" y="85272"/>
                    <a:pt x="1225825" y="89265"/>
                    <a:pt x="1231034" y="94825"/>
                  </a:cubicBezTo>
                  <a:cubicBezTo>
                    <a:pt x="1236360" y="100384"/>
                    <a:pt x="1240412" y="107617"/>
                    <a:pt x="1243189" y="116532"/>
                  </a:cubicBezTo>
                  <a:cubicBezTo>
                    <a:pt x="1245966" y="125331"/>
                    <a:pt x="1247357" y="136157"/>
                    <a:pt x="1247357" y="149013"/>
                  </a:cubicBezTo>
                  <a:lnTo>
                    <a:pt x="1247357" y="270413"/>
                  </a:lnTo>
                  <a:lnTo>
                    <a:pt x="1205329" y="270413"/>
                  </a:lnTo>
                  <a:lnTo>
                    <a:pt x="1205329" y="148837"/>
                  </a:lnTo>
                  <a:cubicBezTo>
                    <a:pt x="1205329" y="139805"/>
                    <a:pt x="1203996" y="132685"/>
                    <a:pt x="1201336" y="127476"/>
                  </a:cubicBezTo>
                  <a:cubicBezTo>
                    <a:pt x="1198787" y="122150"/>
                    <a:pt x="1195028" y="118385"/>
                    <a:pt x="1190047" y="116187"/>
                  </a:cubicBezTo>
                  <a:cubicBezTo>
                    <a:pt x="1185183" y="113872"/>
                    <a:pt x="1179104" y="112714"/>
                    <a:pt x="1171813" y="112714"/>
                  </a:cubicBezTo>
                  <a:cubicBezTo>
                    <a:pt x="1164522" y="112714"/>
                    <a:pt x="1158209" y="114217"/>
                    <a:pt x="1152533" y="117228"/>
                  </a:cubicBezTo>
                  <a:cubicBezTo>
                    <a:pt x="1146861" y="120238"/>
                    <a:pt x="1142056" y="124348"/>
                    <a:pt x="1138116" y="129557"/>
                  </a:cubicBezTo>
                  <a:cubicBezTo>
                    <a:pt x="1134293" y="134766"/>
                    <a:pt x="1131341" y="140788"/>
                    <a:pt x="1129259" y="147621"/>
                  </a:cubicBezTo>
                  <a:cubicBezTo>
                    <a:pt x="1127178" y="154450"/>
                    <a:pt x="1126132" y="161746"/>
                    <a:pt x="1126132" y="169504"/>
                  </a:cubicBezTo>
                  <a:close/>
                  <a:moveTo>
                    <a:pt x="1346701" y="270418"/>
                  </a:moveTo>
                  <a:lnTo>
                    <a:pt x="1304843" y="270418"/>
                  </a:lnTo>
                  <a:lnTo>
                    <a:pt x="1304843" y="64436"/>
                  </a:lnTo>
                  <a:cubicBezTo>
                    <a:pt x="1304843" y="50428"/>
                    <a:pt x="1307450" y="38672"/>
                    <a:pt x="1312659" y="29178"/>
                  </a:cubicBezTo>
                  <a:cubicBezTo>
                    <a:pt x="1317985" y="19567"/>
                    <a:pt x="1325567" y="12330"/>
                    <a:pt x="1335412" y="7471"/>
                  </a:cubicBezTo>
                  <a:cubicBezTo>
                    <a:pt x="1345256" y="2490"/>
                    <a:pt x="1356890" y="0"/>
                    <a:pt x="1370319" y="0"/>
                  </a:cubicBezTo>
                  <a:cubicBezTo>
                    <a:pt x="1374488" y="0"/>
                    <a:pt x="1378597" y="292"/>
                    <a:pt x="1382649" y="871"/>
                  </a:cubicBezTo>
                  <a:cubicBezTo>
                    <a:pt x="1386701" y="1333"/>
                    <a:pt x="1390640" y="2087"/>
                    <a:pt x="1394458" y="3127"/>
                  </a:cubicBezTo>
                  <a:lnTo>
                    <a:pt x="1393418" y="35433"/>
                  </a:lnTo>
                  <a:cubicBezTo>
                    <a:pt x="1391102" y="34854"/>
                    <a:pt x="1388554" y="34450"/>
                    <a:pt x="1385776" y="34217"/>
                  </a:cubicBezTo>
                  <a:cubicBezTo>
                    <a:pt x="1383116" y="33983"/>
                    <a:pt x="1380217" y="33872"/>
                    <a:pt x="1377095" y="33872"/>
                  </a:cubicBezTo>
                  <a:cubicBezTo>
                    <a:pt x="1370728" y="33872"/>
                    <a:pt x="1365227" y="35088"/>
                    <a:pt x="1360596" y="37519"/>
                  </a:cubicBezTo>
                  <a:cubicBezTo>
                    <a:pt x="1356083" y="39835"/>
                    <a:pt x="1352605" y="43249"/>
                    <a:pt x="1350178" y="47767"/>
                  </a:cubicBezTo>
                  <a:cubicBezTo>
                    <a:pt x="1347863" y="52286"/>
                    <a:pt x="1346706" y="57840"/>
                    <a:pt x="1346706" y="64441"/>
                  </a:cubicBezTo>
                  <a:lnTo>
                    <a:pt x="1346706" y="270423"/>
                  </a:lnTo>
                  <a:close/>
                  <a:moveTo>
                    <a:pt x="1385431" y="82500"/>
                  </a:moveTo>
                  <a:lnTo>
                    <a:pt x="1385431" y="113069"/>
                  </a:lnTo>
                  <a:lnTo>
                    <a:pt x="1276015" y="113069"/>
                  </a:lnTo>
                  <a:lnTo>
                    <a:pt x="1276015" y="82500"/>
                  </a:lnTo>
                  <a:lnTo>
                    <a:pt x="1385431" y="82500"/>
                  </a:lnTo>
                  <a:close/>
                </a:path>
              </a:pathLst>
            </a:custGeom>
            <a:solidFill>
              <a:srgbClr val="EE3431"/>
            </a:solidFill>
            <a:ln w="4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6" name="Полилиния: фигура 45">
              <a:extLst>
                <a:ext uri="{FF2B5EF4-FFF2-40B4-BE49-F238E27FC236}">
                  <a16:creationId xmlns:a16="http://schemas.microsoft.com/office/drawing/2014/main" id="{EB80AEA3-6D76-4813-B83E-E98064CA7762}"/>
                </a:ext>
              </a:extLst>
            </p:cNvPr>
            <p:cNvSpPr/>
            <p:nvPr/>
          </p:nvSpPr>
          <p:spPr>
            <a:xfrm>
              <a:off x="7406975" y="5855999"/>
              <a:ext cx="1394458" cy="273890"/>
            </a:xfrm>
            <a:custGeom>
              <a:avLst/>
              <a:gdLst>
                <a:gd name="connsiteX0" fmla="*/ 157354 w 1394458"/>
                <a:gd name="connsiteY0" fmla="*/ 188093 h 273890"/>
                <a:gd name="connsiteX1" fmla="*/ 200773 w 1394458"/>
                <a:gd name="connsiteY1" fmla="*/ 188093 h 273890"/>
                <a:gd name="connsiteX2" fmla="*/ 186877 w 1394458"/>
                <a:gd name="connsiteY2" fmla="*/ 232383 h 273890"/>
                <a:gd name="connsiteX3" fmla="*/ 153706 w 1394458"/>
                <a:gd name="connsiteY3" fmla="*/ 262777 h 273890"/>
                <a:gd name="connsiteX4" fmla="*/ 101775 w 1394458"/>
                <a:gd name="connsiteY4" fmla="*/ 273891 h 273890"/>
                <a:gd name="connsiteX5" fmla="*/ 59572 w 1394458"/>
                <a:gd name="connsiteY5" fmla="*/ 265554 h 273890"/>
                <a:gd name="connsiteX6" fmla="*/ 27442 w 1394458"/>
                <a:gd name="connsiteY6" fmla="*/ 241585 h 273890"/>
                <a:gd name="connsiteX7" fmla="*/ 6950 w 1394458"/>
                <a:gd name="connsiteY7" fmla="*/ 203901 h 273890"/>
                <a:gd name="connsiteX8" fmla="*/ 0 w 1394458"/>
                <a:gd name="connsiteY8" fmla="*/ 154572 h 273890"/>
                <a:gd name="connsiteX9" fmla="*/ 0 w 1394458"/>
                <a:gd name="connsiteY9" fmla="*/ 133555 h 273890"/>
                <a:gd name="connsiteX10" fmla="*/ 7121 w 1394458"/>
                <a:gd name="connsiteY10" fmla="*/ 84231 h 273890"/>
                <a:gd name="connsiteX11" fmla="*/ 27962 w 1394458"/>
                <a:gd name="connsiteY11" fmla="*/ 46542 h 273890"/>
                <a:gd name="connsiteX12" fmla="*/ 60438 w 1394458"/>
                <a:gd name="connsiteY12" fmla="*/ 22403 h 273890"/>
                <a:gd name="connsiteX13" fmla="*/ 103336 w 1394458"/>
                <a:gd name="connsiteY13" fmla="*/ 14066 h 273890"/>
                <a:gd name="connsiteX14" fmla="*/ 154397 w 1394458"/>
                <a:gd name="connsiteY14" fmla="*/ 25180 h 273890"/>
                <a:gd name="connsiteX15" fmla="*/ 186702 w 1394458"/>
                <a:gd name="connsiteY15" fmla="*/ 55919 h 273890"/>
                <a:gd name="connsiteX16" fmla="*/ 200943 w 1394458"/>
                <a:gd name="connsiteY16" fmla="*/ 100900 h 273890"/>
                <a:gd name="connsiteX17" fmla="*/ 157524 w 1394458"/>
                <a:gd name="connsiteY17" fmla="*/ 100900 h 273890"/>
                <a:gd name="connsiteX18" fmla="*/ 149883 w 1394458"/>
                <a:gd name="connsiteY18" fmla="*/ 72938 h 273890"/>
                <a:gd name="connsiteX19" fmla="*/ 132865 w 1394458"/>
                <a:gd name="connsiteY19" fmla="*/ 55224 h 273890"/>
                <a:gd name="connsiteX20" fmla="*/ 103341 w 1394458"/>
                <a:gd name="connsiteY20" fmla="*/ 48969 h 273890"/>
                <a:gd name="connsiteX21" fmla="*/ 77291 w 1394458"/>
                <a:gd name="connsiteY21" fmla="*/ 54528 h 273890"/>
                <a:gd name="connsiteX22" fmla="*/ 58706 w 1394458"/>
                <a:gd name="connsiteY22" fmla="*/ 70856 h 273890"/>
                <a:gd name="connsiteX23" fmla="*/ 47417 w 1394458"/>
                <a:gd name="connsiteY23" fmla="*/ 97427 h 273890"/>
                <a:gd name="connsiteX24" fmla="*/ 43769 w 1394458"/>
                <a:gd name="connsiteY24" fmla="*/ 133205 h 273890"/>
                <a:gd name="connsiteX25" fmla="*/ 43769 w 1394458"/>
                <a:gd name="connsiteY25" fmla="*/ 154567 h 273890"/>
                <a:gd name="connsiteX26" fmla="*/ 47067 w 1394458"/>
                <a:gd name="connsiteY26" fmla="*/ 189304 h 273890"/>
                <a:gd name="connsiteX27" fmla="*/ 57490 w 1394458"/>
                <a:gd name="connsiteY27" fmla="*/ 215875 h 273890"/>
                <a:gd name="connsiteX28" fmla="*/ 75550 w 1394458"/>
                <a:gd name="connsiteY28" fmla="*/ 233069 h 273890"/>
                <a:gd name="connsiteX29" fmla="*/ 101775 w 1394458"/>
                <a:gd name="connsiteY29" fmla="*/ 239149 h 273890"/>
                <a:gd name="connsiteX30" fmla="*/ 131824 w 1394458"/>
                <a:gd name="connsiteY30" fmla="*/ 233244 h 273890"/>
                <a:gd name="connsiteX31" fmla="*/ 149363 w 1394458"/>
                <a:gd name="connsiteY31" fmla="*/ 216050 h 273890"/>
                <a:gd name="connsiteX32" fmla="*/ 157354 w 1394458"/>
                <a:gd name="connsiteY32" fmla="*/ 188088 h 273890"/>
                <a:gd name="connsiteX33" fmla="*/ 313837 w 1394458"/>
                <a:gd name="connsiteY33" fmla="*/ 270418 h 273890"/>
                <a:gd name="connsiteX34" fmla="*/ 259825 w 1394458"/>
                <a:gd name="connsiteY34" fmla="*/ 270418 h 273890"/>
                <a:gd name="connsiteX35" fmla="*/ 260170 w 1394458"/>
                <a:gd name="connsiteY35" fmla="*/ 235856 h 273890"/>
                <a:gd name="connsiteX36" fmla="*/ 313837 w 1394458"/>
                <a:gd name="connsiteY36" fmla="*/ 235856 h 273890"/>
                <a:gd name="connsiteX37" fmla="*/ 353088 w 1394458"/>
                <a:gd name="connsiteY37" fmla="*/ 225608 h 273890"/>
                <a:gd name="connsiteX38" fmla="*/ 377057 w 1394458"/>
                <a:gd name="connsiteY38" fmla="*/ 196255 h 273890"/>
                <a:gd name="connsiteX39" fmla="*/ 385218 w 1394458"/>
                <a:gd name="connsiteY39" fmla="*/ 150754 h 273890"/>
                <a:gd name="connsiteX40" fmla="*/ 385218 w 1394458"/>
                <a:gd name="connsiteY40" fmla="*/ 137033 h 273890"/>
                <a:gd name="connsiteX41" fmla="*/ 380530 w 1394458"/>
                <a:gd name="connsiteY41" fmla="*/ 100734 h 273890"/>
                <a:gd name="connsiteX42" fmla="*/ 366984 w 1394458"/>
                <a:gd name="connsiteY42" fmla="*/ 74163 h 273890"/>
                <a:gd name="connsiteX43" fmla="*/ 345102 w 1394458"/>
                <a:gd name="connsiteY43" fmla="*/ 57840 h 273890"/>
                <a:gd name="connsiteX44" fmla="*/ 315403 w 1394458"/>
                <a:gd name="connsiteY44" fmla="*/ 52281 h 273890"/>
                <a:gd name="connsiteX45" fmla="*/ 258784 w 1394458"/>
                <a:gd name="connsiteY45" fmla="*/ 52281 h 273890"/>
                <a:gd name="connsiteX46" fmla="*/ 258784 w 1394458"/>
                <a:gd name="connsiteY46" fmla="*/ 17544 h 273890"/>
                <a:gd name="connsiteX47" fmla="*/ 315403 w 1394458"/>
                <a:gd name="connsiteY47" fmla="*/ 17544 h 273890"/>
                <a:gd name="connsiteX48" fmla="*/ 361429 w 1394458"/>
                <a:gd name="connsiteY48" fmla="*/ 26055 h 273890"/>
                <a:gd name="connsiteX49" fmla="*/ 397383 w 1394458"/>
                <a:gd name="connsiteY49" fmla="*/ 50195 h 273890"/>
                <a:gd name="connsiteX50" fmla="*/ 420826 w 1394458"/>
                <a:gd name="connsiteY50" fmla="*/ 88054 h 273890"/>
                <a:gd name="connsiteX51" fmla="*/ 428988 w 1394458"/>
                <a:gd name="connsiteY51" fmla="*/ 137378 h 273890"/>
                <a:gd name="connsiteX52" fmla="*/ 428988 w 1394458"/>
                <a:gd name="connsiteY52" fmla="*/ 150754 h 273890"/>
                <a:gd name="connsiteX53" fmla="*/ 420826 w 1394458"/>
                <a:gd name="connsiteY53" fmla="*/ 200078 h 273890"/>
                <a:gd name="connsiteX54" fmla="*/ 397383 w 1394458"/>
                <a:gd name="connsiteY54" fmla="*/ 237938 h 273890"/>
                <a:gd name="connsiteX55" fmla="*/ 360909 w 1394458"/>
                <a:gd name="connsiteY55" fmla="*/ 262077 h 273890"/>
                <a:gd name="connsiteX56" fmla="*/ 313842 w 1394458"/>
                <a:gd name="connsiteY56" fmla="*/ 270413 h 273890"/>
                <a:gd name="connsiteX57" fmla="*/ 283964 w 1394458"/>
                <a:gd name="connsiteY57" fmla="*/ 17544 h 273890"/>
                <a:gd name="connsiteX58" fmla="*/ 283964 w 1394458"/>
                <a:gd name="connsiteY58" fmla="*/ 270418 h 273890"/>
                <a:gd name="connsiteX59" fmla="*/ 240369 w 1394458"/>
                <a:gd name="connsiteY59" fmla="*/ 270418 h 273890"/>
                <a:gd name="connsiteX60" fmla="*/ 240369 w 1394458"/>
                <a:gd name="connsiteY60" fmla="*/ 17544 h 273890"/>
                <a:gd name="connsiteX61" fmla="*/ 283964 w 1394458"/>
                <a:gd name="connsiteY61" fmla="*/ 17544 h 273890"/>
                <a:gd name="connsiteX62" fmla="*/ 519299 w 1394458"/>
                <a:gd name="connsiteY62" fmla="*/ 17544 h 273890"/>
                <a:gd name="connsiteX63" fmla="*/ 519299 w 1394458"/>
                <a:gd name="connsiteY63" fmla="*/ 270418 h 273890"/>
                <a:gd name="connsiteX64" fmla="*/ 475705 w 1394458"/>
                <a:gd name="connsiteY64" fmla="*/ 270418 h 273890"/>
                <a:gd name="connsiteX65" fmla="*/ 475705 w 1394458"/>
                <a:gd name="connsiteY65" fmla="*/ 17544 h 273890"/>
                <a:gd name="connsiteX66" fmla="*/ 519299 w 1394458"/>
                <a:gd name="connsiteY66" fmla="*/ 17544 h 273890"/>
                <a:gd name="connsiteX67" fmla="*/ 811424 w 1394458"/>
                <a:gd name="connsiteY67" fmla="*/ 188093 h 273890"/>
                <a:gd name="connsiteX68" fmla="*/ 854843 w 1394458"/>
                <a:gd name="connsiteY68" fmla="*/ 188093 h 273890"/>
                <a:gd name="connsiteX69" fmla="*/ 840947 w 1394458"/>
                <a:gd name="connsiteY69" fmla="*/ 232383 h 273890"/>
                <a:gd name="connsiteX70" fmla="*/ 807776 w 1394458"/>
                <a:gd name="connsiteY70" fmla="*/ 262777 h 273890"/>
                <a:gd name="connsiteX71" fmla="*/ 755845 w 1394458"/>
                <a:gd name="connsiteY71" fmla="*/ 273891 h 273890"/>
                <a:gd name="connsiteX72" fmla="*/ 713642 w 1394458"/>
                <a:gd name="connsiteY72" fmla="*/ 265554 h 273890"/>
                <a:gd name="connsiteX73" fmla="*/ 681512 w 1394458"/>
                <a:gd name="connsiteY73" fmla="*/ 241585 h 273890"/>
                <a:gd name="connsiteX74" fmla="*/ 661021 w 1394458"/>
                <a:gd name="connsiteY74" fmla="*/ 203901 h 273890"/>
                <a:gd name="connsiteX75" fmla="*/ 654075 w 1394458"/>
                <a:gd name="connsiteY75" fmla="*/ 154577 h 273890"/>
                <a:gd name="connsiteX76" fmla="*/ 654075 w 1394458"/>
                <a:gd name="connsiteY76" fmla="*/ 133560 h 273890"/>
                <a:gd name="connsiteX77" fmla="*/ 661196 w 1394458"/>
                <a:gd name="connsiteY77" fmla="*/ 84236 h 273890"/>
                <a:gd name="connsiteX78" fmla="*/ 682037 w 1394458"/>
                <a:gd name="connsiteY78" fmla="*/ 46547 h 273890"/>
                <a:gd name="connsiteX79" fmla="*/ 714513 w 1394458"/>
                <a:gd name="connsiteY79" fmla="*/ 22408 h 273890"/>
                <a:gd name="connsiteX80" fmla="*/ 757411 w 1394458"/>
                <a:gd name="connsiteY80" fmla="*/ 14071 h 273890"/>
                <a:gd name="connsiteX81" fmla="*/ 808472 w 1394458"/>
                <a:gd name="connsiteY81" fmla="*/ 25185 h 273890"/>
                <a:gd name="connsiteX82" fmla="*/ 840777 w 1394458"/>
                <a:gd name="connsiteY82" fmla="*/ 55924 h 273890"/>
                <a:gd name="connsiteX83" fmla="*/ 855018 w 1394458"/>
                <a:gd name="connsiteY83" fmla="*/ 100905 h 273890"/>
                <a:gd name="connsiteX84" fmla="*/ 811599 w 1394458"/>
                <a:gd name="connsiteY84" fmla="*/ 100905 h 273890"/>
                <a:gd name="connsiteX85" fmla="*/ 803958 w 1394458"/>
                <a:gd name="connsiteY85" fmla="*/ 72943 h 273890"/>
                <a:gd name="connsiteX86" fmla="*/ 786940 w 1394458"/>
                <a:gd name="connsiteY86" fmla="*/ 55229 h 273890"/>
                <a:gd name="connsiteX87" fmla="*/ 757416 w 1394458"/>
                <a:gd name="connsiteY87" fmla="*/ 48974 h 273890"/>
                <a:gd name="connsiteX88" fmla="*/ 731366 w 1394458"/>
                <a:gd name="connsiteY88" fmla="*/ 54533 h 273890"/>
                <a:gd name="connsiteX89" fmla="*/ 712781 w 1394458"/>
                <a:gd name="connsiteY89" fmla="*/ 70861 h 273890"/>
                <a:gd name="connsiteX90" fmla="*/ 701492 w 1394458"/>
                <a:gd name="connsiteY90" fmla="*/ 97432 h 273890"/>
                <a:gd name="connsiteX91" fmla="*/ 697844 w 1394458"/>
                <a:gd name="connsiteY91" fmla="*/ 133210 h 273890"/>
                <a:gd name="connsiteX92" fmla="*/ 697844 w 1394458"/>
                <a:gd name="connsiteY92" fmla="*/ 154572 h 273890"/>
                <a:gd name="connsiteX93" fmla="*/ 701142 w 1394458"/>
                <a:gd name="connsiteY93" fmla="*/ 189309 h 273890"/>
                <a:gd name="connsiteX94" fmla="*/ 711565 w 1394458"/>
                <a:gd name="connsiteY94" fmla="*/ 215880 h 273890"/>
                <a:gd name="connsiteX95" fmla="*/ 729629 w 1394458"/>
                <a:gd name="connsiteY95" fmla="*/ 233074 h 273890"/>
                <a:gd name="connsiteX96" fmla="*/ 755855 w 1394458"/>
                <a:gd name="connsiteY96" fmla="*/ 239154 h 273890"/>
                <a:gd name="connsiteX97" fmla="*/ 785904 w 1394458"/>
                <a:gd name="connsiteY97" fmla="*/ 233249 h 273890"/>
                <a:gd name="connsiteX98" fmla="*/ 803443 w 1394458"/>
                <a:gd name="connsiteY98" fmla="*/ 216055 h 273890"/>
                <a:gd name="connsiteX99" fmla="*/ 811434 w 1394458"/>
                <a:gd name="connsiteY99" fmla="*/ 188093 h 273890"/>
                <a:gd name="connsiteX100" fmla="*/ 882285 w 1394458"/>
                <a:gd name="connsiteY100" fmla="*/ 178541 h 273890"/>
                <a:gd name="connsiteX101" fmla="*/ 882285 w 1394458"/>
                <a:gd name="connsiteY101" fmla="*/ 174548 h 273890"/>
                <a:gd name="connsiteX102" fmla="*/ 888190 w 1394458"/>
                <a:gd name="connsiteY102" fmla="*/ 136858 h 273890"/>
                <a:gd name="connsiteX103" fmla="*/ 905208 w 1394458"/>
                <a:gd name="connsiteY103" fmla="*/ 106464 h 273890"/>
                <a:gd name="connsiteX104" fmla="*/ 932650 w 1394458"/>
                <a:gd name="connsiteY104" fmla="*/ 86318 h 273890"/>
                <a:gd name="connsiteX105" fmla="*/ 969469 w 1394458"/>
                <a:gd name="connsiteY105" fmla="*/ 79022 h 273890"/>
                <a:gd name="connsiteX106" fmla="*/ 1006288 w 1394458"/>
                <a:gd name="connsiteY106" fmla="*/ 86318 h 273890"/>
                <a:gd name="connsiteX107" fmla="*/ 1033899 w 1394458"/>
                <a:gd name="connsiteY107" fmla="*/ 106464 h 273890"/>
                <a:gd name="connsiteX108" fmla="*/ 1051093 w 1394458"/>
                <a:gd name="connsiteY108" fmla="*/ 136858 h 273890"/>
                <a:gd name="connsiteX109" fmla="*/ 1056998 w 1394458"/>
                <a:gd name="connsiteY109" fmla="*/ 174548 h 273890"/>
                <a:gd name="connsiteX110" fmla="*/ 1056998 w 1394458"/>
                <a:gd name="connsiteY110" fmla="*/ 178541 h 273890"/>
                <a:gd name="connsiteX111" fmla="*/ 1051093 w 1394458"/>
                <a:gd name="connsiteY111" fmla="*/ 216226 h 273890"/>
                <a:gd name="connsiteX112" fmla="*/ 1033899 w 1394458"/>
                <a:gd name="connsiteY112" fmla="*/ 246619 h 273890"/>
                <a:gd name="connsiteX113" fmla="*/ 1006458 w 1394458"/>
                <a:gd name="connsiteY113" fmla="*/ 266765 h 273890"/>
                <a:gd name="connsiteX114" fmla="*/ 969814 w 1394458"/>
                <a:gd name="connsiteY114" fmla="*/ 273886 h 273890"/>
                <a:gd name="connsiteX115" fmla="*/ 932820 w 1394458"/>
                <a:gd name="connsiteY115" fmla="*/ 266765 h 273890"/>
                <a:gd name="connsiteX116" fmla="*/ 905378 w 1394458"/>
                <a:gd name="connsiteY116" fmla="*/ 246619 h 273890"/>
                <a:gd name="connsiteX117" fmla="*/ 888185 w 1394458"/>
                <a:gd name="connsiteY117" fmla="*/ 216226 h 273890"/>
                <a:gd name="connsiteX118" fmla="*/ 882280 w 1394458"/>
                <a:gd name="connsiteY118" fmla="*/ 178541 h 273890"/>
                <a:gd name="connsiteX119" fmla="*/ 924143 w 1394458"/>
                <a:gd name="connsiteY119" fmla="*/ 174548 h 273890"/>
                <a:gd name="connsiteX120" fmla="*/ 924143 w 1394458"/>
                <a:gd name="connsiteY120" fmla="*/ 178541 h 273890"/>
                <a:gd name="connsiteX121" fmla="*/ 926750 w 1394458"/>
                <a:gd name="connsiteY121" fmla="*/ 202510 h 273890"/>
                <a:gd name="connsiteX122" fmla="*/ 934911 w 1394458"/>
                <a:gd name="connsiteY122" fmla="*/ 222310 h 273890"/>
                <a:gd name="connsiteX123" fmla="*/ 949152 w 1394458"/>
                <a:gd name="connsiteY123" fmla="*/ 235681 h 273890"/>
                <a:gd name="connsiteX124" fmla="*/ 969819 w 1394458"/>
                <a:gd name="connsiteY124" fmla="*/ 240545 h 273890"/>
                <a:gd name="connsiteX125" fmla="*/ 989965 w 1394458"/>
                <a:gd name="connsiteY125" fmla="*/ 235681 h 273890"/>
                <a:gd name="connsiteX126" fmla="*/ 1004206 w 1394458"/>
                <a:gd name="connsiteY126" fmla="*/ 222310 h 273890"/>
                <a:gd name="connsiteX127" fmla="*/ 1012367 w 1394458"/>
                <a:gd name="connsiteY127" fmla="*/ 202510 h 273890"/>
                <a:gd name="connsiteX128" fmla="*/ 1015145 w 1394458"/>
                <a:gd name="connsiteY128" fmla="*/ 178541 h 273890"/>
                <a:gd name="connsiteX129" fmla="*/ 1015145 w 1394458"/>
                <a:gd name="connsiteY129" fmla="*/ 174548 h 273890"/>
                <a:gd name="connsiteX130" fmla="*/ 1012367 w 1394458"/>
                <a:gd name="connsiteY130" fmla="*/ 150929 h 273890"/>
                <a:gd name="connsiteX131" fmla="*/ 1004031 w 1394458"/>
                <a:gd name="connsiteY131" fmla="*/ 130958 h 273890"/>
                <a:gd name="connsiteX132" fmla="*/ 989790 w 1394458"/>
                <a:gd name="connsiteY132" fmla="*/ 117412 h 273890"/>
                <a:gd name="connsiteX133" fmla="*/ 969469 w 1394458"/>
                <a:gd name="connsiteY133" fmla="*/ 112373 h 273890"/>
                <a:gd name="connsiteX134" fmla="*/ 948977 w 1394458"/>
                <a:gd name="connsiteY134" fmla="*/ 117412 h 273890"/>
                <a:gd name="connsiteX135" fmla="*/ 934911 w 1394458"/>
                <a:gd name="connsiteY135" fmla="*/ 130958 h 273890"/>
                <a:gd name="connsiteX136" fmla="*/ 926750 w 1394458"/>
                <a:gd name="connsiteY136" fmla="*/ 150929 h 273890"/>
                <a:gd name="connsiteX137" fmla="*/ 924143 w 1394458"/>
                <a:gd name="connsiteY137" fmla="*/ 174548 h 273890"/>
                <a:gd name="connsiteX138" fmla="*/ 1133598 w 1394458"/>
                <a:gd name="connsiteY138" fmla="*/ 122617 h 273890"/>
                <a:gd name="connsiteX139" fmla="*/ 1133598 w 1394458"/>
                <a:gd name="connsiteY139" fmla="*/ 270418 h 273890"/>
                <a:gd name="connsiteX140" fmla="*/ 1091745 w 1394458"/>
                <a:gd name="connsiteY140" fmla="*/ 270418 h 273890"/>
                <a:gd name="connsiteX141" fmla="*/ 1091745 w 1394458"/>
                <a:gd name="connsiteY141" fmla="*/ 82495 h 273890"/>
                <a:gd name="connsiteX142" fmla="*/ 1131171 w 1394458"/>
                <a:gd name="connsiteY142" fmla="*/ 82495 h 273890"/>
                <a:gd name="connsiteX143" fmla="*/ 1133603 w 1394458"/>
                <a:gd name="connsiteY143" fmla="*/ 122617 h 273890"/>
                <a:gd name="connsiteX144" fmla="*/ 1126132 w 1394458"/>
                <a:gd name="connsiteY144" fmla="*/ 169509 h 273890"/>
                <a:gd name="connsiteX145" fmla="*/ 1112586 w 1394458"/>
                <a:gd name="connsiteY145" fmla="*/ 169334 h 273890"/>
                <a:gd name="connsiteX146" fmla="*/ 1118145 w 1394458"/>
                <a:gd name="connsiteY146" fmla="*/ 132690 h 273890"/>
                <a:gd name="connsiteX147" fmla="*/ 1133428 w 1394458"/>
                <a:gd name="connsiteY147" fmla="*/ 104032 h 273890"/>
                <a:gd name="connsiteX148" fmla="*/ 1157046 w 1394458"/>
                <a:gd name="connsiteY148" fmla="*/ 85623 h 273890"/>
                <a:gd name="connsiteX149" fmla="*/ 1187615 w 1394458"/>
                <a:gd name="connsiteY149" fmla="*/ 79022 h 273890"/>
                <a:gd name="connsiteX150" fmla="*/ 1212105 w 1394458"/>
                <a:gd name="connsiteY150" fmla="*/ 82840 h 273890"/>
                <a:gd name="connsiteX151" fmla="*/ 1231034 w 1394458"/>
                <a:gd name="connsiteY151" fmla="*/ 94825 h 273890"/>
                <a:gd name="connsiteX152" fmla="*/ 1243189 w 1394458"/>
                <a:gd name="connsiteY152" fmla="*/ 116532 h 273890"/>
                <a:gd name="connsiteX153" fmla="*/ 1247357 w 1394458"/>
                <a:gd name="connsiteY153" fmla="*/ 149008 h 273890"/>
                <a:gd name="connsiteX154" fmla="*/ 1247357 w 1394458"/>
                <a:gd name="connsiteY154" fmla="*/ 270408 h 273890"/>
                <a:gd name="connsiteX155" fmla="*/ 1205329 w 1394458"/>
                <a:gd name="connsiteY155" fmla="*/ 270408 h 273890"/>
                <a:gd name="connsiteX156" fmla="*/ 1205329 w 1394458"/>
                <a:gd name="connsiteY156" fmla="*/ 148833 h 273890"/>
                <a:gd name="connsiteX157" fmla="*/ 1201336 w 1394458"/>
                <a:gd name="connsiteY157" fmla="*/ 127471 h 273890"/>
                <a:gd name="connsiteX158" fmla="*/ 1190047 w 1394458"/>
                <a:gd name="connsiteY158" fmla="*/ 116182 h 273890"/>
                <a:gd name="connsiteX159" fmla="*/ 1171813 w 1394458"/>
                <a:gd name="connsiteY159" fmla="*/ 112709 h 273890"/>
                <a:gd name="connsiteX160" fmla="*/ 1152533 w 1394458"/>
                <a:gd name="connsiteY160" fmla="*/ 117223 h 273890"/>
                <a:gd name="connsiteX161" fmla="*/ 1138116 w 1394458"/>
                <a:gd name="connsiteY161" fmla="*/ 129552 h 273890"/>
                <a:gd name="connsiteX162" fmla="*/ 1129259 w 1394458"/>
                <a:gd name="connsiteY162" fmla="*/ 147617 h 273890"/>
                <a:gd name="connsiteX163" fmla="*/ 1126132 w 1394458"/>
                <a:gd name="connsiteY163" fmla="*/ 169499 h 273890"/>
                <a:gd name="connsiteX164" fmla="*/ 1346701 w 1394458"/>
                <a:gd name="connsiteY164" fmla="*/ 270418 h 273890"/>
                <a:gd name="connsiteX165" fmla="*/ 1304843 w 1394458"/>
                <a:gd name="connsiteY165" fmla="*/ 270418 h 273890"/>
                <a:gd name="connsiteX166" fmla="*/ 1304843 w 1394458"/>
                <a:gd name="connsiteY166" fmla="*/ 64436 h 273890"/>
                <a:gd name="connsiteX167" fmla="*/ 1312659 w 1394458"/>
                <a:gd name="connsiteY167" fmla="*/ 29178 h 273890"/>
                <a:gd name="connsiteX168" fmla="*/ 1335412 w 1394458"/>
                <a:gd name="connsiteY168" fmla="*/ 7471 h 273890"/>
                <a:gd name="connsiteX169" fmla="*/ 1370319 w 1394458"/>
                <a:gd name="connsiteY169" fmla="*/ 0 h 273890"/>
                <a:gd name="connsiteX170" fmla="*/ 1382649 w 1394458"/>
                <a:gd name="connsiteY170" fmla="*/ 871 h 273890"/>
                <a:gd name="connsiteX171" fmla="*/ 1394458 w 1394458"/>
                <a:gd name="connsiteY171" fmla="*/ 3127 h 273890"/>
                <a:gd name="connsiteX172" fmla="*/ 1393418 w 1394458"/>
                <a:gd name="connsiteY172" fmla="*/ 35433 h 273890"/>
                <a:gd name="connsiteX173" fmla="*/ 1385776 w 1394458"/>
                <a:gd name="connsiteY173" fmla="*/ 34217 h 273890"/>
                <a:gd name="connsiteX174" fmla="*/ 1377095 w 1394458"/>
                <a:gd name="connsiteY174" fmla="*/ 33867 h 273890"/>
                <a:gd name="connsiteX175" fmla="*/ 1360596 w 1394458"/>
                <a:gd name="connsiteY175" fmla="*/ 37515 h 273890"/>
                <a:gd name="connsiteX176" fmla="*/ 1350178 w 1394458"/>
                <a:gd name="connsiteY176" fmla="*/ 47763 h 273890"/>
                <a:gd name="connsiteX177" fmla="*/ 1346706 w 1394458"/>
                <a:gd name="connsiteY177" fmla="*/ 64436 h 273890"/>
                <a:gd name="connsiteX178" fmla="*/ 1346706 w 1394458"/>
                <a:gd name="connsiteY178" fmla="*/ 270418 h 273890"/>
                <a:gd name="connsiteX179" fmla="*/ 1385431 w 1394458"/>
                <a:gd name="connsiteY179" fmla="*/ 82500 h 273890"/>
                <a:gd name="connsiteX180" fmla="*/ 1385431 w 1394458"/>
                <a:gd name="connsiteY180" fmla="*/ 113069 h 273890"/>
                <a:gd name="connsiteX181" fmla="*/ 1276015 w 1394458"/>
                <a:gd name="connsiteY181" fmla="*/ 113069 h 273890"/>
                <a:gd name="connsiteX182" fmla="*/ 1276015 w 1394458"/>
                <a:gd name="connsiteY182" fmla="*/ 82500 h 273890"/>
                <a:gd name="connsiteX183" fmla="*/ 1385431 w 1394458"/>
                <a:gd name="connsiteY183" fmla="*/ 82500 h 2738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</a:cxnLst>
              <a:rect l="l" t="t" r="r" b="b"/>
              <a:pathLst>
                <a:path w="1394458" h="273890">
                  <a:moveTo>
                    <a:pt x="157354" y="188093"/>
                  </a:moveTo>
                  <a:lnTo>
                    <a:pt x="200773" y="188093"/>
                  </a:lnTo>
                  <a:cubicBezTo>
                    <a:pt x="199382" y="204650"/>
                    <a:pt x="194752" y="219411"/>
                    <a:pt x="186877" y="232383"/>
                  </a:cubicBezTo>
                  <a:cubicBezTo>
                    <a:pt x="179003" y="245233"/>
                    <a:pt x="167947" y="255365"/>
                    <a:pt x="153706" y="262777"/>
                  </a:cubicBezTo>
                  <a:cubicBezTo>
                    <a:pt x="139465" y="270185"/>
                    <a:pt x="122155" y="273891"/>
                    <a:pt x="101775" y="273891"/>
                  </a:cubicBezTo>
                  <a:cubicBezTo>
                    <a:pt x="86143" y="273891"/>
                    <a:pt x="72077" y="271114"/>
                    <a:pt x="59572" y="265554"/>
                  </a:cubicBezTo>
                  <a:cubicBezTo>
                    <a:pt x="47067" y="259878"/>
                    <a:pt x="36357" y="251892"/>
                    <a:pt x="27442" y="241585"/>
                  </a:cubicBezTo>
                  <a:cubicBezTo>
                    <a:pt x="18526" y="231167"/>
                    <a:pt x="11697" y="218604"/>
                    <a:pt x="6950" y="203901"/>
                  </a:cubicBezTo>
                  <a:cubicBezTo>
                    <a:pt x="2315" y="189192"/>
                    <a:pt x="0" y="172753"/>
                    <a:pt x="0" y="154572"/>
                  </a:cubicBezTo>
                  <a:lnTo>
                    <a:pt x="0" y="133555"/>
                  </a:lnTo>
                  <a:cubicBezTo>
                    <a:pt x="0" y="115379"/>
                    <a:pt x="2374" y="98935"/>
                    <a:pt x="7121" y="84231"/>
                  </a:cubicBezTo>
                  <a:cubicBezTo>
                    <a:pt x="11984" y="69528"/>
                    <a:pt x="18930" y="56965"/>
                    <a:pt x="27962" y="46542"/>
                  </a:cubicBezTo>
                  <a:cubicBezTo>
                    <a:pt x="36994" y="36007"/>
                    <a:pt x="47816" y="27957"/>
                    <a:pt x="60438" y="22403"/>
                  </a:cubicBezTo>
                  <a:cubicBezTo>
                    <a:pt x="73171" y="16843"/>
                    <a:pt x="87471" y="14066"/>
                    <a:pt x="103336" y="14066"/>
                  </a:cubicBezTo>
                  <a:cubicBezTo>
                    <a:pt x="123482" y="14066"/>
                    <a:pt x="140506" y="17772"/>
                    <a:pt x="154397" y="25180"/>
                  </a:cubicBezTo>
                  <a:cubicBezTo>
                    <a:pt x="168293" y="32592"/>
                    <a:pt x="179056" y="42836"/>
                    <a:pt x="186702" y="55919"/>
                  </a:cubicBezTo>
                  <a:cubicBezTo>
                    <a:pt x="194460" y="69003"/>
                    <a:pt x="199207" y="83998"/>
                    <a:pt x="200943" y="100900"/>
                  </a:cubicBezTo>
                  <a:lnTo>
                    <a:pt x="157524" y="100900"/>
                  </a:lnTo>
                  <a:cubicBezTo>
                    <a:pt x="156367" y="90015"/>
                    <a:pt x="153818" y="80695"/>
                    <a:pt x="149883" y="72938"/>
                  </a:cubicBezTo>
                  <a:cubicBezTo>
                    <a:pt x="146065" y="65180"/>
                    <a:pt x="140389" y="59275"/>
                    <a:pt x="132865" y="55224"/>
                  </a:cubicBezTo>
                  <a:cubicBezTo>
                    <a:pt x="125340" y="51055"/>
                    <a:pt x="115496" y="48969"/>
                    <a:pt x="103341" y="48969"/>
                  </a:cubicBezTo>
                  <a:cubicBezTo>
                    <a:pt x="93385" y="48969"/>
                    <a:pt x="84698" y="50822"/>
                    <a:pt x="77291" y="54528"/>
                  </a:cubicBezTo>
                  <a:cubicBezTo>
                    <a:pt x="69878" y="58234"/>
                    <a:pt x="63687" y="63677"/>
                    <a:pt x="58706" y="70856"/>
                  </a:cubicBezTo>
                  <a:cubicBezTo>
                    <a:pt x="53730" y="78035"/>
                    <a:pt x="49966" y="86892"/>
                    <a:pt x="47417" y="97427"/>
                  </a:cubicBezTo>
                  <a:cubicBezTo>
                    <a:pt x="44985" y="107845"/>
                    <a:pt x="43769" y="119771"/>
                    <a:pt x="43769" y="133205"/>
                  </a:cubicBezTo>
                  <a:lnTo>
                    <a:pt x="43769" y="154567"/>
                  </a:lnTo>
                  <a:cubicBezTo>
                    <a:pt x="43769" y="167305"/>
                    <a:pt x="44869" y="178881"/>
                    <a:pt x="47067" y="189304"/>
                  </a:cubicBezTo>
                  <a:cubicBezTo>
                    <a:pt x="49382" y="199611"/>
                    <a:pt x="52855" y="208468"/>
                    <a:pt x="57490" y="215875"/>
                  </a:cubicBezTo>
                  <a:cubicBezTo>
                    <a:pt x="62237" y="223288"/>
                    <a:pt x="68259" y="229017"/>
                    <a:pt x="75550" y="233069"/>
                  </a:cubicBezTo>
                  <a:cubicBezTo>
                    <a:pt x="82845" y="237120"/>
                    <a:pt x="91585" y="239149"/>
                    <a:pt x="101775" y="239149"/>
                  </a:cubicBezTo>
                  <a:cubicBezTo>
                    <a:pt x="114163" y="239149"/>
                    <a:pt x="124178" y="237179"/>
                    <a:pt x="131824" y="233244"/>
                  </a:cubicBezTo>
                  <a:cubicBezTo>
                    <a:pt x="139582" y="229304"/>
                    <a:pt x="145428" y="223575"/>
                    <a:pt x="149363" y="216050"/>
                  </a:cubicBezTo>
                  <a:cubicBezTo>
                    <a:pt x="153414" y="208409"/>
                    <a:pt x="156080" y="199090"/>
                    <a:pt x="157354" y="188088"/>
                  </a:cubicBezTo>
                  <a:close/>
                  <a:moveTo>
                    <a:pt x="313837" y="270418"/>
                  </a:moveTo>
                  <a:lnTo>
                    <a:pt x="259825" y="270418"/>
                  </a:lnTo>
                  <a:lnTo>
                    <a:pt x="260170" y="235856"/>
                  </a:lnTo>
                  <a:lnTo>
                    <a:pt x="313837" y="235856"/>
                  </a:lnTo>
                  <a:cubicBezTo>
                    <a:pt x="329469" y="235856"/>
                    <a:pt x="342553" y="232441"/>
                    <a:pt x="353088" y="225608"/>
                  </a:cubicBezTo>
                  <a:cubicBezTo>
                    <a:pt x="363740" y="218779"/>
                    <a:pt x="371731" y="208993"/>
                    <a:pt x="377057" y="196255"/>
                  </a:cubicBezTo>
                  <a:cubicBezTo>
                    <a:pt x="382499" y="183516"/>
                    <a:pt x="385218" y="168351"/>
                    <a:pt x="385218" y="150754"/>
                  </a:cubicBezTo>
                  <a:lnTo>
                    <a:pt x="385218" y="137033"/>
                  </a:lnTo>
                  <a:cubicBezTo>
                    <a:pt x="385218" y="123371"/>
                    <a:pt x="383657" y="111269"/>
                    <a:pt x="380530" y="100734"/>
                  </a:cubicBezTo>
                  <a:cubicBezTo>
                    <a:pt x="377519" y="90199"/>
                    <a:pt x="373005" y="81342"/>
                    <a:pt x="366984" y="74163"/>
                  </a:cubicBezTo>
                  <a:cubicBezTo>
                    <a:pt x="361079" y="66984"/>
                    <a:pt x="353784" y="61542"/>
                    <a:pt x="345102" y="57840"/>
                  </a:cubicBezTo>
                  <a:cubicBezTo>
                    <a:pt x="336532" y="54134"/>
                    <a:pt x="326634" y="52281"/>
                    <a:pt x="315403" y="52281"/>
                  </a:cubicBezTo>
                  <a:lnTo>
                    <a:pt x="258784" y="52281"/>
                  </a:lnTo>
                  <a:lnTo>
                    <a:pt x="258784" y="17544"/>
                  </a:lnTo>
                  <a:lnTo>
                    <a:pt x="315403" y="17544"/>
                  </a:lnTo>
                  <a:cubicBezTo>
                    <a:pt x="332193" y="17544"/>
                    <a:pt x="347534" y="20379"/>
                    <a:pt x="361429" y="26055"/>
                  </a:cubicBezTo>
                  <a:cubicBezTo>
                    <a:pt x="375325" y="31615"/>
                    <a:pt x="387310" y="39660"/>
                    <a:pt x="397383" y="50195"/>
                  </a:cubicBezTo>
                  <a:cubicBezTo>
                    <a:pt x="407572" y="60730"/>
                    <a:pt x="415389" y="73351"/>
                    <a:pt x="420826" y="88054"/>
                  </a:cubicBezTo>
                  <a:cubicBezTo>
                    <a:pt x="426269" y="102758"/>
                    <a:pt x="428988" y="119202"/>
                    <a:pt x="428988" y="137378"/>
                  </a:cubicBezTo>
                  <a:lnTo>
                    <a:pt x="428988" y="150754"/>
                  </a:lnTo>
                  <a:cubicBezTo>
                    <a:pt x="428988" y="168930"/>
                    <a:pt x="426269" y="185374"/>
                    <a:pt x="420826" y="200078"/>
                  </a:cubicBezTo>
                  <a:cubicBezTo>
                    <a:pt x="415384" y="214781"/>
                    <a:pt x="407568" y="227403"/>
                    <a:pt x="397383" y="237938"/>
                  </a:cubicBezTo>
                  <a:cubicBezTo>
                    <a:pt x="387193" y="248356"/>
                    <a:pt x="375038" y="256405"/>
                    <a:pt x="360909" y="262077"/>
                  </a:cubicBezTo>
                  <a:cubicBezTo>
                    <a:pt x="346896" y="267636"/>
                    <a:pt x="331211" y="270413"/>
                    <a:pt x="313842" y="270413"/>
                  </a:cubicBezTo>
                  <a:close/>
                  <a:moveTo>
                    <a:pt x="283964" y="17544"/>
                  </a:moveTo>
                  <a:lnTo>
                    <a:pt x="283964" y="270418"/>
                  </a:lnTo>
                  <a:lnTo>
                    <a:pt x="240369" y="270418"/>
                  </a:lnTo>
                  <a:lnTo>
                    <a:pt x="240369" y="17544"/>
                  </a:lnTo>
                  <a:lnTo>
                    <a:pt x="283964" y="17544"/>
                  </a:lnTo>
                  <a:close/>
                  <a:moveTo>
                    <a:pt x="519299" y="17544"/>
                  </a:moveTo>
                  <a:lnTo>
                    <a:pt x="519299" y="270418"/>
                  </a:lnTo>
                  <a:lnTo>
                    <a:pt x="475705" y="270418"/>
                  </a:lnTo>
                  <a:lnTo>
                    <a:pt x="475705" y="17544"/>
                  </a:lnTo>
                  <a:lnTo>
                    <a:pt x="519299" y="17544"/>
                  </a:lnTo>
                  <a:close/>
                  <a:moveTo>
                    <a:pt x="811424" y="188093"/>
                  </a:moveTo>
                  <a:lnTo>
                    <a:pt x="854843" y="188093"/>
                  </a:lnTo>
                  <a:cubicBezTo>
                    <a:pt x="853452" y="204650"/>
                    <a:pt x="848822" y="219411"/>
                    <a:pt x="840947" y="232383"/>
                  </a:cubicBezTo>
                  <a:cubicBezTo>
                    <a:pt x="833073" y="245233"/>
                    <a:pt x="822017" y="255365"/>
                    <a:pt x="807776" y="262777"/>
                  </a:cubicBezTo>
                  <a:cubicBezTo>
                    <a:pt x="793535" y="270185"/>
                    <a:pt x="776225" y="273891"/>
                    <a:pt x="755845" y="273891"/>
                  </a:cubicBezTo>
                  <a:cubicBezTo>
                    <a:pt x="740213" y="273891"/>
                    <a:pt x="726147" y="271114"/>
                    <a:pt x="713642" y="265554"/>
                  </a:cubicBezTo>
                  <a:cubicBezTo>
                    <a:pt x="701137" y="259878"/>
                    <a:pt x="690427" y="251892"/>
                    <a:pt x="681512" y="241585"/>
                  </a:cubicBezTo>
                  <a:cubicBezTo>
                    <a:pt x="672596" y="231167"/>
                    <a:pt x="665768" y="218604"/>
                    <a:pt x="661021" y="203901"/>
                  </a:cubicBezTo>
                  <a:cubicBezTo>
                    <a:pt x="656390" y="189197"/>
                    <a:pt x="654075" y="172753"/>
                    <a:pt x="654075" y="154577"/>
                  </a:cubicBezTo>
                  <a:lnTo>
                    <a:pt x="654075" y="133560"/>
                  </a:lnTo>
                  <a:cubicBezTo>
                    <a:pt x="654075" y="115384"/>
                    <a:pt x="656449" y="98940"/>
                    <a:pt x="661196" y="84236"/>
                  </a:cubicBezTo>
                  <a:cubicBezTo>
                    <a:pt x="666059" y="69533"/>
                    <a:pt x="673005" y="56970"/>
                    <a:pt x="682037" y="46547"/>
                  </a:cubicBezTo>
                  <a:cubicBezTo>
                    <a:pt x="691069" y="36012"/>
                    <a:pt x="701891" y="27962"/>
                    <a:pt x="714513" y="22408"/>
                  </a:cubicBezTo>
                  <a:cubicBezTo>
                    <a:pt x="727246" y="16848"/>
                    <a:pt x="741546" y="14071"/>
                    <a:pt x="757411" y="14071"/>
                  </a:cubicBezTo>
                  <a:cubicBezTo>
                    <a:pt x="777557" y="14071"/>
                    <a:pt x="794581" y="17777"/>
                    <a:pt x="808472" y="25185"/>
                  </a:cubicBezTo>
                  <a:cubicBezTo>
                    <a:pt x="822368" y="32597"/>
                    <a:pt x="833131" y="42840"/>
                    <a:pt x="840777" y="55924"/>
                  </a:cubicBezTo>
                  <a:cubicBezTo>
                    <a:pt x="848535" y="69008"/>
                    <a:pt x="853282" y="84003"/>
                    <a:pt x="855018" y="100905"/>
                  </a:cubicBezTo>
                  <a:lnTo>
                    <a:pt x="811599" y="100905"/>
                  </a:lnTo>
                  <a:cubicBezTo>
                    <a:pt x="810442" y="90019"/>
                    <a:pt x="807893" y="80700"/>
                    <a:pt x="803958" y="72943"/>
                  </a:cubicBezTo>
                  <a:cubicBezTo>
                    <a:pt x="800140" y="65185"/>
                    <a:pt x="794464" y="59280"/>
                    <a:pt x="786940" y="55229"/>
                  </a:cubicBezTo>
                  <a:cubicBezTo>
                    <a:pt x="779415" y="51060"/>
                    <a:pt x="769571" y="48974"/>
                    <a:pt x="757416" y="48974"/>
                  </a:cubicBezTo>
                  <a:cubicBezTo>
                    <a:pt x="747460" y="48974"/>
                    <a:pt x="738773" y="50827"/>
                    <a:pt x="731366" y="54533"/>
                  </a:cubicBezTo>
                  <a:cubicBezTo>
                    <a:pt x="723953" y="58239"/>
                    <a:pt x="717762" y="63682"/>
                    <a:pt x="712781" y="70861"/>
                  </a:cubicBezTo>
                  <a:cubicBezTo>
                    <a:pt x="707801" y="78040"/>
                    <a:pt x="704041" y="86897"/>
                    <a:pt x="701492" y="97432"/>
                  </a:cubicBezTo>
                  <a:cubicBezTo>
                    <a:pt x="699060" y="107850"/>
                    <a:pt x="697844" y="119776"/>
                    <a:pt x="697844" y="133210"/>
                  </a:cubicBezTo>
                  <a:lnTo>
                    <a:pt x="697844" y="154572"/>
                  </a:lnTo>
                  <a:cubicBezTo>
                    <a:pt x="697844" y="167310"/>
                    <a:pt x="698944" y="178886"/>
                    <a:pt x="701142" y="189309"/>
                  </a:cubicBezTo>
                  <a:cubicBezTo>
                    <a:pt x="703457" y="199616"/>
                    <a:pt x="706930" y="208473"/>
                    <a:pt x="711565" y="215880"/>
                  </a:cubicBezTo>
                  <a:cubicBezTo>
                    <a:pt x="716312" y="223293"/>
                    <a:pt x="722334" y="229022"/>
                    <a:pt x="729629" y="233074"/>
                  </a:cubicBezTo>
                  <a:cubicBezTo>
                    <a:pt x="736925" y="237125"/>
                    <a:pt x="745665" y="239154"/>
                    <a:pt x="755855" y="239154"/>
                  </a:cubicBezTo>
                  <a:cubicBezTo>
                    <a:pt x="768243" y="239154"/>
                    <a:pt x="778258" y="237184"/>
                    <a:pt x="785904" y="233249"/>
                  </a:cubicBezTo>
                  <a:cubicBezTo>
                    <a:pt x="793661" y="229309"/>
                    <a:pt x="799508" y="223580"/>
                    <a:pt x="803443" y="216055"/>
                  </a:cubicBezTo>
                  <a:cubicBezTo>
                    <a:pt x="807494" y="208414"/>
                    <a:pt x="810159" y="199095"/>
                    <a:pt x="811434" y="188093"/>
                  </a:cubicBezTo>
                  <a:close/>
                  <a:moveTo>
                    <a:pt x="882285" y="178541"/>
                  </a:moveTo>
                  <a:lnTo>
                    <a:pt x="882285" y="174548"/>
                  </a:lnTo>
                  <a:cubicBezTo>
                    <a:pt x="882285" y="161002"/>
                    <a:pt x="884255" y="148439"/>
                    <a:pt x="888190" y="136858"/>
                  </a:cubicBezTo>
                  <a:cubicBezTo>
                    <a:pt x="892124" y="125165"/>
                    <a:pt x="897800" y="115034"/>
                    <a:pt x="905208" y="106464"/>
                  </a:cubicBezTo>
                  <a:cubicBezTo>
                    <a:pt x="912732" y="97782"/>
                    <a:pt x="921881" y="91065"/>
                    <a:pt x="932650" y="86318"/>
                  </a:cubicBezTo>
                  <a:cubicBezTo>
                    <a:pt x="943535" y="81454"/>
                    <a:pt x="955806" y="79022"/>
                    <a:pt x="969469" y="79022"/>
                  </a:cubicBezTo>
                  <a:cubicBezTo>
                    <a:pt x="983131" y="79022"/>
                    <a:pt x="995519" y="81454"/>
                    <a:pt x="1006288" y="86318"/>
                  </a:cubicBezTo>
                  <a:cubicBezTo>
                    <a:pt x="1017173" y="91065"/>
                    <a:pt x="1026375" y="97782"/>
                    <a:pt x="1033899" y="106464"/>
                  </a:cubicBezTo>
                  <a:cubicBezTo>
                    <a:pt x="1041424" y="115034"/>
                    <a:pt x="1047158" y="125165"/>
                    <a:pt x="1051093" y="136858"/>
                  </a:cubicBezTo>
                  <a:cubicBezTo>
                    <a:pt x="1055028" y="148434"/>
                    <a:pt x="1056998" y="160997"/>
                    <a:pt x="1056998" y="174548"/>
                  </a:cubicBezTo>
                  <a:lnTo>
                    <a:pt x="1056998" y="178541"/>
                  </a:lnTo>
                  <a:cubicBezTo>
                    <a:pt x="1056998" y="192086"/>
                    <a:pt x="1055028" y="204650"/>
                    <a:pt x="1051093" y="216226"/>
                  </a:cubicBezTo>
                  <a:cubicBezTo>
                    <a:pt x="1047153" y="227806"/>
                    <a:pt x="1041424" y="237938"/>
                    <a:pt x="1033899" y="246619"/>
                  </a:cubicBezTo>
                  <a:cubicBezTo>
                    <a:pt x="1026375" y="255189"/>
                    <a:pt x="1017226" y="261902"/>
                    <a:pt x="1006458" y="266765"/>
                  </a:cubicBezTo>
                  <a:cubicBezTo>
                    <a:pt x="995689" y="271512"/>
                    <a:pt x="983476" y="273886"/>
                    <a:pt x="969814" y="273886"/>
                  </a:cubicBezTo>
                  <a:cubicBezTo>
                    <a:pt x="956151" y="273886"/>
                    <a:pt x="943705" y="271512"/>
                    <a:pt x="932820" y="266765"/>
                  </a:cubicBezTo>
                  <a:cubicBezTo>
                    <a:pt x="922051" y="261902"/>
                    <a:pt x="912907" y="255189"/>
                    <a:pt x="905378" y="246619"/>
                  </a:cubicBezTo>
                  <a:cubicBezTo>
                    <a:pt x="897854" y="237938"/>
                    <a:pt x="892119" y="227806"/>
                    <a:pt x="888185" y="216226"/>
                  </a:cubicBezTo>
                  <a:cubicBezTo>
                    <a:pt x="884245" y="204650"/>
                    <a:pt x="882280" y="192086"/>
                    <a:pt x="882280" y="178541"/>
                  </a:cubicBezTo>
                  <a:close/>
                  <a:moveTo>
                    <a:pt x="924143" y="174548"/>
                  </a:moveTo>
                  <a:lnTo>
                    <a:pt x="924143" y="178541"/>
                  </a:lnTo>
                  <a:cubicBezTo>
                    <a:pt x="924143" y="186994"/>
                    <a:pt x="925013" y="194980"/>
                    <a:pt x="926750" y="202510"/>
                  </a:cubicBezTo>
                  <a:cubicBezTo>
                    <a:pt x="928486" y="210034"/>
                    <a:pt x="931210" y="216634"/>
                    <a:pt x="934911" y="222310"/>
                  </a:cubicBezTo>
                  <a:cubicBezTo>
                    <a:pt x="938617" y="227981"/>
                    <a:pt x="943365" y="232441"/>
                    <a:pt x="949152" y="235681"/>
                  </a:cubicBezTo>
                  <a:cubicBezTo>
                    <a:pt x="954940" y="238925"/>
                    <a:pt x="961832" y="240545"/>
                    <a:pt x="969819" y="240545"/>
                  </a:cubicBezTo>
                  <a:cubicBezTo>
                    <a:pt x="977805" y="240545"/>
                    <a:pt x="984293" y="238925"/>
                    <a:pt x="989965" y="235681"/>
                  </a:cubicBezTo>
                  <a:cubicBezTo>
                    <a:pt x="995753" y="232441"/>
                    <a:pt x="1000500" y="227981"/>
                    <a:pt x="1004206" y="222310"/>
                  </a:cubicBezTo>
                  <a:cubicBezTo>
                    <a:pt x="1007912" y="216634"/>
                    <a:pt x="1010631" y="210039"/>
                    <a:pt x="1012367" y="202510"/>
                  </a:cubicBezTo>
                  <a:cubicBezTo>
                    <a:pt x="1014220" y="194985"/>
                    <a:pt x="1015145" y="186994"/>
                    <a:pt x="1015145" y="178541"/>
                  </a:cubicBezTo>
                  <a:lnTo>
                    <a:pt x="1015145" y="174548"/>
                  </a:lnTo>
                  <a:cubicBezTo>
                    <a:pt x="1015145" y="166211"/>
                    <a:pt x="1014220" y="158336"/>
                    <a:pt x="1012367" y="150929"/>
                  </a:cubicBezTo>
                  <a:cubicBezTo>
                    <a:pt x="1010631" y="143405"/>
                    <a:pt x="1007854" y="136746"/>
                    <a:pt x="1004031" y="130958"/>
                  </a:cubicBezTo>
                  <a:cubicBezTo>
                    <a:pt x="1000325" y="125170"/>
                    <a:pt x="995578" y="120652"/>
                    <a:pt x="989790" y="117412"/>
                  </a:cubicBezTo>
                  <a:cubicBezTo>
                    <a:pt x="984118" y="114056"/>
                    <a:pt x="977343" y="112373"/>
                    <a:pt x="969469" y="112373"/>
                  </a:cubicBezTo>
                  <a:cubicBezTo>
                    <a:pt x="961594" y="112373"/>
                    <a:pt x="954765" y="114051"/>
                    <a:pt x="948977" y="117412"/>
                  </a:cubicBezTo>
                  <a:cubicBezTo>
                    <a:pt x="943301" y="120657"/>
                    <a:pt x="938613" y="125170"/>
                    <a:pt x="934911" y="130958"/>
                  </a:cubicBezTo>
                  <a:cubicBezTo>
                    <a:pt x="931205" y="136746"/>
                    <a:pt x="928486" y="143405"/>
                    <a:pt x="926750" y="150929"/>
                  </a:cubicBezTo>
                  <a:cubicBezTo>
                    <a:pt x="925013" y="158336"/>
                    <a:pt x="924143" y="166211"/>
                    <a:pt x="924143" y="174548"/>
                  </a:cubicBezTo>
                  <a:close/>
                  <a:moveTo>
                    <a:pt x="1133598" y="122617"/>
                  </a:moveTo>
                  <a:lnTo>
                    <a:pt x="1133598" y="270418"/>
                  </a:lnTo>
                  <a:lnTo>
                    <a:pt x="1091745" y="270418"/>
                  </a:lnTo>
                  <a:lnTo>
                    <a:pt x="1091745" y="82495"/>
                  </a:lnTo>
                  <a:lnTo>
                    <a:pt x="1131171" y="82495"/>
                  </a:lnTo>
                  <a:lnTo>
                    <a:pt x="1133603" y="122617"/>
                  </a:lnTo>
                  <a:close/>
                  <a:moveTo>
                    <a:pt x="1126132" y="169509"/>
                  </a:moveTo>
                  <a:lnTo>
                    <a:pt x="1112586" y="169334"/>
                  </a:lnTo>
                  <a:cubicBezTo>
                    <a:pt x="1112703" y="156016"/>
                    <a:pt x="1114556" y="143803"/>
                    <a:pt x="1118145" y="132690"/>
                  </a:cubicBezTo>
                  <a:cubicBezTo>
                    <a:pt x="1121852" y="121576"/>
                    <a:pt x="1126944" y="112023"/>
                    <a:pt x="1133428" y="104032"/>
                  </a:cubicBezTo>
                  <a:cubicBezTo>
                    <a:pt x="1140028" y="96046"/>
                    <a:pt x="1147902" y="89908"/>
                    <a:pt x="1157046" y="85623"/>
                  </a:cubicBezTo>
                  <a:cubicBezTo>
                    <a:pt x="1166195" y="81226"/>
                    <a:pt x="1176385" y="79022"/>
                    <a:pt x="1187615" y="79022"/>
                  </a:cubicBezTo>
                  <a:cubicBezTo>
                    <a:pt x="1196647" y="79022"/>
                    <a:pt x="1204809" y="80297"/>
                    <a:pt x="1212105" y="82840"/>
                  </a:cubicBezTo>
                  <a:cubicBezTo>
                    <a:pt x="1219517" y="85272"/>
                    <a:pt x="1225825" y="89265"/>
                    <a:pt x="1231034" y="94825"/>
                  </a:cubicBezTo>
                  <a:cubicBezTo>
                    <a:pt x="1236360" y="100384"/>
                    <a:pt x="1240412" y="107617"/>
                    <a:pt x="1243189" y="116532"/>
                  </a:cubicBezTo>
                  <a:cubicBezTo>
                    <a:pt x="1245966" y="125331"/>
                    <a:pt x="1247357" y="136157"/>
                    <a:pt x="1247357" y="149008"/>
                  </a:cubicBezTo>
                  <a:lnTo>
                    <a:pt x="1247357" y="270408"/>
                  </a:lnTo>
                  <a:lnTo>
                    <a:pt x="1205329" y="270408"/>
                  </a:lnTo>
                  <a:lnTo>
                    <a:pt x="1205329" y="148833"/>
                  </a:lnTo>
                  <a:cubicBezTo>
                    <a:pt x="1205329" y="139800"/>
                    <a:pt x="1203996" y="132680"/>
                    <a:pt x="1201336" y="127471"/>
                  </a:cubicBezTo>
                  <a:cubicBezTo>
                    <a:pt x="1198787" y="122145"/>
                    <a:pt x="1195028" y="118380"/>
                    <a:pt x="1190047" y="116182"/>
                  </a:cubicBezTo>
                  <a:cubicBezTo>
                    <a:pt x="1185183" y="113867"/>
                    <a:pt x="1179104" y="112709"/>
                    <a:pt x="1171813" y="112709"/>
                  </a:cubicBezTo>
                  <a:cubicBezTo>
                    <a:pt x="1164522" y="112709"/>
                    <a:pt x="1158209" y="114212"/>
                    <a:pt x="1152533" y="117223"/>
                  </a:cubicBezTo>
                  <a:cubicBezTo>
                    <a:pt x="1146861" y="120233"/>
                    <a:pt x="1142056" y="124343"/>
                    <a:pt x="1138116" y="129552"/>
                  </a:cubicBezTo>
                  <a:cubicBezTo>
                    <a:pt x="1134293" y="134762"/>
                    <a:pt x="1131341" y="140783"/>
                    <a:pt x="1129259" y="147617"/>
                  </a:cubicBezTo>
                  <a:cubicBezTo>
                    <a:pt x="1127178" y="154445"/>
                    <a:pt x="1126132" y="161741"/>
                    <a:pt x="1126132" y="169499"/>
                  </a:cubicBezTo>
                  <a:close/>
                  <a:moveTo>
                    <a:pt x="1346701" y="270418"/>
                  </a:moveTo>
                  <a:lnTo>
                    <a:pt x="1304843" y="270418"/>
                  </a:lnTo>
                  <a:lnTo>
                    <a:pt x="1304843" y="64436"/>
                  </a:lnTo>
                  <a:cubicBezTo>
                    <a:pt x="1304843" y="50428"/>
                    <a:pt x="1307450" y="38672"/>
                    <a:pt x="1312659" y="29178"/>
                  </a:cubicBezTo>
                  <a:cubicBezTo>
                    <a:pt x="1317985" y="19567"/>
                    <a:pt x="1325567" y="12330"/>
                    <a:pt x="1335412" y="7471"/>
                  </a:cubicBezTo>
                  <a:cubicBezTo>
                    <a:pt x="1345256" y="2490"/>
                    <a:pt x="1356890" y="0"/>
                    <a:pt x="1370319" y="0"/>
                  </a:cubicBezTo>
                  <a:cubicBezTo>
                    <a:pt x="1374488" y="0"/>
                    <a:pt x="1378597" y="292"/>
                    <a:pt x="1382649" y="871"/>
                  </a:cubicBezTo>
                  <a:cubicBezTo>
                    <a:pt x="1386701" y="1333"/>
                    <a:pt x="1390640" y="2087"/>
                    <a:pt x="1394458" y="3127"/>
                  </a:cubicBezTo>
                  <a:lnTo>
                    <a:pt x="1393418" y="35433"/>
                  </a:lnTo>
                  <a:cubicBezTo>
                    <a:pt x="1391102" y="34854"/>
                    <a:pt x="1388554" y="34450"/>
                    <a:pt x="1385776" y="34217"/>
                  </a:cubicBezTo>
                  <a:cubicBezTo>
                    <a:pt x="1383116" y="33983"/>
                    <a:pt x="1380217" y="33867"/>
                    <a:pt x="1377095" y="33867"/>
                  </a:cubicBezTo>
                  <a:cubicBezTo>
                    <a:pt x="1370728" y="33867"/>
                    <a:pt x="1365227" y="35083"/>
                    <a:pt x="1360596" y="37515"/>
                  </a:cubicBezTo>
                  <a:cubicBezTo>
                    <a:pt x="1356083" y="39830"/>
                    <a:pt x="1352605" y="43244"/>
                    <a:pt x="1350178" y="47763"/>
                  </a:cubicBezTo>
                  <a:cubicBezTo>
                    <a:pt x="1347863" y="52281"/>
                    <a:pt x="1346706" y="57836"/>
                    <a:pt x="1346706" y="64436"/>
                  </a:cubicBezTo>
                  <a:lnTo>
                    <a:pt x="1346706" y="270418"/>
                  </a:lnTo>
                  <a:close/>
                  <a:moveTo>
                    <a:pt x="1385431" y="82500"/>
                  </a:moveTo>
                  <a:lnTo>
                    <a:pt x="1385431" y="113069"/>
                  </a:lnTo>
                  <a:lnTo>
                    <a:pt x="1276015" y="113069"/>
                  </a:lnTo>
                  <a:lnTo>
                    <a:pt x="1276015" y="82500"/>
                  </a:lnTo>
                  <a:lnTo>
                    <a:pt x="1385431" y="82500"/>
                  </a:lnTo>
                  <a:close/>
                </a:path>
              </a:pathLst>
            </a:custGeom>
            <a:solidFill>
              <a:schemeClr val="tx1"/>
            </a:solidFill>
            <a:ln w="4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7" name="Полилиния: фигура 46">
              <a:extLst>
                <a:ext uri="{FF2B5EF4-FFF2-40B4-BE49-F238E27FC236}">
                  <a16:creationId xmlns:a16="http://schemas.microsoft.com/office/drawing/2014/main" id="{0E6F0FB0-99D0-4190-B058-29B8184B7C5F}"/>
                </a:ext>
              </a:extLst>
            </p:cNvPr>
            <p:cNvSpPr/>
            <p:nvPr/>
          </p:nvSpPr>
          <p:spPr>
            <a:xfrm>
              <a:off x="8902858" y="5892336"/>
              <a:ext cx="774600" cy="259834"/>
            </a:xfrm>
            <a:custGeom>
              <a:avLst/>
              <a:gdLst>
                <a:gd name="connsiteX0" fmla="*/ 174372 w 774600"/>
                <a:gd name="connsiteY0" fmla="*/ 223015 h 259834"/>
                <a:gd name="connsiteX1" fmla="*/ 174372 w 774600"/>
                <a:gd name="connsiteY1" fmla="*/ 256362 h 259834"/>
                <a:gd name="connsiteX2" fmla="*/ 4859 w 774600"/>
                <a:gd name="connsiteY2" fmla="*/ 256362 h 259834"/>
                <a:gd name="connsiteX3" fmla="*/ 4859 w 774600"/>
                <a:gd name="connsiteY3" fmla="*/ 227704 h 259834"/>
                <a:gd name="connsiteX4" fmla="*/ 87193 w 774600"/>
                <a:gd name="connsiteY4" fmla="*/ 137913 h 259834"/>
                <a:gd name="connsiteX5" fmla="*/ 108541 w 774600"/>
                <a:gd name="connsiteY5" fmla="*/ 111513 h 259834"/>
                <a:gd name="connsiteX6" fmla="*/ 119499 w 774600"/>
                <a:gd name="connsiteY6" fmla="*/ 91542 h 259834"/>
                <a:gd name="connsiteX7" fmla="*/ 122797 w 774600"/>
                <a:gd name="connsiteY7" fmla="*/ 73998 h 259834"/>
                <a:gd name="connsiteX8" fmla="*/ 118278 w 774600"/>
                <a:gd name="connsiteY8" fmla="*/ 52981 h 259834"/>
                <a:gd name="connsiteX9" fmla="*/ 105413 w 774600"/>
                <a:gd name="connsiteY9" fmla="*/ 38565 h 259834"/>
                <a:gd name="connsiteX10" fmla="*/ 84752 w 774600"/>
                <a:gd name="connsiteY10" fmla="*/ 33181 h 259834"/>
                <a:gd name="connsiteX11" fmla="*/ 61138 w 774600"/>
                <a:gd name="connsiteY11" fmla="*/ 39261 h 259834"/>
                <a:gd name="connsiteX12" fmla="*/ 46712 w 774600"/>
                <a:gd name="connsiteY12" fmla="*/ 56109 h 259834"/>
                <a:gd name="connsiteX13" fmla="*/ 41853 w 774600"/>
                <a:gd name="connsiteY13" fmla="*/ 80423 h 259834"/>
                <a:gd name="connsiteX14" fmla="*/ 0 w 774600"/>
                <a:gd name="connsiteY14" fmla="*/ 80423 h 259834"/>
                <a:gd name="connsiteX15" fmla="*/ 10083 w 774600"/>
                <a:gd name="connsiteY15" fmla="*/ 40131 h 259834"/>
                <a:gd name="connsiteX16" fmla="*/ 39261 w 774600"/>
                <a:gd name="connsiteY16" fmla="*/ 10953 h 259834"/>
                <a:gd name="connsiteX17" fmla="*/ 85272 w 774600"/>
                <a:gd name="connsiteY17" fmla="*/ 10 h 259834"/>
                <a:gd name="connsiteX18" fmla="*/ 128346 w 774600"/>
                <a:gd name="connsiteY18" fmla="*/ 8521 h 259834"/>
                <a:gd name="connsiteX19" fmla="*/ 155277 w 774600"/>
                <a:gd name="connsiteY19" fmla="*/ 32660 h 259834"/>
                <a:gd name="connsiteX20" fmla="*/ 164654 w 774600"/>
                <a:gd name="connsiteY20" fmla="*/ 69655 h 259834"/>
                <a:gd name="connsiteX21" fmla="*/ 160827 w 774600"/>
                <a:gd name="connsiteY21" fmla="*/ 93103 h 259834"/>
                <a:gd name="connsiteX22" fmla="*/ 149888 w 774600"/>
                <a:gd name="connsiteY22" fmla="*/ 116376 h 259834"/>
                <a:gd name="connsiteX23" fmla="*/ 133400 w 774600"/>
                <a:gd name="connsiteY23" fmla="*/ 139475 h 259834"/>
                <a:gd name="connsiteX24" fmla="*/ 112378 w 774600"/>
                <a:gd name="connsiteY24" fmla="*/ 162748 h 259834"/>
                <a:gd name="connsiteX25" fmla="*/ 57675 w 774600"/>
                <a:gd name="connsiteY25" fmla="*/ 223015 h 259834"/>
                <a:gd name="connsiteX26" fmla="*/ 174377 w 774600"/>
                <a:gd name="connsiteY26" fmla="*/ 223015 h 259834"/>
                <a:gd name="connsiteX27" fmla="*/ 371848 w 774600"/>
                <a:gd name="connsiteY27" fmla="*/ 108735 h 259834"/>
                <a:gd name="connsiteX28" fmla="*/ 371848 w 774600"/>
                <a:gd name="connsiteY28" fmla="*/ 150068 h 259834"/>
                <a:gd name="connsiteX29" fmla="*/ 365938 w 774600"/>
                <a:gd name="connsiteY29" fmla="*/ 200783 h 259834"/>
                <a:gd name="connsiteX30" fmla="*/ 349260 w 774600"/>
                <a:gd name="connsiteY30" fmla="*/ 234650 h 259834"/>
                <a:gd name="connsiteX31" fmla="*/ 323035 w 774600"/>
                <a:gd name="connsiteY31" fmla="*/ 253755 h 259834"/>
                <a:gd name="connsiteX32" fmla="*/ 289168 w 774600"/>
                <a:gd name="connsiteY32" fmla="*/ 259834 h 259834"/>
                <a:gd name="connsiteX33" fmla="*/ 261381 w 774600"/>
                <a:gd name="connsiteY33" fmla="*/ 256011 h 259834"/>
                <a:gd name="connsiteX34" fmla="*/ 238468 w 774600"/>
                <a:gd name="connsiteY34" fmla="*/ 244027 h 259834"/>
                <a:gd name="connsiteX35" fmla="*/ 220914 w 774600"/>
                <a:gd name="connsiteY35" fmla="*/ 223011 h 259834"/>
                <a:gd name="connsiteX36" fmla="*/ 209800 w 774600"/>
                <a:gd name="connsiteY36" fmla="*/ 191921 h 259834"/>
                <a:gd name="connsiteX37" fmla="*/ 205972 w 774600"/>
                <a:gd name="connsiteY37" fmla="*/ 150063 h 259834"/>
                <a:gd name="connsiteX38" fmla="*/ 205972 w 774600"/>
                <a:gd name="connsiteY38" fmla="*/ 108730 h 259834"/>
                <a:gd name="connsiteX39" fmla="*/ 211882 w 774600"/>
                <a:gd name="connsiteY39" fmla="*/ 58366 h 259834"/>
                <a:gd name="connsiteX40" fmla="*/ 228730 w 774600"/>
                <a:gd name="connsiteY40" fmla="*/ 24844 h 259834"/>
                <a:gd name="connsiteX41" fmla="*/ 254786 w 774600"/>
                <a:gd name="connsiteY41" fmla="*/ 5914 h 259834"/>
                <a:gd name="connsiteX42" fmla="*/ 288827 w 774600"/>
                <a:gd name="connsiteY42" fmla="*/ 10 h 259834"/>
                <a:gd name="connsiteX43" fmla="*/ 316614 w 774600"/>
                <a:gd name="connsiteY43" fmla="*/ 3833 h 259834"/>
                <a:gd name="connsiteX44" fmla="*/ 339542 w 774600"/>
                <a:gd name="connsiteY44" fmla="*/ 15467 h 259834"/>
                <a:gd name="connsiteX45" fmla="*/ 356906 w 774600"/>
                <a:gd name="connsiteY45" fmla="*/ 36308 h 259834"/>
                <a:gd name="connsiteX46" fmla="*/ 368020 w 774600"/>
                <a:gd name="connsiteY46" fmla="*/ 67048 h 259834"/>
                <a:gd name="connsiteX47" fmla="*/ 371848 w 774600"/>
                <a:gd name="connsiteY47" fmla="*/ 108730 h 259834"/>
                <a:gd name="connsiteX48" fmla="*/ 329995 w 774600"/>
                <a:gd name="connsiteY48" fmla="*/ 155978 h 259834"/>
                <a:gd name="connsiteX49" fmla="*/ 329995 w 774600"/>
                <a:gd name="connsiteY49" fmla="*/ 102485 h 259834"/>
                <a:gd name="connsiteX50" fmla="*/ 328258 w 774600"/>
                <a:gd name="connsiteY50" fmla="*/ 75914 h 259834"/>
                <a:gd name="connsiteX51" fmla="*/ 323039 w 774600"/>
                <a:gd name="connsiteY51" fmla="*/ 56289 h 259834"/>
                <a:gd name="connsiteX52" fmla="*/ 314708 w 774600"/>
                <a:gd name="connsiteY52" fmla="*/ 43088 h 259834"/>
                <a:gd name="connsiteX53" fmla="*/ 303234 w 774600"/>
                <a:gd name="connsiteY53" fmla="*/ 35623 h 259834"/>
                <a:gd name="connsiteX54" fmla="*/ 288823 w 774600"/>
                <a:gd name="connsiteY54" fmla="*/ 33191 h 259834"/>
                <a:gd name="connsiteX55" fmla="*/ 271459 w 774600"/>
                <a:gd name="connsiteY55" fmla="*/ 37014 h 259834"/>
                <a:gd name="connsiteX56" fmla="*/ 258613 w 774600"/>
                <a:gd name="connsiteY56" fmla="*/ 48823 h 259834"/>
                <a:gd name="connsiteX57" fmla="*/ 250608 w 774600"/>
                <a:gd name="connsiteY57" fmla="*/ 70360 h 259834"/>
                <a:gd name="connsiteX58" fmla="*/ 248015 w 774600"/>
                <a:gd name="connsiteY58" fmla="*/ 102490 h 259834"/>
                <a:gd name="connsiteX59" fmla="*/ 248015 w 774600"/>
                <a:gd name="connsiteY59" fmla="*/ 155982 h 259834"/>
                <a:gd name="connsiteX60" fmla="*/ 249752 w 774600"/>
                <a:gd name="connsiteY60" fmla="*/ 182904 h 259834"/>
                <a:gd name="connsiteX61" fmla="*/ 254956 w 774600"/>
                <a:gd name="connsiteY61" fmla="*/ 202874 h 259834"/>
                <a:gd name="connsiteX62" fmla="*/ 263302 w 774600"/>
                <a:gd name="connsiteY62" fmla="*/ 216420 h 259834"/>
                <a:gd name="connsiteX63" fmla="*/ 274756 w 774600"/>
                <a:gd name="connsiteY63" fmla="*/ 224061 h 259834"/>
                <a:gd name="connsiteX64" fmla="*/ 289168 w 774600"/>
                <a:gd name="connsiteY64" fmla="*/ 226493 h 259834"/>
                <a:gd name="connsiteX65" fmla="*/ 306721 w 774600"/>
                <a:gd name="connsiteY65" fmla="*/ 222670 h 259834"/>
                <a:gd name="connsiteX66" fmla="*/ 319567 w 774600"/>
                <a:gd name="connsiteY66" fmla="*/ 210511 h 259834"/>
                <a:gd name="connsiteX67" fmla="*/ 327383 w 774600"/>
                <a:gd name="connsiteY67" fmla="*/ 188453 h 259834"/>
                <a:gd name="connsiteX68" fmla="*/ 329995 w 774600"/>
                <a:gd name="connsiteY68" fmla="*/ 155978 h 259834"/>
                <a:gd name="connsiteX69" fmla="*/ 578701 w 774600"/>
                <a:gd name="connsiteY69" fmla="*/ 223015 h 259834"/>
                <a:gd name="connsiteX70" fmla="*/ 578701 w 774600"/>
                <a:gd name="connsiteY70" fmla="*/ 256362 h 259834"/>
                <a:gd name="connsiteX71" fmla="*/ 409187 w 774600"/>
                <a:gd name="connsiteY71" fmla="*/ 256362 h 259834"/>
                <a:gd name="connsiteX72" fmla="*/ 409187 w 774600"/>
                <a:gd name="connsiteY72" fmla="*/ 227704 h 259834"/>
                <a:gd name="connsiteX73" fmla="*/ 491507 w 774600"/>
                <a:gd name="connsiteY73" fmla="*/ 137913 h 259834"/>
                <a:gd name="connsiteX74" fmla="*/ 512874 w 774600"/>
                <a:gd name="connsiteY74" fmla="*/ 111513 h 259834"/>
                <a:gd name="connsiteX75" fmla="*/ 523813 w 774600"/>
                <a:gd name="connsiteY75" fmla="*/ 91542 h 259834"/>
                <a:gd name="connsiteX76" fmla="*/ 527110 w 774600"/>
                <a:gd name="connsiteY76" fmla="*/ 73998 h 259834"/>
                <a:gd name="connsiteX77" fmla="*/ 522592 w 774600"/>
                <a:gd name="connsiteY77" fmla="*/ 52981 h 259834"/>
                <a:gd name="connsiteX78" fmla="*/ 509746 w 774600"/>
                <a:gd name="connsiteY78" fmla="*/ 38565 h 259834"/>
                <a:gd name="connsiteX79" fmla="*/ 489085 w 774600"/>
                <a:gd name="connsiteY79" fmla="*/ 33181 h 259834"/>
                <a:gd name="connsiteX80" fmla="*/ 465452 w 774600"/>
                <a:gd name="connsiteY80" fmla="*/ 39261 h 259834"/>
                <a:gd name="connsiteX81" fmla="*/ 451040 w 774600"/>
                <a:gd name="connsiteY81" fmla="*/ 56109 h 259834"/>
                <a:gd name="connsiteX82" fmla="*/ 446181 w 774600"/>
                <a:gd name="connsiteY82" fmla="*/ 80423 h 259834"/>
                <a:gd name="connsiteX83" fmla="*/ 404328 w 774600"/>
                <a:gd name="connsiteY83" fmla="*/ 80423 h 259834"/>
                <a:gd name="connsiteX84" fmla="*/ 414391 w 774600"/>
                <a:gd name="connsiteY84" fmla="*/ 40131 h 259834"/>
                <a:gd name="connsiteX85" fmla="*/ 443569 w 774600"/>
                <a:gd name="connsiteY85" fmla="*/ 10953 h 259834"/>
                <a:gd name="connsiteX86" fmla="*/ 489596 w 774600"/>
                <a:gd name="connsiteY86" fmla="*/ 10 h 259834"/>
                <a:gd name="connsiteX87" fmla="*/ 532670 w 774600"/>
                <a:gd name="connsiteY87" fmla="*/ 8521 h 259834"/>
                <a:gd name="connsiteX88" fmla="*/ 559581 w 774600"/>
                <a:gd name="connsiteY88" fmla="*/ 32660 h 259834"/>
                <a:gd name="connsiteX89" fmla="*/ 568958 w 774600"/>
                <a:gd name="connsiteY89" fmla="*/ 69655 h 259834"/>
                <a:gd name="connsiteX90" fmla="*/ 565145 w 774600"/>
                <a:gd name="connsiteY90" fmla="*/ 93103 h 259834"/>
                <a:gd name="connsiteX91" fmla="*/ 554207 w 774600"/>
                <a:gd name="connsiteY91" fmla="*/ 116376 h 259834"/>
                <a:gd name="connsiteX92" fmla="*/ 537704 w 774600"/>
                <a:gd name="connsiteY92" fmla="*/ 139475 h 259834"/>
                <a:gd name="connsiteX93" fmla="*/ 516697 w 774600"/>
                <a:gd name="connsiteY93" fmla="*/ 162748 h 259834"/>
                <a:gd name="connsiteX94" fmla="*/ 461979 w 774600"/>
                <a:gd name="connsiteY94" fmla="*/ 223015 h 259834"/>
                <a:gd name="connsiteX95" fmla="*/ 578701 w 774600"/>
                <a:gd name="connsiteY95" fmla="*/ 223015 h 259834"/>
                <a:gd name="connsiteX96" fmla="*/ 660505 w 774600"/>
                <a:gd name="connsiteY96" fmla="*/ 110992 h 259834"/>
                <a:gd name="connsiteX97" fmla="*/ 685510 w 774600"/>
                <a:gd name="connsiteY97" fmla="*/ 110992 h 259834"/>
                <a:gd name="connsiteX98" fmla="*/ 709639 w 774600"/>
                <a:gd name="connsiteY98" fmla="*/ 105953 h 259834"/>
                <a:gd name="connsiteX99" fmla="*/ 724065 w 774600"/>
                <a:gd name="connsiteY99" fmla="*/ 92057 h 259834"/>
                <a:gd name="connsiteX100" fmla="*/ 728754 w 774600"/>
                <a:gd name="connsiteY100" fmla="*/ 71736 h 259834"/>
                <a:gd name="connsiteX101" fmla="*/ 724411 w 774600"/>
                <a:gd name="connsiteY101" fmla="*/ 51240 h 259834"/>
                <a:gd name="connsiteX102" fmla="*/ 711565 w 774600"/>
                <a:gd name="connsiteY102" fmla="*/ 37865 h 259834"/>
                <a:gd name="connsiteX103" fmla="*/ 689858 w 774600"/>
                <a:gd name="connsiteY103" fmla="*/ 33176 h 259834"/>
                <a:gd name="connsiteX104" fmla="*/ 669712 w 774600"/>
                <a:gd name="connsiteY104" fmla="*/ 37690 h 259834"/>
                <a:gd name="connsiteX105" fmla="*/ 655626 w 774600"/>
                <a:gd name="connsiteY105" fmla="*/ 50195 h 259834"/>
                <a:gd name="connsiteX106" fmla="*/ 650422 w 774600"/>
                <a:gd name="connsiteY106" fmla="*/ 69300 h 259834"/>
                <a:gd name="connsiteX107" fmla="*/ 608394 w 774600"/>
                <a:gd name="connsiteY107" fmla="*/ 69300 h 259834"/>
                <a:gd name="connsiteX108" fmla="*/ 618992 w 774600"/>
                <a:gd name="connsiteY108" fmla="*/ 33521 h 259834"/>
                <a:gd name="connsiteX109" fmla="*/ 647810 w 774600"/>
                <a:gd name="connsiteY109" fmla="*/ 9032 h 259834"/>
                <a:gd name="connsiteX110" fmla="*/ 689148 w 774600"/>
                <a:gd name="connsiteY110" fmla="*/ 0 h 259834"/>
                <a:gd name="connsiteX111" fmla="*/ 731876 w 774600"/>
                <a:gd name="connsiteY111" fmla="*/ 8161 h 259834"/>
                <a:gd name="connsiteX112" fmla="*/ 760524 w 774600"/>
                <a:gd name="connsiteY112" fmla="*/ 32130 h 259834"/>
                <a:gd name="connsiteX113" fmla="*/ 770777 w 774600"/>
                <a:gd name="connsiteY113" fmla="*/ 71731 h 259834"/>
                <a:gd name="connsiteX114" fmla="*/ 765743 w 774600"/>
                <a:gd name="connsiteY114" fmla="*/ 93614 h 259834"/>
                <a:gd name="connsiteX115" fmla="*/ 750802 w 774600"/>
                <a:gd name="connsiteY115" fmla="*/ 113935 h 259834"/>
                <a:gd name="connsiteX116" fmla="*/ 726137 w 774600"/>
                <a:gd name="connsiteY116" fmla="*/ 128696 h 259834"/>
                <a:gd name="connsiteX117" fmla="*/ 691925 w 774600"/>
                <a:gd name="connsiteY117" fmla="*/ 134256 h 259834"/>
                <a:gd name="connsiteX118" fmla="*/ 660495 w 774600"/>
                <a:gd name="connsiteY118" fmla="*/ 134256 h 259834"/>
                <a:gd name="connsiteX119" fmla="*/ 660495 w 774600"/>
                <a:gd name="connsiteY119" fmla="*/ 110982 h 259834"/>
                <a:gd name="connsiteX120" fmla="*/ 660505 w 774600"/>
                <a:gd name="connsiteY120" fmla="*/ 143643 h 259834"/>
                <a:gd name="connsiteX121" fmla="*/ 660505 w 774600"/>
                <a:gd name="connsiteY121" fmla="*/ 120715 h 259834"/>
                <a:gd name="connsiteX122" fmla="*/ 691935 w 774600"/>
                <a:gd name="connsiteY122" fmla="*/ 120715 h 259834"/>
                <a:gd name="connsiteX123" fmla="*/ 729790 w 774600"/>
                <a:gd name="connsiteY123" fmla="*/ 125924 h 259834"/>
                <a:gd name="connsiteX124" fmla="*/ 755500 w 774600"/>
                <a:gd name="connsiteY124" fmla="*/ 140340 h 259834"/>
                <a:gd name="connsiteX125" fmla="*/ 769911 w 774600"/>
                <a:gd name="connsiteY125" fmla="*/ 161007 h 259834"/>
                <a:gd name="connsiteX126" fmla="*/ 774600 w 774600"/>
                <a:gd name="connsiteY126" fmla="*/ 185671 h 259834"/>
                <a:gd name="connsiteX127" fmla="*/ 768175 w 774600"/>
                <a:gd name="connsiteY127" fmla="*/ 217281 h 259834"/>
                <a:gd name="connsiteX128" fmla="*/ 750296 w 774600"/>
                <a:gd name="connsiteY128" fmla="*/ 240554 h 259834"/>
                <a:gd name="connsiteX129" fmla="*/ 723024 w 774600"/>
                <a:gd name="connsiteY129" fmla="*/ 254971 h 259834"/>
                <a:gd name="connsiteX130" fmla="*/ 689328 w 774600"/>
                <a:gd name="connsiteY130" fmla="*/ 259834 h 259834"/>
                <a:gd name="connsiteX131" fmla="*/ 658068 w 774600"/>
                <a:gd name="connsiteY131" fmla="*/ 255316 h 259834"/>
                <a:gd name="connsiteX132" fmla="*/ 631327 w 774600"/>
                <a:gd name="connsiteY132" fmla="*/ 241945 h 259834"/>
                <a:gd name="connsiteX133" fmla="*/ 612572 w 774600"/>
                <a:gd name="connsiteY133" fmla="*/ 219543 h 259834"/>
                <a:gd name="connsiteX134" fmla="*/ 605787 w 774600"/>
                <a:gd name="connsiteY134" fmla="*/ 188283 h 259834"/>
                <a:gd name="connsiteX135" fmla="*/ 647640 w 774600"/>
                <a:gd name="connsiteY135" fmla="*/ 188283 h 259834"/>
                <a:gd name="connsiteX136" fmla="*/ 652859 w 774600"/>
                <a:gd name="connsiteY136" fmla="*/ 208254 h 259834"/>
                <a:gd name="connsiteX137" fmla="*/ 667786 w 774600"/>
                <a:gd name="connsiteY137" fmla="*/ 221624 h 259834"/>
                <a:gd name="connsiteX138" fmla="*/ 690028 w 774600"/>
                <a:gd name="connsiteY138" fmla="*/ 226488 h 259834"/>
                <a:gd name="connsiteX139" fmla="*/ 712767 w 774600"/>
                <a:gd name="connsiteY139" fmla="*/ 221799 h 259834"/>
                <a:gd name="connsiteX140" fmla="*/ 727363 w 774600"/>
                <a:gd name="connsiteY140" fmla="*/ 207904 h 259834"/>
                <a:gd name="connsiteX141" fmla="*/ 732567 w 774600"/>
                <a:gd name="connsiteY141" fmla="*/ 185671 h 259834"/>
                <a:gd name="connsiteX142" fmla="*/ 726847 w 774600"/>
                <a:gd name="connsiteY142" fmla="*/ 161702 h 259834"/>
                <a:gd name="connsiteX143" fmla="*/ 710515 w 774600"/>
                <a:gd name="connsiteY143" fmla="*/ 148157 h 259834"/>
                <a:gd name="connsiteX144" fmla="*/ 685510 w 774600"/>
                <a:gd name="connsiteY144" fmla="*/ 143643 h 259834"/>
                <a:gd name="connsiteX145" fmla="*/ 660505 w 774600"/>
                <a:gd name="connsiteY145" fmla="*/ 143643 h 2598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</a:cxnLst>
              <a:rect l="l" t="t" r="r" b="b"/>
              <a:pathLst>
                <a:path w="774600" h="259834">
                  <a:moveTo>
                    <a:pt x="174372" y="223015"/>
                  </a:moveTo>
                  <a:lnTo>
                    <a:pt x="174372" y="256362"/>
                  </a:lnTo>
                  <a:lnTo>
                    <a:pt x="4859" y="256362"/>
                  </a:lnTo>
                  <a:lnTo>
                    <a:pt x="4859" y="227704"/>
                  </a:lnTo>
                  <a:lnTo>
                    <a:pt x="87193" y="137913"/>
                  </a:lnTo>
                  <a:cubicBezTo>
                    <a:pt x="96211" y="127724"/>
                    <a:pt x="103336" y="118925"/>
                    <a:pt x="108541" y="111513"/>
                  </a:cubicBezTo>
                  <a:cubicBezTo>
                    <a:pt x="113760" y="104100"/>
                    <a:pt x="117403" y="97446"/>
                    <a:pt x="119499" y="91542"/>
                  </a:cubicBezTo>
                  <a:cubicBezTo>
                    <a:pt x="121697" y="85520"/>
                    <a:pt x="122797" y="79674"/>
                    <a:pt x="122797" y="73998"/>
                  </a:cubicBezTo>
                  <a:cubicBezTo>
                    <a:pt x="122797" y="66012"/>
                    <a:pt x="121284" y="59003"/>
                    <a:pt x="118278" y="52981"/>
                  </a:cubicBezTo>
                  <a:cubicBezTo>
                    <a:pt x="115374" y="46843"/>
                    <a:pt x="111099" y="42038"/>
                    <a:pt x="105413" y="38565"/>
                  </a:cubicBezTo>
                  <a:cubicBezTo>
                    <a:pt x="99747" y="34976"/>
                    <a:pt x="92860" y="33181"/>
                    <a:pt x="84752" y="33181"/>
                  </a:cubicBezTo>
                  <a:cubicBezTo>
                    <a:pt x="75374" y="33181"/>
                    <a:pt x="67510" y="35209"/>
                    <a:pt x="61138" y="39261"/>
                  </a:cubicBezTo>
                  <a:cubicBezTo>
                    <a:pt x="54766" y="43312"/>
                    <a:pt x="49956" y="48930"/>
                    <a:pt x="46712" y="56109"/>
                  </a:cubicBezTo>
                  <a:cubicBezTo>
                    <a:pt x="43482" y="63171"/>
                    <a:pt x="41853" y="71279"/>
                    <a:pt x="41853" y="80423"/>
                  </a:cubicBezTo>
                  <a:lnTo>
                    <a:pt x="0" y="80423"/>
                  </a:lnTo>
                  <a:cubicBezTo>
                    <a:pt x="0" y="65720"/>
                    <a:pt x="3366" y="52286"/>
                    <a:pt x="10083" y="40131"/>
                  </a:cubicBezTo>
                  <a:cubicBezTo>
                    <a:pt x="16800" y="27860"/>
                    <a:pt x="26517" y="18132"/>
                    <a:pt x="39261" y="10953"/>
                  </a:cubicBezTo>
                  <a:cubicBezTo>
                    <a:pt x="51989" y="3658"/>
                    <a:pt x="67325" y="10"/>
                    <a:pt x="85272" y="10"/>
                  </a:cubicBezTo>
                  <a:cubicBezTo>
                    <a:pt x="102189" y="10"/>
                    <a:pt x="116546" y="2845"/>
                    <a:pt x="128346" y="8521"/>
                  </a:cubicBezTo>
                  <a:cubicBezTo>
                    <a:pt x="140160" y="14193"/>
                    <a:pt x="149129" y="22242"/>
                    <a:pt x="155277" y="32660"/>
                  </a:cubicBezTo>
                  <a:cubicBezTo>
                    <a:pt x="161527" y="43079"/>
                    <a:pt x="164654" y="55413"/>
                    <a:pt x="164654" y="69655"/>
                  </a:cubicBezTo>
                  <a:cubicBezTo>
                    <a:pt x="164654" y="77529"/>
                    <a:pt x="163385" y="85345"/>
                    <a:pt x="160827" y="93103"/>
                  </a:cubicBezTo>
                  <a:cubicBezTo>
                    <a:pt x="158283" y="100861"/>
                    <a:pt x="154645" y="108619"/>
                    <a:pt x="149888" y="116376"/>
                  </a:cubicBezTo>
                  <a:cubicBezTo>
                    <a:pt x="145267" y="124017"/>
                    <a:pt x="139757" y="131717"/>
                    <a:pt x="133400" y="139475"/>
                  </a:cubicBezTo>
                  <a:cubicBezTo>
                    <a:pt x="127028" y="147116"/>
                    <a:pt x="120019" y="154873"/>
                    <a:pt x="112378" y="162748"/>
                  </a:cubicBezTo>
                  <a:lnTo>
                    <a:pt x="57675" y="223015"/>
                  </a:lnTo>
                  <a:lnTo>
                    <a:pt x="174377" y="223015"/>
                  </a:lnTo>
                  <a:close/>
                  <a:moveTo>
                    <a:pt x="371848" y="108735"/>
                  </a:moveTo>
                  <a:lnTo>
                    <a:pt x="371848" y="150068"/>
                  </a:lnTo>
                  <a:cubicBezTo>
                    <a:pt x="371848" y="169869"/>
                    <a:pt x="369873" y="186770"/>
                    <a:pt x="365938" y="200783"/>
                  </a:cubicBezTo>
                  <a:cubicBezTo>
                    <a:pt x="362125" y="214674"/>
                    <a:pt x="356561" y="225963"/>
                    <a:pt x="349260" y="234650"/>
                  </a:cubicBezTo>
                  <a:cubicBezTo>
                    <a:pt x="341960" y="243332"/>
                    <a:pt x="333219" y="249703"/>
                    <a:pt x="323035" y="253755"/>
                  </a:cubicBezTo>
                  <a:cubicBezTo>
                    <a:pt x="312971" y="257806"/>
                    <a:pt x="301668" y="259834"/>
                    <a:pt x="289168" y="259834"/>
                  </a:cubicBezTo>
                  <a:cubicBezTo>
                    <a:pt x="279221" y="259834"/>
                    <a:pt x="269951" y="258560"/>
                    <a:pt x="261381" y="256011"/>
                  </a:cubicBezTo>
                  <a:cubicBezTo>
                    <a:pt x="252933" y="253463"/>
                    <a:pt x="245287" y="249470"/>
                    <a:pt x="238468" y="244027"/>
                  </a:cubicBezTo>
                  <a:cubicBezTo>
                    <a:pt x="231634" y="238584"/>
                    <a:pt x="225773" y="231581"/>
                    <a:pt x="220914" y="223011"/>
                  </a:cubicBezTo>
                  <a:cubicBezTo>
                    <a:pt x="216172" y="214329"/>
                    <a:pt x="212466" y="203964"/>
                    <a:pt x="209800" y="191921"/>
                  </a:cubicBezTo>
                  <a:cubicBezTo>
                    <a:pt x="207256" y="179878"/>
                    <a:pt x="205972" y="165929"/>
                    <a:pt x="205972" y="150063"/>
                  </a:cubicBezTo>
                  <a:lnTo>
                    <a:pt x="205972" y="108730"/>
                  </a:lnTo>
                  <a:cubicBezTo>
                    <a:pt x="205972" y="88813"/>
                    <a:pt x="207947" y="72028"/>
                    <a:pt x="211882" y="58366"/>
                  </a:cubicBezTo>
                  <a:cubicBezTo>
                    <a:pt x="215831" y="44587"/>
                    <a:pt x="221430" y="33414"/>
                    <a:pt x="228730" y="24844"/>
                  </a:cubicBezTo>
                  <a:cubicBezTo>
                    <a:pt x="236031" y="16162"/>
                    <a:pt x="244722" y="9849"/>
                    <a:pt x="254786" y="5914"/>
                  </a:cubicBezTo>
                  <a:cubicBezTo>
                    <a:pt x="264970" y="1980"/>
                    <a:pt x="276323" y="10"/>
                    <a:pt x="288827" y="10"/>
                  </a:cubicBezTo>
                  <a:cubicBezTo>
                    <a:pt x="298910" y="10"/>
                    <a:pt x="308166" y="1284"/>
                    <a:pt x="316614" y="3833"/>
                  </a:cubicBezTo>
                  <a:cubicBezTo>
                    <a:pt x="325184" y="6265"/>
                    <a:pt x="332825" y="10141"/>
                    <a:pt x="339542" y="15467"/>
                  </a:cubicBezTo>
                  <a:cubicBezTo>
                    <a:pt x="346376" y="20793"/>
                    <a:pt x="352164" y="27743"/>
                    <a:pt x="356906" y="36308"/>
                  </a:cubicBezTo>
                  <a:cubicBezTo>
                    <a:pt x="361765" y="44762"/>
                    <a:pt x="365476" y="55010"/>
                    <a:pt x="368020" y="67048"/>
                  </a:cubicBezTo>
                  <a:cubicBezTo>
                    <a:pt x="370578" y="78974"/>
                    <a:pt x="371848" y="92870"/>
                    <a:pt x="371848" y="108730"/>
                  </a:cubicBezTo>
                  <a:close/>
                  <a:moveTo>
                    <a:pt x="329995" y="155978"/>
                  </a:moveTo>
                  <a:lnTo>
                    <a:pt x="329995" y="102485"/>
                  </a:lnTo>
                  <a:cubicBezTo>
                    <a:pt x="329995" y="92412"/>
                    <a:pt x="329411" y="83555"/>
                    <a:pt x="328258" y="75914"/>
                  </a:cubicBezTo>
                  <a:cubicBezTo>
                    <a:pt x="327091" y="68157"/>
                    <a:pt x="325355" y="61615"/>
                    <a:pt x="323039" y="56289"/>
                  </a:cubicBezTo>
                  <a:cubicBezTo>
                    <a:pt x="320841" y="50846"/>
                    <a:pt x="318059" y="46445"/>
                    <a:pt x="314708" y="43088"/>
                  </a:cubicBezTo>
                  <a:cubicBezTo>
                    <a:pt x="311342" y="39616"/>
                    <a:pt x="307529" y="37125"/>
                    <a:pt x="303234" y="35623"/>
                  </a:cubicBezTo>
                  <a:cubicBezTo>
                    <a:pt x="298959" y="34003"/>
                    <a:pt x="294148" y="33191"/>
                    <a:pt x="288823" y="33191"/>
                  </a:cubicBezTo>
                  <a:cubicBezTo>
                    <a:pt x="282349" y="33191"/>
                    <a:pt x="276542" y="34465"/>
                    <a:pt x="271459" y="37014"/>
                  </a:cubicBezTo>
                  <a:cubicBezTo>
                    <a:pt x="266357" y="39445"/>
                    <a:pt x="262081" y="43380"/>
                    <a:pt x="258613" y="48823"/>
                  </a:cubicBezTo>
                  <a:cubicBezTo>
                    <a:pt x="255126" y="54266"/>
                    <a:pt x="252466" y="61445"/>
                    <a:pt x="250608" y="70360"/>
                  </a:cubicBezTo>
                  <a:cubicBezTo>
                    <a:pt x="248871" y="79159"/>
                    <a:pt x="248015" y="89869"/>
                    <a:pt x="248015" y="102490"/>
                  </a:cubicBezTo>
                  <a:lnTo>
                    <a:pt x="248015" y="155982"/>
                  </a:lnTo>
                  <a:cubicBezTo>
                    <a:pt x="248015" y="166172"/>
                    <a:pt x="248584" y="175146"/>
                    <a:pt x="249752" y="182904"/>
                  </a:cubicBezTo>
                  <a:cubicBezTo>
                    <a:pt x="250904" y="190661"/>
                    <a:pt x="252636" y="197320"/>
                    <a:pt x="254956" y="202874"/>
                  </a:cubicBezTo>
                  <a:cubicBezTo>
                    <a:pt x="257276" y="208317"/>
                    <a:pt x="260058" y="212831"/>
                    <a:pt x="263302" y="216420"/>
                  </a:cubicBezTo>
                  <a:cubicBezTo>
                    <a:pt x="266653" y="219893"/>
                    <a:pt x="270481" y="222441"/>
                    <a:pt x="274756" y="224061"/>
                  </a:cubicBezTo>
                  <a:cubicBezTo>
                    <a:pt x="279153" y="225681"/>
                    <a:pt x="283964" y="226493"/>
                    <a:pt x="289168" y="226493"/>
                  </a:cubicBezTo>
                  <a:cubicBezTo>
                    <a:pt x="295778" y="226493"/>
                    <a:pt x="301619" y="225219"/>
                    <a:pt x="306721" y="222670"/>
                  </a:cubicBezTo>
                  <a:cubicBezTo>
                    <a:pt x="311804" y="220121"/>
                    <a:pt x="316099" y="216070"/>
                    <a:pt x="319567" y="210511"/>
                  </a:cubicBezTo>
                  <a:cubicBezTo>
                    <a:pt x="323035" y="204839"/>
                    <a:pt x="325646" y="197485"/>
                    <a:pt x="327383" y="188453"/>
                  </a:cubicBezTo>
                  <a:cubicBezTo>
                    <a:pt x="329119" y="179421"/>
                    <a:pt x="329995" y="168594"/>
                    <a:pt x="329995" y="155978"/>
                  </a:cubicBezTo>
                  <a:close/>
                  <a:moveTo>
                    <a:pt x="578701" y="223015"/>
                  </a:moveTo>
                  <a:lnTo>
                    <a:pt x="578701" y="256362"/>
                  </a:lnTo>
                  <a:lnTo>
                    <a:pt x="409187" y="256362"/>
                  </a:lnTo>
                  <a:lnTo>
                    <a:pt x="409187" y="227704"/>
                  </a:lnTo>
                  <a:lnTo>
                    <a:pt x="491507" y="137913"/>
                  </a:lnTo>
                  <a:cubicBezTo>
                    <a:pt x="500539" y="127724"/>
                    <a:pt x="507670" y="118925"/>
                    <a:pt x="512874" y="111513"/>
                  </a:cubicBezTo>
                  <a:cubicBezTo>
                    <a:pt x="518078" y="104100"/>
                    <a:pt x="521736" y="97446"/>
                    <a:pt x="523813" y="91542"/>
                  </a:cubicBezTo>
                  <a:cubicBezTo>
                    <a:pt x="526011" y="85520"/>
                    <a:pt x="527110" y="79674"/>
                    <a:pt x="527110" y="73998"/>
                  </a:cubicBezTo>
                  <a:cubicBezTo>
                    <a:pt x="527110" y="66012"/>
                    <a:pt x="525617" y="59003"/>
                    <a:pt x="522592" y="52981"/>
                  </a:cubicBezTo>
                  <a:cubicBezTo>
                    <a:pt x="519708" y="46843"/>
                    <a:pt x="515413" y="42038"/>
                    <a:pt x="509746" y="38565"/>
                  </a:cubicBezTo>
                  <a:cubicBezTo>
                    <a:pt x="504080" y="34976"/>
                    <a:pt x="497193" y="33181"/>
                    <a:pt x="489085" y="33181"/>
                  </a:cubicBezTo>
                  <a:cubicBezTo>
                    <a:pt x="479708" y="33181"/>
                    <a:pt x="471823" y="35209"/>
                    <a:pt x="465452" y="39261"/>
                  </a:cubicBezTo>
                  <a:cubicBezTo>
                    <a:pt x="459095" y="43312"/>
                    <a:pt x="454289" y="48930"/>
                    <a:pt x="451040" y="56109"/>
                  </a:cubicBezTo>
                  <a:cubicBezTo>
                    <a:pt x="447796" y="63171"/>
                    <a:pt x="446181" y="71279"/>
                    <a:pt x="446181" y="80423"/>
                  </a:cubicBezTo>
                  <a:lnTo>
                    <a:pt x="404328" y="80423"/>
                  </a:lnTo>
                  <a:cubicBezTo>
                    <a:pt x="404328" y="65720"/>
                    <a:pt x="407679" y="52286"/>
                    <a:pt x="414391" y="40131"/>
                  </a:cubicBezTo>
                  <a:cubicBezTo>
                    <a:pt x="421108" y="27860"/>
                    <a:pt x="430846" y="18132"/>
                    <a:pt x="443569" y="10953"/>
                  </a:cubicBezTo>
                  <a:cubicBezTo>
                    <a:pt x="456313" y="3658"/>
                    <a:pt x="471648" y="10"/>
                    <a:pt x="489596" y="10"/>
                  </a:cubicBezTo>
                  <a:cubicBezTo>
                    <a:pt x="506497" y="10"/>
                    <a:pt x="520855" y="2845"/>
                    <a:pt x="532670" y="8521"/>
                  </a:cubicBezTo>
                  <a:cubicBezTo>
                    <a:pt x="544484" y="14193"/>
                    <a:pt x="553453" y="22242"/>
                    <a:pt x="559581" y="32660"/>
                  </a:cubicBezTo>
                  <a:cubicBezTo>
                    <a:pt x="565831" y="43079"/>
                    <a:pt x="568958" y="55413"/>
                    <a:pt x="568958" y="69655"/>
                  </a:cubicBezTo>
                  <a:cubicBezTo>
                    <a:pt x="568958" y="77529"/>
                    <a:pt x="567689" y="85345"/>
                    <a:pt x="565145" y="93103"/>
                  </a:cubicBezTo>
                  <a:cubicBezTo>
                    <a:pt x="562601" y="100861"/>
                    <a:pt x="558944" y="108619"/>
                    <a:pt x="554207" y="116376"/>
                  </a:cubicBezTo>
                  <a:cubicBezTo>
                    <a:pt x="549571" y="124017"/>
                    <a:pt x="544075" y="131717"/>
                    <a:pt x="537704" y="139475"/>
                  </a:cubicBezTo>
                  <a:cubicBezTo>
                    <a:pt x="531332" y="147116"/>
                    <a:pt x="524323" y="154873"/>
                    <a:pt x="516697" y="162748"/>
                  </a:cubicBezTo>
                  <a:lnTo>
                    <a:pt x="461979" y="223015"/>
                  </a:lnTo>
                  <a:lnTo>
                    <a:pt x="578701" y="223015"/>
                  </a:lnTo>
                  <a:close/>
                  <a:moveTo>
                    <a:pt x="660505" y="110992"/>
                  </a:moveTo>
                  <a:lnTo>
                    <a:pt x="685510" y="110992"/>
                  </a:lnTo>
                  <a:cubicBezTo>
                    <a:pt x="695233" y="110992"/>
                    <a:pt x="703287" y="109314"/>
                    <a:pt x="709639" y="105953"/>
                  </a:cubicBezTo>
                  <a:cubicBezTo>
                    <a:pt x="716132" y="102597"/>
                    <a:pt x="720943" y="97962"/>
                    <a:pt x="724065" y="92057"/>
                  </a:cubicBezTo>
                  <a:cubicBezTo>
                    <a:pt x="727188" y="86153"/>
                    <a:pt x="728754" y="79377"/>
                    <a:pt x="728754" y="71736"/>
                  </a:cubicBezTo>
                  <a:cubicBezTo>
                    <a:pt x="728754" y="64095"/>
                    <a:pt x="727295" y="56916"/>
                    <a:pt x="724411" y="51240"/>
                  </a:cubicBezTo>
                  <a:cubicBezTo>
                    <a:pt x="721628" y="45452"/>
                    <a:pt x="717353" y="40992"/>
                    <a:pt x="711565" y="37865"/>
                  </a:cubicBezTo>
                  <a:cubicBezTo>
                    <a:pt x="705879" y="34737"/>
                    <a:pt x="698652" y="33176"/>
                    <a:pt x="689858" y="33176"/>
                  </a:cubicBezTo>
                  <a:cubicBezTo>
                    <a:pt x="682441" y="33176"/>
                    <a:pt x="675724" y="34684"/>
                    <a:pt x="669712" y="37690"/>
                  </a:cubicBezTo>
                  <a:cubicBezTo>
                    <a:pt x="663803" y="40584"/>
                    <a:pt x="659114" y="44752"/>
                    <a:pt x="655626" y="50195"/>
                  </a:cubicBezTo>
                  <a:cubicBezTo>
                    <a:pt x="652159" y="55520"/>
                    <a:pt x="650422" y="61887"/>
                    <a:pt x="650422" y="69300"/>
                  </a:cubicBezTo>
                  <a:lnTo>
                    <a:pt x="608394" y="69300"/>
                  </a:lnTo>
                  <a:cubicBezTo>
                    <a:pt x="608394" y="55871"/>
                    <a:pt x="611916" y="43945"/>
                    <a:pt x="618992" y="33521"/>
                  </a:cubicBezTo>
                  <a:cubicBezTo>
                    <a:pt x="626050" y="23103"/>
                    <a:pt x="635670" y="14937"/>
                    <a:pt x="647810" y="9032"/>
                  </a:cubicBezTo>
                  <a:cubicBezTo>
                    <a:pt x="660092" y="3011"/>
                    <a:pt x="673866" y="0"/>
                    <a:pt x="689148" y="0"/>
                  </a:cubicBezTo>
                  <a:cubicBezTo>
                    <a:pt x="705480" y="0"/>
                    <a:pt x="719717" y="2724"/>
                    <a:pt x="731876" y="8161"/>
                  </a:cubicBezTo>
                  <a:cubicBezTo>
                    <a:pt x="744138" y="13487"/>
                    <a:pt x="753705" y="21479"/>
                    <a:pt x="760524" y="32130"/>
                  </a:cubicBezTo>
                  <a:cubicBezTo>
                    <a:pt x="767358" y="42782"/>
                    <a:pt x="770777" y="55982"/>
                    <a:pt x="770777" y="71731"/>
                  </a:cubicBezTo>
                  <a:cubicBezTo>
                    <a:pt x="770777" y="78910"/>
                    <a:pt x="769094" y="86206"/>
                    <a:pt x="765743" y="93614"/>
                  </a:cubicBezTo>
                  <a:cubicBezTo>
                    <a:pt x="762378" y="101026"/>
                    <a:pt x="757397" y="107797"/>
                    <a:pt x="750802" y="113935"/>
                  </a:cubicBezTo>
                  <a:cubicBezTo>
                    <a:pt x="744206" y="119956"/>
                    <a:pt x="735982" y="124873"/>
                    <a:pt x="726137" y="128696"/>
                  </a:cubicBezTo>
                  <a:cubicBezTo>
                    <a:pt x="716298" y="132403"/>
                    <a:pt x="704892" y="134256"/>
                    <a:pt x="691925" y="134256"/>
                  </a:cubicBezTo>
                  <a:lnTo>
                    <a:pt x="660495" y="134256"/>
                  </a:lnTo>
                  <a:lnTo>
                    <a:pt x="660495" y="110982"/>
                  </a:lnTo>
                  <a:close/>
                  <a:moveTo>
                    <a:pt x="660505" y="143643"/>
                  </a:moveTo>
                  <a:lnTo>
                    <a:pt x="660505" y="120715"/>
                  </a:lnTo>
                  <a:lnTo>
                    <a:pt x="691935" y="120715"/>
                  </a:lnTo>
                  <a:cubicBezTo>
                    <a:pt x="706755" y="120715"/>
                    <a:pt x="719381" y="122451"/>
                    <a:pt x="729790" y="125924"/>
                  </a:cubicBezTo>
                  <a:cubicBezTo>
                    <a:pt x="740335" y="129397"/>
                    <a:pt x="748905" y="134202"/>
                    <a:pt x="755500" y="140340"/>
                  </a:cubicBezTo>
                  <a:cubicBezTo>
                    <a:pt x="762095" y="146362"/>
                    <a:pt x="766906" y="153249"/>
                    <a:pt x="769911" y="161007"/>
                  </a:cubicBezTo>
                  <a:cubicBezTo>
                    <a:pt x="773039" y="168764"/>
                    <a:pt x="774600" y="176984"/>
                    <a:pt x="774600" y="185671"/>
                  </a:cubicBezTo>
                  <a:cubicBezTo>
                    <a:pt x="774600" y="197480"/>
                    <a:pt x="772470" y="208015"/>
                    <a:pt x="768175" y="217281"/>
                  </a:cubicBezTo>
                  <a:cubicBezTo>
                    <a:pt x="764016" y="226430"/>
                    <a:pt x="758044" y="234188"/>
                    <a:pt x="750296" y="240554"/>
                  </a:cubicBezTo>
                  <a:cubicBezTo>
                    <a:pt x="742533" y="246921"/>
                    <a:pt x="733447" y="251726"/>
                    <a:pt x="723024" y="254971"/>
                  </a:cubicBezTo>
                  <a:cubicBezTo>
                    <a:pt x="712718" y="258215"/>
                    <a:pt x="701487" y="259834"/>
                    <a:pt x="689328" y="259834"/>
                  </a:cubicBezTo>
                  <a:cubicBezTo>
                    <a:pt x="678457" y="259834"/>
                    <a:pt x="668029" y="258327"/>
                    <a:pt x="658068" y="255316"/>
                  </a:cubicBezTo>
                  <a:cubicBezTo>
                    <a:pt x="648107" y="252305"/>
                    <a:pt x="639192" y="247850"/>
                    <a:pt x="631327" y="241945"/>
                  </a:cubicBezTo>
                  <a:cubicBezTo>
                    <a:pt x="623443" y="235924"/>
                    <a:pt x="617193" y="228458"/>
                    <a:pt x="612572" y="219543"/>
                  </a:cubicBezTo>
                  <a:cubicBezTo>
                    <a:pt x="608054" y="210511"/>
                    <a:pt x="605787" y="200092"/>
                    <a:pt x="605787" y="188283"/>
                  </a:cubicBezTo>
                  <a:lnTo>
                    <a:pt x="647640" y="188283"/>
                  </a:lnTo>
                  <a:cubicBezTo>
                    <a:pt x="647640" y="195807"/>
                    <a:pt x="649377" y="202466"/>
                    <a:pt x="652859" y="208254"/>
                  </a:cubicBezTo>
                  <a:cubicBezTo>
                    <a:pt x="656449" y="213925"/>
                    <a:pt x="661429" y="218385"/>
                    <a:pt x="667786" y="221624"/>
                  </a:cubicBezTo>
                  <a:cubicBezTo>
                    <a:pt x="674279" y="224869"/>
                    <a:pt x="681682" y="226488"/>
                    <a:pt x="690028" y="226488"/>
                  </a:cubicBezTo>
                  <a:cubicBezTo>
                    <a:pt x="698822" y="226488"/>
                    <a:pt x="706415" y="224927"/>
                    <a:pt x="712767" y="221799"/>
                  </a:cubicBezTo>
                  <a:cubicBezTo>
                    <a:pt x="719138" y="218672"/>
                    <a:pt x="723997" y="214042"/>
                    <a:pt x="727363" y="207904"/>
                  </a:cubicBezTo>
                  <a:cubicBezTo>
                    <a:pt x="730831" y="201765"/>
                    <a:pt x="732567" y="194358"/>
                    <a:pt x="732567" y="185671"/>
                  </a:cubicBezTo>
                  <a:cubicBezTo>
                    <a:pt x="732567" y="175827"/>
                    <a:pt x="730660" y="167840"/>
                    <a:pt x="726847" y="161702"/>
                  </a:cubicBezTo>
                  <a:cubicBezTo>
                    <a:pt x="723019" y="155564"/>
                    <a:pt x="717572" y="151050"/>
                    <a:pt x="710515" y="148157"/>
                  </a:cubicBezTo>
                  <a:cubicBezTo>
                    <a:pt x="703457" y="145146"/>
                    <a:pt x="695111" y="143643"/>
                    <a:pt x="685510" y="143643"/>
                  </a:cubicBezTo>
                  <a:lnTo>
                    <a:pt x="660505" y="143643"/>
                  </a:lnTo>
                  <a:close/>
                </a:path>
              </a:pathLst>
            </a:custGeom>
            <a:solidFill>
              <a:srgbClr val="EE3431"/>
            </a:solidFill>
            <a:ln w="4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8" name="Полилиния: фигура 47">
              <a:extLst>
                <a:ext uri="{FF2B5EF4-FFF2-40B4-BE49-F238E27FC236}">
                  <a16:creationId xmlns:a16="http://schemas.microsoft.com/office/drawing/2014/main" id="{C3ADAD60-17B9-4A06-AE0E-BCB35AB4E7E8}"/>
                </a:ext>
              </a:extLst>
            </p:cNvPr>
            <p:cNvSpPr/>
            <p:nvPr/>
          </p:nvSpPr>
          <p:spPr>
            <a:xfrm>
              <a:off x="8902858" y="5870060"/>
              <a:ext cx="774600" cy="259829"/>
            </a:xfrm>
            <a:custGeom>
              <a:avLst/>
              <a:gdLst>
                <a:gd name="connsiteX0" fmla="*/ 174372 w 774600"/>
                <a:gd name="connsiteY0" fmla="*/ 223011 h 259829"/>
                <a:gd name="connsiteX1" fmla="*/ 174372 w 774600"/>
                <a:gd name="connsiteY1" fmla="*/ 256357 h 259829"/>
                <a:gd name="connsiteX2" fmla="*/ 4859 w 774600"/>
                <a:gd name="connsiteY2" fmla="*/ 256357 h 259829"/>
                <a:gd name="connsiteX3" fmla="*/ 4859 w 774600"/>
                <a:gd name="connsiteY3" fmla="*/ 227699 h 259829"/>
                <a:gd name="connsiteX4" fmla="*/ 87193 w 774600"/>
                <a:gd name="connsiteY4" fmla="*/ 137908 h 259829"/>
                <a:gd name="connsiteX5" fmla="*/ 108541 w 774600"/>
                <a:gd name="connsiteY5" fmla="*/ 111508 h 259829"/>
                <a:gd name="connsiteX6" fmla="*/ 119499 w 774600"/>
                <a:gd name="connsiteY6" fmla="*/ 91537 h 259829"/>
                <a:gd name="connsiteX7" fmla="*/ 122797 w 774600"/>
                <a:gd name="connsiteY7" fmla="*/ 73993 h 259829"/>
                <a:gd name="connsiteX8" fmla="*/ 118278 w 774600"/>
                <a:gd name="connsiteY8" fmla="*/ 52977 h 259829"/>
                <a:gd name="connsiteX9" fmla="*/ 105413 w 774600"/>
                <a:gd name="connsiteY9" fmla="*/ 38560 h 259829"/>
                <a:gd name="connsiteX10" fmla="*/ 84752 w 774600"/>
                <a:gd name="connsiteY10" fmla="*/ 33176 h 259829"/>
                <a:gd name="connsiteX11" fmla="*/ 61138 w 774600"/>
                <a:gd name="connsiteY11" fmla="*/ 39256 h 259829"/>
                <a:gd name="connsiteX12" fmla="*/ 46712 w 774600"/>
                <a:gd name="connsiteY12" fmla="*/ 56104 h 259829"/>
                <a:gd name="connsiteX13" fmla="*/ 41853 w 774600"/>
                <a:gd name="connsiteY13" fmla="*/ 80418 h 259829"/>
                <a:gd name="connsiteX14" fmla="*/ 0 w 774600"/>
                <a:gd name="connsiteY14" fmla="*/ 80418 h 259829"/>
                <a:gd name="connsiteX15" fmla="*/ 10083 w 774600"/>
                <a:gd name="connsiteY15" fmla="*/ 40126 h 259829"/>
                <a:gd name="connsiteX16" fmla="*/ 39261 w 774600"/>
                <a:gd name="connsiteY16" fmla="*/ 10948 h 259829"/>
                <a:gd name="connsiteX17" fmla="*/ 85272 w 774600"/>
                <a:gd name="connsiteY17" fmla="*/ 5 h 259829"/>
                <a:gd name="connsiteX18" fmla="*/ 128346 w 774600"/>
                <a:gd name="connsiteY18" fmla="*/ 8517 h 259829"/>
                <a:gd name="connsiteX19" fmla="*/ 155277 w 774600"/>
                <a:gd name="connsiteY19" fmla="*/ 32660 h 259829"/>
                <a:gd name="connsiteX20" fmla="*/ 164654 w 774600"/>
                <a:gd name="connsiteY20" fmla="*/ 69655 h 259829"/>
                <a:gd name="connsiteX21" fmla="*/ 160827 w 774600"/>
                <a:gd name="connsiteY21" fmla="*/ 93103 h 259829"/>
                <a:gd name="connsiteX22" fmla="*/ 149888 w 774600"/>
                <a:gd name="connsiteY22" fmla="*/ 116376 h 259829"/>
                <a:gd name="connsiteX23" fmla="*/ 133400 w 774600"/>
                <a:gd name="connsiteY23" fmla="*/ 139475 h 259829"/>
                <a:gd name="connsiteX24" fmla="*/ 112378 w 774600"/>
                <a:gd name="connsiteY24" fmla="*/ 162748 h 259829"/>
                <a:gd name="connsiteX25" fmla="*/ 57675 w 774600"/>
                <a:gd name="connsiteY25" fmla="*/ 223015 h 259829"/>
                <a:gd name="connsiteX26" fmla="*/ 174377 w 774600"/>
                <a:gd name="connsiteY26" fmla="*/ 223015 h 259829"/>
                <a:gd name="connsiteX27" fmla="*/ 371848 w 774600"/>
                <a:gd name="connsiteY27" fmla="*/ 108730 h 259829"/>
                <a:gd name="connsiteX28" fmla="*/ 371848 w 774600"/>
                <a:gd name="connsiteY28" fmla="*/ 150063 h 259829"/>
                <a:gd name="connsiteX29" fmla="*/ 365938 w 774600"/>
                <a:gd name="connsiteY29" fmla="*/ 200778 h 259829"/>
                <a:gd name="connsiteX30" fmla="*/ 349260 w 774600"/>
                <a:gd name="connsiteY30" fmla="*/ 234645 h 259829"/>
                <a:gd name="connsiteX31" fmla="*/ 323035 w 774600"/>
                <a:gd name="connsiteY31" fmla="*/ 253750 h 259829"/>
                <a:gd name="connsiteX32" fmla="*/ 289168 w 774600"/>
                <a:gd name="connsiteY32" fmla="*/ 259830 h 259829"/>
                <a:gd name="connsiteX33" fmla="*/ 261381 w 774600"/>
                <a:gd name="connsiteY33" fmla="*/ 256011 h 259829"/>
                <a:gd name="connsiteX34" fmla="*/ 238468 w 774600"/>
                <a:gd name="connsiteY34" fmla="*/ 244027 h 259829"/>
                <a:gd name="connsiteX35" fmla="*/ 220914 w 774600"/>
                <a:gd name="connsiteY35" fmla="*/ 223011 h 259829"/>
                <a:gd name="connsiteX36" fmla="*/ 209800 w 774600"/>
                <a:gd name="connsiteY36" fmla="*/ 191921 h 259829"/>
                <a:gd name="connsiteX37" fmla="*/ 205972 w 774600"/>
                <a:gd name="connsiteY37" fmla="*/ 150063 h 259829"/>
                <a:gd name="connsiteX38" fmla="*/ 205972 w 774600"/>
                <a:gd name="connsiteY38" fmla="*/ 108730 h 259829"/>
                <a:gd name="connsiteX39" fmla="*/ 211882 w 774600"/>
                <a:gd name="connsiteY39" fmla="*/ 58366 h 259829"/>
                <a:gd name="connsiteX40" fmla="*/ 228730 w 774600"/>
                <a:gd name="connsiteY40" fmla="*/ 24844 h 259829"/>
                <a:gd name="connsiteX41" fmla="*/ 254786 w 774600"/>
                <a:gd name="connsiteY41" fmla="*/ 5914 h 259829"/>
                <a:gd name="connsiteX42" fmla="*/ 288827 w 774600"/>
                <a:gd name="connsiteY42" fmla="*/ 10 h 259829"/>
                <a:gd name="connsiteX43" fmla="*/ 316614 w 774600"/>
                <a:gd name="connsiteY43" fmla="*/ 3833 h 259829"/>
                <a:gd name="connsiteX44" fmla="*/ 339542 w 774600"/>
                <a:gd name="connsiteY44" fmla="*/ 15467 h 259829"/>
                <a:gd name="connsiteX45" fmla="*/ 356906 w 774600"/>
                <a:gd name="connsiteY45" fmla="*/ 36308 h 259829"/>
                <a:gd name="connsiteX46" fmla="*/ 368020 w 774600"/>
                <a:gd name="connsiteY46" fmla="*/ 67048 h 259829"/>
                <a:gd name="connsiteX47" fmla="*/ 371848 w 774600"/>
                <a:gd name="connsiteY47" fmla="*/ 108730 h 259829"/>
                <a:gd name="connsiteX48" fmla="*/ 329995 w 774600"/>
                <a:gd name="connsiteY48" fmla="*/ 155968 h 259829"/>
                <a:gd name="connsiteX49" fmla="*/ 329995 w 774600"/>
                <a:gd name="connsiteY49" fmla="*/ 102476 h 259829"/>
                <a:gd name="connsiteX50" fmla="*/ 328258 w 774600"/>
                <a:gd name="connsiteY50" fmla="*/ 75905 h 259829"/>
                <a:gd name="connsiteX51" fmla="*/ 323039 w 774600"/>
                <a:gd name="connsiteY51" fmla="*/ 56279 h 259829"/>
                <a:gd name="connsiteX52" fmla="*/ 314708 w 774600"/>
                <a:gd name="connsiteY52" fmla="*/ 43079 h 259829"/>
                <a:gd name="connsiteX53" fmla="*/ 303234 w 774600"/>
                <a:gd name="connsiteY53" fmla="*/ 35613 h 259829"/>
                <a:gd name="connsiteX54" fmla="*/ 288823 w 774600"/>
                <a:gd name="connsiteY54" fmla="*/ 33181 h 259829"/>
                <a:gd name="connsiteX55" fmla="*/ 271459 w 774600"/>
                <a:gd name="connsiteY55" fmla="*/ 37004 h 259829"/>
                <a:gd name="connsiteX56" fmla="*/ 258613 w 774600"/>
                <a:gd name="connsiteY56" fmla="*/ 48813 h 259829"/>
                <a:gd name="connsiteX57" fmla="*/ 250608 w 774600"/>
                <a:gd name="connsiteY57" fmla="*/ 70350 h 259829"/>
                <a:gd name="connsiteX58" fmla="*/ 248015 w 774600"/>
                <a:gd name="connsiteY58" fmla="*/ 102480 h 259829"/>
                <a:gd name="connsiteX59" fmla="*/ 248015 w 774600"/>
                <a:gd name="connsiteY59" fmla="*/ 155973 h 259829"/>
                <a:gd name="connsiteX60" fmla="*/ 249752 w 774600"/>
                <a:gd name="connsiteY60" fmla="*/ 182894 h 259829"/>
                <a:gd name="connsiteX61" fmla="*/ 254956 w 774600"/>
                <a:gd name="connsiteY61" fmla="*/ 202865 h 259829"/>
                <a:gd name="connsiteX62" fmla="*/ 263302 w 774600"/>
                <a:gd name="connsiteY62" fmla="*/ 216410 h 259829"/>
                <a:gd name="connsiteX63" fmla="*/ 274756 w 774600"/>
                <a:gd name="connsiteY63" fmla="*/ 224051 h 259829"/>
                <a:gd name="connsiteX64" fmla="*/ 289168 w 774600"/>
                <a:gd name="connsiteY64" fmla="*/ 226483 h 259829"/>
                <a:gd name="connsiteX65" fmla="*/ 306721 w 774600"/>
                <a:gd name="connsiteY65" fmla="*/ 222660 h 259829"/>
                <a:gd name="connsiteX66" fmla="*/ 319567 w 774600"/>
                <a:gd name="connsiteY66" fmla="*/ 210501 h 259829"/>
                <a:gd name="connsiteX67" fmla="*/ 327383 w 774600"/>
                <a:gd name="connsiteY67" fmla="*/ 188443 h 259829"/>
                <a:gd name="connsiteX68" fmla="*/ 329995 w 774600"/>
                <a:gd name="connsiteY68" fmla="*/ 155963 h 259829"/>
                <a:gd name="connsiteX69" fmla="*/ 578701 w 774600"/>
                <a:gd name="connsiteY69" fmla="*/ 223006 h 259829"/>
                <a:gd name="connsiteX70" fmla="*/ 578701 w 774600"/>
                <a:gd name="connsiteY70" fmla="*/ 256352 h 259829"/>
                <a:gd name="connsiteX71" fmla="*/ 409187 w 774600"/>
                <a:gd name="connsiteY71" fmla="*/ 256352 h 259829"/>
                <a:gd name="connsiteX72" fmla="*/ 409187 w 774600"/>
                <a:gd name="connsiteY72" fmla="*/ 227694 h 259829"/>
                <a:gd name="connsiteX73" fmla="*/ 491507 w 774600"/>
                <a:gd name="connsiteY73" fmla="*/ 137904 h 259829"/>
                <a:gd name="connsiteX74" fmla="*/ 512874 w 774600"/>
                <a:gd name="connsiteY74" fmla="*/ 111503 h 259829"/>
                <a:gd name="connsiteX75" fmla="*/ 523813 w 774600"/>
                <a:gd name="connsiteY75" fmla="*/ 91532 h 259829"/>
                <a:gd name="connsiteX76" fmla="*/ 527110 w 774600"/>
                <a:gd name="connsiteY76" fmla="*/ 73988 h 259829"/>
                <a:gd name="connsiteX77" fmla="*/ 522592 w 774600"/>
                <a:gd name="connsiteY77" fmla="*/ 52972 h 259829"/>
                <a:gd name="connsiteX78" fmla="*/ 509746 w 774600"/>
                <a:gd name="connsiteY78" fmla="*/ 38555 h 259829"/>
                <a:gd name="connsiteX79" fmla="*/ 489085 w 774600"/>
                <a:gd name="connsiteY79" fmla="*/ 33171 h 259829"/>
                <a:gd name="connsiteX80" fmla="*/ 465452 w 774600"/>
                <a:gd name="connsiteY80" fmla="*/ 39251 h 259829"/>
                <a:gd name="connsiteX81" fmla="*/ 451040 w 774600"/>
                <a:gd name="connsiteY81" fmla="*/ 56099 h 259829"/>
                <a:gd name="connsiteX82" fmla="*/ 446181 w 774600"/>
                <a:gd name="connsiteY82" fmla="*/ 80413 h 259829"/>
                <a:gd name="connsiteX83" fmla="*/ 404328 w 774600"/>
                <a:gd name="connsiteY83" fmla="*/ 80413 h 259829"/>
                <a:gd name="connsiteX84" fmla="*/ 414391 w 774600"/>
                <a:gd name="connsiteY84" fmla="*/ 40122 h 259829"/>
                <a:gd name="connsiteX85" fmla="*/ 443569 w 774600"/>
                <a:gd name="connsiteY85" fmla="*/ 10944 h 259829"/>
                <a:gd name="connsiteX86" fmla="*/ 489596 w 774600"/>
                <a:gd name="connsiteY86" fmla="*/ 0 h 259829"/>
                <a:gd name="connsiteX87" fmla="*/ 532670 w 774600"/>
                <a:gd name="connsiteY87" fmla="*/ 8512 h 259829"/>
                <a:gd name="connsiteX88" fmla="*/ 559581 w 774600"/>
                <a:gd name="connsiteY88" fmla="*/ 32656 h 259829"/>
                <a:gd name="connsiteX89" fmla="*/ 568958 w 774600"/>
                <a:gd name="connsiteY89" fmla="*/ 69650 h 259829"/>
                <a:gd name="connsiteX90" fmla="*/ 565145 w 774600"/>
                <a:gd name="connsiteY90" fmla="*/ 93098 h 259829"/>
                <a:gd name="connsiteX91" fmla="*/ 554207 w 774600"/>
                <a:gd name="connsiteY91" fmla="*/ 116372 h 259829"/>
                <a:gd name="connsiteX92" fmla="*/ 537704 w 774600"/>
                <a:gd name="connsiteY92" fmla="*/ 139470 h 259829"/>
                <a:gd name="connsiteX93" fmla="*/ 516697 w 774600"/>
                <a:gd name="connsiteY93" fmla="*/ 162743 h 259829"/>
                <a:gd name="connsiteX94" fmla="*/ 461979 w 774600"/>
                <a:gd name="connsiteY94" fmla="*/ 223011 h 259829"/>
                <a:gd name="connsiteX95" fmla="*/ 578701 w 774600"/>
                <a:gd name="connsiteY95" fmla="*/ 223011 h 259829"/>
                <a:gd name="connsiteX96" fmla="*/ 660505 w 774600"/>
                <a:gd name="connsiteY96" fmla="*/ 110982 h 259829"/>
                <a:gd name="connsiteX97" fmla="*/ 685510 w 774600"/>
                <a:gd name="connsiteY97" fmla="*/ 110982 h 259829"/>
                <a:gd name="connsiteX98" fmla="*/ 709639 w 774600"/>
                <a:gd name="connsiteY98" fmla="*/ 105948 h 259829"/>
                <a:gd name="connsiteX99" fmla="*/ 724065 w 774600"/>
                <a:gd name="connsiteY99" fmla="*/ 92052 h 259829"/>
                <a:gd name="connsiteX100" fmla="*/ 728754 w 774600"/>
                <a:gd name="connsiteY100" fmla="*/ 71731 h 259829"/>
                <a:gd name="connsiteX101" fmla="*/ 724411 w 774600"/>
                <a:gd name="connsiteY101" fmla="*/ 51240 h 259829"/>
                <a:gd name="connsiteX102" fmla="*/ 711565 w 774600"/>
                <a:gd name="connsiteY102" fmla="*/ 37865 h 259829"/>
                <a:gd name="connsiteX103" fmla="*/ 689858 w 774600"/>
                <a:gd name="connsiteY103" fmla="*/ 33176 h 259829"/>
                <a:gd name="connsiteX104" fmla="*/ 669712 w 774600"/>
                <a:gd name="connsiteY104" fmla="*/ 37690 h 259829"/>
                <a:gd name="connsiteX105" fmla="*/ 655626 w 774600"/>
                <a:gd name="connsiteY105" fmla="*/ 50195 h 259829"/>
                <a:gd name="connsiteX106" fmla="*/ 650422 w 774600"/>
                <a:gd name="connsiteY106" fmla="*/ 69300 h 259829"/>
                <a:gd name="connsiteX107" fmla="*/ 608394 w 774600"/>
                <a:gd name="connsiteY107" fmla="*/ 69300 h 259829"/>
                <a:gd name="connsiteX108" fmla="*/ 618992 w 774600"/>
                <a:gd name="connsiteY108" fmla="*/ 33521 h 259829"/>
                <a:gd name="connsiteX109" fmla="*/ 647810 w 774600"/>
                <a:gd name="connsiteY109" fmla="*/ 9032 h 259829"/>
                <a:gd name="connsiteX110" fmla="*/ 689148 w 774600"/>
                <a:gd name="connsiteY110" fmla="*/ 0 h 259829"/>
                <a:gd name="connsiteX111" fmla="*/ 731876 w 774600"/>
                <a:gd name="connsiteY111" fmla="*/ 8161 h 259829"/>
                <a:gd name="connsiteX112" fmla="*/ 760524 w 774600"/>
                <a:gd name="connsiteY112" fmla="*/ 32130 h 259829"/>
                <a:gd name="connsiteX113" fmla="*/ 770777 w 774600"/>
                <a:gd name="connsiteY113" fmla="*/ 71727 h 259829"/>
                <a:gd name="connsiteX114" fmla="*/ 765743 w 774600"/>
                <a:gd name="connsiteY114" fmla="*/ 93609 h 259829"/>
                <a:gd name="connsiteX115" fmla="*/ 750802 w 774600"/>
                <a:gd name="connsiteY115" fmla="*/ 113930 h 259829"/>
                <a:gd name="connsiteX116" fmla="*/ 726137 w 774600"/>
                <a:gd name="connsiteY116" fmla="*/ 128692 h 259829"/>
                <a:gd name="connsiteX117" fmla="*/ 691925 w 774600"/>
                <a:gd name="connsiteY117" fmla="*/ 134251 h 259829"/>
                <a:gd name="connsiteX118" fmla="*/ 660495 w 774600"/>
                <a:gd name="connsiteY118" fmla="*/ 134251 h 259829"/>
                <a:gd name="connsiteX119" fmla="*/ 660495 w 774600"/>
                <a:gd name="connsiteY119" fmla="*/ 110978 h 259829"/>
                <a:gd name="connsiteX120" fmla="*/ 660505 w 774600"/>
                <a:gd name="connsiteY120" fmla="*/ 143633 h 259829"/>
                <a:gd name="connsiteX121" fmla="*/ 660505 w 774600"/>
                <a:gd name="connsiteY121" fmla="*/ 120705 h 259829"/>
                <a:gd name="connsiteX122" fmla="*/ 691935 w 774600"/>
                <a:gd name="connsiteY122" fmla="*/ 120705 h 259829"/>
                <a:gd name="connsiteX123" fmla="*/ 729790 w 774600"/>
                <a:gd name="connsiteY123" fmla="*/ 125914 h 259829"/>
                <a:gd name="connsiteX124" fmla="*/ 755500 w 774600"/>
                <a:gd name="connsiteY124" fmla="*/ 140331 h 259829"/>
                <a:gd name="connsiteX125" fmla="*/ 769911 w 774600"/>
                <a:gd name="connsiteY125" fmla="*/ 160997 h 259829"/>
                <a:gd name="connsiteX126" fmla="*/ 774600 w 774600"/>
                <a:gd name="connsiteY126" fmla="*/ 185661 h 259829"/>
                <a:gd name="connsiteX127" fmla="*/ 768175 w 774600"/>
                <a:gd name="connsiteY127" fmla="*/ 217271 h 259829"/>
                <a:gd name="connsiteX128" fmla="*/ 750296 w 774600"/>
                <a:gd name="connsiteY128" fmla="*/ 240545 h 259829"/>
                <a:gd name="connsiteX129" fmla="*/ 723024 w 774600"/>
                <a:gd name="connsiteY129" fmla="*/ 254961 h 259829"/>
                <a:gd name="connsiteX130" fmla="*/ 689328 w 774600"/>
                <a:gd name="connsiteY130" fmla="*/ 259825 h 259829"/>
                <a:gd name="connsiteX131" fmla="*/ 658068 w 774600"/>
                <a:gd name="connsiteY131" fmla="*/ 255311 h 259829"/>
                <a:gd name="connsiteX132" fmla="*/ 631327 w 774600"/>
                <a:gd name="connsiteY132" fmla="*/ 241940 h 259829"/>
                <a:gd name="connsiteX133" fmla="*/ 612572 w 774600"/>
                <a:gd name="connsiteY133" fmla="*/ 219538 h 259829"/>
                <a:gd name="connsiteX134" fmla="*/ 605787 w 774600"/>
                <a:gd name="connsiteY134" fmla="*/ 188273 h 259829"/>
                <a:gd name="connsiteX135" fmla="*/ 647640 w 774600"/>
                <a:gd name="connsiteY135" fmla="*/ 188273 h 259829"/>
                <a:gd name="connsiteX136" fmla="*/ 652859 w 774600"/>
                <a:gd name="connsiteY136" fmla="*/ 208249 h 259829"/>
                <a:gd name="connsiteX137" fmla="*/ 667786 w 774600"/>
                <a:gd name="connsiteY137" fmla="*/ 221619 h 259829"/>
                <a:gd name="connsiteX138" fmla="*/ 690028 w 774600"/>
                <a:gd name="connsiteY138" fmla="*/ 226483 h 259829"/>
                <a:gd name="connsiteX139" fmla="*/ 712767 w 774600"/>
                <a:gd name="connsiteY139" fmla="*/ 221795 h 259829"/>
                <a:gd name="connsiteX140" fmla="*/ 727363 w 774600"/>
                <a:gd name="connsiteY140" fmla="*/ 207899 h 259829"/>
                <a:gd name="connsiteX141" fmla="*/ 732567 w 774600"/>
                <a:gd name="connsiteY141" fmla="*/ 185671 h 259829"/>
                <a:gd name="connsiteX142" fmla="*/ 726847 w 774600"/>
                <a:gd name="connsiteY142" fmla="*/ 161702 h 259829"/>
                <a:gd name="connsiteX143" fmla="*/ 710515 w 774600"/>
                <a:gd name="connsiteY143" fmla="*/ 148157 h 259829"/>
                <a:gd name="connsiteX144" fmla="*/ 685510 w 774600"/>
                <a:gd name="connsiteY144" fmla="*/ 143643 h 259829"/>
                <a:gd name="connsiteX145" fmla="*/ 660505 w 774600"/>
                <a:gd name="connsiteY145" fmla="*/ 143643 h 2598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</a:cxnLst>
              <a:rect l="l" t="t" r="r" b="b"/>
              <a:pathLst>
                <a:path w="774600" h="259829">
                  <a:moveTo>
                    <a:pt x="174372" y="223011"/>
                  </a:moveTo>
                  <a:lnTo>
                    <a:pt x="174372" y="256357"/>
                  </a:lnTo>
                  <a:lnTo>
                    <a:pt x="4859" y="256357"/>
                  </a:lnTo>
                  <a:lnTo>
                    <a:pt x="4859" y="227699"/>
                  </a:lnTo>
                  <a:lnTo>
                    <a:pt x="87193" y="137908"/>
                  </a:lnTo>
                  <a:cubicBezTo>
                    <a:pt x="96211" y="127719"/>
                    <a:pt x="103336" y="118920"/>
                    <a:pt x="108541" y="111508"/>
                  </a:cubicBezTo>
                  <a:cubicBezTo>
                    <a:pt x="113760" y="104095"/>
                    <a:pt x="117403" y="97442"/>
                    <a:pt x="119499" y="91537"/>
                  </a:cubicBezTo>
                  <a:cubicBezTo>
                    <a:pt x="121697" y="85516"/>
                    <a:pt x="122797" y="79669"/>
                    <a:pt x="122797" y="73993"/>
                  </a:cubicBezTo>
                  <a:cubicBezTo>
                    <a:pt x="122797" y="66002"/>
                    <a:pt x="121284" y="58998"/>
                    <a:pt x="118278" y="52977"/>
                  </a:cubicBezTo>
                  <a:cubicBezTo>
                    <a:pt x="115374" y="46838"/>
                    <a:pt x="111099" y="42033"/>
                    <a:pt x="105413" y="38560"/>
                  </a:cubicBezTo>
                  <a:cubicBezTo>
                    <a:pt x="99747" y="34971"/>
                    <a:pt x="92860" y="33176"/>
                    <a:pt x="84752" y="33176"/>
                  </a:cubicBezTo>
                  <a:cubicBezTo>
                    <a:pt x="75374" y="33176"/>
                    <a:pt x="67510" y="35204"/>
                    <a:pt x="61138" y="39256"/>
                  </a:cubicBezTo>
                  <a:cubicBezTo>
                    <a:pt x="54766" y="43307"/>
                    <a:pt x="49956" y="48925"/>
                    <a:pt x="46712" y="56104"/>
                  </a:cubicBezTo>
                  <a:cubicBezTo>
                    <a:pt x="43482" y="63166"/>
                    <a:pt x="41853" y="71274"/>
                    <a:pt x="41853" y="80418"/>
                  </a:cubicBezTo>
                  <a:lnTo>
                    <a:pt x="0" y="80418"/>
                  </a:lnTo>
                  <a:cubicBezTo>
                    <a:pt x="0" y="65715"/>
                    <a:pt x="3366" y="52281"/>
                    <a:pt x="10083" y="40126"/>
                  </a:cubicBezTo>
                  <a:cubicBezTo>
                    <a:pt x="16800" y="27855"/>
                    <a:pt x="26517" y="18127"/>
                    <a:pt x="39261" y="10948"/>
                  </a:cubicBezTo>
                  <a:cubicBezTo>
                    <a:pt x="51989" y="3653"/>
                    <a:pt x="67325" y="5"/>
                    <a:pt x="85272" y="5"/>
                  </a:cubicBezTo>
                  <a:cubicBezTo>
                    <a:pt x="102189" y="5"/>
                    <a:pt x="116546" y="2840"/>
                    <a:pt x="128346" y="8517"/>
                  </a:cubicBezTo>
                  <a:cubicBezTo>
                    <a:pt x="140160" y="14193"/>
                    <a:pt x="149129" y="22237"/>
                    <a:pt x="155277" y="32660"/>
                  </a:cubicBezTo>
                  <a:cubicBezTo>
                    <a:pt x="161527" y="43079"/>
                    <a:pt x="164654" y="55413"/>
                    <a:pt x="164654" y="69655"/>
                  </a:cubicBezTo>
                  <a:cubicBezTo>
                    <a:pt x="164654" y="77529"/>
                    <a:pt x="163385" y="85345"/>
                    <a:pt x="160827" y="93103"/>
                  </a:cubicBezTo>
                  <a:cubicBezTo>
                    <a:pt x="158283" y="100861"/>
                    <a:pt x="154645" y="108619"/>
                    <a:pt x="149888" y="116376"/>
                  </a:cubicBezTo>
                  <a:cubicBezTo>
                    <a:pt x="145267" y="124017"/>
                    <a:pt x="139757" y="131717"/>
                    <a:pt x="133400" y="139475"/>
                  </a:cubicBezTo>
                  <a:cubicBezTo>
                    <a:pt x="127028" y="147116"/>
                    <a:pt x="120019" y="154873"/>
                    <a:pt x="112378" y="162748"/>
                  </a:cubicBezTo>
                  <a:lnTo>
                    <a:pt x="57675" y="223015"/>
                  </a:lnTo>
                  <a:lnTo>
                    <a:pt x="174377" y="223015"/>
                  </a:lnTo>
                  <a:close/>
                  <a:moveTo>
                    <a:pt x="371848" y="108730"/>
                  </a:moveTo>
                  <a:lnTo>
                    <a:pt x="371848" y="150063"/>
                  </a:lnTo>
                  <a:cubicBezTo>
                    <a:pt x="371848" y="169864"/>
                    <a:pt x="369873" y="186765"/>
                    <a:pt x="365938" y="200778"/>
                  </a:cubicBezTo>
                  <a:cubicBezTo>
                    <a:pt x="362125" y="214674"/>
                    <a:pt x="356561" y="225963"/>
                    <a:pt x="349260" y="234645"/>
                  </a:cubicBezTo>
                  <a:cubicBezTo>
                    <a:pt x="341960" y="243327"/>
                    <a:pt x="333219" y="249698"/>
                    <a:pt x="323035" y="253750"/>
                  </a:cubicBezTo>
                  <a:cubicBezTo>
                    <a:pt x="312971" y="257801"/>
                    <a:pt x="301668" y="259830"/>
                    <a:pt x="289168" y="259830"/>
                  </a:cubicBezTo>
                  <a:cubicBezTo>
                    <a:pt x="279221" y="259830"/>
                    <a:pt x="269951" y="258555"/>
                    <a:pt x="261381" y="256011"/>
                  </a:cubicBezTo>
                  <a:cubicBezTo>
                    <a:pt x="252933" y="253463"/>
                    <a:pt x="245287" y="249470"/>
                    <a:pt x="238468" y="244027"/>
                  </a:cubicBezTo>
                  <a:cubicBezTo>
                    <a:pt x="231634" y="238584"/>
                    <a:pt x="225773" y="231581"/>
                    <a:pt x="220914" y="223011"/>
                  </a:cubicBezTo>
                  <a:cubicBezTo>
                    <a:pt x="216172" y="214329"/>
                    <a:pt x="212466" y="203964"/>
                    <a:pt x="209800" y="191921"/>
                  </a:cubicBezTo>
                  <a:cubicBezTo>
                    <a:pt x="207256" y="179878"/>
                    <a:pt x="205972" y="165929"/>
                    <a:pt x="205972" y="150063"/>
                  </a:cubicBezTo>
                  <a:lnTo>
                    <a:pt x="205972" y="108730"/>
                  </a:lnTo>
                  <a:cubicBezTo>
                    <a:pt x="205972" y="88813"/>
                    <a:pt x="207947" y="72028"/>
                    <a:pt x="211882" y="58366"/>
                  </a:cubicBezTo>
                  <a:cubicBezTo>
                    <a:pt x="215831" y="44587"/>
                    <a:pt x="221430" y="33414"/>
                    <a:pt x="228730" y="24844"/>
                  </a:cubicBezTo>
                  <a:cubicBezTo>
                    <a:pt x="236031" y="16162"/>
                    <a:pt x="244722" y="9849"/>
                    <a:pt x="254786" y="5914"/>
                  </a:cubicBezTo>
                  <a:cubicBezTo>
                    <a:pt x="264970" y="1975"/>
                    <a:pt x="276323" y="10"/>
                    <a:pt x="288827" y="10"/>
                  </a:cubicBezTo>
                  <a:cubicBezTo>
                    <a:pt x="298910" y="10"/>
                    <a:pt x="308166" y="1284"/>
                    <a:pt x="316614" y="3833"/>
                  </a:cubicBezTo>
                  <a:cubicBezTo>
                    <a:pt x="325184" y="6265"/>
                    <a:pt x="332825" y="10141"/>
                    <a:pt x="339542" y="15467"/>
                  </a:cubicBezTo>
                  <a:cubicBezTo>
                    <a:pt x="346376" y="20793"/>
                    <a:pt x="352164" y="27738"/>
                    <a:pt x="356906" y="36308"/>
                  </a:cubicBezTo>
                  <a:cubicBezTo>
                    <a:pt x="361765" y="44762"/>
                    <a:pt x="365476" y="55010"/>
                    <a:pt x="368020" y="67048"/>
                  </a:cubicBezTo>
                  <a:cubicBezTo>
                    <a:pt x="370578" y="78974"/>
                    <a:pt x="371848" y="92870"/>
                    <a:pt x="371848" y="108730"/>
                  </a:cubicBezTo>
                  <a:close/>
                  <a:moveTo>
                    <a:pt x="329995" y="155968"/>
                  </a:moveTo>
                  <a:lnTo>
                    <a:pt x="329995" y="102476"/>
                  </a:lnTo>
                  <a:cubicBezTo>
                    <a:pt x="329995" y="92403"/>
                    <a:pt x="329411" y="83546"/>
                    <a:pt x="328258" y="75905"/>
                  </a:cubicBezTo>
                  <a:cubicBezTo>
                    <a:pt x="327091" y="68147"/>
                    <a:pt x="325355" y="61605"/>
                    <a:pt x="323039" y="56279"/>
                  </a:cubicBezTo>
                  <a:cubicBezTo>
                    <a:pt x="320841" y="50837"/>
                    <a:pt x="318059" y="46440"/>
                    <a:pt x="314708" y="43079"/>
                  </a:cubicBezTo>
                  <a:cubicBezTo>
                    <a:pt x="311342" y="39606"/>
                    <a:pt x="307529" y="37116"/>
                    <a:pt x="303234" y="35613"/>
                  </a:cubicBezTo>
                  <a:cubicBezTo>
                    <a:pt x="298959" y="33993"/>
                    <a:pt x="294148" y="33181"/>
                    <a:pt x="288823" y="33181"/>
                  </a:cubicBezTo>
                  <a:cubicBezTo>
                    <a:pt x="282349" y="33181"/>
                    <a:pt x="276542" y="34455"/>
                    <a:pt x="271459" y="37004"/>
                  </a:cubicBezTo>
                  <a:cubicBezTo>
                    <a:pt x="266357" y="39436"/>
                    <a:pt x="262081" y="43371"/>
                    <a:pt x="258613" y="48813"/>
                  </a:cubicBezTo>
                  <a:cubicBezTo>
                    <a:pt x="255126" y="54256"/>
                    <a:pt x="252466" y="61435"/>
                    <a:pt x="250608" y="70350"/>
                  </a:cubicBezTo>
                  <a:cubicBezTo>
                    <a:pt x="248871" y="79149"/>
                    <a:pt x="248015" y="89859"/>
                    <a:pt x="248015" y="102480"/>
                  </a:cubicBezTo>
                  <a:lnTo>
                    <a:pt x="248015" y="155973"/>
                  </a:lnTo>
                  <a:cubicBezTo>
                    <a:pt x="248015" y="166162"/>
                    <a:pt x="248584" y="175136"/>
                    <a:pt x="249752" y="182894"/>
                  </a:cubicBezTo>
                  <a:cubicBezTo>
                    <a:pt x="250904" y="190652"/>
                    <a:pt x="252636" y="197310"/>
                    <a:pt x="254956" y="202865"/>
                  </a:cubicBezTo>
                  <a:cubicBezTo>
                    <a:pt x="257276" y="208307"/>
                    <a:pt x="260058" y="212821"/>
                    <a:pt x="263302" y="216410"/>
                  </a:cubicBezTo>
                  <a:cubicBezTo>
                    <a:pt x="266653" y="219883"/>
                    <a:pt x="270481" y="222432"/>
                    <a:pt x="274756" y="224051"/>
                  </a:cubicBezTo>
                  <a:cubicBezTo>
                    <a:pt x="279153" y="225671"/>
                    <a:pt x="283964" y="226483"/>
                    <a:pt x="289168" y="226483"/>
                  </a:cubicBezTo>
                  <a:cubicBezTo>
                    <a:pt x="295778" y="226483"/>
                    <a:pt x="301619" y="225209"/>
                    <a:pt x="306721" y="222660"/>
                  </a:cubicBezTo>
                  <a:cubicBezTo>
                    <a:pt x="311804" y="220112"/>
                    <a:pt x="316099" y="216060"/>
                    <a:pt x="319567" y="210501"/>
                  </a:cubicBezTo>
                  <a:cubicBezTo>
                    <a:pt x="323035" y="204830"/>
                    <a:pt x="325646" y="197476"/>
                    <a:pt x="327383" y="188443"/>
                  </a:cubicBezTo>
                  <a:cubicBezTo>
                    <a:pt x="329119" y="179411"/>
                    <a:pt x="329995" y="168585"/>
                    <a:pt x="329995" y="155963"/>
                  </a:cubicBezTo>
                  <a:close/>
                  <a:moveTo>
                    <a:pt x="578701" y="223006"/>
                  </a:moveTo>
                  <a:lnTo>
                    <a:pt x="578701" y="256352"/>
                  </a:lnTo>
                  <a:lnTo>
                    <a:pt x="409187" y="256352"/>
                  </a:lnTo>
                  <a:lnTo>
                    <a:pt x="409187" y="227694"/>
                  </a:lnTo>
                  <a:lnTo>
                    <a:pt x="491507" y="137904"/>
                  </a:lnTo>
                  <a:cubicBezTo>
                    <a:pt x="500539" y="127714"/>
                    <a:pt x="507670" y="118915"/>
                    <a:pt x="512874" y="111503"/>
                  </a:cubicBezTo>
                  <a:cubicBezTo>
                    <a:pt x="518078" y="104090"/>
                    <a:pt x="521736" y="97437"/>
                    <a:pt x="523813" y="91532"/>
                  </a:cubicBezTo>
                  <a:cubicBezTo>
                    <a:pt x="526011" y="85511"/>
                    <a:pt x="527110" y="79664"/>
                    <a:pt x="527110" y="73988"/>
                  </a:cubicBezTo>
                  <a:cubicBezTo>
                    <a:pt x="527110" y="65997"/>
                    <a:pt x="525617" y="58993"/>
                    <a:pt x="522592" y="52972"/>
                  </a:cubicBezTo>
                  <a:cubicBezTo>
                    <a:pt x="519708" y="46834"/>
                    <a:pt x="515413" y="42028"/>
                    <a:pt x="509746" y="38555"/>
                  </a:cubicBezTo>
                  <a:cubicBezTo>
                    <a:pt x="504080" y="34966"/>
                    <a:pt x="497193" y="33171"/>
                    <a:pt x="489085" y="33171"/>
                  </a:cubicBezTo>
                  <a:cubicBezTo>
                    <a:pt x="479708" y="33171"/>
                    <a:pt x="471823" y="35199"/>
                    <a:pt x="465452" y="39251"/>
                  </a:cubicBezTo>
                  <a:cubicBezTo>
                    <a:pt x="459095" y="43302"/>
                    <a:pt x="454289" y="48920"/>
                    <a:pt x="451040" y="56099"/>
                  </a:cubicBezTo>
                  <a:cubicBezTo>
                    <a:pt x="447796" y="63161"/>
                    <a:pt x="446181" y="71269"/>
                    <a:pt x="446181" y="80413"/>
                  </a:cubicBezTo>
                  <a:lnTo>
                    <a:pt x="404328" y="80413"/>
                  </a:lnTo>
                  <a:cubicBezTo>
                    <a:pt x="404328" y="65710"/>
                    <a:pt x="407679" y="52276"/>
                    <a:pt x="414391" y="40122"/>
                  </a:cubicBezTo>
                  <a:cubicBezTo>
                    <a:pt x="421108" y="27850"/>
                    <a:pt x="430846" y="18123"/>
                    <a:pt x="443569" y="10944"/>
                  </a:cubicBezTo>
                  <a:cubicBezTo>
                    <a:pt x="456313" y="3648"/>
                    <a:pt x="471648" y="0"/>
                    <a:pt x="489596" y="0"/>
                  </a:cubicBezTo>
                  <a:cubicBezTo>
                    <a:pt x="506497" y="0"/>
                    <a:pt x="520855" y="2836"/>
                    <a:pt x="532670" y="8512"/>
                  </a:cubicBezTo>
                  <a:cubicBezTo>
                    <a:pt x="544484" y="14188"/>
                    <a:pt x="553453" y="22232"/>
                    <a:pt x="559581" y="32656"/>
                  </a:cubicBezTo>
                  <a:cubicBezTo>
                    <a:pt x="565831" y="43074"/>
                    <a:pt x="568958" y="55409"/>
                    <a:pt x="568958" y="69650"/>
                  </a:cubicBezTo>
                  <a:cubicBezTo>
                    <a:pt x="568958" y="77524"/>
                    <a:pt x="567689" y="85340"/>
                    <a:pt x="565145" y="93098"/>
                  </a:cubicBezTo>
                  <a:cubicBezTo>
                    <a:pt x="562601" y="100856"/>
                    <a:pt x="558944" y="108614"/>
                    <a:pt x="554207" y="116372"/>
                  </a:cubicBezTo>
                  <a:cubicBezTo>
                    <a:pt x="549571" y="124013"/>
                    <a:pt x="544075" y="131712"/>
                    <a:pt x="537704" y="139470"/>
                  </a:cubicBezTo>
                  <a:cubicBezTo>
                    <a:pt x="531332" y="147111"/>
                    <a:pt x="524323" y="154869"/>
                    <a:pt x="516697" y="162743"/>
                  </a:cubicBezTo>
                  <a:lnTo>
                    <a:pt x="461979" y="223011"/>
                  </a:lnTo>
                  <a:lnTo>
                    <a:pt x="578701" y="223011"/>
                  </a:lnTo>
                  <a:close/>
                  <a:moveTo>
                    <a:pt x="660505" y="110982"/>
                  </a:moveTo>
                  <a:lnTo>
                    <a:pt x="685510" y="110982"/>
                  </a:lnTo>
                  <a:cubicBezTo>
                    <a:pt x="695233" y="110982"/>
                    <a:pt x="703287" y="109304"/>
                    <a:pt x="709639" y="105948"/>
                  </a:cubicBezTo>
                  <a:cubicBezTo>
                    <a:pt x="716132" y="102592"/>
                    <a:pt x="720943" y="97957"/>
                    <a:pt x="724065" y="92052"/>
                  </a:cubicBezTo>
                  <a:cubicBezTo>
                    <a:pt x="727193" y="86148"/>
                    <a:pt x="728754" y="79373"/>
                    <a:pt x="728754" y="71731"/>
                  </a:cubicBezTo>
                  <a:cubicBezTo>
                    <a:pt x="728754" y="64090"/>
                    <a:pt x="727295" y="56911"/>
                    <a:pt x="724411" y="51240"/>
                  </a:cubicBezTo>
                  <a:cubicBezTo>
                    <a:pt x="721628" y="45452"/>
                    <a:pt x="717353" y="40992"/>
                    <a:pt x="711565" y="37865"/>
                  </a:cubicBezTo>
                  <a:cubicBezTo>
                    <a:pt x="705879" y="34737"/>
                    <a:pt x="698652" y="33176"/>
                    <a:pt x="689858" y="33176"/>
                  </a:cubicBezTo>
                  <a:cubicBezTo>
                    <a:pt x="682441" y="33176"/>
                    <a:pt x="675724" y="34679"/>
                    <a:pt x="669712" y="37690"/>
                  </a:cubicBezTo>
                  <a:cubicBezTo>
                    <a:pt x="663803" y="40584"/>
                    <a:pt x="659114" y="44752"/>
                    <a:pt x="655626" y="50195"/>
                  </a:cubicBezTo>
                  <a:cubicBezTo>
                    <a:pt x="652159" y="55520"/>
                    <a:pt x="650422" y="61887"/>
                    <a:pt x="650422" y="69300"/>
                  </a:cubicBezTo>
                  <a:lnTo>
                    <a:pt x="608394" y="69300"/>
                  </a:lnTo>
                  <a:cubicBezTo>
                    <a:pt x="608394" y="55866"/>
                    <a:pt x="611916" y="43945"/>
                    <a:pt x="618992" y="33521"/>
                  </a:cubicBezTo>
                  <a:cubicBezTo>
                    <a:pt x="626050" y="23103"/>
                    <a:pt x="635670" y="14937"/>
                    <a:pt x="647810" y="9032"/>
                  </a:cubicBezTo>
                  <a:cubicBezTo>
                    <a:pt x="660092" y="3011"/>
                    <a:pt x="673866" y="0"/>
                    <a:pt x="689148" y="0"/>
                  </a:cubicBezTo>
                  <a:cubicBezTo>
                    <a:pt x="705480" y="0"/>
                    <a:pt x="719717" y="2724"/>
                    <a:pt x="731876" y="8161"/>
                  </a:cubicBezTo>
                  <a:cubicBezTo>
                    <a:pt x="744138" y="13487"/>
                    <a:pt x="753705" y="21479"/>
                    <a:pt x="760524" y="32130"/>
                  </a:cubicBezTo>
                  <a:cubicBezTo>
                    <a:pt x="767358" y="42782"/>
                    <a:pt x="770777" y="55982"/>
                    <a:pt x="770777" y="71727"/>
                  </a:cubicBezTo>
                  <a:cubicBezTo>
                    <a:pt x="770777" y="78906"/>
                    <a:pt x="769094" y="86201"/>
                    <a:pt x="765743" y="93609"/>
                  </a:cubicBezTo>
                  <a:cubicBezTo>
                    <a:pt x="762378" y="101021"/>
                    <a:pt x="757397" y="107792"/>
                    <a:pt x="750802" y="113930"/>
                  </a:cubicBezTo>
                  <a:cubicBezTo>
                    <a:pt x="744206" y="119951"/>
                    <a:pt x="735982" y="124869"/>
                    <a:pt x="726137" y="128692"/>
                  </a:cubicBezTo>
                  <a:cubicBezTo>
                    <a:pt x="716298" y="132398"/>
                    <a:pt x="704892" y="134251"/>
                    <a:pt x="691925" y="134251"/>
                  </a:cubicBezTo>
                  <a:lnTo>
                    <a:pt x="660495" y="134251"/>
                  </a:lnTo>
                  <a:lnTo>
                    <a:pt x="660495" y="110978"/>
                  </a:lnTo>
                  <a:close/>
                  <a:moveTo>
                    <a:pt x="660505" y="143633"/>
                  </a:moveTo>
                  <a:lnTo>
                    <a:pt x="660505" y="120705"/>
                  </a:lnTo>
                  <a:lnTo>
                    <a:pt x="691935" y="120705"/>
                  </a:lnTo>
                  <a:cubicBezTo>
                    <a:pt x="706755" y="120705"/>
                    <a:pt x="719381" y="122442"/>
                    <a:pt x="729790" y="125914"/>
                  </a:cubicBezTo>
                  <a:cubicBezTo>
                    <a:pt x="740335" y="129387"/>
                    <a:pt x="748905" y="134193"/>
                    <a:pt x="755500" y="140331"/>
                  </a:cubicBezTo>
                  <a:cubicBezTo>
                    <a:pt x="762095" y="146352"/>
                    <a:pt x="766906" y="153239"/>
                    <a:pt x="769911" y="160997"/>
                  </a:cubicBezTo>
                  <a:cubicBezTo>
                    <a:pt x="773039" y="168755"/>
                    <a:pt x="774600" y="176975"/>
                    <a:pt x="774600" y="185661"/>
                  </a:cubicBezTo>
                  <a:cubicBezTo>
                    <a:pt x="774600" y="197471"/>
                    <a:pt x="772470" y="208006"/>
                    <a:pt x="768175" y="217271"/>
                  </a:cubicBezTo>
                  <a:cubicBezTo>
                    <a:pt x="764016" y="226420"/>
                    <a:pt x="758044" y="234178"/>
                    <a:pt x="750296" y="240545"/>
                  </a:cubicBezTo>
                  <a:cubicBezTo>
                    <a:pt x="742533" y="246911"/>
                    <a:pt x="733447" y="251717"/>
                    <a:pt x="723024" y="254961"/>
                  </a:cubicBezTo>
                  <a:cubicBezTo>
                    <a:pt x="712718" y="258205"/>
                    <a:pt x="701487" y="259825"/>
                    <a:pt x="689328" y="259825"/>
                  </a:cubicBezTo>
                  <a:cubicBezTo>
                    <a:pt x="678457" y="259825"/>
                    <a:pt x="668029" y="258322"/>
                    <a:pt x="658068" y="255311"/>
                  </a:cubicBezTo>
                  <a:cubicBezTo>
                    <a:pt x="648107" y="252300"/>
                    <a:pt x="639192" y="247845"/>
                    <a:pt x="631327" y="241940"/>
                  </a:cubicBezTo>
                  <a:cubicBezTo>
                    <a:pt x="623443" y="235919"/>
                    <a:pt x="617193" y="228453"/>
                    <a:pt x="612572" y="219538"/>
                  </a:cubicBezTo>
                  <a:cubicBezTo>
                    <a:pt x="608054" y="210506"/>
                    <a:pt x="605787" y="200087"/>
                    <a:pt x="605787" y="188273"/>
                  </a:cubicBezTo>
                  <a:lnTo>
                    <a:pt x="647640" y="188273"/>
                  </a:lnTo>
                  <a:cubicBezTo>
                    <a:pt x="647640" y="195802"/>
                    <a:pt x="649377" y="202456"/>
                    <a:pt x="652859" y="208249"/>
                  </a:cubicBezTo>
                  <a:cubicBezTo>
                    <a:pt x="656449" y="213920"/>
                    <a:pt x="661429" y="218380"/>
                    <a:pt x="667786" y="221619"/>
                  </a:cubicBezTo>
                  <a:cubicBezTo>
                    <a:pt x="674279" y="224864"/>
                    <a:pt x="681682" y="226483"/>
                    <a:pt x="690028" y="226483"/>
                  </a:cubicBezTo>
                  <a:cubicBezTo>
                    <a:pt x="698822" y="226483"/>
                    <a:pt x="706415" y="224922"/>
                    <a:pt x="712767" y="221795"/>
                  </a:cubicBezTo>
                  <a:cubicBezTo>
                    <a:pt x="719138" y="218667"/>
                    <a:pt x="723997" y="214037"/>
                    <a:pt x="727363" y="207899"/>
                  </a:cubicBezTo>
                  <a:cubicBezTo>
                    <a:pt x="730831" y="201761"/>
                    <a:pt x="732567" y="194353"/>
                    <a:pt x="732567" y="185671"/>
                  </a:cubicBezTo>
                  <a:cubicBezTo>
                    <a:pt x="732567" y="175827"/>
                    <a:pt x="730660" y="167840"/>
                    <a:pt x="726847" y="161702"/>
                  </a:cubicBezTo>
                  <a:cubicBezTo>
                    <a:pt x="723019" y="155564"/>
                    <a:pt x="717572" y="151050"/>
                    <a:pt x="710515" y="148157"/>
                  </a:cubicBezTo>
                  <a:cubicBezTo>
                    <a:pt x="703457" y="145146"/>
                    <a:pt x="695111" y="143643"/>
                    <a:pt x="685510" y="143643"/>
                  </a:cubicBezTo>
                  <a:lnTo>
                    <a:pt x="660505" y="143643"/>
                  </a:lnTo>
                  <a:close/>
                </a:path>
              </a:pathLst>
            </a:custGeom>
            <a:solidFill>
              <a:schemeClr val="tx1"/>
            </a:solidFill>
            <a:ln w="4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pic>
        <p:nvPicPr>
          <p:cNvPr id="389" name="Рисунок 388">
            <a:extLst>
              <a:ext uri="{FF2B5EF4-FFF2-40B4-BE49-F238E27FC236}">
                <a16:creationId xmlns:a16="http://schemas.microsoft.com/office/drawing/2014/main" id="{B78B384F-F3A2-4E10-8405-6E2FAB593BD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03721" y="6049020"/>
            <a:ext cx="1688608" cy="472507"/>
          </a:xfrm>
          <a:prstGeom prst="rect">
            <a:avLst/>
          </a:prstGeom>
        </p:spPr>
      </p:pic>
      <p:grpSp>
        <p:nvGrpSpPr>
          <p:cNvPr id="2" name="Группа 1">
            <a:extLst>
              <a:ext uri="{FF2B5EF4-FFF2-40B4-BE49-F238E27FC236}">
                <a16:creationId xmlns:a16="http://schemas.microsoft.com/office/drawing/2014/main" id="{42918885-DC3C-425A-B583-A334D23EBD04}"/>
              </a:ext>
            </a:extLst>
          </p:cNvPr>
          <p:cNvGrpSpPr/>
          <p:nvPr/>
        </p:nvGrpSpPr>
        <p:grpSpPr>
          <a:xfrm>
            <a:off x="838784" y="2028337"/>
            <a:ext cx="3166090" cy="2801326"/>
            <a:chOff x="838784" y="2028337"/>
            <a:chExt cx="3166090" cy="2801326"/>
          </a:xfrm>
        </p:grpSpPr>
        <p:sp>
          <p:nvSpPr>
            <p:cNvPr id="31" name="Shape_фон">
              <a:extLst>
                <a:ext uri="{FF2B5EF4-FFF2-40B4-BE49-F238E27FC236}">
                  <a16:creationId xmlns:a16="http://schemas.microsoft.com/office/drawing/2014/main" id="{BB03D6B7-BF89-4805-9BF0-98D134C0B5AF}"/>
                </a:ext>
              </a:extLst>
            </p:cNvPr>
            <p:cNvSpPr/>
            <p:nvPr/>
          </p:nvSpPr>
          <p:spPr>
            <a:xfrm>
              <a:off x="838784" y="2028337"/>
              <a:ext cx="3166090" cy="2801326"/>
            </a:xfrm>
            <a:prstGeom prst="roundRect">
              <a:avLst>
                <a:gd name="adj" fmla="val 8571"/>
              </a:avLst>
            </a:prstGeom>
            <a:solidFill>
              <a:schemeClr val="bg1"/>
            </a:solidFill>
            <a:ln w="12700" cap="flat">
              <a:noFill/>
              <a:prstDash val="solid"/>
              <a:miter/>
            </a:ln>
            <a:effectLst>
              <a:outerShdw blurRad="1003300" sx="102000" sy="102000" algn="ctr" rotWithShape="0">
                <a:schemeClr val="tx1">
                  <a:alpha val="20000"/>
                </a:schemeClr>
              </a:outerShdw>
            </a:effectLst>
          </p:spPr>
          <p:txBody>
            <a:bodyPr lIns="0" tIns="0" rIns="0" bIns="0" anchor="ctr"/>
            <a:lstStyle/>
            <a:p>
              <a:pPr marL="0" marR="0" lvl="0" indent="0" algn="ctr" defTabSz="309563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itchFamily="2" charset="0"/>
                <a:ea typeface="Roboto" pitchFamily="2" charset="0"/>
                <a:cs typeface="Poppins Bold"/>
                <a:sym typeface="Poppins Bold"/>
              </a:endParaRPr>
            </a:p>
          </p:txBody>
        </p:sp>
        <p:sp>
          <p:nvSpPr>
            <p:cNvPr id="37" name="Заголовок">
              <a:extLst>
                <a:ext uri="{FF2B5EF4-FFF2-40B4-BE49-F238E27FC236}">
                  <a16:creationId xmlns:a16="http://schemas.microsoft.com/office/drawing/2014/main" id="{E6A8F930-56C4-43BC-B6E6-B3F52C65F3E5}"/>
                </a:ext>
              </a:extLst>
            </p:cNvPr>
            <p:cNvSpPr txBox="1"/>
            <p:nvPr/>
          </p:nvSpPr>
          <p:spPr>
            <a:xfrm>
              <a:off x="1281249" y="2429688"/>
              <a:ext cx="2281161" cy="132343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8000" dirty="0">
                  <a:solidFill>
                    <a:schemeClr val="bg2"/>
                  </a:solidFill>
                  <a:latin typeface="SB Sans Text Medium" panose="020B0603040504020204" pitchFamily="34" charset="-52"/>
                  <a:ea typeface="Roboto" pitchFamily="2" charset="0"/>
                  <a:cs typeface="SB Sans Text Medium" panose="020B0603040504020204" pitchFamily="34" charset="-52"/>
                </a:rPr>
                <a:t>&gt;21</a:t>
              </a:r>
              <a:endParaRPr lang="ru-RU" sz="8000" dirty="0">
                <a:solidFill>
                  <a:schemeClr val="bg2"/>
                </a:solidFill>
                <a:latin typeface="SB Sans Text Medium" panose="020B0603040504020204" pitchFamily="34" charset="-52"/>
                <a:ea typeface="Roboto" pitchFamily="2" charset="0"/>
                <a:cs typeface="SB Sans Text Medium" panose="020B0603040504020204" pitchFamily="34" charset="-52"/>
              </a:endParaRPr>
            </a:p>
          </p:txBody>
        </p:sp>
        <p:sp>
          <p:nvSpPr>
            <p:cNvPr id="38" name="Motion design">
              <a:extLst>
                <a:ext uri="{FF2B5EF4-FFF2-40B4-BE49-F238E27FC236}">
                  <a16:creationId xmlns:a16="http://schemas.microsoft.com/office/drawing/2014/main" id="{DA93684F-37BE-48D7-AD10-22B5F35451C6}"/>
                </a:ext>
              </a:extLst>
            </p:cNvPr>
            <p:cNvSpPr txBox="1"/>
            <p:nvPr/>
          </p:nvSpPr>
          <p:spPr>
            <a:xfrm>
              <a:off x="1311727" y="3882477"/>
              <a:ext cx="2220204" cy="611449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</a:ext>
            </a:extLst>
          </p:spPr>
          <p:txBody>
            <a:bodyPr wrap="square" lIns="0" tIns="0" rIns="0" bIns="0" anchor="ctr">
              <a:spAutoFit/>
            </a:bodyPr>
            <a:lstStyle>
              <a:lvl1pPr>
                <a:lnSpc>
                  <a:spcPct val="130000"/>
                </a:lnSpc>
                <a:defRPr sz="3000">
                  <a:latin typeface="+mn-lt"/>
                  <a:ea typeface="+mn-ea"/>
                  <a:cs typeface="+mn-cs"/>
                  <a:sym typeface="Poppins SemiBold"/>
                </a:defRPr>
              </a:lvl1pPr>
            </a:lstStyle>
            <a:p>
              <a:pPr algn="ctr" defTabSz="309563" hangingPunct="0">
                <a:buClrTx/>
                <a:defRPr/>
              </a:pPr>
              <a:r>
                <a:rPr lang="ru-RU" sz="1600" dirty="0">
                  <a:solidFill>
                    <a:srgbClr val="0D0D0D"/>
                  </a:solidFill>
                  <a:latin typeface="SB Sans Text Light" panose="020B0303040504020204" pitchFamily="34" charset="-52"/>
                  <a:ea typeface="Roboto Light" panose="02000000000000000000" pitchFamily="2" charset="0"/>
                  <a:cs typeface="SB Sans Text Light" panose="020B0303040504020204" pitchFamily="34" charset="-52"/>
                </a:rPr>
                <a:t>млн исторических записей</a:t>
              </a:r>
            </a:p>
          </p:txBody>
        </p:sp>
      </p:grpSp>
      <p:grpSp>
        <p:nvGrpSpPr>
          <p:cNvPr id="6" name="Группа 5">
            <a:extLst>
              <a:ext uri="{FF2B5EF4-FFF2-40B4-BE49-F238E27FC236}">
                <a16:creationId xmlns:a16="http://schemas.microsoft.com/office/drawing/2014/main" id="{B46ECB4F-CA48-49C8-9D11-094380DC46D2}"/>
              </a:ext>
            </a:extLst>
          </p:cNvPr>
          <p:cNvGrpSpPr/>
          <p:nvPr/>
        </p:nvGrpSpPr>
        <p:grpSpPr>
          <a:xfrm>
            <a:off x="4530523" y="2028337"/>
            <a:ext cx="3166090" cy="2801326"/>
            <a:chOff x="4530523" y="2028337"/>
            <a:chExt cx="3166090" cy="2801326"/>
          </a:xfrm>
        </p:grpSpPr>
        <p:sp>
          <p:nvSpPr>
            <p:cNvPr id="33" name="Shape_фон">
              <a:extLst>
                <a:ext uri="{FF2B5EF4-FFF2-40B4-BE49-F238E27FC236}">
                  <a16:creationId xmlns:a16="http://schemas.microsoft.com/office/drawing/2014/main" id="{CD095046-E8CC-484B-AEA1-2CAEDE3282EF}"/>
                </a:ext>
              </a:extLst>
            </p:cNvPr>
            <p:cNvSpPr/>
            <p:nvPr/>
          </p:nvSpPr>
          <p:spPr>
            <a:xfrm>
              <a:off x="4530523" y="2028337"/>
              <a:ext cx="3166090" cy="2801326"/>
            </a:xfrm>
            <a:prstGeom prst="roundRect">
              <a:avLst>
                <a:gd name="adj" fmla="val 8571"/>
              </a:avLst>
            </a:prstGeom>
            <a:solidFill>
              <a:schemeClr val="bg1"/>
            </a:solidFill>
            <a:ln w="12700" cap="flat">
              <a:noFill/>
              <a:prstDash val="solid"/>
              <a:miter/>
            </a:ln>
            <a:effectLst>
              <a:outerShdw blurRad="1003300" sx="102000" sy="102000" algn="ctr" rotWithShape="0">
                <a:schemeClr val="tx1">
                  <a:alpha val="20000"/>
                </a:schemeClr>
              </a:outerShdw>
            </a:effectLst>
          </p:spPr>
          <p:txBody>
            <a:bodyPr lIns="0" tIns="0" rIns="0" bIns="0" anchor="ctr"/>
            <a:lstStyle/>
            <a:p>
              <a:pPr marL="0" marR="0" lvl="0" indent="0" algn="ctr" defTabSz="309563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itchFamily="2" charset="0"/>
                <a:ea typeface="Roboto" pitchFamily="2" charset="0"/>
                <a:cs typeface="Poppins Bold"/>
                <a:sym typeface="Poppins Bold"/>
              </a:endParaRPr>
            </a:p>
          </p:txBody>
        </p:sp>
        <p:sp>
          <p:nvSpPr>
            <p:cNvPr id="39" name="Заголовок">
              <a:extLst>
                <a:ext uri="{FF2B5EF4-FFF2-40B4-BE49-F238E27FC236}">
                  <a16:creationId xmlns:a16="http://schemas.microsoft.com/office/drawing/2014/main" id="{1C0C9BDF-E390-4B3D-A681-881B94924572}"/>
                </a:ext>
              </a:extLst>
            </p:cNvPr>
            <p:cNvSpPr txBox="1"/>
            <p:nvPr/>
          </p:nvSpPr>
          <p:spPr>
            <a:xfrm>
              <a:off x="4767079" y="2429688"/>
              <a:ext cx="2692979" cy="132343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8000" dirty="0">
                  <a:solidFill>
                    <a:schemeClr val="bg2"/>
                  </a:solidFill>
                  <a:latin typeface="SB Sans Text Medium" panose="020B0603040504020204" pitchFamily="34" charset="-52"/>
                  <a:ea typeface="Roboto" pitchFamily="2" charset="0"/>
                  <a:cs typeface="SB Sans Text Medium" panose="020B0603040504020204" pitchFamily="34" charset="-52"/>
                </a:rPr>
                <a:t>10,4</a:t>
              </a:r>
              <a:endParaRPr lang="ru-RU" sz="8000" dirty="0">
                <a:solidFill>
                  <a:schemeClr val="bg2"/>
                </a:solidFill>
                <a:latin typeface="SB Sans Text Medium" panose="020B0603040504020204" pitchFamily="34" charset="-52"/>
                <a:ea typeface="Roboto" pitchFamily="2" charset="0"/>
                <a:cs typeface="SB Sans Text Medium" panose="020B0603040504020204" pitchFamily="34" charset="-52"/>
              </a:endParaRPr>
            </a:p>
          </p:txBody>
        </p:sp>
        <p:sp>
          <p:nvSpPr>
            <p:cNvPr id="40" name="Motion design">
              <a:extLst>
                <a:ext uri="{FF2B5EF4-FFF2-40B4-BE49-F238E27FC236}">
                  <a16:creationId xmlns:a16="http://schemas.microsoft.com/office/drawing/2014/main" id="{69D721E3-D26B-4853-AF00-3723F20ED0A7}"/>
                </a:ext>
              </a:extLst>
            </p:cNvPr>
            <p:cNvSpPr txBox="1"/>
            <p:nvPr/>
          </p:nvSpPr>
          <p:spPr>
            <a:xfrm>
              <a:off x="4815340" y="3882477"/>
              <a:ext cx="2596456" cy="611449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</a:ext>
            </a:extLst>
          </p:spPr>
          <p:txBody>
            <a:bodyPr wrap="square" lIns="0" tIns="0" rIns="0" bIns="0" anchor="ctr">
              <a:spAutoFit/>
            </a:bodyPr>
            <a:lstStyle>
              <a:lvl1pPr>
                <a:lnSpc>
                  <a:spcPct val="130000"/>
                </a:lnSpc>
                <a:defRPr sz="3000">
                  <a:latin typeface="+mn-lt"/>
                  <a:ea typeface="+mn-ea"/>
                  <a:cs typeface="+mn-cs"/>
                  <a:sym typeface="Poppins SemiBold"/>
                </a:defRPr>
              </a:lvl1pPr>
            </a:lstStyle>
            <a:p>
              <a:pPr algn="ctr" defTabSz="309563" hangingPunct="0">
                <a:buClrTx/>
                <a:defRPr/>
              </a:pPr>
              <a:r>
                <a:rPr lang="ru-RU" sz="1600" dirty="0">
                  <a:solidFill>
                    <a:srgbClr val="0D0D0D"/>
                  </a:solidFill>
                  <a:latin typeface="SB Sans Text Light" panose="020B0303040504020204" pitchFamily="34" charset="-52"/>
                  <a:ea typeface="Roboto Light" panose="02000000000000000000" pitchFamily="2" charset="0"/>
                  <a:cs typeface="SB Sans Text Light" panose="020B0303040504020204" pitchFamily="34" charset="-52"/>
                </a:rPr>
                <a:t>млн записей </a:t>
              </a:r>
              <a:br>
                <a:rPr lang="en-US" sz="1600" dirty="0">
                  <a:solidFill>
                    <a:srgbClr val="0D0D0D"/>
                  </a:solidFill>
                  <a:latin typeface="SB Sans Text Light" panose="020B0303040504020204" pitchFamily="34" charset="-52"/>
                  <a:ea typeface="Roboto Light" panose="02000000000000000000" pitchFamily="2" charset="0"/>
                  <a:cs typeface="SB Sans Text Light" panose="020B0303040504020204" pitchFamily="34" charset="-52"/>
                </a:rPr>
              </a:br>
              <a:r>
                <a:rPr lang="ru-RU" sz="1600" dirty="0">
                  <a:solidFill>
                    <a:srgbClr val="0D0D0D"/>
                  </a:solidFill>
                  <a:latin typeface="SB Sans Text Light" panose="020B0303040504020204" pitchFamily="34" charset="-52"/>
                  <a:ea typeface="Roboto Light" panose="02000000000000000000" pitchFamily="2" charset="0"/>
                  <a:cs typeface="SB Sans Text Light" panose="020B0303040504020204" pitchFamily="34" charset="-52"/>
                </a:rPr>
                <a:t>с активными договорами</a:t>
              </a:r>
            </a:p>
          </p:txBody>
        </p:sp>
      </p:grpSp>
      <p:grpSp>
        <p:nvGrpSpPr>
          <p:cNvPr id="7" name="Группа 6">
            <a:extLst>
              <a:ext uri="{FF2B5EF4-FFF2-40B4-BE49-F238E27FC236}">
                <a16:creationId xmlns:a16="http://schemas.microsoft.com/office/drawing/2014/main" id="{D8C231C0-3201-4AA6-83B7-853827028A76}"/>
              </a:ext>
            </a:extLst>
          </p:cNvPr>
          <p:cNvGrpSpPr/>
          <p:nvPr/>
        </p:nvGrpSpPr>
        <p:grpSpPr>
          <a:xfrm>
            <a:off x="8187126" y="2028337"/>
            <a:ext cx="3166090" cy="2801326"/>
            <a:chOff x="8187126" y="2028337"/>
            <a:chExt cx="3166090" cy="2801326"/>
          </a:xfrm>
        </p:grpSpPr>
        <p:sp>
          <p:nvSpPr>
            <p:cNvPr id="34" name="Shape_фон">
              <a:extLst>
                <a:ext uri="{FF2B5EF4-FFF2-40B4-BE49-F238E27FC236}">
                  <a16:creationId xmlns:a16="http://schemas.microsoft.com/office/drawing/2014/main" id="{1A7EE97F-685C-4CD0-813D-8E3617FA9688}"/>
                </a:ext>
              </a:extLst>
            </p:cNvPr>
            <p:cNvSpPr/>
            <p:nvPr/>
          </p:nvSpPr>
          <p:spPr>
            <a:xfrm>
              <a:off x="8187126" y="2028337"/>
              <a:ext cx="3166090" cy="2801326"/>
            </a:xfrm>
            <a:prstGeom prst="roundRect">
              <a:avLst>
                <a:gd name="adj" fmla="val 8571"/>
              </a:avLst>
            </a:prstGeom>
            <a:solidFill>
              <a:schemeClr val="bg1"/>
            </a:solidFill>
            <a:ln w="12700" cap="flat">
              <a:noFill/>
              <a:prstDash val="solid"/>
              <a:miter/>
            </a:ln>
            <a:effectLst>
              <a:outerShdw blurRad="1003300" sx="102000" sy="102000" algn="ctr" rotWithShape="0">
                <a:schemeClr val="tx1">
                  <a:alpha val="20000"/>
                </a:schemeClr>
              </a:outerShdw>
            </a:effectLst>
          </p:spPr>
          <p:txBody>
            <a:bodyPr lIns="0" tIns="0" rIns="0" bIns="0" anchor="ctr"/>
            <a:lstStyle/>
            <a:p>
              <a:pPr marL="0" marR="0" lvl="0" indent="0" algn="ctr" defTabSz="309563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itchFamily="2" charset="0"/>
                <a:ea typeface="Roboto" pitchFamily="2" charset="0"/>
                <a:cs typeface="Poppins Bold"/>
                <a:sym typeface="Poppins Bold"/>
              </a:endParaRPr>
            </a:p>
          </p:txBody>
        </p:sp>
        <p:sp>
          <p:nvSpPr>
            <p:cNvPr id="43" name="Заголовок">
              <a:extLst>
                <a:ext uri="{FF2B5EF4-FFF2-40B4-BE49-F238E27FC236}">
                  <a16:creationId xmlns:a16="http://schemas.microsoft.com/office/drawing/2014/main" id="{F19605E8-E141-4097-925F-46379DCD89D2}"/>
                </a:ext>
              </a:extLst>
            </p:cNvPr>
            <p:cNvSpPr txBox="1"/>
            <p:nvPr/>
          </p:nvSpPr>
          <p:spPr>
            <a:xfrm>
              <a:off x="8784945" y="2429688"/>
              <a:ext cx="1970453" cy="132343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ru-RU" sz="8000" dirty="0">
                  <a:solidFill>
                    <a:schemeClr val="bg2"/>
                  </a:solidFill>
                  <a:latin typeface="SB Sans Text Medium" panose="020B0603040504020204" pitchFamily="34" charset="-52"/>
                  <a:ea typeface="Roboto" pitchFamily="2" charset="0"/>
                  <a:cs typeface="SB Sans Text Medium" panose="020B0603040504020204" pitchFamily="34" charset="-52"/>
                </a:rPr>
                <a:t>8,8</a:t>
              </a:r>
            </a:p>
          </p:txBody>
        </p:sp>
        <p:sp>
          <p:nvSpPr>
            <p:cNvPr id="50" name="Motion design">
              <a:extLst>
                <a:ext uri="{FF2B5EF4-FFF2-40B4-BE49-F238E27FC236}">
                  <a16:creationId xmlns:a16="http://schemas.microsoft.com/office/drawing/2014/main" id="{C12542EF-0901-4851-ABB5-DCB55110690D}"/>
                </a:ext>
              </a:extLst>
            </p:cNvPr>
            <p:cNvSpPr txBox="1"/>
            <p:nvPr/>
          </p:nvSpPr>
          <p:spPr>
            <a:xfrm>
              <a:off x="8660069" y="3882477"/>
              <a:ext cx="2220204" cy="611449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</a:ext>
            </a:extLst>
          </p:spPr>
          <p:txBody>
            <a:bodyPr wrap="square" lIns="0" tIns="0" rIns="0" bIns="0" anchor="ctr">
              <a:spAutoFit/>
            </a:bodyPr>
            <a:lstStyle>
              <a:lvl1pPr>
                <a:lnSpc>
                  <a:spcPct val="130000"/>
                </a:lnSpc>
                <a:defRPr sz="3000">
                  <a:latin typeface="+mn-lt"/>
                  <a:ea typeface="+mn-ea"/>
                  <a:cs typeface="+mn-cs"/>
                  <a:sym typeface="Poppins SemiBold"/>
                </a:defRPr>
              </a:lvl1pPr>
            </a:lstStyle>
            <a:p>
              <a:pPr algn="ctr" defTabSz="309563" hangingPunct="0">
                <a:buClrTx/>
                <a:defRPr/>
              </a:pPr>
              <a:r>
                <a:rPr lang="ru-RU" sz="1600" dirty="0">
                  <a:solidFill>
                    <a:srgbClr val="0D0D0D"/>
                  </a:solidFill>
                  <a:latin typeface="SB Sans Text Light" panose="020B0303040504020204" pitchFamily="34" charset="-52"/>
                  <a:ea typeface="Roboto Light" panose="02000000000000000000" pitchFamily="2" charset="0"/>
                  <a:cs typeface="SB Sans Text Light" panose="020B0303040504020204" pitchFamily="34" charset="-52"/>
                </a:rPr>
                <a:t>млн активных клиентов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6730139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1250">
        <p159:morph option="byObject"/>
      </p:transition>
    </mc:Choice>
    <mc:Fallback xmlns="">
      <p:transition spd="slow"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Rounded Rectangle">
            <a:extLst>
              <a:ext uri="{FF2B5EF4-FFF2-40B4-BE49-F238E27FC236}">
                <a16:creationId xmlns:a16="http://schemas.microsoft.com/office/drawing/2014/main" id="{4A1A861F-77ED-4663-9389-8E9FD44BABD1}"/>
              </a:ext>
            </a:extLst>
          </p:cNvPr>
          <p:cNvSpPr/>
          <p:nvPr/>
        </p:nvSpPr>
        <p:spPr>
          <a:xfrm>
            <a:off x="0" y="2579435"/>
            <a:ext cx="12192000" cy="1785141"/>
          </a:xfrm>
          <a:prstGeom prst="roundRect">
            <a:avLst>
              <a:gd name="adj" fmla="val 0"/>
            </a:avLst>
          </a:prstGeom>
          <a:solidFill>
            <a:schemeClr val="bg1">
              <a:alpha val="96000"/>
            </a:schemeClr>
          </a:solidFill>
          <a:ln w="12700" cap="flat">
            <a:noFill/>
            <a:prstDash val="solid"/>
            <a:miter/>
          </a:ln>
          <a:effectLst>
            <a:outerShdw blurRad="1003300" sx="102000" sy="102000" algn="ctr" rotWithShape="0">
              <a:schemeClr val="tx1">
                <a:alpha val="20000"/>
              </a:schemeClr>
            </a:outerShdw>
          </a:effectLst>
        </p:spPr>
        <p:txBody>
          <a:bodyPr lIns="0" tIns="0" rIns="0" bIns="0" anchor="ctr"/>
          <a:lstStyle/>
          <a:p>
            <a:pPr marL="0" marR="0" lvl="0" indent="0" algn="ctr" defTabSz="309563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" pitchFamily="2" charset="0"/>
              <a:ea typeface="Roboto" pitchFamily="2" charset="0"/>
              <a:cs typeface="Poppins Bold"/>
              <a:sym typeface="Poppins Bold"/>
            </a:endParaRPr>
          </a:p>
        </p:txBody>
      </p:sp>
      <p:sp>
        <p:nvSpPr>
          <p:cNvPr id="41" name="Заголовок">
            <a:extLst>
              <a:ext uri="{FF2B5EF4-FFF2-40B4-BE49-F238E27FC236}">
                <a16:creationId xmlns:a16="http://schemas.microsoft.com/office/drawing/2014/main" id="{C2DC1C9A-4F65-42B1-86E3-6E4D91075984}"/>
              </a:ext>
            </a:extLst>
          </p:cNvPr>
          <p:cNvSpPr txBox="1"/>
          <p:nvPr/>
        </p:nvSpPr>
        <p:spPr>
          <a:xfrm>
            <a:off x="507067" y="376044"/>
            <a:ext cx="5192693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4400" dirty="0">
                <a:solidFill>
                  <a:srgbClr val="0D0D0D">
                    <a:lumMod val="75000"/>
                    <a:lumOff val="25000"/>
                  </a:srgbClr>
                </a:solidFill>
                <a:latin typeface="SB Sans Text Medium" panose="020B0603040504020204" pitchFamily="34" charset="-52"/>
                <a:ea typeface="Roboto" pitchFamily="2" charset="0"/>
                <a:cs typeface="SB Sans Text Medium" panose="020B0603040504020204" pitchFamily="34" charset="-52"/>
              </a:rPr>
              <a:t>План обмена</a:t>
            </a:r>
          </a:p>
        </p:txBody>
      </p:sp>
      <p:grpSp>
        <p:nvGrpSpPr>
          <p:cNvPr id="42" name="CDIConf_Black">
            <a:extLst>
              <a:ext uri="{FF2B5EF4-FFF2-40B4-BE49-F238E27FC236}">
                <a16:creationId xmlns:a16="http://schemas.microsoft.com/office/drawing/2014/main" id="{F3F1710A-CB9B-4080-B969-0477C48F22E5}"/>
              </a:ext>
            </a:extLst>
          </p:cNvPr>
          <p:cNvGrpSpPr/>
          <p:nvPr/>
        </p:nvGrpSpPr>
        <p:grpSpPr>
          <a:xfrm>
            <a:off x="9284984" y="6140223"/>
            <a:ext cx="2270483" cy="296171"/>
            <a:chOff x="7406975" y="5855999"/>
            <a:chExt cx="2270483" cy="296171"/>
          </a:xfrm>
        </p:grpSpPr>
        <p:sp>
          <p:nvSpPr>
            <p:cNvPr id="45" name="Полилиния: фигура 44">
              <a:extLst>
                <a:ext uri="{FF2B5EF4-FFF2-40B4-BE49-F238E27FC236}">
                  <a16:creationId xmlns:a16="http://schemas.microsoft.com/office/drawing/2014/main" id="{13A11B35-F320-4F31-908D-85B2D024FD4B}"/>
                </a:ext>
              </a:extLst>
            </p:cNvPr>
            <p:cNvSpPr/>
            <p:nvPr/>
          </p:nvSpPr>
          <p:spPr>
            <a:xfrm>
              <a:off x="7406975" y="5878280"/>
              <a:ext cx="1394458" cy="273890"/>
            </a:xfrm>
            <a:custGeom>
              <a:avLst/>
              <a:gdLst>
                <a:gd name="connsiteX0" fmla="*/ 157354 w 1394458"/>
                <a:gd name="connsiteY0" fmla="*/ 188093 h 273890"/>
                <a:gd name="connsiteX1" fmla="*/ 200773 w 1394458"/>
                <a:gd name="connsiteY1" fmla="*/ 188093 h 273890"/>
                <a:gd name="connsiteX2" fmla="*/ 186877 w 1394458"/>
                <a:gd name="connsiteY2" fmla="*/ 232383 h 273890"/>
                <a:gd name="connsiteX3" fmla="*/ 153706 w 1394458"/>
                <a:gd name="connsiteY3" fmla="*/ 262777 h 273890"/>
                <a:gd name="connsiteX4" fmla="*/ 101775 w 1394458"/>
                <a:gd name="connsiteY4" fmla="*/ 273891 h 273890"/>
                <a:gd name="connsiteX5" fmla="*/ 59572 w 1394458"/>
                <a:gd name="connsiteY5" fmla="*/ 265554 h 273890"/>
                <a:gd name="connsiteX6" fmla="*/ 27442 w 1394458"/>
                <a:gd name="connsiteY6" fmla="*/ 241585 h 273890"/>
                <a:gd name="connsiteX7" fmla="*/ 6950 w 1394458"/>
                <a:gd name="connsiteY7" fmla="*/ 203896 h 273890"/>
                <a:gd name="connsiteX8" fmla="*/ 0 w 1394458"/>
                <a:gd name="connsiteY8" fmla="*/ 154577 h 273890"/>
                <a:gd name="connsiteX9" fmla="*/ 0 w 1394458"/>
                <a:gd name="connsiteY9" fmla="*/ 133560 h 273890"/>
                <a:gd name="connsiteX10" fmla="*/ 7121 w 1394458"/>
                <a:gd name="connsiteY10" fmla="*/ 84236 h 273890"/>
                <a:gd name="connsiteX11" fmla="*/ 27962 w 1394458"/>
                <a:gd name="connsiteY11" fmla="*/ 46552 h 273890"/>
                <a:gd name="connsiteX12" fmla="*/ 60438 w 1394458"/>
                <a:gd name="connsiteY12" fmla="*/ 22408 h 273890"/>
                <a:gd name="connsiteX13" fmla="*/ 103336 w 1394458"/>
                <a:gd name="connsiteY13" fmla="*/ 14071 h 273890"/>
                <a:gd name="connsiteX14" fmla="*/ 154397 w 1394458"/>
                <a:gd name="connsiteY14" fmla="*/ 25185 h 273890"/>
                <a:gd name="connsiteX15" fmla="*/ 186702 w 1394458"/>
                <a:gd name="connsiteY15" fmla="*/ 55924 h 273890"/>
                <a:gd name="connsiteX16" fmla="*/ 200943 w 1394458"/>
                <a:gd name="connsiteY16" fmla="*/ 100905 h 273890"/>
                <a:gd name="connsiteX17" fmla="*/ 157524 w 1394458"/>
                <a:gd name="connsiteY17" fmla="*/ 100905 h 273890"/>
                <a:gd name="connsiteX18" fmla="*/ 149883 w 1394458"/>
                <a:gd name="connsiteY18" fmla="*/ 72943 h 273890"/>
                <a:gd name="connsiteX19" fmla="*/ 132865 w 1394458"/>
                <a:gd name="connsiteY19" fmla="*/ 55229 h 273890"/>
                <a:gd name="connsiteX20" fmla="*/ 103341 w 1394458"/>
                <a:gd name="connsiteY20" fmla="*/ 48974 h 273890"/>
                <a:gd name="connsiteX21" fmla="*/ 77291 w 1394458"/>
                <a:gd name="connsiteY21" fmla="*/ 54533 h 273890"/>
                <a:gd name="connsiteX22" fmla="*/ 58706 w 1394458"/>
                <a:gd name="connsiteY22" fmla="*/ 70861 h 273890"/>
                <a:gd name="connsiteX23" fmla="*/ 47417 w 1394458"/>
                <a:gd name="connsiteY23" fmla="*/ 97432 h 273890"/>
                <a:gd name="connsiteX24" fmla="*/ 43769 w 1394458"/>
                <a:gd name="connsiteY24" fmla="*/ 133210 h 273890"/>
                <a:gd name="connsiteX25" fmla="*/ 43769 w 1394458"/>
                <a:gd name="connsiteY25" fmla="*/ 154572 h 273890"/>
                <a:gd name="connsiteX26" fmla="*/ 47067 w 1394458"/>
                <a:gd name="connsiteY26" fmla="*/ 189304 h 273890"/>
                <a:gd name="connsiteX27" fmla="*/ 57490 w 1394458"/>
                <a:gd name="connsiteY27" fmla="*/ 215875 h 273890"/>
                <a:gd name="connsiteX28" fmla="*/ 75550 w 1394458"/>
                <a:gd name="connsiteY28" fmla="*/ 233069 h 273890"/>
                <a:gd name="connsiteX29" fmla="*/ 101775 w 1394458"/>
                <a:gd name="connsiteY29" fmla="*/ 239149 h 273890"/>
                <a:gd name="connsiteX30" fmla="*/ 131824 w 1394458"/>
                <a:gd name="connsiteY30" fmla="*/ 233244 h 273890"/>
                <a:gd name="connsiteX31" fmla="*/ 149363 w 1394458"/>
                <a:gd name="connsiteY31" fmla="*/ 216050 h 273890"/>
                <a:gd name="connsiteX32" fmla="*/ 157354 w 1394458"/>
                <a:gd name="connsiteY32" fmla="*/ 188088 h 273890"/>
                <a:gd name="connsiteX33" fmla="*/ 313837 w 1394458"/>
                <a:gd name="connsiteY33" fmla="*/ 270418 h 273890"/>
                <a:gd name="connsiteX34" fmla="*/ 259825 w 1394458"/>
                <a:gd name="connsiteY34" fmla="*/ 270418 h 273890"/>
                <a:gd name="connsiteX35" fmla="*/ 260170 w 1394458"/>
                <a:gd name="connsiteY35" fmla="*/ 235856 h 273890"/>
                <a:gd name="connsiteX36" fmla="*/ 313837 w 1394458"/>
                <a:gd name="connsiteY36" fmla="*/ 235856 h 273890"/>
                <a:gd name="connsiteX37" fmla="*/ 353088 w 1394458"/>
                <a:gd name="connsiteY37" fmla="*/ 225608 h 273890"/>
                <a:gd name="connsiteX38" fmla="*/ 377057 w 1394458"/>
                <a:gd name="connsiteY38" fmla="*/ 196255 h 273890"/>
                <a:gd name="connsiteX39" fmla="*/ 385218 w 1394458"/>
                <a:gd name="connsiteY39" fmla="*/ 150754 h 273890"/>
                <a:gd name="connsiteX40" fmla="*/ 385218 w 1394458"/>
                <a:gd name="connsiteY40" fmla="*/ 137033 h 273890"/>
                <a:gd name="connsiteX41" fmla="*/ 380530 w 1394458"/>
                <a:gd name="connsiteY41" fmla="*/ 100734 h 273890"/>
                <a:gd name="connsiteX42" fmla="*/ 366984 w 1394458"/>
                <a:gd name="connsiteY42" fmla="*/ 74163 h 273890"/>
                <a:gd name="connsiteX43" fmla="*/ 345102 w 1394458"/>
                <a:gd name="connsiteY43" fmla="*/ 57840 h 273890"/>
                <a:gd name="connsiteX44" fmla="*/ 315403 w 1394458"/>
                <a:gd name="connsiteY44" fmla="*/ 52281 h 273890"/>
                <a:gd name="connsiteX45" fmla="*/ 258784 w 1394458"/>
                <a:gd name="connsiteY45" fmla="*/ 52281 h 273890"/>
                <a:gd name="connsiteX46" fmla="*/ 258784 w 1394458"/>
                <a:gd name="connsiteY46" fmla="*/ 17544 h 273890"/>
                <a:gd name="connsiteX47" fmla="*/ 315403 w 1394458"/>
                <a:gd name="connsiteY47" fmla="*/ 17544 h 273890"/>
                <a:gd name="connsiteX48" fmla="*/ 361429 w 1394458"/>
                <a:gd name="connsiteY48" fmla="*/ 26055 h 273890"/>
                <a:gd name="connsiteX49" fmla="*/ 397383 w 1394458"/>
                <a:gd name="connsiteY49" fmla="*/ 50195 h 273890"/>
                <a:gd name="connsiteX50" fmla="*/ 420826 w 1394458"/>
                <a:gd name="connsiteY50" fmla="*/ 88054 h 273890"/>
                <a:gd name="connsiteX51" fmla="*/ 428988 w 1394458"/>
                <a:gd name="connsiteY51" fmla="*/ 137378 h 273890"/>
                <a:gd name="connsiteX52" fmla="*/ 428988 w 1394458"/>
                <a:gd name="connsiteY52" fmla="*/ 150754 h 273890"/>
                <a:gd name="connsiteX53" fmla="*/ 420826 w 1394458"/>
                <a:gd name="connsiteY53" fmla="*/ 200078 h 273890"/>
                <a:gd name="connsiteX54" fmla="*/ 397383 w 1394458"/>
                <a:gd name="connsiteY54" fmla="*/ 237938 h 273890"/>
                <a:gd name="connsiteX55" fmla="*/ 360909 w 1394458"/>
                <a:gd name="connsiteY55" fmla="*/ 262077 h 273890"/>
                <a:gd name="connsiteX56" fmla="*/ 313842 w 1394458"/>
                <a:gd name="connsiteY56" fmla="*/ 270413 h 273890"/>
                <a:gd name="connsiteX57" fmla="*/ 283964 w 1394458"/>
                <a:gd name="connsiteY57" fmla="*/ 17544 h 273890"/>
                <a:gd name="connsiteX58" fmla="*/ 283964 w 1394458"/>
                <a:gd name="connsiteY58" fmla="*/ 270418 h 273890"/>
                <a:gd name="connsiteX59" fmla="*/ 240369 w 1394458"/>
                <a:gd name="connsiteY59" fmla="*/ 270418 h 273890"/>
                <a:gd name="connsiteX60" fmla="*/ 240369 w 1394458"/>
                <a:gd name="connsiteY60" fmla="*/ 17544 h 273890"/>
                <a:gd name="connsiteX61" fmla="*/ 283964 w 1394458"/>
                <a:gd name="connsiteY61" fmla="*/ 17544 h 273890"/>
                <a:gd name="connsiteX62" fmla="*/ 519299 w 1394458"/>
                <a:gd name="connsiteY62" fmla="*/ 17544 h 273890"/>
                <a:gd name="connsiteX63" fmla="*/ 519299 w 1394458"/>
                <a:gd name="connsiteY63" fmla="*/ 270418 h 273890"/>
                <a:gd name="connsiteX64" fmla="*/ 475705 w 1394458"/>
                <a:gd name="connsiteY64" fmla="*/ 270418 h 273890"/>
                <a:gd name="connsiteX65" fmla="*/ 475705 w 1394458"/>
                <a:gd name="connsiteY65" fmla="*/ 17544 h 273890"/>
                <a:gd name="connsiteX66" fmla="*/ 519299 w 1394458"/>
                <a:gd name="connsiteY66" fmla="*/ 17544 h 273890"/>
                <a:gd name="connsiteX67" fmla="*/ 811424 w 1394458"/>
                <a:gd name="connsiteY67" fmla="*/ 188093 h 273890"/>
                <a:gd name="connsiteX68" fmla="*/ 854843 w 1394458"/>
                <a:gd name="connsiteY68" fmla="*/ 188093 h 273890"/>
                <a:gd name="connsiteX69" fmla="*/ 840947 w 1394458"/>
                <a:gd name="connsiteY69" fmla="*/ 232383 h 273890"/>
                <a:gd name="connsiteX70" fmla="*/ 807776 w 1394458"/>
                <a:gd name="connsiteY70" fmla="*/ 262777 h 273890"/>
                <a:gd name="connsiteX71" fmla="*/ 755845 w 1394458"/>
                <a:gd name="connsiteY71" fmla="*/ 273891 h 273890"/>
                <a:gd name="connsiteX72" fmla="*/ 713642 w 1394458"/>
                <a:gd name="connsiteY72" fmla="*/ 265554 h 273890"/>
                <a:gd name="connsiteX73" fmla="*/ 681512 w 1394458"/>
                <a:gd name="connsiteY73" fmla="*/ 241585 h 273890"/>
                <a:gd name="connsiteX74" fmla="*/ 661021 w 1394458"/>
                <a:gd name="connsiteY74" fmla="*/ 203896 h 273890"/>
                <a:gd name="connsiteX75" fmla="*/ 654075 w 1394458"/>
                <a:gd name="connsiteY75" fmla="*/ 154572 h 273890"/>
                <a:gd name="connsiteX76" fmla="*/ 654075 w 1394458"/>
                <a:gd name="connsiteY76" fmla="*/ 133555 h 273890"/>
                <a:gd name="connsiteX77" fmla="*/ 661196 w 1394458"/>
                <a:gd name="connsiteY77" fmla="*/ 84231 h 273890"/>
                <a:gd name="connsiteX78" fmla="*/ 682037 w 1394458"/>
                <a:gd name="connsiteY78" fmla="*/ 46547 h 273890"/>
                <a:gd name="connsiteX79" fmla="*/ 714513 w 1394458"/>
                <a:gd name="connsiteY79" fmla="*/ 22403 h 273890"/>
                <a:gd name="connsiteX80" fmla="*/ 757411 w 1394458"/>
                <a:gd name="connsiteY80" fmla="*/ 14066 h 273890"/>
                <a:gd name="connsiteX81" fmla="*/ 808472 w 1394458"/>
                <a:gd name="connsiteY81" fmla="*/ 25180 h 273890"/>
                <a:gd name="connsiteX82" fmla="*/ 840777 w 1394458"/>
                <a:gd name="connsiteY82" fmla="*/ 55919 h 273890"/>
                <a:gd name="connsiteX83" fmla="*/ 855018 w 1394458"/>
                <a:gd name="connsiteY83" fmla="*/ 100900 h 273890"/>
                <a:gd name="connsiteX84" fmla="*/ 811599 w 1394458"/>
                <a:gd name="connsiteY84" fmla="*/ 100900 h 273890"/>
                <a:gd name="connsiteX85" fmla="*/ 803958 w 1394458"/>
                <a:gd name="connsiteY85" fmla="*/ 72938 h 273890"/>
                <a:gd name="connsiteX86" fmla="*/ 786940 w 1394458"/>
                <a:gd name="connsiteY86" fmla="*/ 55224 h 273890"/>
                <a:gd name="connsiteX87" fmla="*/ 757416 w 1394458"/>
                <a:gd name="connsiteY87" fmla="*/ 48969 h 273890"/>
                <a:gd name="connsiteX88" fmla="*/ 731366 w 1394458"/>
                <a:gd name="connsiteY88" fmla="*/ 54528 h 273890"/>
                <a:gd name="connsiteX89" fmla="*/ 712781 w 1394458"/>
                <a:gd name="connsiteY89" fmla="*/ 70856 h 273890"/>
                <a:gd name="connsiteX90" fmla="*/ 701492 w 1394458"/>
                <a:gd name="connsiteY90" fmla="*/ 97427 h 273890"/>
                <a:gd name="connsiteX91" fmla="*/ 697844 w 1394458"/>
                <a:gd name="connsiteY91" fmla="*/ 133205 h 273890"/>
                <a:gd name="connsiteX92" fmla="*/ 697844 w 1394458"/>
                <a:gd name="connsiteY92" fmla="*/ 154567 h 273890"/>
                <a:gd name="connsiteX93" fmla="*/ 701142 w 1394458"/>
                <a:gd name="connsiteY93" fmla="*/ 189299 h 273890"/>
                <a:gd name="connsiteX94" fmla="*/ 711565 w 1394458"/>
                <a:gd name="connsiteY94" fmla="*/ 215870 h 273890"/>
                <a:gd name="connsiteX95" fmla="*/ 729629 w 1394458"/>
                <a:gd name="connsiteY95" fmla="*/ 233064 h 273890"/>
                <a:gd name="connsiteX96" fmla="*/ 755855 w 1394458"/>
                <a:gd name="connsiteY96" fmla="*/ 239144 h 273890"/>
                <a:gd name="connsiteX97" fmla="*/ 785904 w 1394458"/>
                <a:gd name="connsiteY97" fmla="*/ 233239 h 273890"/>
                <a:gd name="connsiteX98" fmla="*/ 803443 w 1394458"/>
                <a:gd name="connsiteY98" fmla="*/ 216046 h 273890"/>
                <a:gd name="connsiteX99" fmla="*/ 811434 w 1394458"/>
                <a:gd name="connsiteY99" fmla="*/ 188084 h 273890"/>
                <a:gd name="connsiteX100" fmla="*/ 882285 w 1394458"/>
                <a:gd name="connsiteY100" fmla="*/ 178541 h 273890"/>
                <a:gd name="connsiteX101" fmla="*/ 882285 w 1394458"/>
                <a:gd name="connsiteY101" fmla="*/ 174548 h 273890"/>
                <a:gd name="connsiteX102" fmla="*/ 888190 w 1394458"/>
                <a:gd name="connsiteY102" fmla="*/ 136858 h 273890"/>
                <a:gd name="connsiteX103" fmla="*/ 905208 w 1394458"/>
                <a:gd name="connsiteY103" fmla="*/ 106464 h 273890"/>
                <a:gd name="connsiteX104" fmla="*/ 932650 w 1394458"/>
                <a:gd name="connsiteY104" fmla="*/ 86318 h 273890"/>
                <a:gd name="connsiteX105" fmla="*/ 969469 w 1394458"/>
                <a:gd name="connsiteY105" fmla="*/ 79022 h 273890"/>
                <a:gd name="connsiteX106" fmla="*/ 1006288 w 1394458"/>
                <a:gd name="connsiteY106" fmla="*/ 86318 h 273890"/>
                <a:gd name="connsiteX107" fmla="*/ 1033899 w 1394458"/>
                <a:gd name="connsiteY107" fmla="*/ 106464 h 273890"/>
                <a:gd name="connsiteX108" fmla="*/ 1051093 w 1394458"/>
                <a:gd name="connsiteY108" fmla="*/ 136858 h 273890"/>
                <a:gd name="connsiteX109" fmla="*/ 1056998 w 1394458"/>
                <a:gd name="connsiteY109" fmla="*/ 174548 h 273890"/>
                <a:gd name="connsiteX110" fmla="*/ 1056998 w 1394458"/>
                <a:gd name="connsiteY110" fmla="*/ 178541 h 273890"/>
                <a:gd name="connsiteX111" fmla="*/ 1051093 w 1394458"/>
                <a:gd name="connsiteY111" fmla="*/ 216230 h 273890"/>
                <a:gd name="connsiteX112" fmla="*/ 1033899 w 1394458"/>
                <a:gd name="connsiteY112" fmla="*/ 246624 h 273890"/>
                <a:gd name="connsiteX113" fmla="*/ 1006458 w 1394458"/>
                <a:gd name="connsiteY113" fmla="*/ 266770 h 273890"/>
                <a:gd name="connsiteX114" fmla="*/ 969814 w 1394458"/>
                <a:gd name="connsiteY114" fmla="*/ 273891 h 273890"/>
                <a:gd name="connsiteX115" fmla="*/ 932820 w 1394458"/>
                <a:gd name="connsiteY115" fmla="*/ 266770 h 273890"/>
                <a:gd name="connsiteX116" fmla="*/ 905378 w 1394458"/>
                <a:gd name="connsiteY116" fmla="*/ 246624 h 273890"/>
                <a:gd name="connsiteX117" fmla="*/ 888185 w 1394458"/>
                <a:gd name="connsiteY117" fmla="*/ 216230 h 273890"/>
                <a:gd name="connsiteX118" fmla="*/ 882280 w 1394458"/>
                <a:gd name="connsiteY118" fmla="*/ 178541 h 273890"/>
                <a:gd name="connsiteX119" fmla="*/ 924143 w 1394458"/>
                <a:gd name="connsiteY119" fmla="*/ 174548 h 273890"/>
                <a:gd name="connsiteX120" fmla="*/ 924143 w 1394458"/>
                <a:gd name="connsiteY120" fmla="*/ 178541 h 273890"/>
                <a:gd name="connsiteX121" fmla="*/ 926750 w 1394458"/>
                <a:gd name="connsiteY121" fmla="*/ 202510 h 273890"/>
                <a:gd name="connsiteX122" fmla="*/ 934911 w 1394458"/>
                <a:gd name="connsiteY122" fmla="*/ 222310 h 273890"/>
                <a:gd name="connsiteX123" fmla="*/ 949152 w 1394458"/>
                <a:gd name="connsiteY123" fmla="*/ 235681 h 273890"/>
                <a:gd name="connsiteX124" fmla="*/ 969819 w 1394458"/>
                <a:gd name="connsiteY124" fmla="*/ 240545 h 273890"/>
                <a:gd name="connsiteX125" fmla="*/ 989965 w 1394458"/>
                <a:gd name="connsiteY125" fmla="*/ 235681 h 273890"/>
                <a:gd name="connsiteX126" fmla="*/ 1004206 w 1394458"/>
                <a:gd name="connsiteY126" fmla="*/ 222310 h 273890"/>
                <a:gd name="connsiteX127" fmla="*/ 1012367 w 1394458"/>
                <a:gd name="connsiteY127" fmla="*/ 202510 h 273890"/>
                <a:gd name="connsiteX128" fmla="*/ 1015145 w 1394458"/>
                <a:gd name="connsiteY128" fmla="*/ 178541 h 273890"/>
                <a:gd name="connsiteX129" fmla="*/ 1015145 w 1394458"/>
                <a:gd name="connsiteY129" fmla="*/ 174548 h 273890"/>
                <a:gd name="connsiteX130" fmla="*/ 1012367 w 1394458"/>
                <a:gd name="connsiteY130" fmla="*/ 150929 h 273890"/>
                <a:gd name="connsiteX131" fmla="*/ 1004031 w 1394458"/>
                <a:gd name="connsiteY131" fmla="*/ 130958 h 273890"/>
                <a:gd name="connsiteX132" fmla="*/ 989790 w 1394458"/>
                <a:gd name="connsiteY132" fmla="*/ 117412 h 273890"/>
                <a:gd name="connsiteX133" fmla="*/ 969469 w 1394458"/>
                <a:gd name="connsiteY133" fmla="*/ 112378 h 273890"/>
                <a:gd name="connsiteX134" fmla="*/ 948977 w 1394458"/>
                <a:gd name="connsiteY134" fmla="*/ 117412 h 273890"/>
                <a:gd name="connsiteX135" fmla="*/ 934911 w 1394458"/>
                <a:gd name="connsiteY135" fmla="*/ 130958 h 273890"/>
                <a:gd name="connsiteX136" fmla="*/ 926750 w 1394458"/>
                <a:gd name="connsiteY136" fmla="*/ 150929 h 273890"/>
                <a:gd name="connsiteX137" fmla="*/ 924143 w 1394458"/>
                <a:gd name="connsiteY137" fmla="*/ 174548 h 273890"/>
                <a:gd name="connsiteX138" fmla="*/ 1133598 w 1394458"/>
                <a:gd name="connsiteY138" fmla="*/ 122617 h 273890"/>
                <a:gd name="connsiteX139" fmla="*/ 1133598 w 1394458"/>
                <a:gd name="connsiteY139" fmla="*/ 270418 h 273890"/>
                <a:gd name="connsiteX140" fmla="*/ 1091745 w 1394458"/>
                <a:gd name="connsiteY140" fmla="*/ 270418 h 273890"/>
                <a:gd name="connsiteX141" fmla="*/ 1091745 w 1394458"/>
                <a:gd name="connsiteY141" fmla="*/ 82495 h 273890"/>
                <a:gd name="connsiteX142" fmla="*/ 1131171 w 1394458"/>
                <a:gd name="connsiteY142" fmla="*/ 82495 h 273890"/>
                <a:gd name="connsiteX143" fmla="*/ 1133603 w 1394458"/>
                <a:gd name="connsiteY143" fmla="*/ 122617 h 273890"/>
                <a:gd name="connsiteX144" fmla="*/ 1126132 w 1394458"/>
                <a:gd name="connsiteY144" fmla="*/ 169509 h 273890"/>
                <a:gd name="connsiteX145" fmla="*/ 1112586 w 1394458"/>
                <a:gd name="connsiteY145" fmla="*/ 169334 h 273890"/>
                <a:gd name="connsiteX146" fmla="*/ 1118145 w 1394458"/>
                <a:gd name="connsiteY146" fmla="*/ 132690 h 273890"/>
                <a:gd name="connsiteX147" fmla="*/ 1133428 w 1394458"/>
                <a:gd name="connsiteY147" fmla="*/ 104032 h 273890"/>
                <a:gd name="connsiteX148" fmla="*/ 1157046 w 1394458"/>
                <a:gd name="connsiteY148" fmla="*/ 85623 h 273890"/>
                <a:gd name="connsiteX149" fmla="*/ 1187615 w 1394458"/>
                <a:gd name="connsiteY149" fmla="*/ 79022 h 273890"/>
                <a:gd name="connsiteX150" fmla="*/ 1212105 w 1394458"/>
                <a:gd name="connsiteY150" fmla="*/ 82840 h 273890"/>
                <a:gd name="connsiteX151" fmla="*/ 1231034 w 1394458"/>
                <a:gd name="connsiteY151" fmla="*/ 94825 h 273890"/>
                <a:gd name="connsiteX152" fmla="*/ 1243189 w 1394458"/>
                <a:gd name="connsiteY152" fmla="*/ 116532 h 273890"/>
                <a:gd name="connsiteX153" fmla="*/ 1247357 w 1394458"/>
                <a:gd name="connsiteY153" fmla="*/ 149013 h 273890"/>
                <a:gd name="connsiteX154" fmla="*/ 1247357 w 1394458"/>
                <a:gd name="connsiteY154" fmla="*/ 270413 h 273890"/>
                <a:gd name="connsiteX155" fmla="*/ 1205329 w 1394458"/>
                <a:gd name="connsiteY155" fmla="*/ 270413 h 273890"/>
                <a:gd name="connsiteX156" fmla="*/ 1205329 w 1394458"/>
                <a:gd name="connsiteY156" fmla="*/ 148837 h 273890"/>
                <a:gd name="connsiteX157" fmla="*/ 1201336 w 1394458"/>
                <a:gd name="connsiteY157" fmla="*/ 127476 h 273890"/>
                <a:gd name="connsiteX158" fmla="*/ 1190047 w 1394458"/>
                <a:gd name="connsiteY158" fmla="*/ 116187 h 273890"/>
                <a:gd name="connsiteX159" fmla="*/ 1171813 w 1394458"/>
                <a:gd name="connsiteY159" fmla="*/ 112714 h 273890"/>
                <a:gd name="connsiteX160" fmla="*/ 1152533 w 1394458"/>
                <a:gd name="connsiteY160" fmla="*/ 117228 h 273890"/>
                <a:gd name="connsiteX161" fmla="*/ 1138116 w 1394458"/>
                <a:gd name="connsiteY161" fmla="*/ 129557 h 273890"/>
                <a:gd name="connsiteX162" fmla="*/ 1129259 w 1394458"/>
                <a:gd name="connsiteY162" fmla="*/ 147621 h 273890"/>
                <a:gd name="connsiteX163" fmla="*/ 1126132 w 1394458"/>
                <a:gd name="connsiteY163" fmla="*/ 169504 h 273890"/>
                <a:gd name="connsiteX164" fmla="*/ 1346701 w 1394458"/>
                <a:gd name="connsiteY164" fmla="*/ 270418 h 273890"/>
                <a:gd name="connsiteX165" fmla="*/ 1304843 w 1394458"/>
                <a:gd name="connsiteY165" fmla="*/ 270418 h 273890"/>
                <a:gd name="connsiteX166" fmla="*/ 1304843 w 1394458"/>
                <a:gd name="connsiteY166" fmla="*/ 64436 h 273890"/>
                <a:gd name="connsiteX167" fmla="*/ 1312659 w 1394458"/>
                <a:gd name="connsiteY167" fmla="*/ 29178 h 273890"/>
                <a:gd name="connsiteX168" fmla="*/ 1335412 w 1394458"/>
                <a:gd name="connsiteY168" fmla="*/ 7471 h 273890"/>
                <a:gd name="connsiteX169" fmla="*/ 1370319 w 1394458"/>
                <a:gd name="connsiteY169" fmla="*/ 0 h 273890"/>
                <a:gd name="connsiteX170" fmla="*/ 1382649 w 1394458"/>
                <a:gd name="connsiteY170" fmla="*/ 871 h 273890"/>
                <a:gd name="connsiteX171" fmla="*/ 1394458 w 1394458"/>
                <a:gd name="connsiteY171" fmla="*/ 3127 h 273890"/>
                <a:gd name="connsiteX172" fmla="*/ 1393418 w 1394458"/>
                <a:gd name="connsiteY172" fmla="*/ 35433 h 273890"/>
                <a:gd name="connsiteX173" fmla="*/ 1385776 w 1394458"/>
                <a:gd name="connsiteY173" fmla="*/ 34217 h 273890"/>
                <a:gd name="connsiteX174" fmla="*/ 1377095 w 1394458"/>
                <a:gd name="connsiteY174" fmla="*/ 33872 h 273890"/>
                <a:gd name="connsiteX175" fmla="*/ 1360596 w 1394458"/>
                <a:gd name="connsiteY175" fmla="*/ 37519 h 273890"/>
                <a:gd name="connsiteX176" fmla="*/ 1350178 w 1394458"/>
                <a:gd name="connsiteY176" fmla="*/ 47767 h 273890"/>
                <a:gd name="connsiteX177" fmla="*/ 1346706 w 1394458"/>
                <a:gd name="connsiteY177" fmla="*/ 64441 h 273890"/>
                <a:gd name="connsiteX178" fmla="*/ 1346706 w 1394458"/>
                <a:gd name="connsiteY178" fmla="*/ 270423 h 273890"/>
                <a:gd name="connsiteX179" fmla="*/ 1385431 w 1394458"/>
                <a:gd name="connsiteY179" fmla="*/ 82500 h 273890"/>
                <a:gd name="connsiteX180" fmla="*/ 1385431 w 1394458"/>
                <a:gd name="connsiteY180" fmla="*/ 113069 h 273890"/>
                <a:gd name="connsiteX181" fmla="*/ 1276015 w 1394458"/>
                <a:gd name="connsiteY181" fmla="*/ 113069 h 273890"/>
                <a:gd name="connsiteX182" fmla="*/ 1276015 w 1394458"/>
                <a:gd name="connsiteY182" fmla="*/ 82500 h 273890"/>
                <a:gd name="connsiteX183" fmla="*/ 1385431 w 1394458"/>
                <a:gd name="connsiteY183" fmla="*/ 82500 h 2738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</a:cxnLst>
              <a:rect l="l" t="t" r="r" b="b"/>
              <a:pathLst>
                <a:path w="1394458" h="273890">
                  <a:moveTo>
                    <a:pt x="157354" y="188093"/>
                  </a:moveTo>
                  <a:lnTo>
                    <a:pt x="200773" y="188093"/>
                  </a:lnTo>
                  <a:cubicBezTo>
                    <a:pt x="199382" y="204650"/>
                    <a:pt x="194752" y="219411"/>
                    <a:pt x="186877" y="232383"/>
                  </a:cubicBezTo>
                  <a:cubicBezTo>
                    <a:pt x="179003" y="245233"/>
                    <a:pt x="167947" y="255365"/>
                    <a:pt x="153706" y="262777"/>
                  </a:cubicBezTo>
                  <a:cubicBezTo>
                    <a:pt x="139465" y="270185"/>
                    <a:pt x="122155" y="273891"/>
                    <a:pt x="101775" y="273891"/>
                  </a:cubicBezTo>
                  <a:cubicBezTo>
                    <a:pt x="86143" y="273891"/>
                    <a:pt x="72077" y="271114"/>
                    <a:pt x="59572" y="265554"/>
                  </a:cubicBezTo>
                  <a:cubicBezTo>
                    <a:pt x="47067" y="259878"/>
                    <a:pt x="36357" y="251892"/>
                    <a:pt x="27442" y="241585"/>
                  </a:cubicBezTo>
                  <a:cubicBezTo>
                    <a:pt x="18526" y="231162"/>
                    <a:pt x="11697" y="218604"/>
                    <a:pt x="6950" y="203896"/>
                  </a:cubicBezTo>
                  <a:cubicBezTo>
                    <a:pt x="2315" y="189192"/>
                    <a:pt x="0" y="172753"/>
                    <a:pt x="0" y="154577"/>
                  </a:cubicBezTo>
                  <a:lnTo>
                    <a:pt x="0" y="133560"/>
                  </a:lnTo>
                  <a:cubicBezTo>
                    <a:pt x="0" y="115379"/>
                    <a:pt x="2374" y="98940"/>
                    <a:pt x="7121" y="84236"/>
                  </a:cubicBezTo>
                  <a:cubicBezTo>
                    <a:pt x="11984" y="69533"/>
                    <a:pt x="18930" y="56970"/>
                    <a:pt x="27962" y="46552"/>
                  </a:cubicBezTo>
                  <a:cubicBezTo>
                    <a:pt x="36994" y="36017"/>
                    <a:pt x="47816" y="27967"/>
                    <a:pt x="60438" y="22408"/>
                  </a:cubicBezTo>
                  <a:cubicBezTo>
                    <a:pt x="73171" y="16848"/>
                    <a:pt x="87471" y="14071"/>
                    <a:pt x="103336" y="14071"/>
                  </a:cubicBezTo>
                  <a:cubicBezTo>
                    <a:pt x="123482" y="14071"/>
                    <a:pt x="140506" y="17777"/>
                    <a:pt x="154397" y="25185"/>
                  </a:cubicBezTo>
                  <a:cubicBezTo>
                    <a:pt x="168293" y="32597"/>
                    <a:pt x="179056" y="42840"/>
                    <a:pt x="186702" y="55924"/>
                  </a:cubicBezTo>
                  <a:cubicBezTo>
                    <a:pt x="194460" y="69008"/>
                    <a:pt x="199207" y="84003"/>
                    <a:pt x="200943" y="100905"/>
                  </a:cubicBezTo>
                  <a:lnTo>
                    <a:pt x="157524" y="100905"/>
                  </a:lnTo>
                  <a:cubicBezTo>
                    <a:pt x="156367" y="90019"/>
                    <a:pt x="153818" y="80700"/>
                    <a:pt x="149883" y="72943"/>
                  </a:cubicBezTo>
                  <a:cubicBezTo>
                    <a:pt x="146065" y="65185"/>
                    <a:pt x="140389" y="59280"/>
                    <a:pt x="132865" y="55229"/>
                  </a:cubicBezTo>
                  <a:cubicBezTo>
                    <a:pt x="125340" y="51060"/>
                    <a:pt x="115496" y="48974"/>
                    <a:pt x="103341" y="48974"/>
                  </a:cubicBezTo>
                  <a:cubicBezTo>
                    <a:pt x="93385" y="48974"/>
                    <a:pt x="84698" y="50827"/>
                    <a:pt x="77291" y="54533"/>
                  </a:cubicBezTo>
                  <a:cubicBezTo>
                    <a:pt x="69878" y="58239"/>
                    <a:pt x="63687" y="63682"/>
                    <a:pt x="58706" y="70861"/>
                  </a:cubicBezTo>
                  <a:cubicBezTo>
                    <a:pt x="53730" y="78040"/>
                    <a:pt x="49966" y="86897"/>
                    <a:pt x="47417" y="97432"/>
                  </a:cubicBezTo>
                  <a:cubicBezTo>
                    <a:pt x="44985" y="107850"/>
                    <a:pt x="43769" y="119776"/>
                    <a:pt x="43769" y="133210"/>
                  </a:cubicBezTo>
                  <a:lnTo>
                    <a:pt x="43769" y="154572"/>
                  </a:lnTo>
                  <a:cubicBezTo>
                    <a:pt x="43769" y="167305"/>
                    <a:pt x="44869" y="178886"/>
                    <a:pt x="47067" y="189304"/>
                  </a:cubicBezTo>
                  <a:cubicBezTo>
                    <a:pt x="49382" y="199611"/>
                    <a:pt x="52855" y="208468"/>
                    <a:pt x="57490" y="215875"/>
                  </a:cubicBezTo>
                  <a:cubicBezTo>
                    <a:pt x="62237" y="223288"/>
                    <a:pt x="68259" y="229017"/>
                    <a:pt x="75550" y="233069"/>
                  </a:cubicBezTo>
                  <a:cubicBezTo>
                    <a:pt x="82845" y="237120"/>
                    <a:pt x="91585" y="239149"/>
                    <a:pt x="101775" y="239149"/>
                  </a:cubicBezTo>
                  <a:cubicBezTo>
                    <a:pt x="114163" y="239149"/>
                    <a:pt x="124178" y="237179"/>
                    <a:pt x="131824" y="233244"/>
                  </a:cubicBezTo>
                  <a:cubicBezTo>
                    <a:pt x="139582" y="229309"/>
                    <a:pt x="145428" y="223575"/>
                    <a:pt x="149363" y="216050"/>
                  </a:cubicBezTo>
                  <a:cubicBezTo>
                    <a:pt x="153414" y="208409"/>
                    <a:pt x="156080" y="199090"/>
                    <a:pt x="157354" y="188088"/>
                  </a:cubicBezTo>
                  <a:close/>
                  <a:moveTo>
                    <a:pt x="313837" y="270418"/>
                  </a:moveTo>
                  <a:lnTo>
                    <a:pt x="259825" y="270418"/>
                  </a:lnTo>
                  <a:lnTo>
                    <a:pt x="260170" y="235856"/>
                  </a:lnTo>
                  <a:lnTo>
                    <a:pt x="313837" y="235856"/>
                  </a:lnTo>
                  <a:cubicBezTo>
                    <a:pt x="329469" y="235856"/>
                    <a:pt x="342553" y="232441"/>
                    <a:pt x="353088" y="225608"/>
                  </a:cubicBezTo>
                  <a:cubicBezTo>
                    <a:pt x="363740" y="218779"/>
                    <a:pt x="371731" y="208993"/>
                    <a:pt x="377057" y="196255"/>
                  </a:cubicBezTo>
                  <a:cubicBezTo>
                    <a:pt x="382499" y="183521"/>
                    <a:pt x="385218" y="168351"/>
                    <a:pt x="385218" y="150754"/>
                  </a:cubicBezTo>
                  <a:lnTo>
                    <a:pt x="385218" y="137033"/>
                  </a:lnTo>
                  <a:cubicBezTo>
                    <a:pt x="385218" y="123371"/>
                    <a:pt x="383657" y="111269"/>
                    <a:pt x="380530" y="100734"/>
                  </a:cubicBezTo>
                  <a:cubicBezTo>
                    <a:pt x="377519" y="90199"/>
                    <a:pt x="373005" y="81342"/>
                    <a:pt x="366984" y="74163"/>
                  </a:cubicBezTo>
                  <a:cubicBezTo>
                    <a:pt x="361079" y="66984"/>
                    <a:pt x="353784" y="61542"/>
                    <a:pt x="345102" y="57840"/>
                  </a:cubicBezTo>
                  <a:cubicBezTo>
                    <a:pt x="336532" y="54134"/>
                    <a:pt x="326634" y="52281"/>
                    <a:pt x="315403" y="52281"/>
                  </a:cubicBezTo>
                  <a:lnTo>
                    <a:pt x="258784" y="52281"/>
                  </a:lnTo>
                  <a:lnTo>
                    <a:pt x="258784" y="17544"/>
                  </a:lnTo>
                  <a:lnTo>
                    <a:pt x="315403" y="17544"/>
                  </a:lnTo>
                  <a:cubicBezTo>
                    <a:pt x="332193" y="17544"/>
                    <a:pt x="347534" y="20379"/>
                    <a:pt x="361429" y="26055"/>
                  </a:cubicBezTo>
                  <a:cubicBezTo>
                    <a:pt x="375325" y="31615"/>
                    <a:pt x="387310" y="39660"/>
                    <a:pt x="397383" y="50195"/>
                  </a:cubicBezTo>
                  <a:cubicBezTo>
                    <a:pt x="407572" y="60730"/>
                    <a:pt x="415389" y="73351"/>
                    <a:pt x="420826" y="88054"/>
                  </a:cubicBezTo>
                  <a:cubicBezTo>
                    <a:pt x="426269" y="102758"/>
                    <a:pt x="428988" y="119202"/>
                    <a:pt x="428988" y="137378"/>
                  </a:cubicBezTo>
                  <a:lnTo>
                    <a:pt x="428988" y="150754"/>
                  </a:lnTo>
                  <a:cubicBezTo>
                    <a:pt x="428988" y="168930"/>
                    <a:pt x="426269" y="185374"/>
                    <a:pt x="420826" y="200078"/>
                  </a:cubicBezTo>
                  <a:cubicBezTo>
                    <a:pt x="415384" y="214781"/>
                    <a:pt x="407568" y="227403"/>
                    <a:pt x="397383" y="237938"/>
                  </a:cubicBezTo>
                  <a:cubicBezTo>
                    <a:pt x="387193" y="248356"/>
                    <a:pt x="375038" y="256405"/>
                    <a:pt x="360909" y="262077"/>
                  </a:cubicBezTo>
                  <a:cubicBezTo>
                    <a:pt x="346896" y="267636"/>
                    <a:pt x="331211" y="270413"/>
                    <a:pt x="313842" y="270413"/>
                  </a:cubicBezTo>
                  <a:close/>
                  <a:moveTo>
                    <a:pt x="283964" y="17544"/>
                  </a:moveTo>
                  <a:lnTo>
                    <a:pt x="283964" y="270418"/>
                  </a:lnTo>
                  <a:lnTo>
                    <a:pt x="240369" y="270418"/>
                  </a:lnTo>
                  <a:lnTo>
                    <a:pt x="240369" y="17544"/>
                  </a:lnTo>
                  <a:lnTo>
                    <a:pt x="283964" y="17544"/>
                  </a:lnTo>
                  <a:close/>
                  <a:moveTo>
                    <a:pt x="519299" y="17544"/>
                  </a:moveTo>
                  <a:lnTo>
                    <a:pt x="519299" y="270418"/>
                  </a:lnTo>
                  <a:lnTo>
                    <a:pt x="475705" y="270418"/>
                  </a:lnTo>
                  <a:lnTo>
                    <a:pt x="475705" y="17544"/>
                  </a:lnTo>
                  <a:lnTo>
                    <a:pt x="519299" y="17544"/>
                  </a:lnTo>
                  <a:close/>
                  <a:moveTo>
                    <a:pt x="811424" y="188093"/>
                  </a:moveTo>
                  <a:lnTo>
                    <a:pt x="854843" y="188093"/>
                  </a:lnTo>
                  <a:cubicBezTo>
                    <a:pt x="853452" y="204650"/>
                    <a:pt x="848822" y="219411"/>
                    <a:pt x="840947" y="232383"/>
                  </a:cubicBezTo>
                  <a:cubicBezTo>
                    <a:pt x="833073" y="245233"/>
                    <a:pt x="822017" y="255365"/>
                    <a:pt x="807776" y="262777"/>
                  </a:cubicBezTo>
                  <a:cubicBezTo>
                    <a:pt x="793535" y="270185"/>
                    <a:pt x="776225" y="273891"/>
                    <a:pt x="755845" y="273891"/>
                  </a:cubicBezTo>
                  <a:cubicBezTo>
                    <a:pt x="740213" y="273891"/>
                    <a:pt x="726147" y="271114"/>
                    <a:pt x="713642" y="265554"/>
                  </a:cubicBezTo>
                  <a:cubicBezTo>
                    <a:pt x="701137" y="259878"/>
                    <a:pt x="690427" y="251892"/>
                    <a:pt x="681512" y="241585"/>
                  </a:cubicBezTo>
                  <a:cubicBezTo>
                    <a:pt x="672596" y="231162"/>
                    <a:pt x="665768" y="218604"/>
                    <a:pt x="661021" y="203896"/>
                  </a:cubicBezTo>
                  <a:cubicBezTo>
                    <a:pt x="656390" y="189192"/>
                    <a:pt x="654075" y="172748"/>
                    <a:pt x="654075" y="154572"/>
                  </a:cubicBezTo>
                  <a:lnTo>
                    <a:pt x="654075" y="133555"/>
                  </a:lnTo>
                  <a:cubicBezTo>
                    <a:pt x="654075" y="115374"/>
                    <a:pt x="656449" y="98935"/>
                    <a:pt x="661196" y="84231"/>
                  </a:cubicBezTo>
                  <a:cubicBezTo>
                    <a:pt x="666059" y="69528"/>
                    <a:pt x="673005" y="56965"/>
                    <a:pt x="682037" y="46547"/>
                  </a:cubicBezTo>
                  <a:cubicBezTo>
                    <a:pt x="691069" y="36012"/>
                    <a:pt x="701891" y="27962"/>
                    <a:pt x="714513" y="22403"/>
                  </a:cubicBezTo>
                  <a:cubicBezTo>
                    <a:pt x="727246" y="16843"/>
                    <a:pt x="741546" y="14066"/>
                    <a:pt x="757411" y="14066"/>
                  </a:cubicBezTo>
                  <a:cubicBezTo>
                    <a:pt x="777557" y="14066"/>
                    <a:pt x="794581" y="17772"/>
                    <a:pt x="808472" y="25180"/>
                  </a:cubicBezTo>
                  <a:cubicBezTo>
                    <a:pt x="822368" y="32592"/>
                    <a:pt x="833131" y="42836"/>
                    <a:pt x="840777" y="55919"/>
                  </a:cubicBezTo>
                  <a:cubicBezTo>
                    <a:pt x="848535" y="69003"/>
                    <a:pt x="853282" y="83998"/>
                    <a:pt x="855018" y="100900"/>
                  </a:cubicBezTo>
                  <a:lnTo>
                    <a:pt x="811599" y="100900"/>
                  </a:lnTo>
                  <a:cubicBezTo>
                    <a:pt x="810442" y="90015"/>
                    <a:pt x="807893" y="80695"/>
                    <a:pt x="803958" y="72938"/>
                  </a:cubicBezTo>
                  <a:cubicBezTo>
                    <a:pt x="800140" y="65180"/>
                    <a:pt x="794464" y="59275"/>
                    <a:pt x="786940" y="55224"/>
                  </a:cubicBezTo>
                  <a:cubicBezTo>
                    <a:pt x="779415" y="51055"/>
                    <a:pt x="769571" y="48969"/>
                    <a:pt x="757416" y="48969"/>
                  </a:cubicBezTo>
                  <a:cubicBezTo>
                    <a:pt x="747460" y="48969"/>
                    <a:pt x="738773" y="50822"/>
                    <a:pt x="731366" y="54528"/>
                  </a:cubicBezTo>
                  <a:cubicBezTo>
                    <a:pt x="723953" y="58234"/>
                    <a:pt x="717762" y="63677"/>
                    <a:pt x="712781" y="70856"/>
                  </a:cubicBezTo>
                  <a:cubicBezTo>
                    <a:pt x="707801" y="78035"/>
                    <a:pt x="704041" y="86892"/>
                    <a:pt x="701492" y="97427"/>
                  </a:cubicBezTo>
                  <a:cubicBezTo>
                    <a:pt x="699060" y="107845"/>
                    <a:pt x="697844" y="119771"/>
                    <a:pt x="697844" y="133205"/>
                  </a:cubicBezTo>
                  <a:lnTo>
                    <a:pt x="697844" y="154567"/>
                  </a:lnTo>
                  <a:cubicBezTo>
                    <a:pt x="697844" y="167300"/>
                    <a:pt x="698944" y="178881"/>
                    <a:pt x="701142" y="189299"/>
                  </a:cubicBezTo>
                  <a:cubicBezTo>
                    <a:pt x="703457" y="199606"/>
                    <a:pt x="706930" y="208463"/>
                    <a:pt x="711565" y="215870"/>
                  </a:cubicBezTo>
                  <a:cubicBezTo>
                    <a:pt x="716312" y="223283"/>
                    <a:pt x="722334" y="229012"/>
                    <a:pt x="729629" y="233064"/>
                  </a:cubicBezTo>
                  <a:cubicBezTo>
                    <a:pt x="736925" y="237116"/>
                    <a:pt x="745665" y="239144"/>
                    <a:pt x="755855" y="239144"/>
                  </a:cubicBezTo>
                  <a:cubicBezTo>
                    <a:pt x="768243" y="239144"/>
                    <a:pt x="778258" y="237174"/>
                    <a:pt x="785904" y="233239"/>
                  </a:cubicBezTo>
                  <a:cubicBezTo>
                    <a:pt x="793661" y="229304"/>
                    <a:pt x="799508" y="223570"/>
                    <a:pt x="803443" y="216046"/>
                  </a:cubicBezTo>
                  <a:cubicBezTo>
                    <a:pt x="807494" y="208405"/>
                    <a:pt x="810159" y="199085"/>
                    <a:pt x="811434" y="188084"/>
                  </a:cubicBezTo>
                  <a:close/>
                  <a:moveTo>
                    <a:pt x="882285" y="178541"/>
                  </a:moveTo>
                  <a:lnTo>
                    <a:pt x="882285" y="174548"/>
                  </a:lnTo>
                  <a:cubicBezTo>
                    <a:pt x="882285" y="161002"/>
                    <a:pt x="884255" y="148439"/>
                    <a:pt x="888190" y="136858"/>
                  </a:cubicBezTo>
                  <a:cubicBezTo>
                    <a:pt x="892124" y="125165"/>
                    <a:pt x="897800" y="115034"/>
                    <a:pt x="905208" y="106464"/>
                  </a:cubicBezTo>
                  <a:cubicBezTo>
                    <a:pt x="912732" y="97782"/>
                    <a:pt x="921881" y="91065"/>
                    <a:pt x="932650" y="86318"/>
                  </a:cubicBezTo>
                  <a:cubicBezTo>
                    <a:pt x="943535" y="81454"/>
                    <a:pt x="955806" y="79022"/>
                    <a:pt x="969469" y="79022"/>
                  </a:cubicBezTo>
                  <a:cubicBezTo>
                    <a:pt x="983131" y="79022"/>
                    <a:pt x="995519" y="81454"/>
                    <a:pt x="1006288" y="86318"/>
                  </a:cubicBezTo>
                  <a:cubicBezTo>
                    <a:pt x="1017173" y="91065"/>
                    <a:pt x="1026375" y="97782"/>
                    <a:pt x="1033899" y="106464"/>
                  </a:cubicBezTo>
                  <a:cubicBezTo>
                    <a:pt x="1041424" y="115034"/>
                    <a:pt x="1047158" y="125165"/>
                    <a:pt x="1051093" y="136858"/>
                  </a:cubicBezTo>
                  <a:cubicBezTo>
                    <a:pt x="1055028" y="148439"/>
                    <a:pt x="1056998" y="160997"/>
                    <a:pt x="1056998" y="174548"/>
                  </a:cubicBezTo>
                  <a:lnTo>
                    <a:pt x="1056998" y="178541"/>
                  </a:lnTo>
                  <a:cubicBezTo>
                    <a:pt x="1056998" y="192086"/>
                    <a:pt x="1055028" y="204650"/>
                    <a:pt x="1051093" y="216230"/>
                  </a:cubicBezTo>
                  <a:cubicBezTo>
                    <a:pt x="1047153" y="227806"/>
                    <a:pt x="1041424" y="237938"/>
                    <a:pt x="1033899" y="246624"/>
                  </a:cubicBezTo>
                  <a:cubicBezTo>
                    <a:pt x="1026375" y="255194"/>
                    <a:pt x="1017226" y="261906"/>
                    <a:pt x="1006458" y="266770"/>
                  </a:cubicBezTo>
                  <a:cubicBezTo>
                    <a:pt x="995689" y="271517"/>
                    <a:pt x="983476" y="273891"/>
                    <a:pt x="969814" y="273891"/>
                  </a:cubicBezTo>
                  <a:cubicBezTo>
                    <a:pt x="956151" y="273891"/>
                    <a:pt x="943705" y="271517"/>
                    <a:pt x="932820" y="266770"/>
                  </a:cubicBezTo>
                  <a:cubicBezTo>
                    <a:pt x="922051" y="261906"/>
                    <a:pt x="912907" y="255189"/>
                    <a:pt x="905378" y="246624"/>
                  </a:cubicBezTo>
                  <a:cubicBezTo>
                    <a:pt x="897854" y="237942"/>
                    <a:pt x="892119" y="227811"/>
                    <a:pt x="888185" y="216230"/>
                  </a:cubicBezTo>
                  <a:cubicBezTo>
                    <a:pt x="884245" y="204650"/>
                    <a:pt x="882280" y="192086"/>
                    <a:pt x="882280" y="178541"/>
                  </a:cubicBezTo>
                  <a:close/>
                  <a:moveTo>
                    <a:pt x="924143" y="174548"/>
                  </a:moveTo>
                  <a:lnTo>
                    <a:pt x="924143" y="178541"/>
                  </a:lnTo>
                  <a:cubicBezTo>
                    <a:pt x="924143" y="186994"/>
                    <a:pt x="925013" y="194980"/>
                    <a:pt x="926750" y="202510"/>
                  </a:cubicBezTo>
                  <a:cubicBezTo>
                    <a:pt x="928486" y="210034"/>
                    <a:pt x="931210" y="216634"/>
                    <a:pt x="934911" y="222310"/>
                  </a:cubicBezTo>
                  <a:cubicBezTo>
                    <a:pt x="938617" y="227981"/>
                    <a:pt x="943365" y="232441"/>
                    <a:pt x="949152" y="235681"/>
                  </a:cubicBezTo>
                  <a:cubicBezTo>
                    <a:pt x="954940" y="238925"/>
                    <a:pt x="961832" y="240545"/>
                    <a:pt x="969819" y="240545"/>
                  </a:cubicBezTo>
                  <a:cubicBezTo>
                    <a:pt x="977805" y="240545"/>
                    <a:pt x="984293" y="238925"/>
                    <a:pt x="989965" y="235681"/>
                  </a:cubicBezTo>
                  <a:cubicBezTo>
                    <a:pt x="995753" y="232441"/>
                    <a:pt x="1000500" y="227981"/>
                    <a:pt x="1004206" y="222310"/>
                  </a:cubicBezTo>
                  <a:cubicBezTo>
                    <a:pt x="1007912" y="216634"/>
                    <a:pt x="1010631" y="210039"/>
                    <a:pt x="1012367" y="202510"/>
                  </a:cubicBezTo>
                  <a:cubicBezTo>
                    <a:pt x="1014220" y="194985"/>
                    <a:pt x="1015145" y="186994"/>
                    <a:pt x="1015145" y="178541"/>
                  </a:cubicBezTo>
                  <a:lnTo>
                    <a:pt x="1015145" y="174548"/>
                  </a:lnTo>
                  <a:cubicBezTo>
                    <a:pt x="1015145" y="166211"/>
                    <a:pt x="1014220" y="158336"/>
                    <a:pt x="1012367" y="150929"/>
                  </a:cubicBezTo>
                  <a:cubicBezTo>
                    <a:pt x="1010631" y="143405"/>
                    <a:pt x="1007854" y="136746"/>
                    <a:pt x="1004031" y="130958"/>
                  </a:cubicBezTo>
                  <a:cubicBezTo>
                    <a:pt x="1000325" y="125170"/>
                    <a:pt x="995578" y="120652"/>
                    <a:pt x="989790" y="117412"/>
                  </a:cubicBezTo>
                  <a:cubicBezTo>
                    <a:pt x="984118" y="114056"/>
                    <a:pt x="977343" y="112378"/>
                    <a:pt x="969469" y="112378"/>
                  </a:cubicBezTo>
                  <a:cubicBezTo>
                    <a:pt x="961594" y="112378"/>
                    <a:pt x="954765" y="114056"/>
                    <a:pt x="948977" y="117412"/>
                  </a:cubicBezTo>
                  <a:cubicBezTo>
                    <a:pt x="943301" y="120657"/>
                    <a:pt x="938613" y="125170"/>
                    <a:pt x="934911" y="130958"/>
                  </a:cubicBezTo>
                  <a:cubicBezTo>
                    <a:pt x="931205" y="136746"/>
                    <a:pt x="928486" y="143405"/>
                    <a:pt x="926750" y="150929"/>
                  </a:cubicBezTo>
                  <a:cubicBezTo>
                    <a:pt x="925013" y="158341"/>
                    <a:pt x="924143" y="166211"/>
                    <a:pt x="924143" y="174548"/>
                  </a:cubicBezTo>
                  <a:close/>
                  <a:moveTo>
                    <a:pt x="1133598" y="122617"/>
                  </a:moveTo>
                  <a:lnTo>
                    <a:pt x="1133598" y="270418"/>
                  </a:lnTo>
                  <a:lnTo>
                    <a:pt x="1091745" y="270418"/>
                  </a:lnTo>
                  <a:lnTo>
                    <a:pt x="1091745" y="82495"/>
                  </a:lnTo>
                  <a:lnTo>
                    <a:pt x="1131171" y="82495"/>
                  </a:lnTo>
                  <a:lnTo>
                    <a:pt x="1133603" y="122617"/>
                  </a:lnTo>
                  <a:close/>
                  <a:moveTo>
                    <a:pt x="1126132" y="169509"/>
                  </a:moveTo>
                  <a:lnTo>
                    <a:pt x="1112586" y="169334"/>
                  </a:lnTo>
                  <a:cubicBezTo>
                    <a:pt x="1112703" y="156016"/>
                    <a:pt x="1114556" y="143803"/>
                    <a:pt x="1118145" y="132690"/>
                  </a:cubicBezTo>
                  <a:cubicBezTo>
                    <a:pt x="1121852" y="121576"/>
                    <a:pt x="1126944" y="112023"/>
                    <a:pt x="1133428" y="104032"/>
                  </a:cubicBezTo>
                  <a:cubicBezTo>
                    <a:pt x="1140028" y="96041"/>
                    <a:pt x="1147902" y="89908"/>
                    <a:pt x="1157046" y="85623"/>
                  </a:cubicBezTo>
                  <a:cubicBezTo>
                    <a:pt x="1166195" y="81226"/>
                    <a:pt x="1176385" y="79022"/>
                    <a:pt x="1187615" y="79022"/>
                  </a:cubicBezTo>
                  <a:cubicBezTo>
                    <a:pt x="1196647" y="79022"/>
                    <a:pt x="1204809" y="80297"/>
                    <a:pt x="1212105" y="82840"/>
                  </a:cubicBezTo>
                  <a:cubicBezTo>
                    <a:pt x="1219517" y="85272"/>
                    <a:pt x="1225825" y="89265"/>
                    <a:pt x="1231034" y="94825"/>
                  </a:cubicBezTo>
                  <a:cubicBezTo>
                    <a:pt x="1236360" y="100384"/>
                    <a:pt x="1240412" y="107617"/>
                    <a:pt x="1243189" y="116532"/>
                  </a:cubicBezTo>
                  <a:cubicBezTo>
                    <a:pt x="1245966" y="125331"/>
                    <a:pt x="1247357" y="136157"/>
                    <a:pt x="1247357" y="149013"/>
                  </a:cubicBezTo>
                  <a:lnTo>
                    <a:pt x="1247357" y="270413"/>
                  </a:lnTo>
                  <a:lnTo>
                    <a:pt x="1205329" y="270413"/>
                  </a:lnTo>
                  <a:lnTo>
                    <a:pt x="1205329" y="148837"/>
                  </a:lnTo>
                  <a:cubicBezTo>
                    <a:pt x="1205329" y="139805"/>
                    <a:pt x="1203996" y="132685"/>
                    <a:pt x="1201336" y="127476"/>
                  </a:cubicBezTo>
                  <a:cubicBezTo>
                    <a:pt x="1198787" y="122150"/>
                    <a:pt x="1195028" y="118385"/>
                    <a:pt x="1190047" y="116187"/>
                  </a:cubicBezTo>
                  <a:cubicBezTo>
                    <a:pt x="1185183" y="113872"/>
                    <a:pt x="1179104" y="112714"/>
                    <a:pt x="1171813" y="112714"/>
                  </a:cubicBezTo>
                  <a:cubicBezTo>
                    <a:pt x="1164522" y="112714"/>
                    <a:pt x="1158209" y="114217"/>
                    <a:pt x="1152533" y="117228"/>
                  </a:cubicBezTo>
                  <a:cubicBezTo>
                    <a:pt x="1146861" y="120238"/>
                    <a:pt x="1142056" y="124348"/>
                    <a:pt x="1138116" y="129557"/>
                  </a:cubicBezTo>
                  <a:cubicBezTo>
                    <a:pt x="1134293" y="134766"/>
                    <a:pt x="1131341" y="140788"/>
                    <a:pt x="1129259" y="147621"/>
                  </a:cubicBezTo>
                  <a:cubicBezTo>
                    <a:pt x="1127178" y="154450"/>
                    <a:pt x="1126132" y="161746"/>
                    <a:pt x="1126132" y="169504"/>
                  </a:cubicBezTo>
                  <a:close/>
                  <a:moveTo>
                    <a:pt x="1346701" y="270418"/>
                  </a:moveTo>
                  <a:lnTo>
                    <a:pt x="1304843" y="270418"/>
                  </a:lnTo>
                  <a:lnTo>
                    <a:pt x="1304843" y="64436"/>
                  </a:lnTo>
                  <a:cubicBezTo>
                    <a:pt x="1304843" y="50428"/>
                    <a:pt x="1307450" y="38672"/>
                    <a:pt x="1312659" y="29178"/>
                  </a:cubicBezTo>
                  <a:cubicBezTo>
                    <a:pt x="1317985" y="19567"/>
                    <a:pt x="1325567" y="12330"/>
                    <a:pt x="1335412" y="7471"/>
                  </a:cubicBezTo>
                  <a:cubicBezTo>
                    <a:pt x="1345256" y="2490"/>
                    <a:pt x="1356890" y="0"/>
                    <a:pt x="1370319" y="0"/>
                  </a:cubicBezTo>
                  <a:cubicBezTo>
                    <a:pt x="1374488" y="0"/>
                    <a:pt x="1378597" y="292"/>
                    <a:pt x="1382649" y="871"/>
                  </a:cubicBezTo>
                  <a:cubicBezTo>
                    <a:pt x="1386701" y="1333"/>
                    <a:pt x="1390640" y="2087"/>
                    <a:pt x="1394458" y="3127"/>
                  </a:cubicBezTo>
                  <a:lnTo>
                    <a:pt x="1393418" y="35433"/>
                  </a:lnTo>
                  <a:cubicBezTo>
                    <a:pt x="1391102" y="34854"/>
                    <a:pt x="1388554" y="34450"/>
                    <a:pt x="1385776" y="34217"/>
                  </a:cubicBezTo>
                  <a:cubicBezTo>
                    <a:pt x="1383116" y="33983"/>
                    <a:pt x="1380217" y="33872"/>
                    <a:pt x="1377095" y="33872"/>
                  </a:cubicBezTo>
                  <a:cubicBezTo>
                    <a:pt x="1370728" y="33872"/>
                    <a:pt x="1365227" y="35088"/>
                    <a:pt x="1360596" y="37519"/>
                  </a:cubicBezTo>
                  <a:cubicBezTo>
                    <a:pt x="1356083" y="39835"/>
                    <a:pt x="1352605" y="43249"/>
                    <a:pt x="1350178" y="47767"/>
                  </a:cubicBezTo>
                  <a:cubicBezTo>
                    <a:pt x="1347863" y="52286"/>
                    <a:pt x="1346706" y="57840"/>
                    <a:pt x="1346706" y="64441"/>
                  </a:cubicBezTo>
                  <a:lnTo>
                    <a:pt x="1346706" y="270423"/>
                  </a:lnTo>
                  <a:close/>
                  <a:moveTo>
                    <a:pt x="1385431" y="82500"/>
                  </a:moveTo>
                  <a:lnTo>
                    <a:pt x="1385431" y="113069"/>
                  </a:lnTo>
                  <a:lnTo>
                    <a:pt x="1276015" y="113069"/>
                  </a:lnTo>
                  <a:lnTo>
                    <a:pt x="1276015" y="82500"/>
                  </a:lnTo>
                  <a:lnTo>
                    <a:pt x="1385431" y="82500"/>
                  </a:lnTo>
                  <a:close/>
                </a:path>
              </a:pathLst>
            </a:custGeom>
            <a:solidFill>
              <a:srgbClr val="EE3431"/>
            </a:solidFill>
            <a:ln w="4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6" name="Полилиния: фигура 45">
              <a:extLst>
                <a:ext uri="{FF2B5EF4-FFF2-40B4-BE49-F238E27FC236}">
                  <a16:creationId xmlns:a16="http://schemas.microsoft.com/office/drawing/2014/main" id="{EB80AEA3-6D76-4813-B83E-E98064CA7762}"/>
                </a:ext>
              </a:extLst>
            </p:cNvPr>
            <p:cNvSpPr/>
            <p:nvPr/>
          </p:nvSpPr>
          <p:spPr>
            <a:xfrm>
              <a:off x="7406975" y="5855999"/>
              <a:ext cx="1394458" cy="273890"/>
            </a:xfrm>
            <a:custGeom>
              <a:avLst/>
              <a:gdLst>
                <a:gd name="connsiteX0" fmla="*/ 157354 w 1394458"/>
                <a:gd name="connsiteY0" fmla="*/ 188093 h 273890"/>
                <a:gd name="connsiteX1" fmla="*/ 200773 w 1394458"/>
                <a:gd name="connsiteY1" fmla="*/ 188093 h 273890"/>
                <a:gd name="connsiteX2" fmla="*/ 186877 w 1394458"/>
                <a:gd name="connsiteY2" fmla="*/ 232383 h 273890"/>
                <a:gd name="connsiteX3" fmla="*/ 153706 w 1394458"/>
                <a:gd name="connsiteY3" fmla="*/ 262777 h 273890"/>
                <a:gd name="connsiteX4" fmla="*/ 101775 w 1394458"/>
                <a:gd name="connsiteY4" fmla="*/ 273891 h 273890"/>
                <a:gd name="connsiteX5" fmla="*/ 59572 w 1394458"/>
                <a:gd name="connsiteY5" fmla="*/ 265554 h 273890"/>
                <a:gd name="connsiteX6" fmla="*/ 27442 w 1394458"/>
                <a:gd name="connsiteY6" fmla="*/ 241585 h 273890"/>
                <a:gd name="connsiteX7" fmla="*/ 6950 w 1394458"/>
                <a:gd name="connsiteY7" fmla="*/ 203901 h 273890"/>
                <a:gd name="connsiteX8" fmla="*/ 0 w 1394458"/>
                <a:gd name="connsiteY8" fmla="*/ 154572 h 273890"/>
                <a:gd name="connsiteX9" fmla="*/ 0 w 1394458"/>
                <a:gd name="connsiteY9" fmla="*/ 133555 h 273890"/>
                <a:gd name="connsiteX10" fmla="*/ 7121 w 1394458"/>
                <a:gd name="connsiteY10" fmla="*/ 84231 h 273890"/>
                <a:gd name="connsiteX11" fmla="*/ 27962 w 1394458"/>
                <a:gd name="connsiteY11" fmla="*/ 46542 h 273890"/>
                <a:gd name="connsiteX12" fmla="*/ 60438 w 1394458"/>
                <a:gd name="connsiteY12" fmla="*/ 22403 h 273890"/>
                <a:gd name="connsiteX13" fmla="*/ 103336 w 1394458"/>
                <a:gd name="connsiteY13" fmla="*/ 14066 h 273890"/>
                <a:gd name="connsiteX14" fmla="*/ 154397 w 1394458"/>
                <a:gd name="connsiteY14" fmla="*/ 25180 h 273890"/>
                <a:gd name="connsiteX15" fmla="*/ 186702 w 1394458"/>
                <a:gd name="connsiteY15" fmla="*/ 55919 h 273890"/>
                <a:gd name="connsiteX16" fmla="*/ 200943 w 1394458"/>
                <a:gd name="connsiteY16" fmla="*/ 100900 h 273890"/>
                <a:gd name="connsiteX17" fmla="*/ 157524 w 1394458"/>
                <a:gd name="connsiteY17" fmla="*/ 100900 h 273890"/>
                <a:gd name="connsiteX18" fmla="*/ 149883 w 1394458"/>
                <a:gd name="connsiteY18" fmla="*/ 72938 h 273890"/>
                <a:gd name="connsiteX19" fmla="*/ 132865 w 1394458"/>
                <a:gd name="connsiteY19" fmla="*/ 55224 h 273890"/>
                <a:gd name="connsiteX20" fmla="*/ 103341 w 1394458"/>
                <a:gd name="connsiteY20" fmla="*/ 48969 h 273890"/>
                <a:gd name="connsiteX21" fmla="*/ 77291 w 1394458"/>
                <a:gd name="connsiteY21" fmla="*/ 54528 h 273890"/>
                <a:gd name="connsiteX22" fmla="*/ 58706 w 1394458"/>
                <a:gd name="connsiteY22" fmla="*/ 70856 h 273890"/>
                <a:gd name="connsiteX23" fmla="*/ 47417 w 1394458"/>
                <a:gd name="connsiteY23" fmla="*/ 97427 h 273890"/>
                <a:gd name="connsiteX24" fmla="*/ 43769 w 1394458"/>
                <a:gd name="connsiteY24" fmla="*/ 133205 h 273890"/>
                <a:gd name="connsiteX25" fmla="*/ 43769 w 1394458"/>
                <a:gd name="connsiteY25" fmla="*/ 154567 h 273890"/>
                <a:gd name="connsiteX26" fmla="*/ 47067 w 1394458"/>
                <a:gd name="connsiteY26" fmla="*/ 189304 h 273890"/>
                <a:gd name="connsiteX27" fmla="*/ 57490 w 1394458"/>
                <a:gd name="connsiteY27" fmla="*/ 215875 h 273890"/>
                <a:gd name="connsiteX28" fmla="*/ 75550 w 1394458"/>
                <a:gd name="connsiteY28" fmla="*/ 233069 h 273890"/>
                <a:gd name="connsiteX29" fmla="*/ 101775 w 1394458"/>
                <a:gd name="connsiteY29" fmla="*/ 239149 h 273890"/>
                <a:gd name="connsiteX30" fmla="*/ 131824 w 1394458"/>
                <a:gd name="connsiteY30" fmla="*/ 233244 h 273890"/>
                <a:gd name="connsiteX31" fmla="*/ 149363 w 1394458"/>
                <a:gd name="connsiteY31" fmla="*/ 216050 h 273890"/>
                <a:gd name="connsiteX32" fmla="*/ 157354 w 1394458"/>
                <a:gd name="connsiteY32" fmla="*/ 188088 h 273890"/>
                <a:gd name="connsiteX33" fmla="*/ 313837 w 1394458"/>
                <a:gd name="connsiteY33" fmla="*/ 270418 h 273890"/>
                <a:gd name="connsiteX34" fmla="*/ 259825 w 1394458"/>
                <a:gd name="connsiteY34" fmla="*/ 270418 h 273890"/>
                <a:gd name="connsiteX35" fmla="*/ 260170 w 1394458"/>
                <a:gd name="connsiteY35" fmla="*/ 235856 h 273890"/>
                <a:gd name="connsiteX36" fmla="*/ 313837 w 1394458"/>
                <a:gd name="connsiteY36" fmla="*/ 235856 h 273890"/>
                <a:gd name="connsiteX37" fmla="*/ 353088 w 1394458"/>
                <a:gd name="connsiteY37" fmla="*/ 225608 h 273890"/>
                <a:gd name="connsiteX38" fmla="*/ 377057 w 1394458"/>
                <a:gd name="connsiteY38" fmla="*/ 196255 h 273890"/>
                <a:gd name="connsiteX39" fmla="*/ 385218 w 1394458"/>
                <a:gd name="connsiteY39" fmla="*/ 150754 h 273890"/>
                <a:gd name="connsiteX40" fmla="*/ 385218 w 1394458"/>
                <a:gd name="connsiteY40" fmla="*/ 137033 h 273890"/>
                <a:gd name="connsiteX41" fmla="*/ 380530 w 1394458"/>
                <a:gd name="connsiteY41" fmla="*/ 100734 h 273890"/>
                <a:gd name="connsiteX42" fmla="*/ 366984 w 1394458"/>
                <a:gd name="connsiteY42" fmla="*/ 74163 h 273890"/>
                <a:gd name="connsiteX43" fmla="*/ 345102 w 1394458"/>
                <a:gd name="connsiteY43" fmla="*/ 57840 h 273890"/>
                <a:gd name="connsiteX44" fmla="*/ 315403 w 1394458"/>
                <a:gd name="connsiteY44" fmla="*/ 52281 h 273890"/>
                <a:gd name="connsiteX45" fmla="*/ 258784 w 1394458"/>
                <a:gd name="connsiteY45" fmla="*/ 52281 h 273890"/>
                <a:gd name="connsiteX46" fmla="*/ 258784 w 1394458"/>
                <a:gd name="connsiteY46" fmla="*/ 17544 h 273890"/>
                <a:gd name="connsiteX47" fmla="*/ 315403 w 1394458"/>
                <a:gd name="connsiteY47" fmla="*/ 17544 h 273890"/>
                <a:gd name="connsiteX48" fmla="*/ 361429 w 1394458"/>
                <a:gd name="connsiteY48" fmla="*/ 26055 h 273890"/>
                <a:gd name="connsiteX49" fmla="*/ 397383 w 1394458"/>
                <a:gd name="connsiteY49" fmla="*/ 50195 h 273890"/>
                <a:gd name="connsiteX50" fmla="*/ 420826 w 1394458"/>
                <a:gd name="connsiteY50" fmla="*/ 88054 h 273890"/>
                <a:gd name="connsiteX51" fmla="*/ 428988 w 1394458"/>
                <a:gd name="connsiteY51" fmla="*/ 137378 h 273890"/>
                <a:gd name="connsiteX52" fmla="*/ 428988 w 1394458"/>
                <a:gd name="connsiteY52" fmla="*/ 150754 h 273890"/>
                <a:gd name="connsiteX53" fmla="*/ 420826 w 1394458"/>
                <a:gd name="connsiteY53" fmla="*/ 200078 h 273890"/>
                <a:gd name="connsiteX54" fmla="*/ 397383 w 1394458"/>
                <a:gd name="connsiteY54" fmla="*/ 237938 h 273890"/>
                <a:gd name="connsiteX55" fmla="*/ 360909 w 1394458"/>
                <a:gd name="connsiteY55" fmla="*/ 262077 h 273890"/>
                <a:gd name="connsiteX56" fmla="*/ 313842 w 1394458"/>
                <a:gd name="connsiteY56" fmla="*/ 270413 h 273890"/>
                <a:gd name="connsiteX57" fmla="*/ 283964 w 1394458"/>
                <a:gd name="connsiteY57" fmla="*/ 17544 h 273890"/>
                <a:gd name="connsiteX58" fmla="*/ 283964 w 1394458"/>
                <a:gd name="connsiteY58" fmla="*/ 270418 h 273890"/>
                <a:gd name="connsiteX59" fmla="*/ 240369 w 1394458"/>
                <a:gd name="connsiteY59" fmla="*/ 270418 h 273890"/>
                <a:gd name="connsiteX60" fmla="*/ 240369 w 1394458"/>
                <a:gd name="connsiteY60" fmla="*/ 17544 h 273890"/>
                <a:gd name="connsiteX61" fmla="*/ 283964 w 1394458"/>
                <a:gd name="connsiteY61" fmla="*/ 17544 h 273890"/>
                <a:gd name="connsiteX62" fmla="*/ 519299 w 1394458"/>
                <a:gd name="connsiteY62" fmla="*/ 17544 h 273890"/>
                <a:gd name="connsiteX63" fmla="*/ 519299 w 1394458"/>
                <a:gd name="connsiteY63" fmla="*/ 270418 h 273890"/>
                <a:gd name="connsiteX64" fmla="*/ 475705 w 1394458"/>
                <a:gd name="connsiteY64" fmla="*/ 270418 h 273890"/>
                <a:gd name="connsiteX65" fmla="*/ 475705 w 1394458"/>
                <a:gd name="connsiteY65" fmla="*/ 17544 h 273890"/>
                <a:gd name="connsiteX66" fmla="*/ 519299 w 1394458"/>
                <a:gd name="connsiteY66" fmla="*/ 17544 h 273890"/>
                <a:gd name="connsiteX67" fmla="*/ 811424 w 1394458"/>
                <a:gd name="connsiteY67" fmla="*/ 188093 h 273890"/>
                <a:gd name="connsiteX68" fmla="*/ 854843 w 1394458"/>
                <a:gd name="connsiteY68" fmla="*/ 188093 h 273890"/>
                <a:gd name="connsiteX69" fmla="*/ 840947 w 1394458"/>
                <a:gd name="connsiteY69" fmla="*/ 232383 h 273890"/>
                <a:gd name="connsiteX70" fmla="*/ 807776 w 1394458"/>
                <a:gd name="connsiteY70" fmla="*/ 262777 h 273890"/>
                <a:gd name="connsiteX71" fmla="*/ 755845 w 1394458"/>
                <a:gd name="connsiteY71" fmla="*/ 273891 h 273890"/>
                <a:gd name="connsiteX72" fmla="*/ 713642 w 1394458"/>
                <a:gd name="connsiteY72" fmla="*/ 265554 h 273890"/>
                <a:gd name="connsiteX73" fmla="*/ 681512 w 1394458"/>
                <a:gd name="connsiteY73" fmla="*/ 241585 h 273890"/>
                <a:gd name="connsiteX74" fmla="*/ 661021 w 1394458"/>
                <a:gd name="connsiteY74" fmla="*/ 203901 h 273890"/>
                <a:gd name="connsiteX75" fmla="*/ 654075 w 1394458"/>
                <a:gd name="connsiteY75" fmla="*/ 154577 h 273890"/>
                <a:gd name="connsiteX76" fmla="*/ 654075 w 1394458"/>
                <a:gd name="connsiteY76" fmla="*/ 133560 h 273890"/>
                <a:gd name="connsiteX77" fmla="*/ 661196 w 1394458"/>
                <a:gd name="connsiteY77" fmla="*/ 84236 h 273890"/>
                <a:gd name="connsiteX78" fmla="*/ 682037 w 1394458"/>
                <a:gd name="connsiteY78" fmla="*/ 46547 h 273890"/>
                <a:gd name="connsiteX79" fmla="*/ 714513 w 1394458"/>
                <a:gd name="connsiteY79" fmla="*/ 22408 h 273890"/>
                <a:gd name="connsiteX80" fmla="*/ 757411 w 1394458"/>
                <a:gd name="connsiteY80" fmla="*/ 14071 h 273890"/>
                <a:gd name="connsiteX81" fmla="*/ 808472 w 1394458"/>
                <a:gd name="connsiteY81" fmla="*/ 25185 h 273890"/>
                <a:gd name="connsiteX82" fmla="*/ 840777 w 1394458"/>
                <a:gd name="connsiteY82" fmla="*/ 55924 h 273890"/>
                <a:gd name="connsiteX83" fmla="*/ 855018 w 1394458"/>
                <a:gd name="connsiteY83" fmla="*/ 100905 h 273890"/>
                <a:gd name="connsiteX84" fmla="*/ 811599 w 1394458"/>
                <a:gd name="connsiteY84" fmla="*/ 100905 h 273890"/>
                <a:gd name="connsiteX85" fmla="*/ 803958 w 1394458"/>
                <a:gd name="connsiteY85" fmla="*/ 72943 h 273890"/>
                <a:gd name="connsiteX86" fmla="*/ 786940 w 1394458"/>
                <a:gd name="connsiteY86" fmla="*/ 55229 h 273890"/>
                <a:gd name="connsiteX87" fmla="*/ 757416 w 1394458"/>
                <a:gd name="connsiteY87" fmla="*/ 48974 h 273890"/>
                <a:gd name="connsiteX88" fmla="*/ 731366 w 1394458"/>
                <a:gd name="connsiteY88" fmla="*/ 54533 h 273890"/>
                <a:gd name="connsiteX89" fmla="*/ 712781 w 1394458"/>
                <a:gd name="connsiteY89" fmla="*/ 70861 h 273890"/>
                <a:gd name="connsiteX90" fmla="*/ 701492 w 1394458"/>
                <a:gd name="connsiteY90" fmla="*/ 97432 h 273890"/>
                <a:gd name="connsiteX91" fmla="*/ 697844 w 1394458"/>
                <a:gd name="connsiteY91" fmla="*/ 133210 h 273890"/>
                <a:gd name="connsiteX92" fmla="*/ 697844 w 1394458"/>
                <a:gd name="connsiteY92" fmla="*/ 154572 h 273890"/>
                <a:gd name="connsiteX93" fmla="*/ 701142 w 1394458"/>
                <a:gd name="connsiteY93" fmla="*/ 189309 h 273890"/>
                <a:gd name="connsiteX94" fmla="*/ 711565 w 1394458"/>
                <a:gd name="connsiteY94" fmla="*/ 215880 h 273890"/>
                <a:gd name="connsiteX95" fmla="*/ 729629 w 1394458"/>
                <a:gd name="connsiteY95" fmla="*/ 233074 h 273890"/>
                <a:gd name="connsiteX96" fmla="*/ 755855 w 1394458"/>
                <a:gd name="connsiteY96" fmla="*/ 239154 h 273890"/>
                <a:gd name="connsiteX97" fmla="*/ 785904 w 1394458"/>
                <a:gd name="connsiteY97" fmla="*/ 233249 h 273890"/>
                <a:gd name="connsiteX98" fmla="*/ 803443 w 1394458"/>
                <a:gd name="connsiteY98" fmla="*/ 216055 h 273890"/>
                <a:gd name="connsiteX99" fmla="*/ 811434 w 1394458"/>
                <a:gd name="connsiteY99" fmla="*/ 188093 h 273890"/>
                <a:gd name="connsiteX100" fmla="*/ 882285 w 1394458"/>
                <a:gd name="connsiteY100" fmla="*/ 178541 h 273890"/>
                <a:gd name="connsiteX101" fmla="*/ 882285 w 1394458"/>
                <a:gd name="connsiteY101" fmla="*/ 174548 h 273890"/>
                <a:gd name="connsiteX102" fmla="*/ 888190 w 1394458"/>
                <a:gd name="connsiteY102" fmla="*/ 136858 h 273890"/>
                <a:gd name="connsiteX103" fmla="*/ 905208 w 1394458"/>
                <a:gd name="connsiteY103" fmla="*/ 106464 h 273890"/>
                <a:gd name="connsiteX104" fmla="*/ 932650 w 1394458"/>
                <a:gd name="connsiteY104" fmla="*/ 86318 h 273890"/>
                <a:gd name="connsiteX105" fmla="*/ 969469 w 1394458"/>
                <a:gd name="connsiteY105" fmla="*/ 79022 h 273890"/>
                <a:gd name="connsiteX106" fmla="*/ 1006288 w 1394458"/>
                <a:gd name="connsiteY106" fmla="*/ 86318 h 273890"/>
                <a:gd name="connsiteX107" fmla="*/ 1033899 w 1394458"/>
                <a:gd name="connsiteY107" fmla="*/ 106464 h 273890"/>
                <a:gd name="connsiteX108" fmla="*/ 1051093 w 1394458"/>
                <a:gd name="connsiteY108" fmla="*/ 136858 h 273890"/>
                <a:gd name="connsiteX109" fmla="*/ 1056998 w 1394458"/>
                <a:gd name="connsiteY109" fmla="*/ 174548 h 273890"/>
                <a:gd name="connsiteX110" fmla="*/ 1056998 w 1394458"/>
                <a:gd name="connsiteY110" fmla="*/ 178541 h 273890"/>
                <a:gd name="connsiteX111" fmla="*/ 1051093 w 1394458"/>
                <a:gd name="connsiteY111" fmla="*/ 216226 h 273890"/>
                <a:gd name="connsiteX112" fmla="*/ 1033899 w 1394458"/>
                <a:gd name="connsiteY112" fmla="*/ 246619 h 273890"/>
                <a:gd name="connsiteX113" fmla="*/ 1006458 w 1394458"/>
                <a:gd name="connsiteY113" fmla="*/ 266765 h 273890"/>
                <a:gd name="connsiteX114" fmla="*/ 969814 w 1394458"/>
                <a:gd name="connsiteY114" fmla="*/ 273886 h 273890"/>
                <a:gd name="connsiteX115" fmla="*/ 932820 w 1394458"/>
                <a:gd name="connsiteY115" fmla="*/ 266765 h 273890"/>
                <a:gd name="connsiteX116" fmla="*/ 905378 w 1394458"/>
                <a:gd name="connsiteY116" fmla="*/ 246619 h 273890"/>
                <a:gd name="connsiteX117" fmla="*/ 888185 w 1394458"/>
                <a:gd name="connsiteY117" fmla="*/ 216226 h 273890"/>
                <a:gd name="connsiteX118" fmla="*/ 882280 w 1394458"/>
                <a:gd name="connsiteY118" fmla="*/ 178541 h 273890"/>
                <a:gd name="connsiteX119" fmla="*/ 924143 w 1394458"/>
                <a:gd name="connsiteY119" fmla="*/ 174548 h 273890"/>
                <a:gd name="connsiteX120" fmla="*/ 924143 w 1394458"/>
                <a:gd name="connsiteY120" fmla="*/ 178541 h 273890"/>
                <a:gd name="connsiteX121" fmla="*/ 926750 w 1394458"/>
                <a:gd name="connsiteY121" fmla="*/ 202510 h 273890"/>
                <a:gd name="connsiteX122" fmla="*/ 934911 w 1394458"/>
                <a:gd name="connsiteY122" fmla="*/ 222310 h 273890"/>
                <a:gd name="connsiteX123" fmla="*/ 949152 w 1394458"/>
                <a:gd name="connsiteY123" fmla="*/ 235681 h 273890"/>
                <a:gd name="connsiteX124" fmla="*/ 969819 w 1394458"/>
                <a:gd name="connsiteY124" fmla="*/ 240545 h 273890"/>
                <a:gd name="connsiteX125" fmla="*/ 989965 w 1394458"/>
                <a:gd name="connsiteY125" fmla="*/ 235681 h 273890"/>
                <a:gd name="connsiteX126" fmla="*/ 1004206 w 1394458"/>
                <a:gd name="connsiteY126" fmla="*/ 222310 h 273890"/>
                <a:gd name="connsiteX127" fmla="*/ 1012367 w 1394458"/>
                <a:gd name="connsiteY127" fmla="*/ 202510 h 273890"/>
                <a:gd name="connsiteX128" fmla="*/ 1015145 w 1394458"/>
                <a:gd name="connsiteY128" fmla="*/ 178541 h 273890"/>
                <a:gd name="connsiteX129" fmla="*/ 1015145 w 1394458"/>
                <a:gd name="connsiteY129" fmla="*/ 174548 h 273890"/>
                <a:gd name="connsiteX130" fmla="*/ 1012367 w 1394458"/>
                <a:gd name="connsiteY130" fmla="*/ 150929 h 273890"/>
                <a:gd name="connsiteX131" fmla="*/ 1004031 w 1394458"/>
                <a:gd name="connsiteY131" fmla="*/ 130958 h 273890"/>
                <a:gd name="connsiteX132" fmla="*/ 989790 w 1394458"/>
                <a:gd name="connsiteY132" fmla="*/ 117412 h 273890"/>
                <a:gd name="connsiteX133" fmla="*/ 969469 w 1394458"/>
                <a:gd name="connsiteY133" fmla="*/ 112373 h 273890"/>
                <a:gd name="connsiteX134" fmla="*/ 948977 w 1394458"/>
                <a:gd name="connsiteY134" fmla="*/ 117412 h 273890"/>
                <a:gd name="connsiteX135" fmla="*/ 934911 w 1394458"/>
                <a:gd name="connsiteY135" fmla="*/ 130958 h 273890"/>
                <a:gd name="connsiteX136" fmla="*/ 926750 w 1394458"/>
                <a:gd name="connsiteY136" fmla="*/ 150929 h 273890"/>
                <a:gd name="connsiteX137" fmla="*/ 924143 w 1394458"/>
                <a:gd name="connsiteY137" fmla="*/ 174548 h 273890"/>
                <a:gd name="connsiteX138" fmla="*/ 1133598 w 1394458"/>
                <a:gd name="connsiteY138" fmla="*/ 122617 h 273890"/>
                <a:gd name="connsiteX139" fmla="*/ 1133598 w 1394458"/>
                <a:gd name="connsiteY139" fmla="*/ 270418 h 273890"/>
                <a:gd name="connsiteX140" fmla="*/ 1091745 w 1394458"/>
                <a:gd name="connsiteY140" fmla="*/ 270418 h 273890"/>
                <a:gd name="connsiteX141" fmla="*/ 1091745 w 1394458"/>
                <a:gd name="connsiteY141" fmla="*/ 82495 h 273890"/>
                <a:gd name="connsiteX142" fmla="*/ 1131171 w 1394458"/>
                <a:gd name="connsiteY142" fmla="*/ 82495 h 273890"/>
                <a:gd name="connsiteX143" fmla="*/ 1133603 w 1394458"/>
                <a:gd name="connsiteY143" fmla="*/ 122617 h 273890"/>
                <a:gd name="connsiteX144" fmla="*/ 1126132 w 1394458"/>
                <a:gd name="connsiteY144" fmla="*/ 169509 h 273890"/>
                <a:gd name="connsiteX145" fmla="*/ 1112586 w 1394458"/>
                <a:gd name="connsiteY145" fmla="*/ 169334 h 273890"/>
                <a:gd name="connsiteX146" fmla="*/ 1118145 w 1394458"/>
                <a:gd name="connsiteY146" fmla="*/ 132690 h 273890"/>
                <a:gd name="connsiteX147" fmla="*/ 1133428 w 1394458"/>
                <a:gd name="connsiteY147" fmla="*/ 104032 h 273890"/>
                <a:gd name="connsiteX148" fmla="*/ 1157046 w 1394458"/>
                <a:gd name="connsiteY148" fmla="*/ 85623 h 273890"/>
                <a:gd name="connsiteX149" fmla="*/ 1187615 w 1394458"/>
                <a:gd name="connsiteY149" fmla="*/ 79022 h 273890"/>
                <a:gd name="connsiteX150" fmla="*/ 1212105 w 1394458"/>
                <a:gd name="connsiteY150" fmla="*/ 82840 h 273890"/>
                <a:gd name="connsiteX151" fmla="*/ 1231034 w 1394458"/>
                <a:gd name="connsiteY151" fmla="*/ 94825 h 273890"/>
                <a:gd name="connsiteX152" fmla="*/ 1243189 w 1394458"/>
                <a:gd name="connsiteY152" fmla="*/ 116532 h 273890"/>
                <a:gd name="connsiteX153" fmla="*/ 1247357 w 1394458"/>
                <a:gd name="connsiteY153" fmla="*/ 149008 h 273890"/>
                <a:gd name="connsiteX154" fmla="*/ 1247357 w 1394458"/>
                <a:gd name="connsiteY154" fmla="*/ 270408 h 273890"/>
                <a:gd name="connsiteX155" fmla="*/ 1205329 w 1394458"/>
                <a:gd name="connsiteY155" fmla="*/ 270408 h 273890"/>
                <a:gd name="connsiteX156" fmla="*/ 1205329 w 1394458"/>
                <a:gd name="connsiteY156" fmla="*/ 148833 h 273890"/>
                <a:gd name="connsiteX157" fmla="*/ 1201336 w 1394458"/>
                <a:gd name="connsiteY157" fmla="*/ 127471 h 273890"/>
                <a:gd name="connsiteX158" fmla="*/ 1190047 w 1394458"/>
                <a:gd name="connsiteY158" fmla="*/ 116182 h 273890"/>
                <a:gd name="connsiteX159" fmla="*/ 1171813 w 1394458"/>
                <a:gd name="connsiteY159" fmla="*/ 112709 h 273890"/>
                <a:gd name="connsiteX160" fmla="*/ 1152533 w 1394458"/>
                <a:gd name="connsiteY160" fmla="*/ 117223 h 273890"/>
                <a:gd name="connsiteX161" fmla="*/ 1138116 w 1394458"/>
                <a:gd name="connsiteY161" fmla="*/ 129552 h 273890"/>
                <a:gd name="connsiteX162" fmla="*/ 1129259 w 1394458"/>
                <a:gd name="connsiteY162" fmla="*/ 147617 h 273890"/>
                <a:gd name="connsiteX163" fmla="*/ 1126132 w 1394458"/>
                <a:gd name="connsiteY163" fmla="*/ 169499 h 273890"/>
                <a:gd name="connsiteX164" fmla="*/ 1346701 w 1394458"/>
                <a:gd name="connsiteY164" fmla="*/ 270418 h 273890"/>
                <a:gd name="connsiteX165" fmla="*/ 1304843 w 1394458"/>
                <a:gd name="connsiteY165" fmla="*/ 270418 h 273890"/>
                <a:gd name="connsiteX166" fmla="*/ 1304843 w 1394458"/>
                <a:gd name="connsiteY166" fmla="*/ 64436 h 273890"/>
                <a:gd name="connsiteX167" fmla="*/ 1312659 w 1394458"/>
                <a:gd name="connsiteY167" fmla="*/ 29178 h 273890"/>
                <a:gd name="connsiteX168" fmla="*/ 1335412 w 1394458"/>
                <a:gd name="connsiteY168" fmla="*/ 7471 h 273890"/>
                <a:gd name="connsiteX169" fmla="*/ 1370319 w 1394458"/>
                <a:gd name="connsiteY169" fmla="*/ 0 h 273890"/>
                <a:gd name="connsiteX170" fmla="*/ 1382649 w 1394458"/>
                <a:gd name="connsiteY170" fmla="*/ 871 h 273890"/>
                <a:gd name="connsiteX171" fmla="*/ 1394458 w 1394458"/>
                <a:gd name="connsiteY171" fmla="*/ 3127 h 273890"/>
                <a:gd name="connsiteX172" fmla="*/ 1393418 w 1394458"/>
                <a:gd name="connsiteY172" fmla="*/ 35433 h 273890"/>
                <a:gd name="connsiteX173" fmla="*/ 1385776 w 1394458"/>
                <a:gd name="connsiteY173" fmla="*/ 34217 h 273890"/>
                <a:gd name="connsiteX174" fmla="*/ 1377095 w 1394458"/>
                <a:gd name="connsiteY174" fmla="*/ 33867 h 273890"/>
                <a:gd name="connsiteX175" fmla="*/ 1360596 w 1394458"/>
                <a:gd name="connsiteY175" fmla="*/ 37515 h 273890"/>
                <a:gd name="connsiteX176" fmla="*/ 1350178 w 1394458"/>
                <a:gd name="connsiteY176" fmla="*/ 47763 h 273890"/>
                <a:gd name="connsiteX177" fmla="*/ 1346706 w 1394458"/>
                <a:gd name="connsiteY177" fmla="*/ 64436 h 273890"/>
                <a:gd name="connsiteX178" fmla="*/ 1346706 w 1394458"/>
                <a:gd name="connsiteY178" fmla="*/ 270418 h 273890"/>
                <a:gd name="connsiteX179" fmla="*/ 1385431 w 1394458"/>
                <a:gd name="connsiteY179" fmla="*/ 82500 h 273890"/>
                <a:gd name="connsiteX180" fmla="*/ 1385431 w 1394458"/>
                <a:gd name="connsiteY180" fmla="*/ 113069 h 273890"/>
                <a:gd name="connsiteX181" fmla="*/ 1276015 w 1394458"/>
                <a:gd name="connsiteY181" fmla="*/ 113069 h 273890"/>
                <a:gd name="connsiteX182" fmla="*/ 1276015 w 1394458"/>
                <a:gd name="connsiteY182" fmla="*/ 82500 h 273890"/>
                <a:gd name="connsiteX183" fmla="*/ 1385431 w 1394458"/>
                <a:gd name="connsiteY183" fmla="*/ 82500 h 2738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</a:cxnLst>
              <a:rect l="l" t="t" r="r" b="b"/>
              <a:pathLst>
                <a:path w="1394458" h="273890">
                  <a:moveTo>
                    <a:pt x="157354" y="188093"/>
                  </a:moveTo>
                  <a:lnTo>
                    <a:pt x="200773" y="188093"/>
                  </a:lnTo>
                  <a:cubicBezTo>
                    <a:pt x="199382" y="204650"/>
                    <a:pt x="194752" y="219411"/>
                    <a:pt x="186877" y="232383"/>
                  </a:cubicBezTo>
                  <a:cubicBezTo>
                    <a:pt x="179003" y="245233"/>
                    <a:pt x="167947" y="255365"/>
                    <a:pt x="153706" y="262777"/>
                  </a:cubicBezTo>
                  <a:cubicBezTo>
                    <a:pt x="139465" y="270185"/>
                    <a:pt x="122155" y="273891"/>
                    <a:pt x="101775" y="273891"/>
                  </a:cubicBezTo>
                  <a:cubicBezTo>
                    <a:pt x="86143" y="273891"/>
                    <a:pt x="72077" y="271114"/>
                    <a:pt x="59572" y="265554"/>
                  </a:cubicBezTo>
                  <a:cubicBezTo>
                    <a:pt x="47067" y="259878"/>
                    <a:pt x="36357" y="251892"/>
                    <a:pt x="27442" y="241585"/>
                  </a:cubicBezTo>
                  <a:cubicBezTo>
                    <a:pt x="18526" y="231167"/>
                    <a:pt x="11697" y="218604"/>
                    <a:pt x="6950" y="203901"/>
                  </a:cubicBezTo>
                  <a:cubicBezTo>
                    <a:pt x="2315" y="189192"/>
                    <a:pt x="0" y="172753"/>
                    <a:pt x="0" y="154572"/>
                  </a:cubicBezTo>
                  <a:lnTo>
                    <a:pt x="0" y="133555"/>
                  </a:lnTo>
                  <a:cubicBezTo>
                    <a:pt x="0" y="115379"/>
                    <a:pt x="2374" y="98935"/>
                    <a:pt x="7121" y="84231"/>
                  </a:cubicBezTo>
                  <a:cubicBezTo>
                    <a:pt x="11984" y="69528"/>
                    <a:pt x="18930" y="56965"/>
                    <a:pt x="27962" y="46542"/>
                  </a:cubicBezTo>
                  <a:cubicBezTo>
                    <a:pt x="36994" y="36007"/>
                    <a:pt x="47816" y="27957"/>
                    <a:pt x="60438" y="22403"/>
                  </a:cubicBezTo>
                  <a:cubicBezTo>
                    <a:pt x="73171" y="16843"/>
                    <a:pt x="87471" y="14066"/>
                    <a:pt x="103336" y="14066"/>
                  </a:cubicBezTo>
                  <a:cubicBezTo>
                    <a:pt x="123482" y="14066"/>
                    <a:pt x="140506" y="17772"/>
                    <a:pt x="154397" y="25180"/>
                  </a:cubicBezTo>
                  <a:cubicBezTo>
                    <a:pt x="168293" y="32592"/>
                    <a:pt x="179056" y="42836"/>
                    <a:pt x="186702" y="55919"/>
                  </a:cubicBezTo>
                  <a:cubicBezTo>
                    <a:pt x="194460" y="69003"/>
                    <a:pt x="199207" y="83998"/>
                    <a:pt x="200943" y="100900"/>
                  </a:cubicBezTo>
                  <a:lnTo>
                    <a:pt x="157524" y="100900"/>
                  </a:lnTo>
                  <a:cubicBezTo>
                    <a:pt x="156367" y="90015"/>
                    <a:pt x="153818" y="80695"/>
                    <a:pt x="149883" y="72938"/>
                  </a:cubicBezTo>
                  <a:cubicBezTo>
                    <a:pt x="146065" y="65180"/>
                    <a:pt x="140389" y="59275"/>
                    <a:pt x="132865" y="55224"/>
                  </a:cubicBezTo>
                  <a:cubicBezTo>
                    <a:pt x="125340" y="51055"/>
                    <a:pt x="115496" y="48969"/>
                    <a:pt x="103341" y="48969"/>
                  </a:cubicBezTo>
                  <a:cubicBezTo>
                    <a:pt x="93385" y="48969"/>
                    <a:pt x="84698" y="50822"/>
                    <a:pt x="77291" y="54528"/>
                  </a:cubicBezTo>
                  <a:cubicBezTo>
                    <a:pt x="69878" y="58234"/>
                    <a:pt x="63687" y="63677"/>
                    <a:pt x="58706" y="70856"/>
                  </a:cubicBezTo>
                  <a:cubicBezTo>
                    <a:pt x="53730" y="78035"/>
                    <a:pt x="49966" y="86892"/>
                    <a:pt x="47417" y="97427"/>
                  </a:cubicBezTo>
                  <a:cubicBezTo>
                    <a:pt x="44985" y="107845"/>
                    <a:pt x="43769" y="119771"/>
                    <a:pt x="43769" y="133205"/>
                  </a:cubicBezTo>
                  <a:lnTo>
                    <a:pt x="43769" y="154567"/>
                  </a:lnTo>
                  <a:cubicBezTo>
                    <a:pt x="43769" y="167305"/>
                    <a:pt x="44869" y="178881"/>
                    <a:pt x="47067" y="189304"/>
                  </a:cubicBezTo>
                  <a:cubicBezTo>
                    <a:pt x="49382" y="199611"/>
                    <a:pt x="52855" y="208468"/>
                    <a:pt x="57490" y="215875"/>
                  </a:cubicBezTo>
                  <a:cubicBezTo>
                    <a:pt x="62237" y="223288"/>
                    <a:pt x="68259" y="229017"/>
                    <a:pt x="75550" y="233069"/>
                  </a:cubicBezTo>
                  <a:cubicBezTo>
                    <a:pt x="82845" y="237120"/>
                    <a:pt x="91585" y="239149"/>
                    <a:pt x="101775" y="239149"/>
                  </a:cubicBezTo>
                  <a:cubicBezTo>
                    <a:pt x="114163" y="239149"/>
                    <a:pt x="124178" y="237179"/>
                    <a:pt x="131824" y="233244"/>
                  </a:cubicBezTo>
                  <a:cubicBezTo>
                    <a:pt x="139582" y="229304"/>
                    <a:pt x="145428" y="223575"/>
                    <a:pt x="149363" y="216050"/>
                  </a:cubicBezTo>
                  <a:cubicBezTo>
                    <a:pt x="153414" y="208409"/>
                    <a:pt x="156080" y="199090"/>
                    <a:pt x="157354" y="188088"/>
                  </a:cubicBezTo>
                  <a:close/>
                  <a:moveTo>
                    <a:pt x="313837" y="270418"/>
                  </a:moveTo>
                  <a:lnTo>
                    <a:pt x="259825" y="270418"/>
                  </a:lnTo>
                  <a:lnTo>
                    <a:pt x="260170" y="235856"/>
                  </a:lnTo>
                  <a:lnTo>
                    <a:pt x="313837" y="235856"/>
                  </a:lnTo>
                  <a:cubicBezTo>
                    <a:pt x="329469" y="235856"/>
                    <a:pt x="342553" y="232441"/>
                    <a:pt x="353088" y="225608"/>
                  </a:cubicBezTo>
                  <a:cubicBezTo>
                    <a:pt x="363740" y="218779"/>
                    <a:pt x="371731" y="208993"/>
                    <a:pt x="377057" y="196255"/>
                  </a:cubicBezTo>
                  <a:cubicBezTo>
                    <a:pt x="382499" y="183516"/>
                    <a:pt x="385218" y="168351"/>
                    <a:pt x="385218" y="150754"/>
                  </a:cubicBezTo>
                  <a:lnTo>
                    <a:pt x="385218" y="137033"/>
                  </a:lnTo>
                  <a:cubicBezTo>
                    <a:pt x="385218" y="123371"/>
                    <a:pt x="383657" y="111269"/>
                    <a:pt x="380530" y="100734"/>
                  </a:cubicBezTo>
                  <a:cubicBezTo>
                    <a:pt x="377519" y="90199"/>
                    <a:pt x="373005" y="81342"/>
                    <a:pt x="366984" y="74163"/>
                  </a:cubicBezTo>
                  <a:cubicBezTo>
                    <a:pt x="361079" y="66984"/>
                    <a:pt x="353784" y="61542"/>
                    <a:pt x="345102" y="57840"/>
                  </a:cubicBezTo>
                  <a:cubicBezTo>
                    <a:pt x="336532" y="54134"/>
                    <a:pt x="326634" y="52281"/>
                    <a:pt x="315403" y="52281"/>
                  </a:cubicBezTo>
                  <a:lnTo>
                    <a:pt x="258784" y="52281"/>
                  </a:lnTo>
                  <a:lnTo>
                    <a:pt x="258784" y="17544"/>
                  </a:lnTo>
                  <a:lnTo>
                    <a:pt x="315403" y="17544"/>
                  </a:lnTo>
                  <a:cubicBezTo>
                    <a:pt x="332193" y="17544"/>
                    <a:pt x="347534" y="20379"/>
                    <a:pt x="361429" y="26055"/>
                  </a:cubicBezTo>
                  <a:cubicBezTo>
                    <a:pt x="375325" y="31615"/>
                    <a:pt x="387310" y="39660"/>
                    <a:pt x="397383" y="50195"/>
                  </a:cubicBezTo>
                  <a:cubicBezTo>
                    <a:pt x="407572" y="60730"/>
                    <a:pt x="415389" y="73351"/>
                    <a:pt x="420826" y="88054"/>
                  </a:cubicBezTo>
                  <a:cubicBezTo>
                    <a:pt x="426269" y="102758"/>
                    <a:pt x="428988" y="119202"/>
                    <a:pt x="428988" y="137378"/>
                  </a:cubicBezTo>
                  <a:lnTo>
                    <a:pt x="428988" y="150754"/>
                  </a:lnTo>
                  <a:cubicBezTo>
                    <a:pt x="428988" y="168930"/>
                    <a:pt x="426269" y="185374"/>
                    <a:pt x="420826" y="200078"/>
                  </a:cubicBezTo>
                  <a:cubicBezTo>
                    <a:pt x="415384" y="214781"/>
                    <a:pt x="407568" y="227403"/>
                    <a:pt x="397383" y="237938"/>
                  </a:cubicBezTo>
                  <a:cubicBezTo>
                    <a:pt x="387193" y="248356"/>
                    <a:pt x="375038" y="256405"/>
                    <a:pt x="360909" y="262077"/>
                  </a:cubicBezTo>
                  <a:cubicBezTo>
                    <a:pt x="346896" y="267636"/>
                    <a:pt x="331211" y="270413"/>
                    <a:pt x="313842" y="270413"/>
                  </a:cubicBezTo>
                  <a:close/>
                  <a:moveTo>
                    <a:pt x="283964" y="17544"/>
                  </a:moveTo>
                  <a:lnTo>
                    <a:pt x="283964" y="270418"/>
                  </a:lnTo>
                  <a:lnTo>
                    <a:pt x="240369" y="270418"/>
                  </a:lnTo>
                  <a:lnTo>
                    <a:pt x="240369" y="17544"/>
                  </a:lnTo>
                  <a:lnTo>
                    <a:pt x="283964" y="17544"/>
                  </a:lnTo>
                  <a:close/>
                  <a:moveTo>
                    <a:pt x="519299" y="17544"/>
                  </a:moveTo>
                  <a:lnTo>
                    <a:pt x="519299" y="270418"/>
                  </a:lnTo>
                  <a:lnTo>
                    <a:pt x="475705" y="270418"/>
                  </a:lnTo>
                  <a:lnTo>
                    <a:pt x="475705" y="17544"/>
                  </a:lnTo>
                  <a:lnTo>
                    <a:pt x="519299" y="17544"/>
                  </a:lnTo>
                  <a:close/>
                  <a:moveTo>
                    <a:pt x="811424" y="188093"/>
                  </a:moveTo>
                  <a:lnTo>
                    <a:pt x="854843" y="188093"/>
                  </a:lnTo>
                  <a:cubicBezTo>
                    <a:pt x="853452" y="204650"/>
                    <a:pt x="848822" y="219411"/>
                    <a:pt x="840947" y="232383"/>
                  </a:cubicBezTo>
                  <a:cubicBezTo>
                    <a:pt x="833073" y="245233"/>
                    <a:pt x="822017" y="255365"/>
                    <a:pt x="807776" y="262777"/>
                  </a:cubicBezTo>
                  <a:cubicBezTo>
                    <a:pt x="793535" y="270185"/>
                    <a:pt x="776225" y="273891"/>
                    <a:pt x="755845" y="273891"/>
                  </a:cubicBezTo>
                  <a:cubicBezTo>
                    <a:pt x="740213" y="273891"/>
                    <a:pt x="726147" y="271114"/>
                    <a:pt x="713642" y="265554"/>
                  </a:cubicBezTo>
                  <a:cubicBezTo>
                    <a:pt x="701137" y="259878"/>
                    <a:pt x="690427" y="251892"/>
                    <a:pt x="681512" y="241585"/>
                  </a:cubicBezTo>
                  <a:cubicBezTo>
                    <a:pt x="672596" y="231167"/>
                    <a:pt x="665768" y="218604"/>
                    <a:pt x="661021" y="203901"/>
                  </a:cubicBezTo>
                  <a:cubicBezTo>
                    <a:pt x="656390" y="189197"/>
                    <a:pt x="654075" y="172753"/>
                    <a:pt x="654075" y="154577"/>
                  </a:cubicBezTo>
                  <a:lnTo>
                    <a:pt x="654075" y="133560"/>
                  </a:lnTo>
                  <a:cubicBezTo>
                    <a:pt x="654075" y="115384"/>
                    <a:pt x="656449" y="98940"/>
                    <a:pt x="661196" y="84236"/>
                  </a:cubicBezTo>
                  <a:cubicBezTo>
                    <a:pt x="666059" y="69533"/>
                    <a:pt x="673005" y="56970"/>
                    <a:pt x="682037" y="46547"/>
                  </a:cubicBezTo>
                  <a:cubicBezTo>
                    <a:pt x="691069" y="36012"/>
                    <a:pt x="701891" y="27962"/>
                    <a:pt x="714513" y="22408"/>
                  </a:cubicBezTo>
                  <a:cubicBezTo>
                    <a:pt x="727246" y="16848"/>
                    <a:pt x="741546" y="14071"/>
                    <a:pt x="757411" y="14071"/>
                  </a:cubicBezTo>
                  <a:cubicBezTo>
                    <a:pt x="777557" y="14071"/>
                    <a:pt x="794581" y="17777"/>
                    <a:pt x="808472" y="25185"/>
                  </a:cubicBezTo>
                  <a:cubicBezTo>
                    <a:pt x="822368" y="32597"/>
                    <a:pt x="833131" y="42840"/>
                    <a:pt x="840777" y="55924"/>
                  </a:cubicBezTo>
                  <a:cubicBezTo>
                    <a:pt x="848535" y="69008"/>
                    <a:pt x="853282" y="84003"/>
                    <a:pt x="855018" y="100905"/>
                  </a:cubicBezTo>
                  <a:lnTo>
                    <a:pt x="811599" y="100905"/>
                  </a:lnTo>
                  <a:cubicBezTo>
                    <a:pt x="810442" y="90019"/>
                    <a:pt x="807893" y="80700"/>
                    <a:pt x="803958" y="72943"/>
                  </a:cubicBezTo>
                  <a:cubicBezTo>
                    <a:pt x="800140" y="65185"/>
                    <a:pt x="794464" y="59280"/>
                    <a:pt x="786940" y="55229"/>
                  </a:cubicBezTo>
                  <a:cubicBezTo>
                    <a:pt x="779415" y="51060"/>
                    <a:pt x="769571" y="48974"/>
                    <a:pt x="757416" y="48974"/>
                  </a:cubicBezTo>
                  <a:cubicBezTo>
                    <a:pt x="747460" y="48974"/>
                    <a:pt x="738773" y="50827"/>
                    <a:pt x="731366" y="54533"/>
                  </a:cubicBezTo>
                  <a:cubicBezTo>
                    <a:pt x="723953" y="58239"/>
                    <a:pt x="717762" y="63682"/>
                    <a:pt x="712781" y="70861"/>
                  </a:cubicBezTo>
                  <a:cubicBezTo>
                    <a:pt x="707801" y="78040"/>
                    <a:pt x="704041" y="86897"/>
                    <a:pt x="701492" y="97432"/>
                  </a:cubicBezTo>
                  <a:cubicBezTo>
                    <a:pt x="699060" y="107850"/>
                    <a:pt x="697844" y="119776"/>
                    <a:pt x="697844" y="133210"/>
                  </a:cubicBezTo>
                  <a:lnTo>
                    <a:pt x="697844" y="154572"/>
                  </a:lnTo>
                  <a:cubicBezTo>
                    <a:pt x="697844" y="167310"/>
                    <a:pt x="698944" y="178886"/>
                    <a:pt x="701142" y="189309"/>
                  </a:cubicBezTo>
                  <a:cubicBezTo>
                    <a:pt x="703457" y="199616"/>
                    <a:pt x="706930" y="208473"/>
                    <a:pt x="711565" y="215880"/>
                  </a:cubicBezTo>
                  <a:cubicBezTo>
                    <a:pt x="716312" y="223293"/>
                    <a:pt x="722334" y="229022"/>
                    <a:pt x="729629" y="233074"/>
                  </a:cubicBezTo>
                  <a:cubicBezTo>
                    <a:pt x="736925" y="237125"/>
                    <a:pt x="745665" y="239154"/>
                    <a:pt x="755855" y="239154"/>
                  </a:cubicBezTo>
                  <a:cubicBezTo>
                    <a:pt x="768243" y="239154"/>
                    <a:pt x="778258" y="237184"/>
                    <a:pt x="785904" y="233249"/>
                  </a:cubicBezTo>
                  <a:cubicBezTo>
                    <a:pt x="793661" y="229309"/>
                    <a:pt x="799508" y="223580"/>
                    <a:pt x="803443" y="216055"/>
                  </a:cubicBezTo>
                  <a:cubicBezTo>
                    <a:pt x="807494" y="208414"/>
                    <a:pt x="810159" y="199095"/>
                    <a:pt x="811434" y="188093"/>
                  </a:cubicBezTo>
                  <a:close/>
                  <a:moveTo>
                    <a:pt x="882285" y="178541"/>
                  </a:moveTo>
                  <a:lnTo>
                    <a:pt x="882285" y="174548"/>
                  </a:lnTo>
                  <a:cubicBezTo>
                    <a:pt x="882285" y="161002"/>
                    <a:pt x="884255" y="148439"/>
                    <a:pt x="888190" y="136858"/>
                  </a:cubicBezTo>
                  <a:cubicBezTo>
                    <a:pt x="892124" y="125165"/>
                    <a:pt x="897800" y="115034"/>
                    <a:pt x="905208" y="106464"/>
                  </a:cubicBezTo>
                  <a:cubicBezTo>
                    <a:pt x="912732" y="97782"/>
                    <a:pt x="921881" y="91065"/>
                    <a:pt x="932650" y="86318"/>
                  </a:cubicBezTo>
                  <a:cubicBezTo>
                    <a:pt x="943535" y="81454"/>
                    <a:pt x="955806" y="79022"/>
                    <a:pt x="969469" y="79022"/>
                  </a:cubicBezTo>
                  <a:cubicBezTo>
                    <a:pt x="983131" y="79022"/>
                    <a:pt x="995519" y="81454"/>
                    <a:pt x="1006288" y="86318"/>
                  </a:cubicBezTo>
                  <a:cubicBezTo>
                    <a:pt x="1017173" y="91065"/>
                    <a:pt x="1026375" y="97782"/>
                    <a:pt x="1033899" y="106464"/>
                  </a:cubicBezTo>
                  <a:cubicBezTo>
                    <a:pt x="1041424" y="115034"/>
                    <a:pt x="1047158" y="125165"/>
                    <a:pt x="1051093" y="136858"/>
                  </a:cubicBezTo>
                  <a:cubicBezTo>
                    <a:pt x="1055028" y="148434"/>
                    <a:pt x="1056998" y="160997"/>
                    <a:pt x="1056998" y="174548"/>
                  </a:cubicBezTo>
                  <a:lnTo>
                    <a:pt x="1056998" y="178541"/>
                  </a:lnTo>
                  <a:cubicBezTo>
                    <a:pt x="1056998" y="192086"/>
                    <a:pt x="1055028" y="204650"/>
                    <a:pt x="1051093" y="216226"/>
                  </a:cubicBezTo>
                  <a:cubicBezTo>
                    <a:pt x="1047153" y="227806"/>
                    <a:pt x="1041424" y="237938"/>
                    <a:pt x="1033899" y="246619"/>
                  </a:cubicBezTo>
                  <a:cubicBezTo>
                    <a:pt x="1026375" y="255189"/>
                    <a:pt x="1017226" y="261902"/>
                    <a:pt x="1006458" y="266765"/>
                  </a:cubicBezTo>
                  <a:cubicBezTo>
                    <a:pt x="995689" y="271512"/>
                    <a:pt x="983476" y="273886"/>
                    <a:pt x="969814" y="273886"/>
                  </a:cubicBezTo>
                  <a:cubicBezTo>
                    <a:pt x="956151" y="273886"/>
                    <a:pt x="943705" y="271512"/>
                    <a:pt x="932820" y="266765"/>
                  </a:cubicBezTo>
                  <a:cubicBezTo>
                    <a:pt x="922051" y="261902"/>
                    <a:pt x="912907" y="255189"/>
                    <a:pt x="905378" y="246619"/>
                  </a:cubicBezTo>
                  <a:cubicBezTo>
                    <a:pt x="897854" y="237938"/>
                    <a:pt x="892119" y="227806"/>
                    <a:pt x="888185" y="216226"/>
                  </a:cubicBezTo>
                  <a:cubicBezTo>
                    <a:pt x="884245" y="204650"/>
                    <a:pt x="882280" y="192086"/>
                    <a:pt x="882280" y="178541"/>
                  </a:cubicBezTo>
                  <a:close/>
                  <a:moveTo>
                    <a:pt x="924143" y="174548"/>
                  </a:moveTo>
                  <a:lnTo>
                    <a:pt x="924143" y="178541"/>
                  </a:lnTo>
                  <a:cubicBezTo>
                    <a:pt x="924143" y="186994"/>
                    <a:pt x="925013" y="194980"/>
                    <a:pt x="926750" y="202510"/>
                  </a:cubicBezTo>
                  <a:cubicBezTo>
                    <a:pt x="928486" y="210034"/>
                    <a:pt x="931210" y="216634"/>
                    <a:pt x="934911" y="222310"/>
                  </a:cubicBezTo>
                  <a:cubicBezTo>
                    <a:pt x="938617" y="227981"/>
                    <a:pt x="943365" y="232441"/>
                    <a:pt x="949152" y="235681"/>
                  </a:cubicBezTo>
                  <a:cubicBezTo>
                    <a:pt x="954940" y="238925"/>
                    <a:pt x="961832" y="240545"/>
                    <a:pt x="969819" y="240545"/>
                  </a:cubicBezTo>
                  <a:cubicBezTo>
                    <a:pt x="977805" y="240545"/>
                    <a:pt x="984293" y="238925"/>
                    <a:pt x="989965" y="235681"/>
                  </a:cubicBezTo>
                  <a:cubicBezTo>
                    <a:pt x="995753" y="232441"/>
                    <a:pt x="1000500" y="227981"/>
                    <a:pt x="1004206" y="222310"/>
                  </a:cubicBezTo>
                  <a:cubicBezTo>
                    <a:pt x="1007912" y="216634"/>
                    <a:pt x="1010631" y="210039"/>
                    <a:pt x="1012367" y="202510"/>
                  </a:cubicBezTo>
                  <a:cubicBezTo>
                    <a:pt x="1014220" y="194985"/>
                    <a:pt x="1015145" y="186994"/>
                    <a:pt x="1015145" y="178541"/>
                  </a:cubicBezTo>
                  <a:lnTo>
                    <a:pt x="1015145" y="174548"/>
                  </a:lnTo>
                  <a:cubicBezTo>
                    <a:pt x="1015145" y="166211"/>
                    <a:pt x="1014220" y="158336"/>
                    <a:pt x="1012367" y="150929"/>
                  </a:cubicBezTo>
                  <a:cubicBezTo>
                    <a:pt x="1010631" y="143405"/>
                    <a:pt x="1007854" y="136746"/>
                    <a:pt x="1004031" y="130958"/>
                  </a:cubicBezTo>
                  <a:cubicBezTo>
                    <a:pt x="1000325" y="125170"/>
                    <a:pt x="995578" y="120652"/>
                    <a:pt x="989790" y="117412"/>
                  </a:cubicBezTo>
                  <a:cubicBezTo>
                    <a:pt x="984118" y="114056"/>
                    <a:pt x="977343" y="112373"/>
                    <a:pt x="969469" y="112373"/>
                  </a:cubicBezTo>
                  <a:cubicBezTo>
                    <a:pt x="961594" y="112373"/>
                    <a:pt x="954765" y="114051"/>
                    <a:pt x="948977" y="117412"/>
                  </a:cubicBezTo>
                  <a:cubicBezTo>
                    <a:pt x="943301" y="120657"/>
                    <a:pt x="938613" y="125170"/>
                    <a:pt x="934911" y="130958"/>
                  </a:cubicBezTo>
                  <a:cubicBezTo>
                    <a:pt x="931205" y="136746"/>
                    <a:pt x="928486" y="143405"/>
                    <a:pt x="926750" y="150929"/>
                  </a:cubicBezTo>
                  <a:cubicBezTo>
                    <a:pt x="925013" y="158336"/>
                    <a:pt x="924143" y="166211"/>
                    <a:pt x="924143" y="174548"/>
                  </a:cubicBezTo>
                  <a:close/>
                  <a:moveTo>
                    <a:pt x="1133598" y="122617"/>
                  </a:moveTo>
                  <a:lnTo>
                    <a:pt x="1133598" y="270418"/>
                  </a:lnTo>
                  <a:lnTo>
                    <a:pt x="1091745" y="270418"/>
                  </a:lnTo>
                  <a:lnTo>
                    <a:pt x="1091745" y="82495"/>
                  </a:lnTo>
                  <a:lnTo>
                    <a:pt x="1131171" y="82495"/>
                  </a:lnTo>
                  <a:lnTo>
                    <a:pt x="1133603" y="122617"/>
                  </a:lnTo>
                  <a:close/>
                  <a:moveTo>
                    <a:pt x="1126132" y="169509"/>
                  </a:moveTo>
                  <a:lnTo>
                    <a:pt x="1112586" y="169334"/>
                  </a:lnTo>
                  <a:cubicBezTo>
                    <a:pt x="1112703" y="156016"/>
                    <a:pt x="1114556" y="143803"/>
                    <a:pt x="1118145" y="132690"/>
                  </a:cubicBezTo>
                  <a:cubicBezTo>
                    <a:pt x="1121852" y="121576"/>
                    <a:pt x="1126944" y="112023"/>
                    <a:pt x="1133428" y="104032"/>
                  </a:cubicBezTo>
                  <a:cubicBezTo>
                    <a:pt x="1140028" y="96046"/>
                    <a:pt x="1147902" y="89908"/>
                    <a:pt x="1157046" y="85623"/>
                  </a:cubicBezTo>
                  <a:cubicBezTo>
                    <a:pt x="1166195" y="81226"/>
                    <a:pt x="1176385" y="79022"/>
                    <a:pt x="1187615" y="79022"/>
                  </a:cubicBezTo>
                  <a:cubicBezTo>
                    <a:pt x="1196647" y="79022"/>
                    <a:pt x="1204809" y="80297"/>
                    <a:pt x="1212105" y="82840"/>
                  </a:cubicBezTo>
                  <a:cubicBezTo>
                    <a:pt x="1219517" y="85272"/>
                    <a:pt x="1225825" y="89265"/>
                    <a:pt x="1231034" y="94825"/>
                  </a:cubicBezTo>
                  <a:cubicBezTo>
                    <a:pt x="1236360" y="100384"/>
                    <a:pt x="1240412" y="107617"/>
                    <a:pt x="1243189" y="116532"/>
                  </a:cubicBezTo>
                  <a:cubicBezTo>
                    <a:pt x="1245966" y="125331"/>
                    <a:pt x="1247357" y="136157"/>
                    <a:pt x="1247357" y="149008"/>
                  </a:cubicBezTo>
                  <a:lnTo>
                    <a:pt x="1247357" y="270408"/>
                  </a:lnTo>
                  <a:lnTo>
                    <a:pt x="1205329" y="270408"/>
                  </a:lnTo>
                  <a:lnTo>
                    <a:pt x="1205329" y="148833"/>
                  </a:lnTo>
                  <a:cubicBezTo>
                    <a:pt x="1205329" y="139800"/>
                    <a:pt x="1203996" y="132680"/>
                    <a:pt x="1201336" y="127471"/>
                  </a:cubicBezTo>
                  <a:cubicBezTo>
                    <a:pt x="1198787" y="122145"/>
                    <a:pt x="1195028" y="118380"/>
                    <a:pt x="1190047" y="116182"/>
                  </a:cubicBezTo>
                  <a:cubicBezTo>
                    <a:pt x="1185183" y="113867"/>
                    <a:pt x="1179104" y="112709"/>
                    <a:pt x="1171813" y="112709"/>
                  </a:cubicBezTo>
                  <a:cubicBezTo>
                    <a:pt x="1164522" y="112709"/>
                    <a:pt x="1158209" y="114212"/>
                    <a:pt x="1152533" y="117223"/>
                  </a:cubicBezTo>
                  <a:cubicBezTo>
                    <a:pt x="1146861" y="120233"/>
                    <a:pt x="1142056" y="124343"/>
                    <a:pt x="1138116" y="129552"/>
                  </a:cubicBezTo>
                  <a:cubicBezTo>
                    <a:pt x="1134293" y="134762"/>
                    <a:pt x="1131341" y="140783"/>
                    <a:pt x="1129259" y="147617"/>
                  </a:cubicBezTo>
                  <a:cubicBezTo>
                    <a:pt x="1127178" y="154445"/>
                    <a:pt x="1126132" y="161741"/>
                    <a:pt x="1126132" y="169499"/>
                  </a:cubicBezTo>
                  <a:close/>
                  <a:moveTo>
                    <a:pt x="1346701" y="270418"/>
                  </a:moveTo>
                  <a:lnTo>
                    <a:pt x="1304843" y="270418"/>
                  </a:lnTo>
                  <a:lnTo>
                    <a:pt x="1304843" y="64436"/>
                  </a:lnTo>
                  <a:cubicBezTo>
                    <a:pt x="1304843" y="50428"/>
                    <a:pt x="1307450" y="38672"/>
                    <a:pt x="1312659" y="29178"/>
                  </a:cubicBezTo>
                  <a:cubicBezTo>
                    <a:pt x="1317985" y="19567"/>
                    <a:pt x="1325567" y="12330"/>
                    <a:pt x="1335412" y="7471"/>
                  </a:cubicBezTo>
                  <a:cubicBezTo>
                    <a:pt x="1345256" y="2490"/>
                    <a:pt x="1356890" y="0"/>
                    <a:pt x="1370319" y="0"/>
                  </a:cubicBezTo>
                  <a:cubicBezTo>
                    <a:pt x="1374488" y="0"/>
                    <a:pt x="1378597" y="292"/>
                    <a:pt x="1382649" y="871"/>
                  </a:cubicBezTo>
                  <a:cubicBezTo>
                    <a:pt x="1386701" y="1333"/>
                    <a:pt x="1390640" y="2087"/>
                    <a:pt x="1394458" y="3127"/>
                  </a:cubicBezTo>
                  <a:lnTo>
                    <a:pt x="1393418" y="35433"/>
                  </a:lnTo>
                  <a:cubicBezTo>
                    <a:pt x="1391102" y="34854"/>
                    <a:pt x="1388554" y="34450"/>
                    <a:pt x="1385776" y="34217"/>
                  </a:cubicBezTo>
                  <a:cubicBezTo>
                    <a:pt x="1383116" y="33983"/>
                    <a:pt x="1380217" y="33867"/>
                    <a:pt x="1377095" y="33867"/>
                  </a:cubicBezTo>
                  <a:cubicBezTo>
                    <a:pt x="1370728" y="33867"/>
                    <a:pt x="1365227" y="35083"/>
                    <a:pt x="1360596" y="37515"/>
                  </a:cubicBezTo>
                  <a:cubicBezTo>
                    <a:pt x="1356083" y="39830"/>
                    <a:pt x="1352605" y="43244"/>
                    <a:pt x="1350178" y="47763"/>
                  </a:cubicBezTo>
                  <a:cubicBezTo>
                    <a:pt x="1347863" y="52281"/>
                    <a:pt x="1346706" y="57836"/>
                    <a:pt x="1346706" y="64436"/>
                  </a:cubicBezTo>
                  <a:lnTo>
                    <a:pt x="1346706" y="270418"/>
                  </a:lnTo>
                  <a:close/>
                  <a:moveTo>
                    <a:pt x="1385431" y="82500"/>
                  </a:moveTo>
                  <a:lnTo>
                    <a:pt x="1385431" y="113069"/>
                  </a:lnTo>
                  <a:lnTo>
                    <a:pt x="1276015" y="113069"/>
                  </a:lnTo>
                  <a:lnTo>
                    <a:pt x="1276015" y="82500"/>
                  </a:lnTo>
                  <a:lnTo>
                    <a:pt x="1385431" y="82500"/>
                  </a:lnTo>
                  <a:close/>
                </a:path>
              </a:pathLst>
            </a:custGeom>
            <a:solidFill>
              <a:schemeClr val="tx1"/>
            </a:solidFill>
            <a:ln w="4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7" name="Полилиния: фигура 46">
              <a:extLst>
                <a:ext uri="{FF2B5EF4-FFF2-40B4-BE49-F238E27FC236}">
                  <a16:creationId xmlns:a16="http://schemas.microsoft.com/office/drawing/2014/main" id="{0E6F0FB0-99D0-4190-B058-29B8184B7C5F}"/>
                </a:ext>
              </a:extLst>
            </p:cNvPr>
            <p:cNvSpPr/>
            <p:nvPr/>
          </p:nvSpPr>
          <p:spPr>
            <a:xfrm>
              <a:off x="8902858" y="5892336"/>
              <a:ext cx="774600" cy="259834"/>
            </a:xfrm>
            <a:custGeom>
              <a:avLst/>
              <a:gdLst>
                <a:gd name="connsiteX0" fmla="*/ 174372 w 774600"/>
                <a:gd name="connsiteY0" fmla="*/ 223015 h 259834"/>
                <a:gd name="connsiteX1" fmla="*/ 174372 w 774600"/>
                <a:gd name="connsiteY1" fmla="*/ 256362 h 259834"/>
                <a:gd name="connsiteX2" fmla="*/ 4859 w 774600"/>
                <a:gd name="connsiteY2" fmla="*/ 256362 h 259834"/>
                <a:gd name="connsiteX3" fmla="*/ 4859 w 774600"/>
                <a:gd name="connsiteY3" fmla="*/ 227704 h 259834"/>
                <a:gd name="connsiteX4" fmla="*/ 87193 w 774600"/>
                <a:gd name="connsiteY4" fmla="*/ 137913 h 259834"/>
                <a:gd name="connsiteX5" fmla="*/ 108541 w 774600"/>
                <a:gd name="connsiteY5" fmla="*/ 111513 h 259834"/>
                <a:gd name="connsiteX6" fmla="*/ 119499 w 774600"/>
                <a:gd name="connsiteY6" fmla="*/ 91542 h 259834"/>
                <a:gd name="connsiteX7" fmla="*/ 122797 w 774600"/>
                <a:gd name="connsiteY7" fmla="*/ 73998 h 259834"/>
                <a:gd name="connsiteX8" fmla="*/ 118278 w 774600"/>
                <a:gd name="connsiteY8" fmla="*/ 52981 h 259834"/>
                <a:gd name="connsiteX9" fmla="*/ 105413 w 774600"/>
                <a:gd name="connsiteY9" fmla="*/ 38565 h 259834"/>
                <a:gd name="connsiteX10" fmla="*/ 84752 w 774600"/>
                <a:gd name="connsiteY10" fmla="*/ 33181 h 259834"/>
                <a:gd name="connsiteX11" fmla="*/ 61138 w 774600"/>
                <a:gd name="connsiteY11" fmla="*/ 39261 h 259834"/>
                <a:gd name="connsiteX12" fmla="*/ 46712 w 774600"/>
                <a:gd name="connsiteY12" fmla="*/ 56109 h 259834"/>
                <a:gd name="connsiteX13" fmla="*/ 41853 w 774600"/>
                <a:gd name="connsiteY13" fmla="*/ 80423 h 259834"/>
                <a:gd name="connsiteX14" fmla="*/ 0 w 774600"/>
                <a:gd name="connsiteY14" fmla="*/ 80423 h 259834"/>
                <a:gd name="connsiteX15" fmla="*/ 10083 w 774600"/>
                <a:gd name="connsiteY15" fmla="*/ 40131 h 259834"/>
                <a:gd name="connsiteX16" fmla="*/ 39261 w 774600"/>
                <a:gd name="connsiteY16" fmla="*/ 10953 h 259834"/>
                <a:gd name="connsiteX17" fmla="*/ 85272 w 774600"/>
                <a:gd name="connsiteY17" fmla="*/ 10 h 259834"/>
                <a:gd name="connsiteX18" fmla="*/ 128346 w 774600"/>
                <a:gd name="connsiteY18" fmla="*/ 8521 h 259834"/>
                <a:gd name="connsiteX19" fmla="*/ 155277 w 774600"/>
                <a:gd name="connsiteY19" fmla="*/ 32660 h 259834"/>
                <a:gd name="connsiteX20" fmla="*/ 164654 w 774600"/>
                <a:gd name="connsiteY20" fmla="*/ 69655 h 259834"/>
                <a:gd name="connsiteX21" fmla="*/ 160827 w 774600"/>
                <a:gd name="connsiteY21" fmla="*/ 93103 h 259834"/>
                <a:gd name="connsiteX22" fmla="*/ 149888 w 774600"/>
                <a:gd name="connsiteY22" fmla="*/ 116376 h 259834"/>
                <a:gd name="connsiteX23" fmla="*/ 133400 w 774600"/>
                <a:gd name="connsiteY23" fmla="*/ 139475 h 259834"/>
                <a:gd name="connsiteX24" fmla="*/ 112378 w 774600"/>
                <a:gd name="connsiteY24" fmla="*/ 162748 h 259834"/>
                <a:gd name="connsiteX25" fmla="*/ 57675 w 774600"/>
                <a:gd name="connsiteY25" fmla="*/ 223015 h 259834"/>
                <a:gd name="connsiteX26" fmla="*/ 174377 w 774600"/>
                <a:gd name="connsiteY26" fmla="*/ 223015 h 259834"/>
                <a:gd name="connsiteX27" fmla="*/ 371848 w 774600"/>
                <a:gd name="connsiteY27" fmla="*/ 108735 h 259834"/>
                <a:gd name="connsiteX28" fmla="*/ 371848 w 774600"/>
                <a:gd name="connsiteY28" fmla="*/ 150068 h 259834"/>
                <a:gd name="connsiteX29" fmla="*/ 365938 w 774600"/>
                <a:gd name="connsiteY29" fmla="*/ 200783 h 259834"/>
                <a:gd name="connsiteX30" fmla="*/ 349260 w 774600"/>
                <a:gd name="connsiteY30" fmla="*/ 234650 h 259834"/>
                <a:gd name="connsiteX31" fmla="*/ 323035 w 774600"/>
                <a:gd name="connsiteY31" fmla="*/ 253755 h 259834"/>
                <a:gd name="connsiteX32" fmla="*/ 289168 w 774600"/>
                <a:gd name="connsiteY32" fmla="*/ 259834 h 259834"/>
                <a:gd name="connsiteX33" fmla="*/ 261381 w 774600"/>
                <a:gd name="connsiteY33" fmla="*/ 256011 h 259834"/>
                <a:gd name="connsiteX34" fmla="*/ 238468 w 774600"/>
                <a:gd name="connsiteY34" fmla="*/ 244027 h 259834"/>
                <a:gd name="connsiteX35" fmla="*/ 220914 w 774600"/>
                <a:gd name="connsiteY35" fmla="*/ 223011 h 259834"/>
                <a:gd name="connsiteX36" fmla="*/ 209800 w 774600"/>
                <a:gd name="connsiteY36" fmla="*/ 191921 h 259834"/>
                <a:gd name="connsiteX37" fmla="*/ 205972 w 774600"/>
                <a:gd name="connsiteY37" fmla="*/ 150063 h 259834"/>
                <a:gd name="connsiteX38" fmla="*/ 205972 w 774600"/>
                <a:gd name="connsiteY38" fmla="*/ 108730 h 259834"/>
                <a:gd name="connsiteX39" fmla="*/ 211882 w 774600"/>
                <a:gd name="connsiteY39" fmla="*/ 58366 h 259834"/>
                <a:gd name="connsiteX40" fmla="*/ 228730 w 774600"/>
                <a:gd name="connsiteY40" fmla="*/ 24844 h 259834"/>
                <a:gd name="connsiteX41" fmla="*/ 254786 w 774600"/>
                <a:gd name="connsiteY41" fmla="*/ 5914 h 259834"/>
                <a:gd name="connsiteX42" fmla="*/ 288827 w 774600"/>
                <a:gd name="connsiteY42" fmla="*/ 10 h 259834"/>
                <a:gd name="connsiteX43" fmla="*/ 316614 w 774600"/>
                <a:gd name="connsiteY43" fmla="*/ 3833 h 259834"/>
                <a:gd name="connsiteX44" fmla="*/ 339542 w 774600"/>
                <a:gd name="connsiteY44" fmla="*/ 15467 h 259834"/>
                <a:gd name="connsiteX45" fmla="*/ 356906 w 774600"/>
                <a:gd name="connsiteY45" fmla="*/ 36308 h 259834"/>
                <a:gd name="connsiteX46" fmla="*/ 368020 w 774600"/>
                <a:gd name="connsiteY46" fmla="*/ 67048 h 259834"/>
                <a:gd name="connsiteX47" fmla="*/ 371848 w 774600"/>
                <a:gd name="connsiteY47" fmla="*/ 108730 h 259834"/>
                <a:gd name="connsiteX48" fmla="*/ 329995 w 774600"/>
                <a:gd name="connsiteY48" fmla="*/ 155978 h 259834"/>
                <a:gd name="connsiteX49" fmla="*/ 329995 w 774600"/>
                <a:gd name="connsiteY49" fmla="*/ 102485 h 259834"/>
                <a:gd name="connsiteX50" fmla="*/ 328258 w 774600"/>
                <a:gd name="connsiteY50" fmla="*/ 75914 h 259834"/>
                <a:gd name="connsiteX51" fmla="*/ 323039 w 774600"/>
                <a:gd name="connsiteY51" fmla="*/ 56289 h 259834"/>
                <a:gd name="connsiteX52" fmla="*/ 314708 w 774600"/>
                <a:gd name="connsiteY52" fmla="*/ 43088 h 259834"/>
                <a:gd name="connsiteX53" fmla="*/ 303234 w 774600"/>
                <a:gd name="connsiteY53" fmla="*/ 35623 h 259834"/>
                <a:gd name="connsiteX54" fmla="*/ 288823 w 774600"/>
                <a:gd name="connsiteY54" fmla="*/ 33191 h 259834"/>
                <a:gd name="connsiteX55" fmla="*/ 271459 w 774600"/>
                <a:gd name="connsiteY55" fmla="*/ 37014 h 259834"/>
                <a:gd name="connsiteX56" fmla="*/ 258613 w 774600"/>
                <a:gd name="connsiteY56" fmla="*/ 48823 h 259834"/>
                <a:gd name="connsiteX57" fmla="*/ 250608 w 774600"/>
                <a:gd name="connsiteY57" fmla="*/ 70360 h 259834"/>
                <a:gd name="connsiteX58" fmla="*/ 248015 w 774600"/>
                <a:gd name="connsiteY58" fmla="*/ 102490 h 259834"/>
                <a:gd name="connsiteX59" fmla="*/ 248015 w 774600"/>
                <a:gd name="connsiteY59" fmla="*/ 155982 h 259834"/>
                <a:gd name="connsiteX60" fmla="*/ 249752 w 774600"/>
                <a:gd name="connsiteY60" fmla="*/ 182904 h 259834"/>
                <a:gd name="connsiteX61" fmla="*/ 254956 w 774600"/>
                <a:gd name="connsiteY61" fmla="*/ 202874 h 259834"/>
                <a:gd name="connsiteX62" fmla="*/ 263302 w 774600"/>
                <a:gd name="connsiteY62" fmla="*/ 216420 h 259834"/>
                <a:gd name="connsiteX63" fmla="*/ 274756 w 774600"/>
                <a:gd name="connsiteY63" fmla="*/ 224061 h 259834"/>
                <a:gd name="connsiteX64" fmla="*/ 289168 w 774600"/>
                <a:gd name="connsiteY64" fmla="*/ 226493 h 259834"/>
                <a:gd name="connsiteX65" fmla="*/ 306721 w 774600"/>
                <a:gd name="connsiteY65" fmla="*/ 222670 h 259834"/>
                <a:gd name="connsiteX66" fmla="*/ 319567 w 774600"/>
                <a:gd name="connsiteY66" fmla="*/ 210511 h 259834"/>
                <a:gd name="connsiteX67" fmla="*/ 327383 w 774600"/>
                <a:gd name="connsiteY67" fmla="*/ 188453 h 259834"/>
                <a:gd name="connsiteX68" fmla="*/ 329995 w 774600"/>
                <a:gd name="connsiteY68" fmla="*/ 155978 h 259834"/>
                <a:gd name="connsiteX69" fmla="*/ 578701 w 774600"/>
                <a:gd name="connsiteY69" fmla="*/ 223015 h 259834"/>
                <a:gd name="connsiteX70" fmla="*/ 578701 w 774600"/>
                <a:gd name="connsiteY70" fmla="*/ 256362 h 259834"/>
                <a:gd name="connsiteX71" fmla="*/ 409187 w 774600"/>
                <a:gd name="connsiteY71" fmla="*/ 256362 h 259834"/>
                <a:gd name="connsiteX72" fmla="*/ 409187 w 774600"/>
                <a:gd name="connsiteY72" fmla="*/ 227704 h 259834"/>
                <a:gd name="connsiteX73" fmla="*/ 491507 w 774600"/>
                <a:gd name="connsiteY73" fmla="*/ 137913 h 259834"/>
                <a:gd name="connsiteX74" fmla="*/ 512874 w 774600"/>
                <a:gd name="connsiteY74" fmla="*/ 111513 h 259834"/>
                <a:gd name="connsiteX75" fmla="*/ 523813 w 774600"/>
                <a:gd name="connsiteY75" fmla="*/ 91542 h 259834"/>
                <a:gd name="connsiteX76" fmla="*/ 527110 w 774600"/>
                <a:gd name="connsiteY76" fmla="*/ 73998 h 259834"/>
                <a:gd name="connsiteX77" fmla="*/ 522592 w 774600"/>
                <a:gd name="connsiteY77" fmla="*/ 52981 h 259834"/>
                <a:gd name="connsiteX78" fmla="*/ 509746 w 774600"/>
                <a:gd name="connsiteY78" fmla="*/ 38565 h 259834"/>
                <a:gd name="connsiteX79" fmla="*/ 489085 w 774600"/>
                <a:gd name="connsiteY79" fmla="*/ 33181 h 259834"/>
                <a:gd name="connsiteX80" fmla="*/ 465452 w 774600"/>
                <a:gd name="connsiteY80" fmla="*/ 39261 h 259834"/>
                <a:gd name="connsiteX81" fmla="*/ 451040 w 774600"/>
                <a:gd name="connsiteY81" fmla="*/ 56109 h 259834"/>
                <a:gd name="connsiteX82" fmla="*/ 446181 w 774600"/>
                <a:gd name="connsiteY82" fmla="*/ 80423 h 259834"/>
                <a:gd name="connsiteX83" fmla="*/ 404328 w 774600"/>
                <a:gd name="connsiteY83" fmla="*/ 80423 h 259834"/>
                <a:gd name="connsiteX84" fmla="*/ 414391 w 774600"/>
                <a:gd name="connsiteY84" fmla="*/ 40131 h 259834"/>
                <a:gd name="connsiteX85" fmla="*/ 443569 w 774600"/>
                <a:gd name="connsiteY85" fmla="*/ 10953 h 259834"/>
                <a:gd name="connsiteX86" fmla="*/ 489596 w 774600"/>
                <a:gd name="connsiteY86" fmla="*/ 10 h 259834"/>
                <a:gd name="connsiteX87" fmla="*/ 532670 w 774600"/>
                <a:gd name="connsiteY87" fmla="*/ 8521 h 259834"/>
                <a:gd name="connsiteX88" fmla="*/ 559581 w 774600"/>
                <a:gd name="connsiteY88" fmla="*/ 32660 h 259834"/>
                <a:gd name="connsiteX89" fmla="*/ 568958 w 774600"/>
                <a:gd name="connsiteY89" fmla="*/ 69655 h 259834"/>
                <a:gd name="connsiteX90" fmla="*/ 565145 w 774600"/>
                <a:gd name="connsiteY90" fmla="*/ 93103 h 259834"/>
                <a:gd name="connsiteX91" fmla="*/ 554207 w 774600"/>
                <a:gd name="connsiteY91" fmla="*/ 116376 h 259834"/>
                <a:gd name="connsiteX92" fmla="*/ 537704 w 774600"/>
                <a:gd name="connsiteY92" fmla="*/ 139475 h 259834"/>
                <a:gd name="connsiteX93" fmla="*/ 516697 w 774600"/>
                <a:gd name="connsiteY93" fmla="*/ 162748 h 259834"/>
                <a:gd name="connsiteX94" fmla="*/ 461979 w 774600"/>
                <a:gd name="connsiteY94" fmla="*/ 223015 h 259834"/>
                <a:gd name="connsiteX95" fmla="*/ 578701 w 774600"/>
                <a:gd name="connsiteY95" fmla="*/ 223015 h 259834"/>
                <a:gd name="connsiteX96" fmla="*/ 660505 w 774600"/>
                <a:gd name="connsiteY96" fmla="*/ 110992 h 259834"/>
                <a:gd name="connsiteX97" fmla="*/ 685510 w 774600"/>
                <a:gd name="connsiteY97" fmla="*/ 110992 h 259834"/>
                <a:gd name="connsiteX98" fmla="*/ 709639 w 774600"/>
                <a:gd name="connsiteY98" fmla="*/ 105953 h 259834"/>
                <a:gd name="connsiteX99" fmla="*/ 724065 w 774600"/>
                <a:gd name="connsiteY99" fmla="*/ 92057 h 259834"/>
                <a:gd name="connsiteX100" fmla="*/ 728754 w 774600"/>
                <a:gd name="connsiteY100" fmla="*/ 71736 h 259834"/>
                <a:gd name="connsiteX101" fmla="*/ 724411 w 774600"/>
                <a:gd name="connsiteY101" fmla="*/ 51240 h 259834"/>
                <a:gd name="connsiteX102" fmla="*/ 711565 w 774600"/>
                <a:gd name="connsiteY102" fmla="*/ 37865 h 259834"/>
                <a:gd name="connsiteX103" fmla="*/ 689858 w 774600"/>
                <a:gd name="connsiteY103" fmla="*/ 33176 h 259834"/>
                <a:gd name="connsiteX104" fmla="*/ 669712 w 774600"/>
                <a:gd name="connsiteY104" fmla="*/ 37690 h 259834"/>
                <a:gd name="connsiteX105" fmla="*/ 655626 w 774600"/>
                <a:gd name="connsiteY105" fmla="*/ 50195 h 259834"/>
                <a:gd name="connsiteX106" fmla="*/ 650422 w 774600"/>
                <a:gd name="connsiteY106" fmla="*/ 69300 h 259834"/>
                <a:gd name="connsiteX107" fmla="*/ 608394 w 774600"/>
                <a:gd name="connsiteY107" fmla="*/ 69300 h 259834"/>
                <a:gd name="connsiteX108" fmla="*/ 618992 w 774600"/>
                <a:gd name="connsiteY108" fmla="*/ 33521 h 259834"/>
                <a:gd name="connsiteX109" fmla="*/ 647810 w 774600"/>
                <a:gd name="connsiteY109" fmla="*/ 9032 h 259834"/>
                <a:gd name="connsiteX110" fmla="*/ 689148 w 774600"/>
                <a:gd name="connsiteY110" fmla="*/ 0 h 259834"/>
                <a:gd name="connsiteX111" fmla="*/ 731876 w 774600"/>
                <a:gd name="connsiteY111" fmla="*/ 8161 h 259834"/>
                <a:gd name="connsiteX112" fmla="*/ 760524 w 774600"/>
                <a:gd name="connsiteY112" fmla="*/ 32130 h 259834"/>
                <a:gd name="connsiteX113" fmla="*/ 770777 w 774600"/>
                <a:gd name="connsiteY113" fmla="*/ 71731 h 259834"/>
                <a:gd name="connsiteX114" fmla="*/ 765743 w 774600"/>
                <a:gd name="connsiteY114" fmla="*/ 93614 h 259834"/>
                <a:gd name="connsiteX115" fmla="*/ 750802 w 774600"/>
                <a:gd name="connsiteY115" fmla="*/ 113935 h 259834"/>
                <a:gd name="connsiteX116" fmla="*/ 726137 w 774600"/>
                <a:gd name="connsiteY116" fmla="*/ 128696 h 259834"/>
                <a:gd name="connsiteX117" fmla="*/ 691925 w 774600"/>
                <a:gd name="connsiteY117" fmla="*/ 134256 h 259834"/>
                <a:gd name="connsiteX118" fmla="*/ 660495 w 774600"/>
                <a:gd name="connsiteY118" fmla="*/ 134256 h 259834"/>
                <a:gd name="connsiteX119" fmla="*/ 660495 w 774600"/>
                <a:gd name="connsiteY119" fmla="*/ 110982 h 259834"/>
                <a:gd name="connsiteX120" fmla="*/ 660505 w 774600"/>
                <a:gd name="connsiteY120" fmla="*/ 143643 h 259834"/>
                <a:gd name="connsiteX121" fmla="*/ 660505 w 774600"/>
                <a:gd name="connsiteY121" fmla="*/ 120715 h 259834"/>
                <a:gd name="connsiteX122" fmla="*/ 691935 w 774600"/>
                <a:gd name="connsiteY122" fmla="*/ 120715 h 259834"/>
                <a:gd name="connsiteX123" fmla="*/ 729790 w 774600"/>
                <a:gd name="connsiteY123" fmla="*/ 125924 h 259834"/>
                <a:gd name="connsiteX124" fmla="*/ 755500 w 774600"/>
                <a:gd name="connsiteY124" fmla="*/ 140340 h 259834"/>
                <a:gd name="connsiteX125" fmla="*/ 769911 w 774600"/>
                <a:gd name="connsiteY125" fmla="*/ 161007 h 259834"/>
                <a:gd name="connsiteX126" fmla="*/ 774600 w 774600"/>
                <a:gd name="connsiteY126" fmla="*/ 185671 h 259834"/>
                <a:gd name="connsiteX127" fmla="*/ 768175 w 774600"/>
                <a:gd name="connsiteY127" fmla="*/ 217281 h 259834"/>
                <a:gd name="connsiteX128" fmla="*/ 750296 w 774600"/>
                <a:gd name="connsiteY128" fmla="*/ 240554 h 259834"/>
                <a:gd name="connsiteX129" fmla="*/ 723024 w 774600"/>
                <a:gd name="connsiteY129" fmla="*/ 254971 h 259834"/>
                <a:gd name="connsiteX130" fmla="*/ 689328 w 774600"/>
                <a:gd name="connsiteY130" fmla="*/ 259834 h 259834"/>
                <a:gd name="connsiteX131" fmla="*/ 658068 w 774600"/>
                <a:gd name="connsiteY131" fmla="*/ 255316 h 259834"/>
                <a:gd name="connsiteX132" fmla="*/ 631327 w 774600"/>
                <a:gd name="connsiteY132" fmla="*/ 241945 h 259834"/>
                <a:gd name="connsiteX133" fmla="*/ 612572 w 774600"/>
                <a:gd name="connsiteY133" fmla="*/ 219543 h 259834"/>
                <a:gd name="connsiteX134" fmla="*/ 605787 w 774600"/>
                <a:gd name="connsiteY134" fmla="*/ 188283 h 259834"/>
                <a:gd name="connsiteX135" fmla="*/ 647640 w 774600"/>
                <a:gd name="connsiteY135" fmla="*/ 188283 h 259834"/>
                <a:gd name="connsiteX136" fmla="*/ 652859 w 774600"/>
                <a:gd name="connsiteY136" fmla="*/ 208254 h 259834"/>
                <a:gd name="connsiteX137" fmla="*/ 667786 w 774600"/>
                <a:gd name="connsiteY137" fmla="*/ 221624 h 259834"/>
                <a:gd name="connsiteX138" fmla="*/ 690028 w 774600"/>
                <a:gd name="connsiteY138" fmla="*/ 226488 h 259834"/>
                <a:gd name="connsiteX139" fmla="*/ 712767 w 774600"/>
                <a:gd name="connsiteY139" fmla="*/ 221799 h 259834"/>
                <a:gd name="connsiteX140" fmla="*/ 727363 w 774600"/>
                <a:gd name="connsiteY140" fmla="*/ 207904 h 259834"/>
                <a:gd name="connsiteX141" fmla="*/ 732567 w 774600"/>
                <a:gd name="connsiteY141" fmla="*/ 185671 h 259834"/>
                <a:gd name="connsiteX142" fmla="*/ 726847 w 774600"/>
                <a:gd name="connsiteY142" fmla="*/ 161702 h 259834"/>
                <a:gd name="connsiteX143" fmla="*/ 710515 w 774600"/>
                <a:gd name="connsiteY143" fmla="*/ 148157 h 259834"/>
                <a:gd name="connsiteX144" fmla="*/ 685510 w 774600"/>
                <a:gd name="connsiteY144" fmla="*/ 143643 h 259834"/>
                <a:gd name="connsiteX145" fmla="*/ 660505 w 774600"/>
                <a:gd name="connsiteY145" fmla="*/ 143643 h 2598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</a:cxnLst>
              <a:rect l="l" t="t" r="r" b="b"/>
              <a:pathLst>
                <a:path w="774600" h="259834">
                  <a:moveTo>
                    <a:pt x="174372" y="223015"/>
                  </a:moveTo>
                  <a:lnTo>
                    <a:pt x="174372" y="256362"/>
                  </a:lnTo>
                  <a:lnTo>
                    <a:pt x="4859" y="256362"/>
                  </a:lnTo>
                  <a:lnTo>
                    <a:pt x="4859" y="227704"/>
                  </a:lnTo>
                  <a:lnTo>
                    <a:pt x="87193" y="137913"/>
                  </a:lnTo>
                  <a:cubicBezTo>
                    <a:pt x="96211" y="127724"/>
                    <a:pt x="103336" y="118925"/>
                    <a:pt x="108541" y="111513"/>
                  </a:cubicBezTo>
                  <a:cubicBezTo>
                    <a:pt x="113760" y="104100"/>
                    <a:pt x="117403" y="97446"/>
                    <a:pt x="119499" y="91542"/>
                  </a:cubicBezTo>
                  <a:cubicBezTo>
                    <a:pt x="121697" y="85520"/>
                    <a:pt x="122797" y="79674"/>
                    <a:pt x="122797" y="73998"/>
                  </a:cubicBezTo>
                  <a:cubicBezTo>
                    <a:pt x="122797" y="66012"/>
                    <a:pt x="121284" y="59003"/>
                    <a:pt x="118278" y="52981"/>
                  </a:cubicBezTo>
                  <a:cubicBezTo>
                    <a:pt x="115374" y="46843"/>
                    <a:pt x="111099" y="42038"/>
                    <a:pt x="105413" y="38565"/>
                  </a:cubicBezTo>
                  <a:cubicBezTo>
                    <a:pt x="99747" y="34976"/>
                    <a:pt x="92860" y="33181"/>
                    <a:pt x="84752" y="33181"/>
                  </a:cubicBezTo>
                  <a:cubicBezTo>
                    <a:pt x="75374" y="33181"/>
                    <a:pt x="67510" y="35209"/>
                    <a:pt x="61138" y="39261"/>
                  </a:cubicBezTo>
                  <a:cubicBezTo>
                    <a:pt x="54766" y="43312"/>
                    <a:pt x="49956" y="48930"/>
                    <a:pt x="46712" y="56109"/>
                  </a:cubicBezTo>
                  <a:cubicBezTo>
                    <a:pt x="43482" y="63171"/>
                    <a:pt x="41853" y="71279"/>
                    <a:pt x="41853" y="80423"/>
                  </a:cubicBezTo>
                  <a:lnTo>
                    <a:pt x="0" y="80423"/>
                  </a:lnTo>
                  <a:cubicBezTo>
                    <a:pt x="0" y="65720"/>
                    <a:pt x="3366" y="52286"/>
                    <a:pt x="10083" y="40131"/>
                  </a:cubicBezTo>
                  <a:cubicBezTo>
                    <a:pt x="16800" y="27860"/>
                    <a:pt x="26517" y="18132"/>
                    <a:pt x="39261" y="10953"/>
                  </a:cubicBezTo>
                  <a:cubicBezTo>
                    <a:pt x="51989" y="3658"/>
                    <a:pt x="67325" y="10"/>
                    <a:pt x="85272" y="10"/>
                  </a:cubicBezTo>
                  <a:cubicBezTo>
                    <a:pt x="102189" y="10"/>
                    <a:pt x="116546" y="2845"/>
                    <a:pt x="128346" y="8521"/>
                  </a:cubicBezTo>
                  <a:cubicBezTo>
                    <a:pt x="140160" y="14193"/>
                    <a:pt x="149129" y="22242"/>
                    <a:pt x="155277" y="32660"/>
                  </a:cubicBezTo>
                  <a:cubicBezTo>
                    <a:pt x="161527" y="43079"/>
                    <a:pt x="164654" y="55413"/>
                    <a:pt x="164654" y="69655"/>
                  </a:cubicBezTo>
                  <a:cubicBezTo>
                    <a:pt x="164654" y="77529"/>
                    <a:pt x="163385" y="85345"/>
                    <a:pt x="160827" y="93103"/>
                  </a:cubicBezTo>
                  <a:cubicBezTo>
                    <a:pt x="158283" y="100861"/>
                    <a:pt x="154645" y="108619"/>
                    <a:pt x="149888" y="116376"/>
                  </a:cubicBezTo>
                  <a:cubicBezTo>
                    <a:pt x="145267" y="124017"/>
                    <a:pt x="139757" y="131717"/>
                    <a:pt x="133400" y="139475"/>
                  </a:cubicBezTo>
                  <a:cubicBezTo>
                    <a:pt x="127028" y="147116"/>
                    <a:pt x="120019" y="154873"/>
                    <a:pt x="112378" y="162748"/>
                  </a:cubicBezTo>
                  <a:lnTo>
                    <a:pt x="57675" y="223015"/>
                  </a:lnTo>
                  <a:lnTo>
                    <a:pt x="174377" y="223015"/>
                  </a:lnTo>
                  <a:close/>
                  <a:moveTo>
                    <a:pt x="371848" y="108735"/>
                  </a:moveTo>
                  <a:lnTo>
                    <a:pt x="371848" y="150068"/>
                  </a:lnTo>
                  <a:cubicBezTo>
                    <a:pt x="371848" y="169869"/>
                    <a:pt x="369873" y="186770"/>
                    <a:pt x="365938" y="200783"/>
                  </a:cubicBezTo>
                  <a:cubicBezTo>
                    <a:pt x="362125" y="214674"/>
                    <a:pt x="356561" y="225963"/>
                    <a:pt x="349260" y="234650"/>
                  </a:cubicBezTo>
                  <a:cubicBezTo>
                    <a:pt x="341960" y="243332"/>
                    <a:pt x="333219" y="249703"/>
                    <a:pt x="323035" y="253755"/>
                  </a:cubicBezTo>
                  <a:cubicBezTo>
                    <a:pt x="312971" y="257806"/>
                    <a:pt x="301668" y="259834"/>
                    <a:pt x="289168" y="259834"/>
                  </a:cubicBezTo>
                  <a:cubicBezTo>
                    <a:pt x="279221" y="259834"/>
                    <a:pt x="269951" y="258560"/>
                    <a:pt x="261381" y="256011"/>
                  </a:cubicBezTo>
                  <a:cubicBezTo>
                    <a:pt x="252933" y="253463"/>
                    <a:pt x="245287" y="249470"/>
                    <a:pt x="238468" y="244027"/>
                  </a:cubicBezTo>
                  <a:cubicBezTo>
                    <a:pt x="231634" y="238584"/>
                    <a:pt x="225773" y="231581"/>
                    <a:pt x="220914" y="223011"/>
                  </a:cubicBezTo>
                  <a:cubicBezTo>
                    <a:pt x="216172" y="214329"/>
                    <a:pt x="212466" y="203964"/>
                    <a:pt x="209800" y="191921"/>
                  </a:cubicBezTo>
                  <a:cubicBezTo>
                    <a:pt x="207256" y="179878"/>
                    <a:pt x="205972" y="165929"/>
                    <a:pt x="205972" y="150063"/>
                  </a:cubicBezTo>
                  <a:lnTo>
                    <a:pt x="205972" y="108730"/>
                  </a:lnTo>
                  <a:cubicBezTo>
                    <a:pt x="205972" y="88813"/>
                    <a:pt x="207947" y="72028"/>
                    <a:pt x="211882" y="58366"/>
                  </a:cubicBezTo>
                  <a:cubicBezTo>
                    <a:pt x="215831" y="44587"/>
                    <a:pt x="221430" y="33414"/>
                    <a:pt x="228730" y="24844"/>
                  </a:cubicBezTo>
                  <a:cubicBezTo>
                    <a:pt x="236031" y="16162"/>
                    <a:pt x="244722" y="9849"/>
                    <a:pt x="254786" y="5914"/>
                  </a:cubicBezTo>
                  <a:cubicBezTo>
                    <a:pt x="264970" y="1980"/>
                    <a:pt x="276323" y="10"/>
                    <a:pt x="288827" y="10"/>
                  </a:cubicBezTo>
                  <a:cubicBezTo>
                    <a:pt x="298910" y="10"/>
                    <a:pt x="308166" y="1284"/>
                    <a:pt x="316614" y="3833"/>
                  </a:cubicBezTo>
                  <a:cubicBezTo>
                    <a:pt x="325184" y="6265"/>
                    <a:pt x="332825" y="10141"/>
                    <a:pt x="339542" y="15467"/>
                  </a:cubicBezTo>
                  <a:cubicBezTo>
                    <a:pt x="346376" y="20793"/>
                    <a:pt x="352164" y="27743"/>
                    <a:pt x="356906" y="36308"/>
                  </a:cubicBezTo>
                  <a:cubicBezTo>
                    <a:pt x="361765" y="44762"/>
                    <a:pt x="365476" y="55010"/>
                    <a:pt x="368020" y="67048"/>
                  </a:cubicBezTo>
                  <a:cubicBezTo>
                    <a:pt x="370578" y="78974"/>
                    <a:pt x="371848" y="92870"/>
                    <a:pt x="371848" y="108730"/>
                  </a:cubicBezTo>
                  <a:close/>
                  <a:moveTo>
                    <a:pt x="329995" y="155978"/>
                  </a:moveTo>
                  <a:lnTo>
                    <a:pt x="329995" y="102485"/>
                  </a:lnTo>
                  <a:cubicBezTo>
                    <a:pt x="329995" y="92412"/>
                    <a:pt x="329411" y="83555"/>
                    <a:pt x="328258" y="75914"/>
                  </a:cubicBezTo>
                  <a:cubicBezTo>
                    <a:pt x="327091" y="68157"/>
                    <a:pt x="325355" y="61615"/>
                    <a:pt x="323039" y="56289"/>
                  </a:cubicBezTo>
                  <a:cubicBezTo>
                    <a:pt x="320841" y="50846"/>
                    <a:pt x="318059" y="46445"/>
                    <a:pt x="314708" y="43088"/>
                  </a:cubicBezTo>
                  <a:cubicBezTo>
                    <a:pt x="311342" y="39616"/>
                    <a:pt x="307529" y="37125"/>
                    <a:pt x="303234" y="35623"/>
                  </a:cubicBezTo>
                  <a:cubicBezTo>
                    <a:pt x="298959" y="34003"/>
                    <a:pt x="294148" y="33191"/>
                    <a:pt x="288823" y="33191"/>
                  </a:cubicBezTo>
                  <a:cubicBezTo>
                    <a:pt x="282349" y="33191"/>
                    <a:pt x="276542" y="34465"/>
                    <a:pt x="271459" y="37014"/>
                  </a:cubicBezTo>
                  <a:cubicBezTo>
                    <a:pt x="266357" y="39445"/>
                    <a:pt x="262081" y="43380"/>
                    <a:pt x="258613" y="48823"/>
                  </a:cubicBezTo>
                  <a:cubicBezTo>
                    <a:pt x="255126" y="54266"/>
                    <a:pt x="252466" y="61445"/>
                    <a:pt x="250608" y="70360"/>
                  </a:cubicBezTo>
                  <a:cubicBezTo>
                    <a:pt x="248871" y="79159"/>
                    <a:pt x="248015" y="89869"/>
                    <a:pt x="248015" y="102490"/>
                  </a:cubicBezTo>
                  <a:lnTo>
                    <a:pt x="248015" y="155982"/>
                  </a:lnTo>
                  <a:cubicBezTo>
                    <a:pt x="248015" y="166172"/>
                    <a:pt x="248584" y="175146"/>
                    <a:pt x="249752" y="182904"/>
                  </a:cubicBezTo>
                  <a:cubicBezTo>
                    <a:pt x="250904" y="190661"/>
                    <a:pt x="252636" y="197320"/>
                    <a:pt x="254956" y="202874"/>
                  </a:cubicBezTo>
                  <a:cubicBezTo>
                    <a:pt x="257276" y="208317"/>
                    <a:pt x="260058" y="212831"/>
                    <a:pt x="263302" y="216420"/>
                  </a:cubicBezTo>
                  <a:cubicBezTo>
                    <a:pt x="266653" y="219893"/>
                    <a:pt x="270481" y="222441"/>
                    <a:pt x="274756" y="224061"/>
                  </a:cubicBezTo>
                  <a:cubicBezTo>
                    <a:pt x="279153" y="225681"/>
                    <a:pt x="283964" y="226493"/>
                    <a:pt x="289168" y="226493"/>
                  </a:cubicBezTo>
                  <a:cubicBezTo>
                    <a:pt x="295778" y="226493"/>
                    <a:pt x="301619" y="225219"/>
                    <a:pt x="306721" y="222670"/>
                  </a:cubicBezTo>
                  <a:cubicBezTo>
                    <a:pt x="311804" y="220121"/>
                    <a:pt x="316099" y="216070"/>
                    <a:pt x="319567" y="210511"/>
                  </a:cubicBezTo>
                  <a:cubicBezTo>
                    <a:pt x="323035" y="204839"/>
                    <a:pt x="325646" y="197485"/>
                    <a:pt x="327383" y="188453"/>
                  </a:cubicBezTo>
                  <a:cubicBezTo>
                    <a:pt x="329119" y="179421"/>
                    <a:pt x="329995" y="168594"/>
                    <a:pt x="329995" y="155978"/>
                  </a:cubicBezTo>
                  <a:close/>
                  <a:moveTo>
                    <a:pt x="578701" y="223015"/>
                  </a:moveTo>
                  <a:lnTo>
                    <a:pt x="578701" y="256362"/>
                  </a:lnTo>
                  <a:lnTo>
                    <a:pt x="409187" y="256362"/>
                  </a:lnTo>
                  <a:lnTo>
                    <a:pt x="409187" y="227704"/>
                  </a:lnTo>
                  <a:lnTo>
                    <a:pt x="491507" y="137913"/>
                  </a:lnTo>
                  <a:cubicBezTo>
                    <a:pt x="500539" y="127724"/>
                    <a:pt x="507670" y="118925"/>
                    <a:pt x="512874" y="111513"/>
                  </a:cubicBezTo>
                  <a:cubicBezTo>
                    <a:pt x="518078" y="104100"/>
                    <a:pt x="521736" y="97446"/>
                    <a:pt x="523813" y="91542"/>
                  </a:cubicBezTo>
                  <a:cubicBezTo>
                    <a:pt x="526011" y="85520"/>
                    <a:pt x="527110" y="79674"/>
                    <a:pt x="527110" y="73998"/>
                  </a:cubicBezTo>
                  <a:cubicBezTo>
                    <a:pt x="527110" y="66012"/>
                    <a:pt x="525617" y="59003"/>
                    <a:pt x="522592" y="52981"/>
                  </a:cubicBezTo>
                  <a:cubicBezTo>
                    <a:pt x="519708" y="46843"/>
                    <a:pt x="515413" y="42038"/>
                    <a:pt x="509746" y="38565"/>
                  </a:cubicBezTo>
                  <a:cubicBezTo>
                    <a:pt x="504080" y="34976"/>
                    <a:pt x="497193" y="33181"/>
                    <a:pt x="489085" y="33181"/>
                  </a:cubicBezTo>
                  <a:cubicBezTo>
                    <a:pt x="479708" y="33181"/>
                    <a:pt x="471823" y="35209"/>
                    <a:pt x="465452" y="39261"/>
                  </a:cubicBezTo>
                  <a:cubicBezTo>
                    <a:pt x="459095" y="43312"/>
                    <a:pt x="454289" y="48930"/>
                    <a:pt x="451040" y="56109"/>
                  </a:cubicBezTo>
                  <a:cubicBezTo>
                    <a:pt x="447796" y="63171"/>
                    <a:pt x="446181" y="71279"/>
                    <a:pt x="446181" y="80423"/>
                  </a:cubicBezTo>
                  <a:lnTo>
                    <a:pt x="404328" y="80423"/>
                  </a:lnTo>
                  <a:cubicBezTo>
                    <a:pt x="404328" y="65720"/>
                    <a:pt x="407679" y="52286"/>
                    <a:pt x="414391" y="40131"/>
                  </a:cubicBezTo>
                  <a:cubicBezTo>
                    <a:pt x="421108" y="27860"/>
                    <a:pt x="430846" y="18132"/>
                    <a:pt x="443569" y="10953"/>
                  </a:cubicBezTo>
                  <a:cubicBezTo>
                    <a:pt x="456313" y="3658"/>
                    <a:pt x="471648" y="10"/>
                    <a:pt x="489596" y="10"/>
                  </a:cubicBezTo>
                  <a:cubicBezTo>
                    <a:pt x="506497" y="10"/>
                    <a:pt x="520855" y="2845"/>
                    <a:pt x="532670" y="8521"/>
                  </a:cubicBezTo>
                  <a:cubicBezTo>
                    <a:pt x="544484" y="14193"/>
                    <a:pt x="553453" y="22242"/>
                    <a:pt x="559581" y="32660"/>
                  </a:cubicBezTo>
                  <a:cubicBezTo>
                    <a:pt x="565831" y="43079"/>
                    <a:pt x="568958" y="55413"/>
                    <a:pt x="568958" y="69655"/>
                  </a:cubicBezTo>
                  <a:cubicBezTo>
                    <a:pt x="568958" y="77529"/>
                    <a:pt x="567689" y="85345"/>
                    <a:pt x="565145" y="93103"/>
                  </a:cubicBezTo>
                  <a:cubicBezTo>
                    <a:pt x="562601" y="100861"/>
                    <a:pt x="558944" y="108619"/>
                    <a:pt x="554207" y="116376"/>
                  </a:cubicBezTo>
                  <a:cubicBezTo>
                    <a:pt x="549571" y="124017"/>
                    <a:pt x="544075" y="131717"/>
                    <a:pt x="537704" y="139475"/>
                  </a:cubicBezTo>
                  <a:cubicBezTo>
                    <a:pt x="531332" y="147116"/>
                    <a:pt x="524323" y="154873"/>
                    <a:pt x="516697" y="162748"/>
                  </a:cubicBezTo>
                  <a:lnTo>
                    <a:pt x="461979" y="223015"/>
                  </a:lnTo>
                  <a:lnTo>
                    <a:pt x="578701" y="223015"/>
                  </a:lnTo>
                  <a:close/>
                  <a:moveTo>
                    <a:pt x="660505" y="110992"/>
                  </a:moveTo>
                  <a:lnTo>
                    <a:pt x="685510" y="110992"/>
                  </a:lnTo>
                  <a:cubicBezTo>
                    <a:pt x="695233" y="110992"/>
                    <a:pt x="703287" y="109314"/>
                    <a:pt x="709639" y="105953"/>
                  </a:cubicBezTo>
                  <a:cubicBezTo>
                    <a:pt x="716132" y="102597"/>
                    <a:pt x="720943" y="97962"/>
                    <a:pt x="724065" y="92057"/>
                  </a:cubicBezTo>
                  <a:cubicBezTo>
                    <a:pt x="727188" y="86153"/>
                    <a:pt x="728754" y="79377"/>
                    <a:pt x="728754" y="71736"/>
                  </a:cubicBezTo>
                  <a:cubicBezTo>
                    <a:pt x="728754" y="64095"/>
                    <a:pt x="727295" y="56916"/>
                    <a:pt x="724411" y="51240"/>
                  </a:cubicBezTo>
                  <a:cubicBezTo>
                    <a:pt x="721628" y="45452"/>
                    <a:pt x="717353" y="40992"/>
                    <a:pt x="711565" y="37865"/>
                  </a:cubicBezTo>
                  <a:cubicBezTo>
                    <a:pt x="705879" y="34737"/>
                    <a:pt x="698652" y="33176"/>
                    <a:pt x="689858" y="33176"/>
                  </a:cubicBezTo>
                  <a:cubicBezTo>
                    <a:pt x="682441" y="33176"/>
                    <a:pt x="675724" y="34684"/>
                    <a:pt x="669712" y="37690"/>
                  </a:cubicBezTo>
                  <a:cubicBezTo>
                    <a:pt x="663803" y="40584"/>
                    <a:pt x="659114" y="44752"/>
                    <a:pt x="655626" y="50195"/>
                  </a:cubicBezTo>
                  <a:cubicBezTo>
                    <a:pt x="652159" y="55520"/>
                    <a:pt x="650422" y="61887"/>
                    <a:pt x="650422" y="69300"/>
                  </a:cubicBezTo>
                  <a:lnTo>
                    <a:pt x="608394" y="69300"/>
                  </a:lnTo>
                  <a:cubicBezTo>
                    <a:pt x="608394" y="55871"/>
                    <a:pt x="611916" y="43945"/>
                    <a:pt x="618992" y="33521"/>
                  </a:cubicBezTo>
                  <a:cubicBezTo>
                    <a:pt x="626050" y="23103"/>
                    <a:pt x="635670" y="14937"/>
                    <a:pt x="647810" y="9032"/>
                  </a:cubicBezTo>
                  <a:cubicBezTo>
                    <a:pt x="660092" y="3011"/>
                    <a:pt x="673866" y="0"/>
                    <a:pt x="689148" y="0"/>
                  </a:cubicBezTo>
                  <a:cubicBezTo>
                    <a:pt x="705480" y="0"/>
                    <a:pt x="719717" y="2724"/>
                    <a:pt x="731876" y="8161"/>
                  </a:cubicBezTo>
                  <a:cubicBezTo>
                    <a:pt x="744138" y="13487"/>
                    <a:pt x="753705" y="21479"/>
                    <a:pt x="760524" y="32130"/>
                  </a:cubicBezTo>
                  <a:cubicBezTo>
                    <a:pt x="767358" y="42782"/>
                    <a:pt x="770777" y="55982"/>
                    <a:pt x="770777" y="71731"/>
                  </a:cubicBezTo>
                  <a:cubicBezTo>
                    <a:pt x="770777" y="78910"/>
                    <a:pt x="769094" y="86206"/>
                    <a:pt x="765743" y="93614"/>
                  </a:cubicBezTo>
                  <a:cubicBezTo>
                    <a:pt x="762378" y="101026"/>
                    <a:pt x="757397" y="107797"/>
                    <a:pt x="750802" y="113935"/>
                  </a:cubicBezTo>
                  <a:cubicBezTo>
                    <a:pt x="744206" y="119956"/>
                    <a:pt x="735982" y="124873"/>
                    <a:pt x="726137" y="128696"/>
                  </a:cubicBezTo>
                  <a:cubicBezTo>
                    <a:pt x="716298" y="132403"/>
                    <a:pt x="704892" y="134256"/>
                    <a:pt x="691925" y="134256"/>
                  </a:cubicBezTo>
                  <a:lnTo>
                    <a:pt x="660495" y="134256"/>
                  </a:lnTo>
                  <a:lnTo>
                    <a:pt x="660495" y="110982"/>
                  </a:lnTo>
                  <a:close/>
                  <a:moveTo>
                    <a:pt x="660505" y="143643"/>
                  </a:moveTo>
                  <a:lnTo>
                    <a:pt x="660505" y="120715"/>
                  </a:lnTo>
                  <a:lnTo>
                    <a:pt x="691935" y="120715"/>
                  </a:lnTo>
                  <a:cubicBezTo>
                    <a:pt x="706755" y="120715"/>
                    <a:pt x="719381" y="122451"/>
                    <a:pt x="729790" y="125924"/>
                  </a:cubicBezTo>
                  <a:cubicBezTo>
                    <a:pt x="740335" y="129397"/>
                    <a:pt x="748905" y="134202"/>
                    <a:pt x="755500" y="140340"/>
                  </a:cubicBezTo>
                  <a:cubicBezTo>
                    <a:pt x="762095" y="146362"/>
                    <a:pt x="766906" y="153249"/>
                    <a:pt x="769911" y="161007"/>
                  </a:cubicBezTo>
                  <a:cubicBezTo>
                    <a:pt x="773039" y="168764"/>
                    <a:pt x="774600" y="176984"/>
                    <a:pt x="774600" y="185671"/>
                  </a:cubicBezTo>
                  <a:cubicBezTo>
                    <a:pt x="774600" y="197480"/>
                    <a:pt x="772470" y="208015"/>
                    <a:pt x="768175" y="217281"/>
                  </a:cubicBezTo>
                  <a:cubicBezTo>
                    <a:pt x="764016" y="226430"/>
                    <a:pt x="758044" y="234188"/>
                    <a:pt x="750296" y="240554"/>
                  </a:cubicBezTo>
                  <a:cubicBezTo>
                    <a:pt x="742533" y="246921"/>
                    <a:pt x="733447" y="251726"/>
                    <a:pt x="723024" y="254971"/>
                  </a:cubicBezTo>
                  <a:cubicBezTo>
                    <a:pt x="712718" y="258215"/>
                    <a:pt x="701487" y="259834"/>
                    <a:pt x="689328" y="259834"/>
                  </a:cubicBezTo>
                  <a:cubicBezTo>
                    <a:pt x="678457" y="259834"/>
                    <a:pt x="668029" y="258327"/>
                    <a:pt x="658068" y="255316"/>
                  </a:cubicBezTo>
                  <a:cubicBezTo>
                    <a:pt x="648107" y="252305"/>
                    <a:pt x="639192" y="247850"/>
                    <a:pt x="631327" y="241945"/>
                  </a:cubicBezTo>
                  <a:cubicBezTo>
                    <a:pt x="623443" y="235924"/>
                    <a:pt x="617193" y="228458"/>
                    <a:pt x="612572" y="219543"/>
                  </a:cubicBezTo>
                  <a:cubicBezTo>
                    <a:pt x="608054" y="210511"/>
                    <a:pt x="605787" y="200092"/>
                    <a:pt x="605787" y="188283"/>
                  </a:cubicBezTo>
                  <a:lnTo>
                    <a:pt x="647640" y="188283"/>
                  </a:lnTo>
                  <a:cubicBezTo>
                    <a:pt x="647640" y="195807"/>
                    <a:pt x="649377" y="202466"/>
                    <a:pt x="652859" y="208254"/>
                  </a:cubicBezTo>
                  <a:cubicBezTo>
                    <a:pt x="656449" y="213925"/>
                    <a:pt x="661429" y="218385"/>
                    <a:pt x="667786" y="221624"/>
                  </a:cubicBezTo>
                  <a:cubicBezTo>
                    <a:pt x="674279" y="224869"/>
                    <a:pt x="681682" y="226488"/>
                    <a:pt x="690028" y="226488"/>
                  </a:cubicBezTo>
                  <a:cubicBezTo>
                    <a:pt x="698822" y="226488"/>
                    <a:pt x="706415" y="224927"/>
                    <a:pt x="712767" y="221799"/>
                  </a:cubicBezTo>
                  <a:cubicBezTo>
                    <a:pt x="719138" y="218672"/>
                    <a:pt x="723997" y="214042"/>
                    <a:pt x="727363" y="207904"/>
                  </a:cubicBezTo>
                  <a:cubicBezTo>
                    <a:pt x="730831" y="201765"/>
                    <a:pt x="732567" y="194358"/>
                    <a:pt x="732567" y="185671"/>
                  </a:cubicBezTo>
                  <a:cubicBezTo>
                    <a:pt x="732567" y="175827"/>
                    <a:pt x="730660" y="167840"/>
                    <a:pt x="726847" y="161702"/>
                  </a:cubicBezTo>
                  <a:cubicBezTo>
                    <a:pt x="723019" y="155564"/>
                    <a:pt x="717572" y="151050"/>
                    <a:pt x="710515" y="148157"/>
                  </a:cubicBezTo>
                  <a:cubicBezTo>
                    <a:pt x="703457" y="145146"/>
                    <a:pt x="695111" y="143643"/>
                    <a:pt x="685510" y="143643"/>
                  </a:cubicBezTo>
                  <a:lnTo>
                    <a:pt x="660505" y="143643"/>
                  </a:lnTo>
                  <a:close/>
                </a:path>
              </a:pathLst>
            </a:custGeom>
            <a:solidFill>
              <a:srgbClr val="EE3431"/>
            </a:solidFill>
            <a:ln w="4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8" name="Полилиния: фигура 47">
              <a:extLst>
                <a:ext uri="{FF2B5EF4-FFF2-40B4-BE49-F238E27FC236}">
                  <a16:creationId xmlns:a16="http://schemas.microsoft.com/office/drawing/2014/main" id="{C3ADAD60-17B9-4A06-AE0E-BCB35AB4E7E8}"/>
                </a:ext>
              </a:extLst>
            </p:cNvPr>
            <p:cNvSpPr/>
            <p:nvPr/>
          </p:nvSpPr>
          <p:spPr>
            <a:xfrm>
              <a:off x="8902858" y="5870060"/>
              <a:ext cx="774600" cy="259829"/>
            </a:xfrm>
            <a:custGeom>
              <a:avLst/>
              <a:gdLst>
                <a:gd name="connsiteX0" fmla="*/ 174372 w 774600"/>
                <a:gd name="connsiteY0" fmla="*/ 223011 h 259829"/>
                <a:gd name="connsiteX1" fmla="*/ 174372 w 774600"/>
                <a:gd name="connsiteY1" fmla="*/ 256357 h 259829"/>
                <a:gd name="connsiteX2" fmla="*/ 4859 w 774600"/>
                <a:gd name="connsiteY2" fmla="*/ 256357 h 259829"/>
                <a:gd name="connsiteX3" fmla="*/ 4859 w 774600"/>
                <a:gd name="connsiteY3" fmla="*/ 227699 h 259829"/>
                <a:gd name="connsiteX4" fmla="*/ 87193 w 774600"/>
                <a:gd name="connsiteY4" fmla="*/ 137908 h 259829"/>
                <a:gd name="connsiteX5" fmla="*/ 108541 w 774600"/>
                <a:gd name="connsiteY5" fmla="*/ 111508 h 259829"/>
                <a:gd name="connsiteX6" fmla="*/ 119499 w 774600"/>
                <a:gd name="connsiteY6" fmla="*/ 91537 h 259829"/>
                <a:gd name="connsiteX7" fmla="*/ 122797 w 774600"/>
                <a:gd name="connsiteY7" fmla="*/ 73993 h 259829"/>
                <a:gd name="connsiteX8" fmla="*/ 118278 w 774600"/>
                <a:gd name="connsiteY8" fmla="*/ 52977 h 259829"/>
                <a:gd name="connsiteX9" fmla="*/ 105413 w 774600"/>
                <a:gd name="connsiteY9" fmla="*/ 38560 h 259829"/>
                <a:gd name="connsiteX10" fmla="*/ 84752 w 774600"/>
                <a:gd name="connsiteY10" fmla="*/ 33176 h 259829"/>
                <a:gd name="connsiteX11" fmla="*/ 61138 w 774600"/>
                <a:gd name="connsiteY11" fmla="*/ 39256 h 259829"/>
                <a:gd name="connsiteX12" fmla="*/ 46712 w 774600"/>
                <a:gd name="connsiteY12" fmla="*/ 56104 h 259829"/>
                <a:gd name="connsiteX13" fmla="*/ 41853 w 774600"/>
                <a:gd name="connsiteY13" fmla="*/ 80418 h 259829"/>
                <a:gd name="connsiteX14" fmla="*/ 0 w 774600"/>
                <a:gd name="connsiteY14" fmla="*/ 80418 h 259829"/>
                <a:gd name="connsiteX15" fmla="*/ 10083 w 774600"/>
                <a:gd name="connsiteY15" fmla="*/ 40126 h 259829"/>
                <a:gd name="connsiteX16" fmla="*/ 39261 w 774600"/>
                <a:gd name="connsiteY16" fmla="*/ 10948 h 259829"/>
                <a:gd name="connsiteX17" fmla="*/ 85272 w 774600"/>
                <a:gd name="connsiteY17" fmla="*/ 5 h 259829"/>
                <a:gd name="connsiteX18" fmla="*/ 128346 w 774600"/>
                <a:gd name="connsiteY18" fmla="*/ 8517 h 259829"/>
                <a:gd name="connsiteX19" fmla="*/ 155277 w 774600"/>
                <a:gd name="connsiteY19" fmla="*/ 32660 h 259829"/>
                <a:gd name="connsiteX20" fmla="*/ 164654 w 774600"/>
                <a:gd name="connsiteY20" fmla="*/ 69655 h 259829"/>
                <a:gd name="connsiteX21" fmla="*/ 160827 w 774600"/>
                <a:gd name="connsiteY21" fmla="*/ 93103 h 259829"/>
                <a:gd name="connsiteX22" fmla="*/ 149888 w 774600"/>
                <a:gd name="connsiteY22" fmla="*/ 116376 h 259829"/>
                <a:gd name="connsiteX23" fmla="*/ 133400 w 774600"/>
                <a:gd name="connsiteY23" fmla="*/ 139475 h 259829"/>
                <a:gd name="connsiteX24" fmla="*/ 112378 w 774600"/>
                <a:gd name="connsiteY24" fmla="*/ 162748 h 259829"/>
                <a:gd name="connsiteX25" fmla="*/ 57675 w 774600"/>
                <a:gd name="connsiteY25" fmla="*/ 223015 h 259829"/>
                <a:gd name="connsiteX26" fmla="*/ 174377 w 774600"/>
                <a:gd name="connsiteY26" fmla="*/ 223015 h 259829"/>
                <a:gd name="connsiteX27" fmla="*/ 371848 w 774600"/>
                <a:gd name="connsiteY27" fmla="*/ 108730 h 259829"/>
                <a:gd name="connsiteX28" fmla="*/ 371848 w 774600"/>
                <a:gd name="connsiteY28" fmla="*/ 150063 h 259829"/>
                <a:gd name="connsiteX29" fmla="*/ 365938 w 774600"/>
                <a:gd name="connsiteY29" fmla="*/ 200778 h 259829"/>
                <a:gd name="connsiteX30" fmla="*/ 349260 w 774600"/>
                <a:gd name="connsiteY30" fmla="*/ 234645 h 259829"/>
                <a:gd name="connsiteX31" fmla="*/ 323035 w 774600"/>
                <a:gd name="connsiteY31" fmla="*/ 253750 h 259829"/>
                <a:gd name="connsiteX32" fmla="*/ 289168 w 774600"/>
                <a:gd name="connsiteY32" fmla="*/ 259830 h 259829"/>
                <a:gd name="connsiteX33" fmla="*/ 261381 w 774600"/>
                <a:gd name="connsiteY33" fmla="*/ 256011 h 259829"/>
                <a:gd name="connsiteX34" fmla="*/ 238468 w 774600"/>
                <a:gd name="connsiteY34" fmla="*/ 244027 h 259829"/>
                <a:gd name="connsiteX35" fmla="*/ 220914 w 774600"/>
                <a:gd name="connsiteY35" fmla="*/ 223011 h 259829"/>
                <a:gd name="connsiteX36" fmla="*/ 209800 w 774600"/>
                <a:gd name="connsiteY36" fmla="*/ 191921 h 259829"/>
                <a:gd name="connsiteX37" fmla="*/ 205972 w 774600"/>
                <a:gd name="connsiteY37" fmla="*/ 150063 h 259829"/>
                <a:gd name="connsiteX38" fmla="*/ 205972 w 774600"/>
                <a:gd name="connsiteY38" fmla="*/ 108730 h 259829"/>
                <a:gd name="connsiteX39" fmla="*/ 211882 w 774600"/>
                <a:gd name="connsiteY39" fmla="*/ 58366 h 259829"/>
                <a:gd name="connsiteX40" fmla="*/ 228730 w 774600"/>
                <a:gd name="connsiteY40" fmla="*/ 24844 h 259829"/>
                <a:gd name="connsiteX41" fmla="*/ 254786 w 774600"/>
                <a:gd name="connsiteY41" fmla="*/ 5914 h 259829"/>
                <a:gd name="connsiteX42" fmla="*/ 288827 w 774600"/>
                <a:gd name="connsiteY42" fmla="*/ 10 h 259829"/>
                <a:gd name="connsiteX43" fmla="*/ 316614 w 774600"/>
                <a:gd name="connsiteY43" fmla="*/ 3833 h 259829"/>
                <a:gd name="connsiteX44" fmla="*/ 339542 w 774600"/>
                <a:gd name="connsiteY44" fmla="*/ 15467 h 259829"/>
                <a:gd name="connsiteX45" fmla="*/ 356906 w 774600"/>
                <a:gd name="connsiteY45" fmla="*/ 36308 h 259829"/>
                <a:gd name="connsiteX46" fmla="*/ 368020 w 774600"/>
                <a:gd name="connsiteY46" fmla="*/ 67048 h 259829"/>
                <a:gd name="connsiteX47" fmla="*/ 371848 w 774600"/>
                <a:gd name="connsiteY47" fmla="*/ 108730 h 259829"/>
                <a:gd name="connsiteX48" fmla="*/ 329995 w 774600"/>
                <a:gd name="connsiteY48" fmla="*/ 155968 h 259829"/>
                <a:gd name="connsiteX49" fmla="*/ 329995 w 774600"/>
                <a:gd name="connsiteY49" fmla="*/ 102476 h 259829"/>
                <a:gd name="connsiteX50" fmla="*/ 328258 w 774600"/>
                <a:gd name="connsiteY50" fmla="*/ 75905 h 259829"/>
                <a:gd name="connsiteX51" fmla="*/ 323039 w 774600"/>
                <a:gd name="connsiteY51" fmla="*/ 56279 h 259829"/>
                <a:gd name="connsiteX52" fmla="*/ 314708 w 774600"/>
                <a:gd name="connsiteY52" fmla="*/ 43079 h 259829"/>
                <a:gd name="connsiteX53" fmla="*/ 303234 w 774600"/>
                <a:gd name="connsiteY53" fmla="*/ 35613 h 259829"/>
                <a:gd name="connsiteX54" fmla="*/ 288823 w 774600"/>
                <a:gd name="connsiteY54" fmla="*/ 33181 h 259829"/>
                <a:gd name="connsiteX55" fmla="*/ 271459 w 774600"/>
                <a:gd name="connsiteY55" fmla="*/ 37004 h 259829"/>
                <a:gd name="connsiteX56" fmla="*/ 258613 w 774600"/>
                <a:gd name="connsiteY56" fmla="*/ 48813 h 259829"/>
                <a:gd name="connsiteX57" fmla="*/ 250608 w 774600"/>
                <a:gd name="connsiteY57" fmla="*/ 70350 h 259829"/>
                <a:gd name="connsiteX58" fmla="*/ 248015 w 774600"/>
                <a:gd name="connsiteY58" fmla="*/ 102480 h 259829"/>
                <a:gd name="connsiteX59" fmla="*/ 248015 w 774600"/>
                <a:gd name="connsiteY59" fmla="*/ 155973 h 259829"/>
                <a:gd name="connsiteX60" fmla="*/ 249752 w 774600"/>
                <a:gd name="connsiteY60" fmla="*/ 182894 h 259829"/>
                <a:gd name="connsiteX61" fmla="*/ 254956 w 774600"/>
                <a:gd name="connsiteY61" fmla="*/ 202865 h 259829"/>
                <a:gd name="connsiteX62" fmla="*/ 263302 w 774600"/>
                <a:gd name="connsiteY62" fmla="*/ 216410 h 259829"/>
                <a:gd name="connsiteX63" fmla="*/ 274756 w 774600"/>
                <a:gd name="connsiteY63" fmla="*/ 224051 h 259829"/>
                <a:gd name="connsiteX64" fmla="*/ 289168 w 774600"/>
                <a:gd name="connsiteY64" fmla="*/ 226483 h 259829"/>
                <a:gd name="connsiteX65" fmla="*/ 306721 w 774600"/>
                <a:gd name="connsiteY65" fmla="*/ 222660 h 259829"/>
                <a:gd name="connsiteX66" fmla="*/ 319567 w 774600"/>
                <a:gd name="connsiteY66" fmla="*/ 210501 h 259829"/>
                <a:gd name="connsiteX67" fmla="*/ 327383 w 774600"/>
                <a:gd name="connsiteY67" fmla="*/ 188443 h 259829"/>
                <a:gd name="connsiteX68" fmla="*/ 329995 w 774600"/>
                <a:gd name="connsiteY68" fmla="*/ 155963 h 259829"/>
                <a:gd name="connsiteX69" fmla="*/ 578701 w 774600"/>
                <a:gd name="connsiteY69" fmla="*/ 223006 h 259829"/>
                <a:gd name="connsiteX70" fmla="*/ 578701 w 774600"/>
                <a:gd name="connsiteY70" fmla="*/ 256352 h 259829"/>
                <a:gd name="connsiteX71" fmla="*/ 409187 w 774600"/>
                <a:gd name="connsiteY71" fmla="*/ 256352 h 259829"/>
                <a:gd name="connsiteX72" fmla="*/ 409187 w 774600"/>
                <a:gd name="connsiteY72" fmla="*/ 227694 h 259829"/>
                <a:gd name="connsiteX73" fmla="*/ 491507 w 774600"/>
                <a:gd name="connsiteY73" fmla="*/ 137904 h 259829"/>
                <a:gd name="connsiteX74" fmla="*/ 512874 w 774600"/>
                <a:gd name="connsiteY74" fmla="*/ 111503 h 259829"/>
                <a:gd name="connsiteX75" fmla="*/ 523813 w 774600"/>
                <a:gd name="connsiteY75" fmla="*/ 91532 h 259829"/>
                <a:gd name="connsiteX76" fmla="*/ 527110 w 774600"/>
                <a:gd name="connsiteY76" fmla="*/ 73988 h 259829"/>
                <a:gd name="connsiteX77" fmla="*/ 522592 w 774600"/>
                <a:gd name="connsiteY77" fmla="*/ 52972 h 259829"/>
                <a:gd name="connsiteX78" fmla="*/ 509746 w 774600"/>
                <a:gd name="connsiteY78" fmla="*/ 38555 h 259829"/>
                <a:gd name="connsiteX79" fmla="*/ 489085 w 774600"/>
                <a:gd name="connsiteY79" fmla="*/ 33171 h 259829"/>
                <a:gd name="connsiteX80" fmla="*/ 465452 w 774600"/>
                <a:gd name="connsiteY80" fmla="*/ 39251 h 259829"/>
                <a:gd name="connsiteX81" fmla="*/ 451040 w 774600"/>
                <a:gd name="connsiteY81" fmla="*/ 56099 h 259829"/>
                <a:gd name="connsiteX82" fmla="*/ 446181 w 774600"/>
                <a:gd name="connsiteY82" fmla="*/ 80413 h 259829"/>
                <a:gd name="connsiteX83" fmla="*/ 404328 w 774600"/>
                <a:gd name="connsiteY83" fmla="*/ 80413 h 259829"/>
                <a:gd name="connsiteX84" fmla="*/ 414391 w 774600"/>
                <a:gd name="connsiteY84" fmla="*/ 40122 h 259829"/>
                <a:gd name="connsiteX85" fmla="*/ 443569 w 774600"/>
                <a:gd name="connsiteY85" fmla="*/ 10944 h 259829"/>
                <a:gd name="connsiteX86" fmla="*/ 489596 w 774600"/>
                <a:gd name="connsiteY86" fmla="*/ 0 h 259829"/>
                <a:gd name="connsiteX87" fmla="*/ 532670 w 774600"/>
                <a:gd name="connsiteY87" fmla="*/ 8512 h 259829"/>
                <a:gd name="connsiteX88" fmla="*/ 559581 w 774600"/>
                <a:gd name="connsiteY88" fmla="*/ 32656 h 259829"/>
                <a:gd name="connsiteX89" fmla="*/ 568958 w 774600"/>
                <a:gd name="connsiteY89" fmla="*/ 69650 h 259829"/>
                <a:gd name="connsiteX90" fmla="*/ 565145 w 774600"/>
                <a:gd name="connsiteY90" fmla="*/ 93098 h 259829"/>
                <a:gd name="connsiteX91" fmla="*/ 554207 w 774600"/>
                <a:gd name="connsiteY91" fmla="*/ 116372 h 259829"/>
                <a:gd name="connsiteX92" fmla="*/ 537704 w 774600"/>
                <a:gd name="connsiteY92" fmla="*/ 139470 h 259829"/>
                <a:gd name="connsiteX93" fmla="*/ 516697 w 774600"/>
                <a:gd name="connsiteY93" fmla="*/ 162743 h 259829"/>
                <a:gd name="connsiteX94" fmla="*/ 461979 w 774600"/>
                <a:gd name="connsiteY94" fmla="*/ 223011 h 259829"/>
                <a:gd name="connsiteX95" fmla="*/ 578701 w 774600"/>
                <a:gd name="connsiteY95" fmla="*/ 223011 h 259829"/>
                <a:gd name="connsiteX96" fmla="*/ 660505 w 774600"/>
                <a:gd name="connsiteY96" fmla="*/ 110982 h 259829"/>
                <a:gd name="connsiteX97" fmla="*/ 685510 w 774600"/>
                <a:gd name="connsiteY97" fmla="*/ 110982 h 259829"/>
                <a:gd name="connsiteX98" fmla="*/ 709639 w 774600"/>
                <a:gd name="connsiteY98" fmla="*/ 105948 h 259829"/>
                <a:gd name="connsiteX99" fmla="*/ 724065 w 774600"/>
                <a:gd name="connsiteY99" fmla="*/ 92052 h 259829"/>
                <a:gd name="connsiteX100" fmla="*/ 728754 w 774600"/>
                <a:gd name="connsiteY100" fmla="*/ 71731 h 259829"/>
                <a:gd name="connsiteX101" fmla="*/ 724411 w 774600"/>
                <a:gd name="connsiteY101" fmla="*/ 51240 h 259829"/>
                <a:gd name="connsiteX102" fmla="*/ 711565 w 774600"/>
                <a:gd name="connsiteY102" fmla="*/ 37865 h 259829"/>
                <a:gd name="connsiteX103" fmla="*/ 689858 w 774600"/>
                <a:gd name="connsiteY103" fmla="*/ 33176 h 259829"/>
                <a:gd name="connsiteX104" fmla="*/ 669712 w 774600"/>
                <a:gd name="connsiteY104" fmla="*/ 37690 h 259829"/>
                <a:gd name="connsiteX105" fmla="*/ 655626 w 774600"/>
                <a:gd name="connsiteY105" fmla="*/ 50195 h 259829"/>
                <a:gd name="connsiteX106" fmla="*/ 650422 w 774600"/>
                <a:gd name="connsiteY106" fmla="*/ 69300 h 259829"/>
                <a:gd name="connsiteX107" fmla="*/ 608394 w 774600"/>
                <a:gd name="connsiteY107" fmla="*/ 69300 h 259829"/>
                <a:gd name="connsiteX108" fmla="*/ 618992 w 774600"/>
                <a:gd name="connsiteY108" fmla="*/ 33521 h 259829"/>
                <a:gd name="connsiteX109" fmla="*/ 647810 w 774600"/>
                <a:gd name="connsiteY109" fmla="*/ 9032 h 259829"/>
                <a:gd name="connsiteX110" fmla="*/ 689148 w 774600"/>
                <a:gd name="connsiteY110" fmla="*/ 0 h 259829"/>
                <a:gd name="connsiteX111" fmla="*/ 731876 w 774600"/>
                <a:gd name="connsiteY111" fmla="*/ 8161 h 259829"/>
                <a:gd name="connsiteX112" fmla="*/ 760524 w 774600"/>
                <a:gd name="connsiteY112" fmla="*/ 32130 h 259829"/>
                <a:gd name="connsiteX113" fmla="*/ 770777 w 774600"/>
                <a:gd name="connsiteY113" fmla="*/ 71727 h 259829"/>
                <a:gd name="connsiteX114" fmla="*/ 765743 w 774600"/>
                <a:gd name="connsiteY114" fmla="*/ 93609 h 259829"/>
                <a:gd name="connsiteX115" fmla="*/ 750802 w 774600"/>
                <a:gd name="connsiteY115" fmla="*/ 113930 h 259829"/>
                <a:gd name="connsiteX116" fmla="*/ 726137 w 774600"/>
                <a:gd name="connsiteY116" fmla="*/ 128692 h 259829"/>
                <a:gd name="connsiteX117" fmla="*/ 691925 w 774600"/>
                <a:gd name="connsiteY117" fmla="*/ 134251 h 259829"/>
                <a:gd name="connsiteX118" fmla="*/ 660495 w 774600"/>
                <a:gd name="connsiteY118" fmla="*/ 134251 h 259829"/>
                <a:gd name="connsiteX119" fmla="*/ 660495 w 774600"/>
                <a:gd name="connsiteY119" fmla="*/ 110978 h 259829"/>
                <a:gd name="connsiteX120" fmla="*/ 660505 w 774600"/>
                <a:gd name="connsiteY120" fmla="*/ 143633 h 259829"/>
                <a:gd name="connsiteX121" fmla="*/ 660505 w 774600"/>
                <a:gd name="connsiteY121" fmla="*/ 120705 h 259829"/>
                <a:gd name="connsiteX122" fmla="*/ 691935 w 774600"/>
                <a:gd name="connsiteY122" fmla="*/ 120705 h 259829"/>
                <a:gd name="connsiteX123" fmla="*/ 729790 w 774600"/>
                <a:gd name="connsiteY123" fmla="*/ 125914 h 259829"/>
                <a:gd name="connsiteX124" fmla="*/ 755500 w 774600"/>
                <a:gd name="connsiteY124" fmla="*/ 140331 h 259829"/>
                <a:gd name="connsiteX125" fmla="*/ 769911 w 774600"/>
                <a:gd name="connsiteY125" fmla="*/ 160997 h 259829"/>
                <a:gd name="connsiteX126" fmla="*/ 774600 w 774600"/>
                <a:gd name="connsiteY126" fmla="*/ 185661 h 259829"/>
                <a:gd name="connsiteX127" fmla="*/ 768175 w 774600"/>
                <a:gd name="connsiteY127" fmla="*/ 217271 h 259829"/>
                <a:gd name="connsiteX128" fmla="*/ 750296 w 774600"/>
                <a:gd name="connsiteY128" fmla="*/ 240545 h 259829"/>
                <a:gd name="connsiteX129" fmla="*/ 723024 w 774600"/>
                <a:gd name="connsiteY129" fmla="*/ 254961 h 259829"/>
                <a:gd name="connsiteX130" fmla="*/ 689328 w 774600"/>
                <a:gd name="connsiteY130" fmla="*/ 259825 h 259829"/>
                <a:gd name="connsiteX131" fmla="*/ 658068 w 774600"/>
                <a:gd name="connsiteY131" fmla="*/ 255311 h 259829"/>
                <a:gd name="connsiteX132" fmla="*/ 631327 w 774600"/>
                <a:gd name="connsiteY132" fmla="*/ 241940 h 259829"/>
                <a:gd name="connsiteX133" fmla="*/ 612572 w 774600"/>
                <a:gd name="connsiteY133" fmla="*/ 219538 h 259829"/>
                <a:gd name="connsiteX134" fmla="*/ 605787 w 774600"/>
                <a:gd name="connsiteY134" fmla="*/ 188273 h 259829"/>
                <a:gd name="connsiteX135" fmla="*/ 647640 w 774600"/>
                <a:gd name="connsiteY135" fmla="*/ 188273 h 259829"/>
                <a:gd name="connsiteX136" fmla="*/ 652859 w 774600"/>
                <a:gd name="connsiteY136" fmla="*/ 208249 h 259829"/>
                <a:gd name="connsiteX137" fmla="*/ 667786 w 774600"/>
                <a:gd name="connsiteY137" fmla="*/ 221619 h 259829"/>
                <a:gd name="connsiteX138" fmla="*/ 690028 w 774600"/>
                <a:gd name="connsiteY138" fmla="*/ 226483 h 259829"/>
                <a:gd name="connsiteX139" fmla="*/ 712767 w 774600"/>
                <a:gd name="connsiteY139" fmla="*/ 221795 h 259829"/>
                <a:gd name="connsiteX140" fmla="*/ 727363 w 774600"/>
                <a:gd name="connsiteY140" fmla="*/ 207899 h 259829"/>
                <a:gd name="connsiteX141" fmla="*/ 732567 w 774600"/>
                <a:gd name="connsiteY141" fmla="*/ 185671 h 259829"/>
                <a:gd name="connsiteX142" fmla="*/ 726847 w 774600"/>
                <a:gd name="connsiteY142" fmla="*/ 161702 h 259829"/>
                <a:gd name="connsiteX143" fmla="*/ 710515 w 774600"/>
                <a:gd name="connsiteY143" fmla="*/ 148157 h 259829"/>
                <a:gd name="connsiteX144" fmla="*/ 685510 w 774600"/>
                <a:gd name="connsiteY144" fmla="*/ 143643 h 259829"/>
                <a:gd name="connsiteX145" fmla="*/ 660505 w 774600"/>
                <a:gd name="connsiteY145" fmla="*/ 143643 h 2598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</a:cxnLst>
              <a:rect l="l" t="t" r="r" b="b"/>
              <a:pathLst>
                <a:path w="774600" h="259829">
                  <a:moveTo>
                    <a:pt x="174372" y="223011"/>
                  </a:moveTo>
                  <a:lnTo>
                    <a:pt x="174372" y="256357"/>
                  </a:lnTo>
                  <a:lnTo>
                    <a:pt x="4859" y="256357"/>
                  </a:lnTo>
                  <a:lnTo>
                    <a:pt x="4859" y="227699"/>
                  </a:lnTo>
                  <a:lnTo>
                    <a:pt x="87193" y="137908"/>
                  </a:lnTo>
                  <a:cubicBezTo>
                    <a:pt x="96211" y="127719"/>
                    <a:pt x="103336" y="118920"/>
                    <a:pt x="108541" y="111508"/>
                  </a:cubicBezTo>
                  <a:cubicBezTo>
                    <a:pt x="113760" y="104095"/>
                    <a:pt x="117403" y="97442"/>
                    <a:pt x="119499" y="91537"/>
                  </a:cubicBezTo>
                  <a:cubicBezTo>
                    <a:pt x="121697" y="85516"/>
                    <a:pt x="122797" y="79669"/>
                    <a:pt x="122797" y="73993"/>
                  </a:cubicBezTo>
                  <a:cubicBezTo>
                    <a:pt x="122797" y="66002"/>
                    <a:pt x="121284" y="58998"/>
                    <a:pt x="118278" y="52977"/>
                  </a:cubicBezTo>
                  <a:cubicBezTo>
                    <a:pt x="115374" y="46838"/>
                    <a:pt x="111099" y="42033"/>
                    <a:pt x="105413" y="38560"/>
                  </a:cubicBezTo>
                  <a:cubicBezTo>
                    <a:pt x="99747" y="34971"/>
                    <a:pt x="92860" y="33176"/>
                    <a:pt x="84752" y="33176"/>
                  </a:cubicBezTo>
                  <a:cubicBezTo>
                    <a:pt x="75374" y="33176"/>
                    <a:pt x="67510" y="35204"/>
                    <a:pt x="61138" y="39256"/>
                  </a:cubicBezTo>
                  <a:cubicBezTo>
                    <a:pt x="54766" y="43307"/>
                    <a:pt x="49956" y="48925"/>
                    <a:pt x="46712" y="56104"/>
                  </a:cubicBezTo>
                  <a:cubicBezTo>
                    <a:pt x="43482" y="63166"/>
                    <a:pt x="41853" y="71274"/>
                    <a:pt x="41853" y="80418"/>
                  </a:cubicBezTo>
                  <a:lnTo>
                    <a:pt x="0" y="80418"/>
                  </a:lnTo>
                  <a:cubicBezTo>
                    <a:pt x="0" y="65715"/>
                    <a:pt x="3366" y="52281"/>
                    <a:pt x="10083" y="40126"/>
                  </a:cubicBezTo>
                  <a:cubicBezTo>
                    <a:pt x="16800" y="27855"/>
                    <a:pt x="26517" y="18127"/>
                    <a:pt x="39261" y="10948"/>
                  </a:cubicBezTo>
                  <a:cubicBezTo>
                    <a:pt x="51989" y="3653"/>
                    <a:pt x="67325" y="5"/>
                    <a:pt x="85272" y="5"/>
                  </a:cubicBezTo>
                  <a:cubicBezTo>
                    <a:pt x="102189" y="5"/>
                    <a:pt x="116546" y="2840"/>
                    <a:pt x="128346" y="8517"/>
                  </a:cubicBezTo>
                  <a:cubicBezTo>
                    <a:pt x="140160" y="14193"/>
                    <a:pt x="149129" y="22237"/>
                    <a:pt x="155277" y="32660"/>
                  </a:cubicBezTo>
                  <a:cubicBezTo>
                    <a:pt x="161527" y="43079"/>
                    <a:pt x="164654" y="55413"/>
                    <a:pt x="164654" y="69655"/>
                  </a:cubicBezTo>
                  <a:cubicBezTo>
                    <a:pt x="164654" y="77529"/>
                    <a:pt x="163385" y="85345"/>
                    <a:pt x="160827" y="93103"/>
                  </a:cubicBezTo>
                  <a:cubicBezTo>
                    <a:pt x="158283" y="100861"/>
                    <a:pt x="154645" y="108619"/>
                    <a:pt x="149888" y="116376"/>
                  </a:cubicBezTo>
                  <a:cubicBezTo>
                    <a:pt x="145267" y="124017"/>
                    <a:pt x="139757" y="131717"/>
                    <a:pt x="133400" y="139475"/>
                  </a:cubicBezTo>
                  <a:cubicBezTo>
                    <a:pt x="127028" y="147116"/>
                    <a:pt x="120019" y="154873"/>
                    <a:pt x="112378" y="162748"/>
                  </a:cubicBezTo>
                  <a:lnTo>
                    <a:pt x="57675" y="223015"/>
                  </a:lnTo>
                  <a:lnTo>
                    <a:pt x="174377" y="223015"/>
                  </a:lnTo>
                  <a:close/>
                  <a:moveTo>
                    <a:pt x="371848" y="108730"/>
                  </a:moveTo>
                  <a:lnTo>
                    <a:pt x="371848" y="150063"/>
                  </a:lnTo>
                  <a:cubicBezTo>
                    <a:pt x="371848" y="169864"/>
                    <a:pt x="369873" y="186765"/>
                    <a:pt x="365938" y="200778"/>
                  </a:cubicBezTo>
                  <a:cubicBezTo>
                    <a:pt x="362125" y="214674"/>
                    <a:pt x="356561" y="225963"/>
                    <a:pt x="349260" y="234645"/>
                  </a:cubicBezTo>
                  <a:cubicBezTo>
                    <a:pt x="341960" y="243327"/>
                    <a:pt x="333219" y="249698"/>
                    <a:pt x="323035" y="253750"/>
                  </a:cubicBezTo>
                  <a:cubicBezTo>
                    <a:pt x="312971" y="257801"/>
                    <a:pt x="301668" y="259830"/>
                    <a:pt x="289168" y="259830"/>
                  </a:cubicBezTo>
                  <a:cubicBezTo>
                    <a:pt x="279221" y="259830"/>
                    <a:pt x="269951" y="258555"/>
                    <a:pt x="261381" y="256011"/>
                  </a:cubicBezTo>
                  <a:cubicBezTo>
                    <a:pt x="252933" y="253463"/>
                    <a:pt x="245287" y="249470"/>
                    <a:pt x="238468" y="244027"/>
                  </a:cubicBezTo>
                  <a:cubicBezTo>
                    <a:pt x="231634" y="238584"/>
                    <a:pt x="225773" y="231581"/>
                    <a:pt x="220914" y="223011"/>
                  </a:cubicBezTo>
                  <a:cubicBezTo>
                    <a:pt x="216172" y="214329"/>
                    <a:pt x="212466" y="203964"/>
                    <a:pt x="209800" y="191921"/>
                  </a:cubicBezTo>
                  <a:cubicBezTo>
                    <a:pt x="207256" y="179878"/>
                    <a:pt x="205972" y="165929"/>
                    <a:pt x="205972" y="150063"/>
                  </a:cubicBezTo>
                  <a:lnTo>
                    <a:pt x="205972" y="108730"/>
                  </a:lnTo>
                  <a:cubicBezTo>
                    <a:pt x="205972" y="88813"/>
                    <a:pt x="207947" y="72028"/>
                    <a:pt x="211882" y="58366"/>
                  </a:cubicBezTo>
                  <a:cubicBezTo>
                    <a:pt x="215831" y="44587"/>
                    <a:pt x="221430" y="33414"/>
                    <a:pt x="228730" y="24844"/>
                  </a:cubicBezTo>
                  <a:cubicBezTo>
                    <a:pt x="236031" y="16162"/>
                    <a:pt x="244722" y="9849"/>
                    <a:pt x="254786" y="5914"/>
                  </a:cubicBezTo>
                  <a:cubicBezTo>
                    <a:pt x="264970" y="1975"/>
                    <a:pt x="276323" y="10"/>
                    <a:pt x="288827" y="10"/>
                  </a:cubicBezTo>
                  <a:cubicBezTo>
                    <a:pt x="298910" y="10"/>
                    <a:pt x="308166" y="1284"/>
                    <a:pt x="316614" y="3833"/>
                  </a:cubicBezTo>
                  <a:cubicBezTo>
                    <a:pt x="325184" y="6265"/>
                    <a:pt x="332825" y="10141"/>
                    <a:pt x="339542" y="15467"/>
                  </a:cubicBezTo>
                  <a:cubicBezTo>
                    <a:pt x="346376" y="20793"/>
                    <a:pt x="352164" y="27738"/>
                    <a:pt x="356906" y="36308"/>
                  </a:cubicBezTo>
                  <a:cubicBezTo>
                    <a:pt x="361765" y="44762"/>
                    <a:pt x="365476" y="55010"/>
                    <a:pt x="368020" y="67048"/>
                  </a:cubicBezTo>
                  <a:cubicBezTo>
                    <a:pt x="370578" y="78974"/>
                    <a:pt x="371848" y="92870"/>
                    <a:pt x="371848" y="108730"/>
                  </a:cubicBezTo>
                  <a:close/>
                  <a:moveTo>
                    <a:pt x="329995" y="155968"/>
                  </a:moveTo>
                  <a:lnTo>
                    <a:pt x="329995" y="102476"/>
                  </a:lnTo>
                  <a:cubicBezTo>
                    <a:pt x="329995" y="92403"/>
                    <a:pt x="329411" y="83546"/>
                    <a:pt x="328258" y="75905"/>
                  </a:cubicBezTo>
                  <a:cubicBezTo>
                    <a:pt x="327091" y="68147"/>
                    <a:pt x="325355" y="61605"/>
                    <a:pt x="323039" y="56279"/>
                  </a:cubicBezTo>
                  <a:cubicBezTo>
                    <a:pt x="320841" y="50837"/>
                    <a:pt x="318059" y="46440"/>
                    <a:pt x="314708" y="43079"/>
                  </a:cubicBezTo>
                  <a:cubicBezTo>
                    <a:pt x="311342" y="39606"/>
                    <a:pt x="307529" y="37116"/>
                    <a:pt x="303234" y="35613"/>
                  </a:cubicBezTo>
                  <a:cubicBezTo>
                    <a:pt x="298959" y="33993"/>
                    <a:pt x="294148" y="33181"/>
                    <a:pt x="288823" y="33181"/>
                  </a:cubicBezTo>
                  <a:cubicBezTo>
                    <a:pt x="282349" y="33181"/>
                    <a:pt x="276542" y="34455"/>
                    <a:pt x="271459" y="37004"/>
                  </a:cubicBezTo>
                  <a:cubicBezTo>
                    <a:pt x="266357" y="39436"/>
                    <a:pt x="262081" y="43371"/>
                    <a:pt x="258613" y="48813"/>
                  </a:cubicBezTo>
                  <a:cubicBezTo>
                    <a:pt x="255126" y="54256"/>
                    <a:pt x="252466" y="61435"/>
                    <a:pt x="250608" y="70350"/>
                  </a:cubicBezTo>
                  <a:cubicBezTo>
                    <a:pt x="248871" y="79149"/>
                    <a:pt x="248015" y="89859"/>
                    <a:pt x="248015" y="102480"/>
                  </a:cubicBezTo>
                  <a:lnTo>
                    <a:pt x="248015" y="155973"/>
                  </a:lnTo>
                  <a:cubicBezTo>
                    <a:pt x="248015" y="166162"/>
                    <a:pt x="248584" y="175136"/>
                    <a:pt x="249752" y="182894"/>
                  </a:cubicBezTo>
                  <a:cubicBezTo>
                    <a:pt x="250904" y="190652"/>
                    <a:pt x="252636" y="197310"/>
                    <a:pt x="254956" y="202865"/>
                  </a:cubicBezTo>
                  <a:cubicBezTo>
                    <a:pt x="257276" y="208307"/>
                    <a:pt x="260058" y="212821"/>
                    <a:pt x="263302" y="216410"/>
                  </a:cubicBezTo>
                  <a:cubicBezTo>
                    <a:pt x="266653" y="219883"/>
                    <a:pt x="270481" y="222432"/>
                    <a:pt x="274756" y="224051"/>
                  </a:cubicBezTo>
                  <a:cubicBezTo>
                    <a:pt x="279153" y="225671"/>
                    <a:pt x="283964" y="226483"/>
                    <a:pt x="289168" y="226483"/>
                  </a:cubicBezTo>
                  <a:cubicBezTo>
                    <a:pt x="295778" y="226483"/>
                    <a:pt x="301619" y="225209"/>
                    <a:pt x="306721" y="222660"/>
                  </a:cubicBezTo>
                  <a:cubicBezTo>
                    <a:pt x="311804" y="220112"/>
                    <a:pt x="316099" y="216060"/>
                    <a:pt x="319567" y="210501"/>
                  </a:cubicBezTo>
                  <a:cubicBezTo>
                    <a:pt x="323035" y="204830"/>
                    <a:pt x="325646" y="197476"/>
                    <a:pt x="327383" y="188443"/>
                  </a:cubicBezTo>
                  <a:cubicBezTo>
                    <a:pt x="329119" y="179411"/>
                    <a:pt x="329995" y="168585"/>
                    <a:pt x="329995" y="155963"/>
                  </a:cubicBezTo>
                  <a:close/>
                  <a:moveTo>
                    <a:pt x="578701" y="223006"/>
                  </a:moveTo>
                  <a:lnTo>
                    <a:pt x="578701" y="256352"/>
                  </a:lnTo>
                  <a:lnTo>
                    <a:pt x="409187" y="256352"/>
                  </a:lnTo>
                  <a:lnTo>
                    <a:pt x="409187" y="227694"/>
                  </a:lnTo>
                  <a:lnTo>
                    <a:pt x="491507" y="137904"/>
                  </a:lnTo>
                  <a:cubicBezTo>
                    <a:pt x="500539" y="127714"/>
                    <a:pt x="507670" y="118915"/>
                    <a:pt x="512874" y="111503"/>
                  </a:cubicBezTo>
                  <a:cubicBezTo>
                    <a:pt x="518078" y="104090"/>
                    <a:pt x="521736" y="97437"/>
                    <a:pt x="523813" y="91532"/>
                  </a:cubicBezTo>
                  <a:cubicBezTo>
                    <a:pt x="526011" y="85511"/>
                    <a:pt x="527110" y="79664"/>
                    <a:pt x="527110" y="73988"/>
                  </a:cubicBezTo>
                  <a:cubicBezTo>
                    <a:pt x="527110" y="65997"/>
                    <a:pt x="525617" y="58993"/>
                    <a:pt x="522592" y="52972"/>
                  </a:cubicBezTo>
                  <a:cubicBezTo>
                    <a:pt x="519708" y="46834"/>
                    <a:pt x="515413" y="42028"/>
                    <a:pt x="509746" y="38555"/>
                  </a:cubicBezTo>
                  <a:cubicBezTo>
                    <a:pt x="504080" y="34966"/>
                    <a:pt x="497193" y="33171"/>
                    <a:pt x="489085" y="33171"/>
                  </a:cubicBezTo>
                  <a:cubicBezTo>
                    <a:pt x="479708" y="33171"/>
                    <a:pt x="471823" y="35199"/>
                    <a:pt x="465452" y="39251"/>
                  </a:cubicBezTo>
                  <a:cubicBezTo>
                    <a:pt x="459095" y="43302"/>
                    <a:pt x="454289" y="48920"/>
                    <a:pt x="451040" y="56099"/>
                  </a:cubicBezTo>
                  <a:cubicBezTo>
                    <a:pt x="447796" y="63161"/>
                    <a:pt x="446181" y="71269"/>
                    <a:pt x="446181" y="80413"/>
                  </a:cubicBezTo>
                  <a:lnTo>
                    <a:pt x="404328" y="80413"/>
                  </a:lnTo>
                  <a:cubicBezTo>
                    <a:pt x="404328" y="65710"/>
                    <a:pt x="407679" y="52276"/>
                    <a:pt x="414391" y="40122"/>
                  </a:cubicBezTo>
                  <a:cubicBezTo>
                    <a:pt x="421108" y="27850"/>
                    <a:pt x="430846" y="18123"/>
                    <a:pt x="443569" y="10944"/>
                  </a:cubicBezTo>
                  <a:cubicBezTo>
                    <a:pt x="456313" y="3648"/>
                    <a:pt x="471648" y="0"/>
                    <a:pt x="489596" y="0"/>
                  </a:cubicBezTo>
                  <a:cubicBezTo>
                    <a:pt x="506497" y="0"/>
                    <a:pt x="520855" y="2836"/>
                    <a:pt x="532670" y="8512"/>
                  </a:cubicBezTo>
                  <a:cubicBezTo>
                    <a:pt x="544484" y="14188"/>
                    <a:pt x="553453" y="22232"/>
                    <a:pt x="559581" y="32656"/>
                  </a:cubicBezTo>
                  <a:cubicBezTo>
                    <a:pt x="565831" y="43074"/>
                    <a:pt x="568958" y="55409"/>
                    <a:pt x="568958" y="69650"/>
                  </a:cubicBezTo>
                  <a:cubicBezTo>
                    <a:pt x="568958" y="77524"/>
                    <a:pt x="567689" y="85340"/>
                    <a:pt x="565145" y="93098"/>
                  </a:cubicBezTo>
                  <a:cubicBezTo>
                    <a:pt x="562601" y="100856"/>
                    <a:pt x="558944" y="108614"/>
                    <a:pt x="554207" y="116372"/>
                  </a:cubicBezTo>
                  <a:cubicBezTo>
                    <a:pt x="549571" y="124013"/>
                    <a:pt x="544075" y="131712"/>
                    <a:pt x="537704" y="139470"/>
                  </a:cubicBezTo>
                  <a:cubicBezTo>
                    <a:pt x="531332" y="147111"/>
                    <a:pt x="524323" y="154869"/>
                    <a:pt x="516697" y="162743"/>
                  </a:cubicBezTo>
                  <a:lnTo>
                    <a:pt x="461979" y="223011"/>
                  </a:lnTo>
                  <a:lnTo>
                    <a:pt x="578701" y="223011"/>
                  </a:lnTo>
                  <a:close/>
                  <a:moveTo>
                    <a:pt x="660505" y="110982"/>
                  </a:moveTo>
                  <a:lnTo>
                    <a:pt x="685510" y="110982"/>
                  </a:lnTo>
                  <a:cubicBezTo>
                    <a:pt x="695233" y="110982"/>
                    <a:pt x="703287" y="109304"/>
                    <a:pt x="709639" y="105948"/>
                  </a:cubicBezTo>
                  <a:cubicBezTo>
                    <a:pt x="716132" y="102592"/>
                    <a:pt x="720943" y="97957"/>
                    <a:pt x="724065" y="92052"/>
                  </a:cubicBezTo>
                  <a:cubicBezTo>
                    <a:pt x="727193" y="86148"/>
                    <a:pt x="728754" y="79373"/>
                    <a:pt x="728754" y="71731"/>
                  </a:cubicBezTo>
                  <a:cubicBezTo>
                    <a:pt x="728754" y="64090"/>
                    <a:pt x="727295" y="56911"/>
                    <a:pt x="724411" y="51240"/>
                  </a:cubicBezTo>
                  <a:cubicBezTo>
                    <a:pt x="721628" y="45452"/>
                    <a:pt x="717353" y="40992"/>
                    <a:pt x="711565" y="37865"/>
                  </a:cubicBezTo>
                  <a:cubicBezTo>
                    <a:pt x="705879" y="34737"/>
                    <a:pt x="698652" y="33176"/>
                    <a:pt x="689858" y="33176"/>
                  </a:cubicBezTo>
                  <a:cubicBezTo>
                    <a:pt x="682441" y="33176"/>
                    <a:pt x="675724" y="34679"/>
                    <a:pt x="669712" y="37690"/>
                  </a:cubicBezTo>
                  <a:cubicBezTo>
                    <a:pt x="663803" y="40584"/>
                    <a:pt x="659114" y="44752"/>
                    <a:pt x="655626" y="50195"/>
                  </a:cubicBezTo>
                  <a:cubicBezTo>
                    <a:pt x="652159" y="55520"/>
                    <a:pt x="650422" y="61887"/>
                    <a:pt x="650422" y="69300"/>
                  </a:cubicBezTo>
                  <a:lnTo>
                    <a:pt x="608394" y="69300"/>
                  </a:lnTo>
                  <a:cubicBezTo>
                    <a:pt x="608394" y="55866"/>
                    <a:pt x="611916" y="43945"/>
                    <a:pt x="618992" y="33521"/>
                  </a:cubicBezTo>
                  <a:cubicBezTo>
                    <a:pt x="626050" y="23103"/>
                    <a:pt x="635670" y="14937"/>
                    <a:pt x="647810" y="9032"/>
                  </a:cubicBezTo>
                  <a:cubicBezTo>
                    <a:pt x="660092" y="3011"/>
                    <a:pt x="673866" y="0"/>
                    <a:pt x="689148" y="0"/>
                  </a:cubicBezTo>
                  <a:cubicBezTo>
                    <a:pt x="705480" y="0"/>
                    <a:pt x="719717" y="2724"/>
                    <a:pt x="731876" y="8161"/>
                  </a:cubicBezTo>
                  <a:cubicBezTo>
                    <a:pt x="744138" y="13487"/>
                    <a:pt x="753705" y="21479"/>
                    <a:pt x="760524" y="32130"/>
                  </a:cubicBezTo>
                  <a:cubicBezTo>
                    <a:pt x="767358" y="42782"/>
                    <a:pt x="770777" y="55982"/>
                    <a:pt x="770777" y="71727"/>
                  </a:cubicBezTo>
                  <a:cubicBezTo>
                    <a:pt x="770777" y="78906"/>
                    <a:pt x="769094" y="86201"/>
                    <a:pt x="765743" y="93609"/>
                  </a:cubicBezTo>
                  <a:cubicBezTo>
                    <a:pt x="762378" y="101021"/>
                    <a:pt x="757397" y="107792"/>
                    <a:pt x="750802" y="113930"/>
                  </a:cubicBezTo>
                  <a:cubicBezTo>
                    <a:pt x="744206" y="119951"/>
                    <a:pt x="735982" y="124869"/>
                    <a:pt x="726137" y="128692"/>
                  </a:cubicBezTo>
                  <a:cubicBezTo>
                    <a:pt x="716298" y="132398"/>
                    <a:pt x="704892" y="134251"/>
                    <a:pt x="691925" y="134251"/>
                  </a:cubicBezTo>
                  <a:lnTo>
                    <a:pt x="660495" y="134251"/>
                  </a:lnTo>
                  <a:lnTo>
                    <a:pt x="660495" y="110978"/>
                  </a:lnTo>
                  <a:close/>
                  <a:moveTo>
                    <a:pt x="660505" y="143633"/>
                  </a:moveTo>
                  <a:lnTo>
                    <a:pt x="660505" y="120705"/>
                  </a:lnTo>
                  <a:lnTo>
                    <a:pt x="691935" y="120705"/>
                  </a:lnTo>
                  <a:cubicBezTo>
                    <a:pt x="706755" y="120705"/>
                    <a:pt x="719381" y="122442"/>
                    <a:pt x="729790" y="125914"/>
                  </a:cubicBezTo>
                  <a:cubicBezTo>
                    <a:pt x="740335" y="129387"/>
                    <a:pt x="748905" y="134193"/>
                    <a:pt x="755500" y="140331"/>
                  </a:cubicBezTo>
                  <a:cubicBezTo>
                    <a:pt x="762095" y="146352"/>
                    <a:pt x="766906" y="153239"/>
                    <a:pt x="769911" y="160997"/>
                  </a:cubicBezTo>
                  <a:cubicBezTo>
                    <a:pt x="773039" y="168755"/>
                    <a:pt x="774600" y="176975"/>
                    <a:pt x="774600" y="185661"/>
                  </a:cubicBezTo>
                  <a:cubicBezTo>
                    <a:pt x="774600" y="197471"/>
                    <a:pt x="772470" y="208006"/>
                    <a:pt x="768175" y="217271"/>
                  </a:cubicBezTo>
                  <a:cubicBezTo>
                    <a:pt x="764016" y="226420"/>
                    <a:pt x="758044" y="234178"/>
                    <a:pt x="750296" y="240545"/>
                  </a:cubicBezTo>
                  <a:cubicBezTo>
                    <a:pt x="742533" y="246911"/>
                    <a:pt x="733447" y="251717"/>
                    <a:pt x="723024" y="254961"/>
                  </a:cubicBezTo>
                  <a:cubicBezTo>
                    <a:pt x="712718" y="258205"/>
                    <a:pt x="701487" y="259825"/>
                    <a:pt x="689328" y="259825"/>
                  </a:cubicBezTo>
                  <a:cubicBezTo>
                    <a:pt x="678457" y="259825"/>
                    <a:pt x="668029" y="258322"/>
                    <a:pt x="658068" y="255311"/>
                  </a:cubicBezTo>
                  <a:cubicBezTo>
                    <a:pt x="648107" y="252300"/>
                    <a:pt x="639192" y="247845"/>
                    <a:pt x="631327" y="241940"/>
                  </a:cubicBezTo>
                  <a:cubicBezTo>
                    <a:pt x="623443" y="235919"/>
                    <a:pt x="617193" y="228453"/>
                    <a:pt x="612572" y="219538"/>
                  </a:cubicBezTo>
                  <a:cubicBezTo>
                    <a:pt x="608054" y="210506"/>
                    <a:pt x="605787" y="200087"/>
                    <a:pt x="605787" y="188273"/>
                  </a:cubicBezTo>
                  <a:lnTo>
                    <a:pt x="647640" y="188273"/>
                  </a:lnTo>
                  <a:cubicBezTo>
                    <a:pt x="647640" y="195802"/>
                    <a:pt x="649377" y="202456"/>
                    <a:pt x="652859" y="208249"/>
                  </a:cubicBezTo>
                  <a:cubicBezTo>
                    <a:pt x="656449" y="213920"/>
                    <a:pt x="661429" y="218380"/>
                    <a:pt x="667786" y="221619"/>
                  </a:cubicBezTo>
                  <a:cubicBezTo>
                    <a:pt x="674279" y="224864"/>
                    <a:pt x="681682" y="226483"/>
                    <a:pt x="690028" y="226483"/>
                  </a:cubicBezTo>
                  <a:cubicBezTo>
                    <a:pt x="698822" y="226483"/>
                    <a:pt x="706415" y="224922"/>
                    <a:pt x="712767" y="221795"/>
                  </a:cubicBezTo>
                  <a:cubicBezTo>
                    <a:pt x="719138" y="218667"/>
                    <a:pt x="723997" y="214037"/>
                    <a:pt x="727363" y="207899"/>
                  </a:cubicBezTo>
                  <a:cubicBezTo>
                    <a:pt x="730831" y="201761"/>
                    <a:pt x="732567" y="194353"/>
                    <a:pt x="732567" y="185671"/>
                  </a:cubicBezTo>
                  <a:cubicBezTo>
                    <a:pt x="732567" y="175827"/>
                    <a:pt x="730660" y="167840"/>
                    <a:pt x="726847" y="161702"/>
                  </a:cubicBezTo>
                  <a:cubicBezTo>
                    <a:pt x="723019" y="155564"/>
                    <a:pt x="717572" y="151050"/>
                    <a:pt x="710515" y="148157"/>
                  </a:cubicBezTo>
                  <a:cubicBezTo>
                    <a:pt x="703457" y="145146"/>
                    <a:pt x="695111" y="143643"/>
                    <a:pt x="685510" y="143643"/>
                  </a:cubicBezTo>
                  <a:lnTo>
                    <a:pt x="660505" y="143643"/>
                  </a:lnTo>
                  <a:close/>
                </a:path>
              </a:pathLst>
            </a:custGeom>
            <a:solidFill>
              <a:schemeClr val="tx1"/>
            </a:solidFill>
            <a:ln w="4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pic>
        <p:nvPicPr>
          <p:cNvPr id="389" name="Рисунок 388">
            <a:extLst>
              <a:ext uri="{FF2B5EF4-FFF2-40B4-BE49-F238E27FC236}">
                <a16:creationId xmlns:a16="http://schemas.microsoft.com/office/drawing/2014/main" id="{B78B384F-F3A2-4E10-8405-6E2FAB593BD2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503721" y="6049020"/>
            <a:ext cx="1688608" cy="472507"/>
          </a:xfrm>
          <a:prstGeom prst="rect">
            <a:avLst/>
          </a:prstGeom>
        </p:spPr>
      </p:pic>
      <p:grpSp>
        <p:nvGrpSpPr>
          <p:cNvPr id="30" name="Группа 29">
            <a:extLst>
              <a:ext uri="{FF2B5EF4-FFF2-40B4-BE49-F238E27FC236}">
                <a16:creationId xmlns:a16="http://schemas.microsoft.com/office/drawing/2014/main" id="{4F7A3508-CB5F-403A-ABAE-1EAC6B10010E}"/>
              </a:ext>
            </a:extLst>
          </p:cNvPr>
          <p:cNvGrpSpPr/>
          <p:nvPr/>
        </p:nvGrpSpPr>
        <p:grpSpPr>
          <a:xfrm>
            <a:off x="5740148" y="1357949"/>
            <a:ext cx="3708305" cy="1303075"/>
            <a:chOff x="1030357" y="1951337"/>
            <a:chExt cx="3708305" cy="1303075"/>
          </a:xfrm>
        </p:grpSpPr>
        <p:sp>
          <p:nvSpPr>
            <p:cNvPr id="35" name="Shape_фон">
              <a:extLst>
                <a:ext uri="{FF2B5EF4-FFF2-40B4-BE49-F238E27FC236}">
                  <a16:creationId xmlns:a16="http://schemas.microsoft.com/office/drawing/2014/main" id="{82A40EB6-BAD4-4793-A783-2ED2397A5D5C}"/>
                </a:ext>
              </a:extLst>
            </p:cNvPr>
            <p:cNvSpPr/>
            <p:nvPr/>
          </p:nvSpPr>
          <p:spPr>
            <a:xfrm>
              <a:off x="1228397" y="2180899"/>
              <a:ext cx="3510265" cy="1073513"/>
            </a:xfrm>
            <a:prstGeom prst="roundRect">
              <a:avLst>
                <a:gd name="adj" fmla="val 8571"/>
              </a:avLst>
            </a:prstGeom>
            <a:solidFill>
              <a:schemeClr val="bg1"/>
            </a:solidFill>
            <a:ln w="12700" cap="flat">
              <a:noFill/>
              <a:prstDash val="solid"/>
              <a:miter/>
            </a:ln>
            <a:effectLst>
              <a:outerShdw blurRad="1003300" sx="102000" sy="102000" algn="ctr" rotWithShape="0">
                <a:schemeClr val="tx1">
                  <a:alpha val="20000"/>
                </a:schemeClr>
              </a:outerShdw>
            </a:effectLst>
          </p:spPr>
          <p:txBody>
            <a:bodyPr lIns="0" tIns="0" rIns="0" bIns="0" anchor="ctr"/>
            <a:lstStyle/>
            <a:p>
              <a:pPr marL="0" marR="0" lvl="0" indent="0" algn="ctr" defTabSz="309563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itchFamily="2" charset="0"/>
                <a:ea typeface="Roboto" pitchFamily="2" charset="0"/>
                <a:cs typeface="Poppins Bold"/>
                <a:sym typeface="Poppins Bold"/>
              </a:endParaRPr>
            </a:p>
          </p:txBody>
        </p:sp>
        <p:sp>
          <p:nvSpPr>
            <p:cNvPr id="36" name="Motion design">
              <a:extLst>
                <a:ext uri="{FF2B5EF4-FFF2-40B4-BE49-F238E27FC236}">
                  <a16:creationId xmlns:a16="http://schemas.microsoft.com/office/drawing/2014/main" id="{280186E7-FFD6-4E25-B6F0-3654DC7528A9}"/>
                </a:ext>
              </a:extLst>
            </p:cNvPr>
            <p:cNvSpPr txBox="1"/>
            <p:nvPr/>
          </p:nvSpPr>
          <p:spPr>
            <a:xfrm>
              <a:off x="1782338" y="2450145"/>
              <a:ext cx="2766140" cy="535018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</a:ext>
            </a:extLst>
          </p:spPr>
          <p:txBody>
            <a:bodyPr wrap="square" lIns="0" tIns="0" rIns="0" bIns="0" anchor="ctr">
              <a:spAutoFit/>
            </a:bodyPr>
            <a:lstStyle>
              <a:lvl1pPr>
                <a:lnSpc>
                  <a:spcPct val="130000"/>
                </a:lnSpc>
                <a:defRPr sz="3000">
                  <a:latin typeface="+mn-lt"/>
                  <a:ea typeface="+mn-ea"/>
                  <a:cs typeface="+mn-cs"/>
                  <a:sym typeface="Poppins SemiBold"/>
                </a:defRPr>
              </a:lvl1pPr>
            </a:lstStyle>
            <a:p>
              <a:pPr defTabSz="309563" hangingPunct="0">
                <a:buClr>
                  <a:schemeClr val="bg2"/>
                </a:buClr>
                <a:defRPr/>
              </a:pPr>
              <a:r>
                <a:rPr lang="ru-RU" sz="1400" dirty="0">
                  <a:solidFill>
                    <a:srgbClr val="0D0D0D"/>
                  </a:solidFill>
                  <a:latin typeface="SB Sans Text Light" panose="020B0303040504020204" pitchFamily="34" charset="-52"/>
                  <a:ea typeface="Roboto Light" panose="02000000000000000000" pitchFamily="2" charset="0"/>
                  <a:cs typeface="SB Sans Text Light" panose="020B0303040504020204" pitchFamily="34" charset="-52"/>
                </a:rPr>
                <a:t>Собрать клиентский профиль, отправить данные в банк</a:t>
              </a:r>
            </a:p>
          </p:txBody>
        </p:sp>
        <p:sp>
          <p:nvSpPr>
            <p:cNvPr id="44" name="Circle">
              <a:extLst>
                <a:ext uri="{FF2B5EF4-FFF2-40B4-BE49-F238E27FC236}">
                  <a16:creationId xmlns:a16="http://schemas.microsoft.com/office/drawing/2014/main" id="{88CA8FAC-C907-44C0-9FF5-00B293500881}"/>
                </a:ext>
              </a:extLst>
            </p:cNvPr>
            <p:cNvSpPr/>
            <p:nvPr/>
          </p:nvSpPr>
          <p:spPr>
            <a:xfrm>
              <a:off x="1030357" y="1951337"/>
              <a:ext cx="635335" cy="635335"/>
            </a:xfrm>
            <a:prstGeom prst="ellipse">
              <a:avLst/>
            </a:prstGeom>
            <a:solidFill>
              <a:schemeClr val="bg2"/>
            </a:solidFill>
            <a:ln w="12700">
              <a:miter lim="400000"/>
            </a:ln>
          </p:spPr>
          <p:txBody>
            <a:bodyPr lIns="0" tIns="0" rIns="0" bIns="0" anchor="ctr"/>
            <a:lstStyle/>
            <a:p>
              <a:pPr algn="ctr" defTabSz="309563" hangingPunct="0">
                <a:buClrTx/>
                <a:defRPr sz="3200">
                  <a:solidFill>
                    <a:srgbClr val="FFFFFF"/>
                  </a:solidFill>
                  <a:latin typeface="Poppins Bold"/>
                  <a:ea typeface="Poppins Bold"/>
                  <a:cs typeface="Poppins Bold"/>
                  <a:sym typeface="Poppins Bold"/>
                </a:defRPr>
              </a:pPr>
              <a:r>
                <a:rPr lang="ru-RU" sz="2400" dirty="0">
                  <a:solidFill>
                    <a:srgbClr val="FFFFFF"/>
                  </a:solidFill>
                  <a:latin typeface="SB Sans Text Medium" panose="020B0603040504020204" pitchFamily="34" charset="-52"/>
                  <a:ea typeface="Roboto" pitchFamily="2" charset="0"/>
                  <a:cs typeface="SB Sans Text Medium" panose="020B0603040504020204" pitchFamily="34" charset="-52"/>
                  <a:sym typeface="Poppins Bold"/>
                </a:rPr>
                <a:t>1</a:t>
              </a:r>
              <a:endParaRPr sz="2400" dirty="0">
                <a:solidFill>
                  <a:srgbClr val="FFFFFF"/>
                </a:solidFill>
                <a:latin typeface="SB Sans Text Medium" panose="020B0603040504020204" pitchFamily="34" charset="-52"/>
                <a:ea typeface="Roboto" pitchFamily="2" charset="0"/>
                <a:cs typeface="SB Sans Text Medium" panose="020B0603040504020204" pitchFamily="34" charset="-52"/>
                <a:sym typeface="Poppins Bold"/>
              </a:endParaRPr>
            </a:p>
          </p:txBody>
        </p:sp>
      </p:grpSp>
      <p:grpSp>
        <p:nvGrpSpPr>
          <p:cNvPr id="58" name="Группа 57">
            <a:extLst>
              <a:ext uri="{FF2B5EF4-FFF2-40B4-BE49-F238E27FC236}">
                <a16:creationId xmlns:a16="http://schemas.microsoft.com/office/drawing/2014/main" id="{D41F401C-6BEF-4B0F-927C-8F4651974572}"/>
              </a:ext>
            </a:extLst>
          </p:cNvPr>
          <p:cNvGrpSpPr/>
          <p:nvPr/>
        </p:nvGrpSpPr>
        <p:grpSpPr>
          <a:xfrm>
            <a:off x="7086905" y="2680770"/>
            <a:ext cx="3708305" cy="1303075"/>
            <a:chOff x="1030357" y="1951337"/>
            <a:chExt cx="3708305" cy="1303075"/>
          </a:xfrm>
        </p:grpSpPr>
        <p:sp>
          <p:nvSpPr>
            <p:cNvPr id="59" name="Shape_фон">
              <a:extLst>
                <a:ext uri="{FF2B5EF4-FFF2-40B4-BE49-F238E27FC236}">
                  <a16:creationId xmlns:a16="http://schemas.microsoft.com/office/drawing/2014/main" id="{B31F8F74-6AEA-4088-95CD-02866F244D40}"/>
                </a:ext>
              </a:extLst>
            </p:cNvPr>
            <p:cNvSpPr/>
            <p:nvPr/>
          </p:nvSpPr>
          <p:spPr>
            <a:xfrm>
              <a:off x="1228397" y="2180899"/>
              <a:ext cx="3510265" cy="1073513"/>
            </a:xfrm>
            <a:prstGeom prst="roundRect">
              <a:avLst>
                <a:gd name="adj" fmla="val 8571"/>
              </a:avLst>
            </a:prstGeom>
            <a:solidFill>
              <a:schemeClr val="bg1"/>
            </a:solidFill>
            <a:ln w="12700" cap="flat">
              <a:noFill/>
              <a:prstDash val="solid"/>
              <a:miter/>
            </a:ln>
            <a:effectLst>
              <a:outerShdw blurRad="1003300" sx="102000" sy="102000" algn="ctr" rotWithShape="0">
                <a:schemeClr val="tx1">
                  <a:alpha val="20000"/>
                </a:schemeClr>
              </a:outerShdw>
            </a:effectLst>
          </p:spPr>
          <p:txBody>
            <a:bodyPr lIns="0" tIns="0" rIns="0" bIns="0" anchor="ctr"/>
            <a:lstStyle/>
            <a:p>
              <a:pPr marL="0" marR="0" lvl="0" indent="0" algn="ctr" defTabSz="309563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itchFamily="2" charset="0"/>
                <a:ea typeface="Roboto" pitchFamily="2" charset="0"/>
                <a:cs typeface="Poppins Bold"/>
                <a:sym typeface="Poppins Bold"/>
              </a:endParaRPr>
            </a:p>
          </p:txBody>
        </p:sp>
        <p:sp>
          <p:nvSpPr>
            <p:cNvPr id="60" name="Motion design">
              <a:extLst>
                <a:ext uri="{FF2B5EF4-FFF2-40B4-BE49-F238E27FC236}">
                  <a16:creationId xmlns:a16="http://schemas.microsoft.com/office/drawing/2014/main" id="{09733A2D-7B93-4F51-B0B2-6633CCC5D24E}"/>
                </a:ext>
              </a:extLst>
            </p:cNvPr>
            <p:cNvSpPr txBox="1"/>
            <p:nvPr/>
          </p:nvSpPr>
          <p:spPr>
            <a:xfrm>
              <a:off x="1782338" y="2589253"/>
              <a:ext cx="2766140" cy="256802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</a:ext>
            </a:extLst>
          </p:spPr>
          <p:txBody>
            <a:bodyPr wrap="square" lIns="0" tIns="0" rIns="0" bIns="0" anchor="ctr">
              <a:spAutoFit/>
            </a:bodyPr>
            <a:lstStyle>
              <a:lvl1pPr>
                <a:lnSpc>
                  <a:spcPct val="130000"/>
                </a:lnSpc>
                <a:defRPr sz="3000">
                  <a:latin typeface="+mn-lt"/>
                  <a:ea typeface="+mn-ea"/>
                  <a:cs typeface="+mn-cs"/>
                  <a:sym typeface="Poppins SemiBold"/>
                </a:defRPr>
              </a:lvl1pPr>
            </a:lstStyle>
            <a:p>
              <a:pPr defTabSz="309563" hangingPunct="0">
                <a:buClr>
                  <a:schemeClr val="bg2"/>
                </a:buClr>
                <a:defRPr/>
              </a:pPr>
              <a:r>
                <a:rPr lang="ru-RU" sz="1400" dirty="0">
                  <a:solidFill>
                    <a:srgbClr val="0D0D0D"/>
                  </a:solidFill>
                  <a:latin typeface="SB Sans Text Light" panose="020B0303040504020204" pitchFamily="34" charset="-52"/>
                  <a:ea typeface="Roboto Light" panose="02000000000000000000" pitchFamily="2" charset="0"/>
                  <a:cs typeface="SB Sans Text Light" panose="020B0303040504020204" pitchFamily="34" charset="-52"/>
                </a:rPr>
                <a:t>Промаркировать в банке</a:t>
              </a:r>
            </a:p>
          </p:txBody>
        </p:sp>
        <p:sp>
          <p:nvSpPr>
            <p:cNvPr id="61" name="Circle">
              <a:extLst>
                <a:ext uri="{FF2B5EF4-FFF2-40B4-BE49-F238E27FC236}">
                  <a16:creationId xmlns:a16="http://schemas.microsoft.com/office/drawing/2014/main" id="{8B0361B4-B64D-4043-A4F5-4986154553A6}"/>
                </a:ext>
              </a:extLst>
            </p:cNvPr>
            <p:cNvSpPr/>
            <p:nvPr/>
          </p:nvSpPr>
          <p:spPr>
            <a:xfrm>
              <a:off x="1030357" y="1951337"/>
              <a:ext cx="635335" cy="635335"/>
            </a:xfrm>
            <a:prstGeom prst="ellipse">
              <a:avLst/>
            </a:prstGeom>
            <a:solidFill>
              <a:schemeClr val="bg2"/>
            </a:solidFill>
            <a:ln w="12700">
              <a:miter lim="400000"/>
            </a:ln>
          </p:spPr>
          <p:txBody>
            <a:bodyPr lIns="0" tIns="0" rIns="0" bIns="0" anchor="ctr"/>
            <a:lstStyle/>
            <a:p>
              <a:pPr algn="ctr" defTabSz="309563" hangingPunct="0">
                <a:buClrTx/>
                <a:defRPr sz="3200">
                  <a:solidFill>
                    <a:srgbClr val="FFFFFF"/>
                  </a:solidFill>
                  <a:latin typeface="Poppins Bold"/>
                  <a:ea typeface="Poppins Bold"/>
                  <a:cs typeface="Poppins Bold"/>
                  <a:sym typeface="Poppins Bold"/>
                </a:defRPr>
              </a:pPr>
              <a:r>
                <a:rPr lang="en-US" sz="2400" b="1" dirty="0">
                  <a:solidFill>
                    <a:srgbClr val="FFFFFF"/>
                  </a:solidFill>
                  <a:latin typeface="SB Sans Text Medium" panose="020B0603040504020204" pitchFamily="34" charset="-52"/>
                  <a:ea typeface="Roboto" pitchFamily="2" charset="0"/>
                  <a:cs typeface="SB Sans Text Medium" panose="020B0603040504020204" pitchFamily="34" charset="-52"/>
                  <a:sym typeface="Poppins Bold"/>
                </a:rPr>
                <a:t>2</a:t>
              </a:r>
              <a:endParaRPr sz="2400" b="1" dirty="0">
                <a:solidFill>
                  <a:srgbClr val="FFFFFF"/>
                </a:solidFill>
                <a:latin typeface="SB Sans Text Medium" panose="020B0603040504020204" pitchFamily="34" charset="-52"/>
                <a:ea typeface="Roboto" pitchFamily="2" charset="0"/>
                <a:cs typeface="SB Sans Text Medium" panose="020B0603040504020204" pitchFamily="34" charset="-52"/>
                <a:sym typeface="Poppins Bold"/>
              </a:endParaRPr>
            </a:p>
          </p:txBody>
        </p:sp>
      </p:grpSp>
      <p:grpSp>
        <p:nvGrpSpPr>
          <p:cNvPr id="62" name="Группа 61">
            <a:extLst>
              <a:ext uri="{FF2B5EF4-FFF2-40B4-BE49-F238E27FC236}">
                <a16:creationId xmlns:a16="http://schemas.microsoft.com/office/drawing/2014/main" id="{3EB6E30B-B56C-4E73-B1E4-B29ABF1F3546}"/>
              </a:ext>
            </a:extLst>
          </p:cNvPr>
          <p:cNvGrpSpPr/>
          <p:nvPr/>
        </p:nvGrpSpPr>
        <p:grpSpPr>
          <a:xfrm>
            <a:off x="8010631" y="4003591"/>
            <a:ext cx="3866413" cy="1303075"/>
            <a:chOff x="1030357" y="1951337"/>
            <a:chExt cx="3860472" cy="1303075"/>
          </a:xfrm>
        </p:grpSpPr>
        <p:sp>
          <p:nvSpPr>
            <p:cNvPr id="63" name="Shape_фон">
              <a:extLst>
                <a:ext uri="{FF2B5EF4-FFF2-40B4-BE49-F238E27FC236}">
                  <a16:creationId xmlns:a16="http://schemas.microsoft.com/office/drawing/2014/main" id="{8008E082-4A0F-420C-928E-0DE7E3877DE8}"/>
                </a:ext>
              </a:extLst>
            </p:cNvPr>
            <p:cNvSpPr/>
            <p:nvPr/>
          </p:nvSpPr>
          <p:spPr>
            <a:xfrm>
              <a:off x="1380564" y="2180899"/>
              <a:ext cx="3510265" cy="1073513"/>
            </a:xfrm>
            <a:prstGeom prst="roundRect">
              <a:avLst>
                <a:gd name="adj" fmla="val 8571"/>
              </a:avLst>
            </a:prstGeom>
            <a:solidFill>
              <a:schemeClr val="bg1"/>
            </a:solidFill>
            <a:ln w="12700" cap="flat">
              <a:noFill/>
              <a:prstDash val="solid"/>
              <a:miter/>
            </a:ln>
            <a:effectLst>
              <a:outerShdw blurRad="1003300" sx="102000" sy="102000" algn="ctr" rotWithShape="0">
                <a:schemeClr val="tx1">
                  <a:alpha val="20000"/>
                </a:schemeClr>
              </a:outerShdw>
            </a:effectLst>
          </p:spPr>
          <p:txBody>
            <a:bodyPr lIns="0" tIns="0" rIns="0" bIns="0" anchor="ctr"/>
            <a:lstStyle/>
            <a:p>
              <a:pPr marL="0" marR="0" lvl="0" indent="0" algn="ctr" defTabSz="309563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itchFamily="2" charset="0"/>
                <a:ea typeface="Roboto" pitchFamily="2" charset="0"/>
                <a:cs typeface="Poppins Bold"/>
                <a:sym typeface="Poppins Bold"/>
              </a:endParaRPr>
            </a:p>
          </p:txBody>
        </p:sp>
        <p:sp>
          <p:nvSpPr>
            <p:cNvPr id="64" name="Motion design">
              <a:extLst>
                <a:ext uri="{FF2B5EF4-FFF2-40B4-BE49-F238E27FC236}">
                  <a16:creationId xmlns:a16="http://schemas.microsoft.com/office/drawing/2014/main" id="{0600473F-4CEE-4657-8FEC-249454C0B7F0}"/>
                </a:ext>
              </a:extLst>
            </p:cNvPr>
            <p:cNvSpPr txBox="1"/>
            <p:nvPr/>
          </p:nvSpPr>
          <p:spPr>
            <a:xfrm>
              <a:off x="1782338" y="2297540"/>
              <a:ext cx="2956324" cy="840230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</a:ext>
            </a:extLst>
          </p:spPr>
          <p:txBody>
            <a:bodyPr wrap="square" lIns="0" tIns="0" rIns="0" bIns="0" anchor="ctr">
              <a:spAutoFit/>
            </a:bodyPr>
            <a:lstStyle>
              <a:lvl1pPr>
                <a:lnSpc>
                  <a:spcPct val="130000"/>
                </a:lnSpc>
                <a:defRPr sz="3000">
                  <a:latin typeface="+mn-lt"/>
                  <a:ea typeface="+mn-ea"/>
                  <a:cs typeface="+mn-cs"/>
                  <a:sym typeface="Poppins SemiBold"/>
                </a:defRPr>
              </a:lvl1pPr>
            </a:lstStyle>
            <a:p>
              <a:pPr defTabSz="309563" hangingPunct="0">
                <a:buClr>
                  <a:schemeClr val="bg2"/>
                </a:buClr>
                <a:defRPr/>
              </a:pPr>
              <a:r>
                <a:rPr lang="ru-RU" sz="1400" dirty="0">
                  <a:solidFill>
                    <a:srgbClr val="0D0D0D"/>
                  </a:solidFill>
                  <a:latin typeface="SB Sans Text Light" panose="020B0303040504020204" pitchFamily="34" charset="-52"/>
                  <a:ea typeface="Roboto Light" panose="02000000000000000000" pitchFamily="2" charset="0"/>
                  <a:cs typeface="SB Sans Text Light" panose="020B0303040504020204" pitchFamily="34" charset="-52"/>
                </a:rPr>
                <a:t>Передать продуктовый профиль в КПК для отображения в </a:t>
              </a:r>
              <a:r>
                <a:rPr lang="ru-RU" sz="1400" dirty="0" err="1">
                  <a:solidFill>
                    <a:srgbClr val="0D0D0D"/>
                  </a:solidFill>
                  <a:latin typeface="SB Sans Text Light" panose="020B0303040504020204" pitchFamily="34" charset="-52"/>
                  <a:ea typeface="Roboto Light" panose="02000000000000000000" pitchFamily="2" charset="0"/>
                  <a:cs typeface="SB Sans Text Light" panose="020B0303040504020204" pitchFamily="34" charset="-52"/>
                </a:rPr>
                <a:t>СБОЛе</a:t>
              </a:r>
              <a:r>
                <a:rPr lang="ru-RU" sz="1400" dirty="0">
                  <a:solidFill>
                    <a:srgbClr val="0D0D0D"/>
                  </a:solidFill>
                  <a:latin typeface="SB Sans Text Light" panose="020B0303040504020204" pitchFamily="34" charset="-52"/>
                  <a:ea typeface="Roboto Light" panose="02000000000000000000" pitchFamily="2" charset="0"/>
                  <a:cs typeface="SB Sans Text Light" panose="020B0303040504020204" pitchFamily="34" charset="-52"/>
                </a:rPr>
                <a:t> по запросу клиента</a:t>
              </a:r>
            </a:p>
          </p:txBody>
        </p:sp>
        <p:sp>
          <p:nvSpPr>
            <p:cNvPr id="65" name="Circle">
              <a:extLst>
                <a:ext uri="{FF2B5EF4-FFF2-40B4-BE49-F238E27FC236}">
                  <a16:creationId xmlns:a16="http://schemas.microsoft.com/office/drawing/2014/main" id="{5CD2C4DA-3748-47CD-8AF5-001ED8AB4FB3}"/>
                </a:ext>
              </a:extLst>
            </p:cNvPr>
            <p:cNvSpPr/>
            <p:nvPr/>
          </p:nvSpPr>
          <p:spPr>
            <a:xfrm>
              <a:off x="1030357" y="1951337"/>
              <a:ext cx="635335" cy="635335"/>
            </a:xfrm>
            <a:prstGeom prst="ellipse">
              <a:avLst/>
            </a:prstGeom>
            <a:solidFill>
              <a:schemeClr val="bg2"/>
            </a:solidFill>
            <a:ln w="12700">
              <a:miter lim="400000"/>
            </a:ln>
          </p:spPr>
          <p:txBody>
            <a:bodyPr lIns="0" tIns="0" rIns="0" bIns="0" anchor="ctr"/>
            <a:lstStyle/>
            <a:p>
              <a:pPr algn="ctr" defTabSz="309563" hangingPunct="0">
                <a:buClrTx/>
                <a:defRPr sz="3200">
                  <a:solidFill>
                    <a:srgbClr val="FFFFFF"/>
                  </a:solidFill>
                  <a:latin typeface="Poppins Bold"/>
                  <a:ea typeface="Poppins Bold"/>
                  <a:cs typeface="Poppins Bold"/>
                  <a:sym typeface="Poppins Bold"/>
                </a:defRPr>
              </a:pPr>
              <a:r>
                <a:rPr lang="en-US" sz="2400" b="1" dirty="0">
                  <a:solidFill>
                    <a:srgbClr val="FFFFFF"/>
                  </a:solidFill>
                  <a:latin typeface="SB Sans Text Medium" panose="020B0603040504020204" pitchFamily="34" charset="-52"/>
                  <a:ea typeface="Roboto" pitchFamily="2" charset="0"/>
                  <a:cs typeface="SB Sans Text Medium" panose="020B0603040504020204" pitchFamily="34" charset="-52"/>
                  <a:sym typeface="Poppins Bold"/>
                </a:rPr>
                <a:t>3</a:t>
              </a:r>
              <a:endParaRPr sz="2400" b="1" dirty="0">
                <a:solidFill>
                  <a:srgbClr val="FFFFFF"/>
                </a:solidFill>
                <a:latin typeface="SB Sans Text Medium" panose="020B0603040504020204" pitchFamily="34" charset="-52"/>
                <a:ea typeface="Roboto" pitchFamily="2" charset="0"/>
                <a:cs typeface="SB Sans Text Medium" panose="020B0603040504020204" pitchFamily="34" charset="-52"/>
                <a:sym typeface="Poppins Bold"/>
              </a:endParaRPr>
            </a:p>
          </p:txBody>
        </p:sp>
      </p:grpSp>
      <p:pic>
        <p:nvPicPr>
          <p:cNvPr id="477" name="Рисунок 476">
            <a:extLst>
              <a:ext uri="{FF2B5EF4-FFF2-40B4-BE49-F238E27FC236}">
                <a16:creationId xmlns:a16="http://schemas.microsoft.com/office/drawing/2014/main" id="{F5CD13E7-0125-498E-9886-82BD3670CCD2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801505" y="1357949"/>
            <a:ext cx="4596818" cy="4707585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849493861"/>
      </p:ext>
    </p:extLst>
  </p:cSld>
  <p:clrMapOvr>
    <a:masterClrMapping/>
  </p:clrMapOvr>
  <p:transition spd="slow">
    <p:push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50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42" presetClass="path" presetSubtype="0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1667 -0.00046 L -3.33333E-6 3.7037E-7 " pathEditMode="relative" rAng="0" ptsTypes="AA">
                                      <p:cBhvr>
                                        <p:cTn id="9" dur="500" fill="hold"/>
                                        <p:tgtEl>
                                          <p:spTgt spid="5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83300" y="230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250"/>
                                        <p:tgtEl>
                                          <p:spTgt spid="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42" presetClass="path" presetSubtype="0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1667 -0.00046 L 5E-6 -3.7037E-6 " pathEditMode="relative" rAng="0" ptsTypes="AA">
                                      <p:cBhvr>
                                        <p:cTn id="16" dur="500" fill="hold"/>
                                        <p:tgtEl>
                                          <p:spTgt spid="6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833" y="23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CDIConf_Black">
            <a:extLst>
              <a:ext uri="{FF2B5EF4-FFF2-40B4-BE49-F238E27FC236}">
                <a16:creationId xmlns:a16="http://schemas.microsoft.com/office/drawing/2014/main" id="{F3F1710A-CB9B-4080-B969-0477C48F22E5}"/>
              </a:ext>
            </a:extLst>
          </p:cNvPr>
          <p:cNvGrpSpPr/>
          <p:nvPr/>
        </p:nvGrpSpPr>
        <p:grpSpPr>
          <a:xfrm>
            <a:off x="9291334" y="6129083"/>
            <a:ext cx="2270483" cy="296171"/>
            <a:chOff x="7406975" y="5855999"/>
            <a:chExt cx="2270483" cy="296171"/>
          </a:xfrm>
        </p:grpSpPr>
        <p:sp>
          <p:nvSpPr>
            <p:cNvPr id="45" name="Полилиния: фигура 44">
              <a:extLst>
                <a:ext uri="{FF2B5EF4-FFF2-40B4-BE49-F238E27FC236}">
                  <a16:creationId xmlns:a16="http://schemas.microsoft.com/office/drawing/2014/main" id="{13A11B35-F320-4F31-908D-85B2D024FD4B}"/>
                </a:ext>
              </a:extLst>
            </p:cNvPr>
            <p:cNvSpPr/>
            <p:nvPr/>
          </p:nvSpPr>
          <p:spPr>
            <a:xfrm>
              <a:off x="7406975" y="5878280"/>
              <a:ext cx="1394458" cy="273890"/>
            </a:xfrm>
            <a:custGeom>
              <a:avLst/>
              <a:gdLst>
                <a:gd name="connsiteX0" fmla="*/ 157354 w 1394458"/>
                <a:gd name="connsiteY0" fmla="*/ 188093 h 273890"/>
                <a:gd name="connsiteX1" fmla="*/ 200773 w 1394458"/>
                <a:gd name="connsiteY1" fmla="*/ 188093 h 273890"/>
                <a:gd name="connsiteX2" fmla="*/ 186877 w 1394458"/>
                <a:gd name="connsiteY2" fmla="*/ 232383 h 273890"/>
                <a:gd name="connsiteX3" fmla="*/ 153706 w 1394458"/>
                <a:gd name="connsiteY3" fmla="*/ 262777 h 273890"/>
                <a:gd name="connsiteX4" fmla="*/ 101775 w 1394458"/>
                <a:gd name="connsiteY4" fmla="*/ 273891 h 273890"/>
                <a:gd name="connsiteX5" fmla="*/ 59572 w 1394458"/>
                <a:gd name="connsiteY5" fmla="*/ 265554 h 273890"/>
                <a:gd name="connsiteX6" fmla="*/ 27442 w 1394458"/>
                <a:gd name="connsiteY6" fmla="*/ 241585 h 273890"/>
                <a:gd name="connsiteX7" fmla="*/ 6950 w 1394458"/>
                <a:gd name="connsiteY7" fmla="*/ 203896 h 273890"/>
                <a:gd name="connsiteX8" fmla="*/ 0 w 1394458"/>
                <a:gd name="connsiteY8" fmla="*/ 154577 h 273890"/>
                <a:gd name="connsiteX9" fmla="*/ 0 w 1394458"/>
                <a:gd name="connsiteY9" fmla="*/ 133560 h 273890"/>
                <a:gd name="connsiteX10" fmla="*/ 7121 w 1394458"/>
                <a:gd name="connsiteY10" fmla="*/ 84236 h 273890"/>
                <a:gd name="connsiteX11" fmla="*/ 27962 w 1394458"/>
                <a:gd name="connsiteY11" fmla="*/ 46552 h 273890"/>
                <a:gd name="connsiteX12" fmla="*/ 60438 w 1394458"/>
                <a:gd name="connsiteY12" fmla="*/ 22408 h 273890"/>
                <a:gd name="connsiteX13" fmla="*/ 103336 w 1394458"/>
                <a:gd name="connsiteY13" fmla="*/ 14071 h 273890"/>
                <a:gd name="connsiteX14" fmla="*/ 154397 w 1394458"/>
                <a:gd name="connsiteY14" fmla="*/ 25185 h 273890"/>
                <a:gd name="connsiteX15" fmla="*/ 186702 w 1394458"/>
                <a:gd name="connsiteY15" fmla="*/ 55924 h 273890"/>
                <a:gd name="connsiteX16" fmla="*/ 200943 w 1394458"/>
                <a:gd name="connsiteY16" fmla="*/ 100905 h 273890"/>
                <a:gd name="connsiteX17" fmla="*/ 157524 w 1394458"/>
                <a:gd name="connsiteY17" fmla="*/ 100905 h 273890"/>
                <a:gd name="connsiteX18" fmla="*/ 149883 w 1394458"/>
                <a:gd name="connsiteY18" fmla="*/ 72943 h 273890"/>
                <a:gd name="connsiteX19" fmla="*/ 132865 w 1394458"/>
                <a:gd name="connsiteY19" fmla="*/ 55229 h 273890"/>
                <a:gd name="connsiteX20" fmla="*/ 103341 w 1394458"/>
                <a:gd name="connsiteY20" fmla="*/ 48974 h 273890"/>
                <a:gd name="connsiteX21" fmla="*/ 77291 w 1394458"/>
                <a:gd name="connsiteY21" fmla="*/ 54533 h 273890"/>
                <a:gd name="connsiteX22" fmla="*/ 58706 w 1394458"/>
                <a:gd name="connsiteY22" fmla="*/ 70861 h 273890"/>
                <a:gd name="connsiteX23" fmla="*/ 47417 w 1394458"/>
                <a:gd name="connsiteY23" fmla="*/ 97432 h 273890"/>
                <a:gd name="connsiteX24" fmla="*/ 43769 w 1394458"/>
                <a:gd name="connsiteY24" fmla="*/ 133210 h 273890"/>
                <a:gd name="connsiteX25" fmla="*/ 43769 w 1394458"/>
                <a:gd name="connsiteY25" fmla="*/ 154572 h 273890"/>
                <a:gd name="connsiteX26" fmla="*/ 47067 w 1394458"/>
                <a:gd name="connsiteY26" fmla="*/ 189304 h 273890"/>
                <a:gd name="connsiteX27" fmla="*/ 57490 w 1394458"/>
                <a:gd name="connsiteY27" fmla="*/ 215875 h 273890"/>
                <a:gd name="connsiteX28" fmla="*/ 75550 w 1394458"/>
                <a:gd name="connsiteY28" fmla="*/ 233069 h 273890"/>
                <a:gd name="connsiteX29" fmla="*/ 101775 w 1394458"/>
                <a:gd name="connsiteY29" fmla="*/ 239149 h 273890"/>
                <a:gd name="connsiteX30" fmla="*/ 131824 w 1394458"/>
                <a:gd name="connsiteY30" fmla="*/ 233244 h 273890"/>
                <a:gd name="connsiteX31" fmla="*/ 149363 w 1394458"/>
                <a:gd name="connsiteY31" fmla="*/ 216050 h 273890"/>
                <a:gd name="connsiteX32" fmla="*/ 157354 w 1394458"/>
                <a:gd name="connsiteY32" fmla="*/ 188088 h 273890"/>
                <a:gd name="connsiteX33" fmla="*/ 313837 w 1394458"/>
                <a:gd name="connsiteY33" fmla="*/ 270418 h 273890"/>
                <a:gd name="connsiteX34" fmla="*/ 259825 w 1394458"/>
                <a:gd name="connsiteY34" fmla="*/ 270418 h 273890"/>
                <a:gd name="connsiteX35" fmla="*/ 260170 w 1394458"/>
                <a:gd name="connsiteY35" fmla="*/ 235856 h 273890"/>
                <a:gd name="connsiteX36" fmla="*/ 313837 w 1394458"/>
                <a:gd name="connsiteY36" fmla="*/ 235856 h 273890"/>
                <a:gd name="connsiteX37" fmla="*/ 353088 w 1394458"/>
                <a:gd name="connsiteY37" fmla="*/ 225608 h 273890"/>
                <a:gd name="connsiteX38" fmla="*/ 377057 w 1394458"/>
                <a:gd name="connsiteY38" fmla="*/ 196255 h 273890"/>
                <a:gd name="connsiteX39" fmla="*/ 385218 w 1394458"/>
                <a:gd name="connsiteY39" fmla="*/ 150754 h 273890"/>
                <a:gd name="connsiteX40" fmla="*/ 385218 w 1394458"/>
                <a:gd name="connsiteY40" fmla="*/ 137033 h 273890"/>
                <a:gd name="connsiteX41" fmla="*/ 380530 w 1394458"/>
                <a:gd name="connsiteY41" fmla="*/ 100734 h 273890"/>
                <a:gd name="connsiteX42" fmla="*/ 366984 w 1394458"/>
                <a:gd name="connsiteY42" fmla="*/ 74163 h 273890"/>
                <a:gd name="connsiteX43" fmla="*/ 345102 w 1394458"/>
                <a:gd name="connsiteY43" fmla="*/ 57840 h 273890"/>
                <a:gd name="connsiteX44" fmla="*/ 315403 w 1394458"/>
                <a:gd name="connsiteY44" fmla="*/ 52281 h 273890"/>
                <a:gd name="connsiteX45" fmla="*/ 258784 w 1394458"/>
                <a:gd name="connsiteY45" fmla="*/ 52281 h 273890"/>
                <a:gd name="connsiteX46" fmla="*/ 258784 w 1394458"/>
                <a:gd name="connsiteY46" fmla="*/ 17544 h 273890"/>
                <a:gd name="connsiteX47" fmla="*/ 315403 w 1394458"/>
                <a:gd name="connsiteY47" fmla="*/ 17544 h 273890"/>
                <a:gd name="connsiteX48" fmla="*/ 361429 w 1394458"/>
                <a:gd name="connsiteY48" fmla="*/ 26055 h 273890"/>
                <a:gd name="connsiteX49" fmla="*/ 397383 w 1394458"/>
                <a:gd name="connsiteY49" fmla="*/ 50195 h 273890"/>
                <a:gd name="connsiteX50" fmla="*/ 420826 w 1394458"/>
                <a:gd name="connsiteY50" fmla="*/ 88054 h 273890"/>
                <a:gd name="connsiteX51" fmla="*/ 428988 w 1394458"/>
                <a:gd name="connsiteY51" fmla="*/ 137378 h 273890"/>
                <a:gd name="connsiteX52" fmla="*/ 428988 w 1394458"/>
                <a:gd name="connsiteY52" fmla="*/ 150754 h 273890"/>
                <a:gd name="connsiteX53" fmla="*/ 420826 w 1394458"/>
                <a:gd name="connsiteY53" fmla="*/ 200078 h 273890"/>
                <a:gd name="connsiteX54" fmla="*/ 397383 w 1394458"/>
                <a:gd name="connsiteY54" fmla="*/ 237938 h 273890"/>
                <a:gd name="connsiteX55" fmla="*/ 360909 w 1394458"/>
                <a:gd name="connsiteY55" fmla="*/ 262077 h 273890"/>
                <a:gd name="connsiteX56" fmla="*/ 313842 w 1394458"/>
                <a:gd name="connsiteY56" fmla="*/ 270413 h 273890"/>
                <a:gd name="connsiteX57" fmla="*/ 283964 w 1394458"/>
                <a:gd name="connsiteY57" fmla="*/ 17544 h 273890"/>
                <a:gd name="connsiteX58" fmla="*/ 283964 w 1394458"/>
                <a:gd name="connsiteY58" fmla="*/ 270418 h 273890"/>
                <a:gd name="connsiteX59" fmla="*/ 240369 w 1394458"/>
                <a:gd name="connsiteY59" fmla="*/ 270418 h 273890"/>
                <a:gd name="connsiteX60" fmla="*/ 240369 w 1394458"/>
                <a:gd name="connsiteY60" fmla="*/ 17544 h 273890"/>
                <a:gd name="connsiteX61" fmla="*/ 283964 w 1394458"/>
                <a:gd name="connsiteY61" fmla="*/ 17544 h 273890"/>
                <a:gd name="connsiteX62" fmla="*/ 519299 w 1394458"/>
                <a:gd name="connsiteY62" fmla="*/ 17544 h 273890"/>
                <a:gd name="connsiteX63" fmla="*/ 519299 w 1394458"/>
                <a:gd name="connsiteY63" fmla="*/ 270418 h 273890"/>
                <a:gd name="connsiteX64" fmla="*/ 475705 w 1394458"/>
                <a:gd name="connsiteY64" fmla="*/ 270418 h 273890"/>
                <a:gd name="connsiteX65" fmla="*/ 475705 w 1394458"/>
                <a:gd name="connsiteY65" fmla="*/ 17544 h 273890"/>
                <a:gd name="connsiteX66" fmla="*/ 519299 w 1394458"/>
                <a:gd name="connsiteY66" fmla="*/ 17544 h 273890"/>
                <a:gd name="connsiteX67" fmla="*/ 811424 w 1394458"/>
                <a:gd name="connsiteY67" fmla="*/ 188093 h 273890"/>
                <a:gd name="connsiteX68" fmla="*/ 854843 w 1394458"/>
                <a:gd name="connsiteY68" fmla="*/ 188093 h 273890"/>
                <a:gd name="connsiteX69" fmla="*/ 840947 w 1394458"/>
                <a:gd name="connsiteY69" fmla="*/ 232383 h 273890"/>
                <a:gd name="connsiteX70" fmla="*/ 807776 w 1394458"/>
                <a:gd name="connsiteY70" fmla="*/ 262777 h 273890"/>
                <a:gd name="connsiteX71" fmla="*/ 755845 w 1394458"/>
                <a:gd name="connsiteY71" fmla="*/ 273891 h 273890"/>
                <a:gd name="connsiteX72" fmla="*/ 713642 w 1394458"/>
                <a:gd name="connsiteY72" fmla="*/ 265554 h 273890"/>
                <a:gd name="connsiteX73" fmla="*/ 681512 w 1394458"/>
                <a:gd name="connsiteY73" fmla="*/ 241585 h 273890"/>
                <a:gd name="connsiteX74" fmla="*/ 661021 w 1394458"/>
                <a:gd name="connsiteY74" fmla="*/ 203896 h 273890"/>
                <a:gd name="connsiteX75" fmla="*/ 654075 w 1394458"/>
                <a:gd name="connsiteY75" fmla="*/ 154572 h 273890"/>
                <a:gd name="connsiteX76" fmla="*/ 654075 w 1394458"/>
                <a:gd name="connsiteY76" fmla="*/ 133555 h 273890"/>
                <a:gd name="connsiteX77" fmla="*/ 661196 w 1394458"/>
                <a:gd name="connsiteY77" fmla="*/ 84231 h 273890"/>
                <a:gd name="connsiteX78" fmla="*/ 682037 w 1394458"/>
                <a:gd name="connsiteY78" fmla="*/ 46547 h 273890"/>
                <a:gd name="connsiteX79" fmla="*/ 714513 w 1394458"/>
                <a:gd name="connsiteY79" fmla="*/ 22403 h 273890"/>
                <a:gd name="connsiteX80" fmla="*/ 757411 w 1394458"/>
                <a:gd name="connsiteY80" fmla="*/ 14066 h 273890"/>
                <a:gd name="connsiteX81" fmla="*/ 808472 w 1394458"/>
                <a:gd name="connsiteY81" fmla="*/ 25180 h 273890"/>
                <a:gd name="connsiteX82" fmla="*/ 840777 w 1394458"/>
                <a:gd name="connsiteY82" fmla="*/ 55919 h 273890"/>
                <a:gd name="connsiteX83" fmla="*/ 855018 w 1394458"/>
                <a:gd name="connsiteY83" fmla="*/ 100900 h 273890"/>
                <a:gd name="connsiteX84" fmla="*/ 811599 w 1394458"/>
                <a:gd name="connsiteY84" fmla="*/ 100900 h 273890"/>
                <a:gd name="connsiteX85" fmla="*/ 803958 w 1394458"/>
                <a:gd name="connsiteY85" fmla="*/ 72938 h 273890"/>
                <a:gd name="connsiteX86" fmla="*/ 786940 w 1394458"/>
                <a:gd name="connsiteY86" fmla="*/ 55224 h 273890"/>
                <a:gd name="connsiteX87" fmla="*/ 757416 w 1394458"/>
                <a:gd name="connsiteY87" fmla="*/ 48969 h 273890"/>
                <a:gd name="connsiteX88" fmla="*/ 731366 w 1394458"/>
                <a:gd name="connsiteY88" fmla="*/ 54528 h 273890"/>
                <a:gd name="connsiteX89" fmla="*/ 712781 w 1394458"/>
                <a:gd name="connsiteY89" fmla="*/ 70856 h 273890"/>
                <a:gd name="connsiteX90" fmla="*/ 701492 w 1394458"/>
                <a:gd name="connsiteY90" fmla="*/ 97427 h 273890"/>
                <a:gd name="connsiteX91" fmla="*/ 697844 w 1394458"/>
                <a:gd name="connsiteY91" fmla="*/ 133205 h 273890"/>
                <a:gd name="connsiteX92" fmla="*/ 697844 w 1394458"/>
                <a:gd name="connsiteY92" fmla="*/ 154567 h 273890"/>
                <a:gd name="connsiteX93" fmla="*/ 701142 w 1394458"/>
                <a:gd name="connsiteY93" fmla="*/ 189299 h 273890"/>
                <a:gd name="connsiteX94" fmla="*/ 711565 w 1394458"/>
                <a:gd name="connsiteY94" fmla="*/ 215870 h 273890"/>
                <a:gd name="connsiteX95" fmla="*/ 729629 w 1394458"/>
                <a:gd name="connsiteY95" fmla="*/ 233064 h 273890"/>
                <a:gd name="connsiteX96" fmla="*/ 755855 w 1394458"/>
                <a:gd name="connsiteY96" fmla="*/ 239144 h 273890"/>
                <a:gd name="connsiteX97" fmla="*/ 785904 w 1394458"/>
                <a:gd name="connsiteY97" fmla="*/ 233239 h 273890"/>
                <a:gd name="connsiteX98" fmla="*/ 803443 w 1394458"/>
                <a:gd name="connsiteY98" fmla="*/ 216046 h 273890"/>
                <a:gd name="connsiteX99" fmla="*/ 811434 w 1394458"/>
                <a:gd name="connsiteY99" fmla="*/ 188084 h 273890"/>
                <a:gd name="connsiteX100" fmla="*/ 882285 w 1394458"/>
                <a:gd name="connsiteY100" fmla="*/ 178541 h 273890"/>
                <a:gd name="connsiteX101" fmla="*/ 882285 w 1394458"/>
                <a:gd name="connsiteY101" fmla="*/ 174548 h 273890"/>
                <a:gd name="connsiteX102" fmla="*/ 888190 w 1394458"/>
                <a:gd name="connsiteY102" fmla="*/ 136858 h 273890"/>
                <a:gd name="connsiteX103" fmla="*/ 905208 w 1394458"/>
                <a:gd name="connsiteY103" fmla="*/ 106464 h 273890"/>
                <a:gd name="connsiteX104" fmla="*/ 932650 w 1394458"/>
                <a:gd name="connsiteY104" fmla="*/ 86318 h 273890"/>
                <a:gd name="connsiteX105" fmla="*/ 969469 w 1394458"/>
                <a:gd name="connsiteY105" fmla="*/ 79022 h 273890"/>
                <a:gd name="connsiteX106" fmla="*/ 1006288 w 1394458"/>
                <a:gd name="connsiteY106" fmla="*/ 86318 h 273890"/>
                <a:gd name="connsiteX107" fmla="*/ 1033899 w 1394458"/>
                <a:gd name="connsiteY107" fmla="*/ 106464 h 273890"/>
                <a:gd name="connsiteX108" fmla="*/ 1051093 w 1394458"/>
                <a:gd name="connsiteY108" fmla="*/ 136858 h 273890"/>
                <a:gd name="connsiteX109" fmla="*/ 1056998 w 1394458"/>
                <a:gd name="connsiteY109" fmla="*/ 174548 h 273890"/>
                <a:gd name="connsiteX110" fmla="*/ 1056998 w 1394458"/>
                <a:gd name="connsiteY110" fmla="*/ 178541 h 273890"/>
                <a:gd name="connsiteX111" fmla="*/ 1051093 w 1394458"/>
                <a:gd name="connsiteY111" fmla="*/ 216230 h 273890"/>
                <a:gd name="connsiteX112" fmla="*/ 1033899 w 1394458"/>
                <a:gd name="connsiteY112" fmla="*/ 246624 h 273890"/>
                <a:gd name="connsiteX113" fmla="*/ 1006458 w 1394458"/>
                <a:gd name="connsiteY113" fmla="*/ 266770 h 273890"/>
                <a:gd name="connsiteX114" fmla="*/ 969814 w 1394458"/>
                <a:gd name="connsiteY114" fmla="*/ 273891 h 273890"/>
                <a:gd name="connsiteX115" fmla="*/ 932820 w 1394458"/>
                <a:gd name="connsiteY115" fmla="*/ 266770 h 273890"/>
                <a:gd name="connsiteX116" fmla="*/ 905378 w 1394458"/>
                <a:gd name="connsiteY116" fmla="*/ 246624 h 273890"/>
                <a:gd name="connsiteX117" fmla="*/ 888185 w 1394458"/>
                <a:gd name="connsiteY117" fmla="*/ 216230 h 273890"/>
                <a:gd name="connsiteX118" fmla="*/ 882280 w 1394458"/>
                <a:gd name="connsiteY118" fmla="*/ 178541 h 273890"/>
                <a:gd name="connsiteX119" fmla="*/ 924143 w 1394458"/>
                <a:gd name="connsiteY119" fmla="*/ 174548 h 273890"/>
                <a:gd name="connsiteX120" fmla="*/ 924143 w 1394458"/>
                <a:gd name="connsiteY120" fmla="*/ 178541 h 273890"/>
                <a:gd name="connsiteX121" fmla="*/ 926750 w 1394458"/>
                <a:gd name="connsiteY121" fmla="*/ 202510 h 273890"/>
                <a:gd name="connsiteX122" fmla="*/ 934911 w 1394458"/>
                <a:gd name="connsiteY122" fmla="*/ 222310 h 273890"/>
                <a:gd name="connsiteX123" fmla="*/ 949152 w 1394458"/>
                <a:gd name="connsiteY123" fmla="*/ 235681 h 273890"/>
                <a:gd name="connsiteX124" fmla="*/ 969819 w 1394458"/>
                <a:gd name="connsiteY124" fmla="*/ 240545 h 273890"/>
                <a:gd name="connsiteX125" fmla="*/ 989965 w 1394458"/>
                <a:gd name="connsiteY125" fmla="*/ 235681 h 273890"/>
                <a:gd name="connsiteX126" fmla="*/ 1004206 w 1394458"/>
                <a:gd name="connsiteY126" fmla="*/ 222310 h 273890"/>
                <a:gd name="connsiteX127" fmla="*/ 1012367 w 1394458"/>
                <a:gd name="connsiteY127" fmla="*/ 202510 h 273890"/>
                <a:gd name="connsiteX128" fmla="*/ 1015145 w 1394458"/>
                <a:gd name="connsiteY128" fmla="*/ 178541 h 273890"/>
                <a:gd name="connsiteX129" fmla="*/ 1015145 w 1394458"/>
                <a:gd name="connsiteY129" fmla="*/ 174548 h 273890"/>
                <a:gd name="connsiteX130" fmla="*/ 1012367 w 1394458"/>
                <a:gd name="connsiteY130" fmla="*/ 150929 h 273890"/>
                <a:gd name="connsiteX131" fmla="*/ 1004031 w 1394458"/>
                <a:gd name="connsiteY131" fmla="*/ 130958 h 273890"/>
                <a:gd name="connsiteX132" fmla="*/ 989790 w 1394458"/>
                <a:gd name="connsiteY132" fmla="*/ 117412 h 273890"/>
                <a:gd name="connsiteX133" fmla="*/ 969469 w 1394458"/>
                <a:gd name="connsiteY133" fmla="*/ 112378 h 273890"/>
                <a:gd name="connsiteX134" fmla="*/ 948977 w 1394458"/>
                <a:gd name="connsiteY134" fmla="*/ 117412 h 273890"/>
                <a:gd name="connsiteX135" fmla="*/ 934911 w 1394458"/>
                <a:gd name="connsiteY135" fmla="*/ 130958 h 273890"/>
                <a:gd name="connsiteX136" fmla="*/ 926750 w 1394458"/>
                <a:gd name="connsiteY136" fmla="*/ 150929 h 273890"/>
                <a:gd name="connsiteX137" fmla="*/ 924143 w 1394458"/>
                <a:gd name="connsiteY137" fmla="*/ 174548 h 273890"/>
                <a:gd name="connsiteX138" fmla="*/ 1133598 w 1394458"/>
                <a:gd name="connsiteY138" fmla="*/ 122617 h 273890"/>
                <a:gd name="connsiteX139" fmla="*/ 1133598 w 1394458"/>
                <a:gd name="connsiteY139" fmla="*/ 270418 h 273890"/>
                <a:gd name="connsiteX140" fmla="*/ 1091745 w 1394458"/>
                <a:gd name="connsiteY140" fmla="*/ 270418 h 273890"/>
                <a:gd name="connsiteX141" fmla="*/ 1091745 w 1394458"/>
                <a:gd name="connsiteY141" fmla="*/ 82495 h 273890"/>
                <a:gd name="connsiteX142" fmla="*/ 1131171 w 1394458"/>
                <a:gd name="connsiteY142" fmla="*/ 82495 h 273890"/>
                <a:gd name="connsiteX143" fmla="*/ 1133603 w 1394458"/>
                <a:gd name="connsiteY143" fmla="*/ 122617 h 273890"/>
                <a:gd name="connsiteX144" fmla="*/ 1126132 w 1394458"/>
                <a:gd name="connsiteY144" fmla="*/ 169509 h 273890"/>
                <a:gd name="connsiteX145" fmla="*/ 1112586 w 1394458"/>
                <a:gd name="connsiteY145" fmla="*/ 169334 h 273890"/>
                <a:gd name="connsiteX146" fmla="*/ 1118145 w 1394458"/>
                <a:gd name="connsiteY146" fmla="*/ 132690 h 273890"/>
                <a:gd name="connsiteX147" fmla="*/ 1133428 w 1394458"/>
                <a:gd name="connsiteY147" fmla="*/ 104032 h 273890"/>
                <a:gd name="connsiteX148" fmla="*/ 1157046 w 1394458"/>
                <a:gd name="connsiteY148" fmla="*/ 85623 h 273890"/>
                <a:gd name="connsiteX149" fmla="*/ 1187615 w 1394458"/>
                <a:gd name="connsiteY149" fmla="*/ 79022 h 273890"/>
                <a:gd name="connsiteX150" fmla="*/ 1212105 w 1394458"/>
                <a:gd name="connsiteY150" fmla="*/ 82840 h 273890"/>
                <a:gd name="connsiteX151" fmla="*/ 1231034 w 1394458"/>
                <a:gd name="connsiteY151" fmla="*/ 94825 h 273890"/>
                <a:gd name="connsiteX152" fmla="*/ 1243189 w 1394458"/>
                <a:gd name="connsiteY152" fmla="*/ 116532 h 273890"/>
                <a:gd name="connsiteX153" fmla="*/ 1247357 w 1394458"/>
                <a:gd name="connsiteY153" fmla="*/ 149013 h 273890"/>
                <a:gd name="connsiteX154" fmla="*/ 1247357 w 1394458"/>
                <a:gd name="connsiteY154" fmla="*/ 270413 h 273890"/>
                <a:gd name="connsiteX155" fmla="*/ 1205329 w 1394458"/>
                <a:gd name="connsiteY155" fmla="*/ 270413 h 273890"/>
                <a:gd name="connsiteX156" fmla="*/ 1205329 w 1394458"/>
                <a:gd name="connsiteY156" fmla="*/ 148837 h 273890"/>
                <a:gd name="connsiteX157" fmla="*/ 1201336 w 1394458"/>
                <a:gd name="connsiteY157" fmla="*/ 127476 h 273890"/>
                <a:gd name="connsiteX158" fmla="*/ 1190047 w 1394458"/>
                <a:gd name="connsiteY158" fmla="*/ 116187 h 273890"/>
                <a:gd name="connsiteX159" fmla="*/ 1171813 w 1394458"/>
                <a:gd name="connsiteY159" fmla="*/ 112714 h 273890"/>
                <a:gd name="connsiteX160" fmla="*/ 1152533 w 1394458"/>
                <a:gd name="connsiteY160" fmla="*/ 117228 h 273890"/>
                <a:gd name="connsiteX161" fmla="*/ 1138116 w 1394458"/>
                <a:gd name="connsiteY161" fmla="*/ 129557 h 273890"/>
                <a:gd name="connsiteX162" fmla="*/ 1129259 w 1394458"/>
                <a:gd name="connsiteY162" fmla="*/ 147621 h 273890"/>
                <a:gd name="connsiteX163" fmla="*/ 1126132 w 1394458"/>
                <a:gd name="connsiteY163" fmla="*/ 169504 h 273890"/>
                <a:gd name="connsiteX164" fmla="*/ 1346701 w 1394458"/>
                <a:gd name="connsiteY164" fmla="*/ 270418 h 273890"/>
                <a:gd name="connsiteX165" fmla="*/ 1304843 w 1394458"/>
                <a:gd name="connsiteY165" fmla="*/ 270418 h 273890"/>
                <a:gd name="connsiteX166" fmla="*/ 1304843 w 1394458"/>
                <a:gd name="connsiteY166" fmla="*/ 64436 h 273890"/>
                <a:gd name="connsiteX167" fmla="*/ 1312659 w 1394458"/>
                <a:gd name="connsiteY167" fmla="*/ 29178 h 273890"/>
                <a:gd name="connsiteX168" fmla="*/ 1335412 w 1394458"/>
                <a:gd name="connsiteY168" fmla="*/ 7471 h 273890"/>
                <a:gd name="connsiteX169" fmla="*/ 1370319 w 1394458"/>
                <a:gd name="connsiteY169" fmla="*/ 0 h 273890"/>
                <a:gd name="connsiteX170" fmla="*/ 1382649 w 1394458"/>
                <a:gd name="connsiteY170" fmla="*/ 871 h 273890"/>
                <a:gd name="connsiteX171" fmla="*/ 1394458 w 1394458"/>
                <a:gd name="connsiteY171" fmla="*/ 3127 h 273890"/>
                <a:gd name="connsiteX172" fmla="*/ 1393418 w 1394458"/>
                <a:gd name="connsiteY172" fmla="*/ 35433 h 273890"/>
                <a:gd name="connsiteX173" fmla="*/ 1385776 w 1394458"/>
                <a:gd name="connsiteY173" fmla="*/ 34217 h 273890"/>
                <a:gd name="connsiteX174" fmla="*/ 1377095 w 1394458"/>
                <a:gd name="connsiteY174" fmla="*/ 33872 h 273890"/>
                <a:gd name="connsiteX175" fmla="*/ 1360596 w 1394458"/>
                <a:gd name="connsiteY175" fmla="*/ 37519 h 273890"/>
                <a:gd name="connsiteX176" fmla="*/ 1350178 w 1394458"/>
                <a:gd name="connsiteY176" fmla="*/ 47767 h 273890"/>
                <a:gd name="connsiteX177" fmla="*/ 1346706 w 1394458"/>
                <a:gd name="connsiteY177" fmla="*/ 64441 h 273890"/>
                <a:gd name="connsiteX178" fmla="*/ 1346706 w 1394458"/>
                <a:gd name="connsiteY178" fmla="*/ 270423 h 273890"/>
                <a:gd name="connsiteX179" fmla="*/ 1385431 w 1394458"/>
                <a:gd name="connsiteY179" fmla="*/ 82500 h 273890"/>
                <a:gd name="connsiteX180" fmla="*/ 1385431 w 1394458"/>
                <a:gd name="connsiteY180" fmla="*/ 113069 h 273890"/>
                <a:gd name="connsiteX181" fmla="*/ 1276015 w 1394458"/>
                <a:gd name="connsiteY181" fmla="*/ 113069 h 273890"/>
                <a:gd name="connsiteX182" fmla="*/ 1276015 w 1394458"/>
                <a:gd name="connsiteY182" fmla="*/ 82500 h 273890"/>
                <a:gd name="connsiteX183" fmla="*/ 1385431 w 1394458"/>
                <a:gd name="connsiteY183" fmla="*/ 82500 h 2738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</a:cxnLst>
              <a:rect l="l" t="t" r="r" b="b"/>
              <a:pathLst>
                <a:path w="1394458" h="273890">
                  <a:moveTo>
                    <a:pt x="157354" y="188093"/>
                  </a:moveTo>
                  <a:lnTo>
                    <a:pt x="200773" y="188093"/>
                  </a:lnTo>
                  <a:cubicBezTo>
                    <a:pt x="199382" y="204650"/>
                    <a:pt x="194752" y="219411"/>
                    <a:pt x="186877" y="232383"/>
                  </a:cubicBezTo>
                  <a:cubicBezTo>
                    <a:pt x="179003" y="245233"/>
                    <a:pt x="167947" y="255365"/>
                    <a:pt x="153706" y="262777"/>
                  </a:cubicBezTo>
                  <a:cubicBezTo>
                    <a:pt x="139465" y="270185"/>
                    <a:pt x="122155" y="273891"/>
                    <a:pt x="101775" y="273891"/>
                  </a:cubicBezTo>
                  <a:cubicBezTo>
                    <a:pt x="86143" y="273891"/>
                    <a:pt x="72077" y="271114"/>
                    <a:pt x="59572" y="265554"/>
                  </a:cubicBezTo>
                  <a:cubicBezTo>
                    <a:pt x="47067" y="259878"/>
                    <a:pt x="36357" y="251892"/>
                    <a:pt x="27442" y="241585"/>
                  </a:cubicBezTo>
                  <a:cubicBezTo>
                    <a:pt x="18526" y="231162"/>
                    <a:pt x="11697" y="218604"/>
                    <a:pt x="6950" y="203896"/>
                  </a:cubicBezTo>
                  <a:cubicBezTo>
                    <a:pt x="2315" y="189192"/>
                    <a:pt x="0" y="172753"/>
                    <a:pt x="0" y="154577"/>
                  </a:cubicBezTo>
                  <a:lnTo>
                    <a:pt x="0" y="133560"/>
                  </a:lnTo>
                  <a:cubicBezTo>
                    <a:pt x="0" y="115379"/>
                    <a:pt x="2374" y="98940"/>
                    <a:pt x="7121" y="84236"/>
                  </a:cubicBezTo>
                  <a:cubicBezTo>
                    <a:pt x="11984" y="69533"/>
                    <a:pt x="18930" y="56970"/>
                    <a:pt x="27962" y="46552"/>
                  </a:cubicBezTo>
                  <a:cubicBezTo>
                    <a:pt x="36994" y="36017"/>
                    <a:pt x="47816" y="27967"/>
                    <a:pt x="60438" y="22408"/>
                  </a:cubicBezTo>
                  <a:cubicBezTo>
                    <a:pt x="73171" y="16848"/>
                    <a:pt x="87471" y="14071"/>
                    <a:pt x="103336" y="14071"/>
                  </a:cubicBezTo>
                  <a:cubicBezTo>
                    <a:pt x="123482" y="14071"/>
                    <a:pt x="140506" y="17777"/>
                    <a:pt x="154397" y="25185"/>
                  </a:cubicBezTo>
                  <a:cubicBezTo>
                    <a:pt x="168293" y="32597"/>
                    <a:pt x="179056" y="42840"/>
                    <a:pt x="186702" y="55924"/>
                  </a:cubicBezTo>
                  <a:cubicBezTo>
                    <a:pt x="194460" y="69008"/>
                    <a:pt x="199207" y="84003"/>
                    <a:pt x="200943" y="100905"/>
                  </a:cubicBezTo>
                  <a:lnTo>
                    <a:pt x="157524" y="100905"/>
                  </a:lnTo>
                  <a:cubicBezTo>
                    <a:pt x="156367" y="90019"/>
                    <a:pt x="153818" y="80700"/>
                    <a:pt x="149883" y="72943"/>
                  </a:cubicBezTo>
                  <a:cubicBezTo>
                    <a:pt x="146065" y="65185"/>
                    <a:pt x="140389" y="59280"/>
                    <a:pt x="132865" y="55229"/>
                  </a:cubicBezTo>
                  <a:cubicBezTo>
                    <a:pt x="125340" y="51060"/>
                    <a:pt x="115496" y="48974"/>
                    <a:pt x="103341" y="48974"/>
                  </a:cubicBezTo>
                  <a:cubicBezTo>
                    <a:pt x="93385" y="48974"/>
                    <a:pt x="84698" y="50827"/>
                    <a:pt x="77291" y="54533"/>
                  </a:cubicBezTo>
                  <a:cubicBezTo>
                    <a:pt x="69878" y="58239"/>
                    <a:pt x="63687" y="63682"/>
                    <a:pt x="58706" y="70861"/>
                  </a:cubicBezTo>
                  <a:cubicBezTo>
                    <a:pt x="53730" y="78040"/>
                    <a:pt x="49966" y="86897"/>
                    <a:pt x="47417" y="97432"/>
                  </a:cubicBezTo>
                  <a:cubicBezTo>
                    <a:pt x="44985" y="107850"/>
                    <a:pt x="43769" y="119776"/>
                    <a:pt x="43769" y="133210"/>
                  </a:cubicBezTo>
                  <a:lnTo>
                    <a:pt x="43769" y="154572"/>
                  </a:lnTo>
                  <a:cubicBezTo>
                    <a:pt x="43769" y="167305"/>
                    <a:pt x="44869" y="178886"/>
                    <a:pt x="47067" y="189304"/>
                  </a:cubicBezTo>
                  <a:cubicBezTo>
                    <a:pt x="49382" y="199611"/>
                    <a:pt x="52855" y="208468"/>
                    <a:pt x="57490" y="215875"/>
                  </a:cubicBezTo>
                  <a:cubicBezTo>
                    <a:pt x="62237" y="223288"/>
                    <a:pt x="68259" y="229017"/>
                    <a:pt x="75550" y="233069"/>
                  </a:cubicBezTo>
                  <a:cubicBezTo>
                    <a:pt x="82845" y="237120"/>
                    <a:pt x="91585" y="239149"/>
                    <a:pt x="101775" y="239149"/>
                  </a:cubicBezTo>
                  <a:cubicBezTo>
                    <a:pt x="114163" y="239149"/>
                    <a:pt x="124178" y="237179"/>
                    <a:pt x="131824" y="233244"/>
                  </a:cubicBezTo>
                  <a:cubicBezTo>
                    <a:pt x="139582" y="229309"/>
                    <a:pt x="145428" y="223575"/>
                    <a:pt x="149363" y="216050"/>
                  </a:cubicBezTo>
                  <a:cubicBezTo>
                    <a:pt x="153414" y="208409"/>
                    <a:pt x="156080" y="199090"/>
                    <a:pt x="157354" y="188088"/>
                  </a:cubicBezTo>
                  <a:close/>
                  <a:moveTo>
                    <a:pt x="313837" y="270418"/>
                  </a:moveTo>
                  <a:lnTo>
                    <a:pt x="259825" y="270418"/>
                  </a:lnTo>
                  <a:lnTo>
                    <a:pt x="260170" y="235856"/>
                  </a:lnTo>
                  <a:lnTo>
                    <a:pt x="313837" y="235856"/>
                  </a:lnTo>
                  <a:cubicBezTo>
                    <a:pt x="329469" y="235856"/>
                    <a:pt x="342553" y="232441"/>
                    <a:pt x="353088" y="225608"/>
                  </a:cubicBezTo>
                  <a:cubicBezTo>
                    <a:pt x="363740" y="218779"/>
                    <a:pt x="371731" y="208993"/>
                    <a:pt x="377057" y="196255"/>
                  </a:cubicBezTo>
                  <a:cubicBezTo>
                    <a:pt x="382499" y="183521"/>
                    <a:pt x="385218" y="168351"/>
                    <a:pt x="385218" y="150754"/>
                  </a:cubicBezTo>
                  <a:lnTo>
                    <a:pt x="385218" y="137033"/>
                  </a:lnTo>
                  <a:cubicBezTo>
                    <a:pt x="385218" y="123371"/>
                    <a:pt x="383657" y="111269"/>
                    <a:pt x="380530" y="100734"/>
                  </a:cubicBezTo>
                  <a:cubicBezTo>
                    <a:pt x="377519" y="90199"/>
                    <a:pt x="373005" y="81342"/>
                    <a:pt x="366984" y="74163"/>
                  </a:cubicBezTo>
                  <a:cubicBezTo>
                    <a:pt x="361079" y="66984"/>
                    <a:pt x="353784" y="61542"/>
                    <a:pt x="345102" y="57840"/>
                  </a:cubicBezTo>
                  <a:cubicBezTo>
                    <a:pt x="336532" y="54134"/>
                    <a:pt x="326634" y="52281"/>
                    <a:pt x="315403" y="52281"/>
                  </a:cubicBezTo>
                  <a:lnTo>
                    <a:pt x="258784" y="52281"/>
                  </a:lnTo>
                  <a:lnTo>
                    <a:pt x="258784" y="17544"/>
                  </a:lnTo>
                  <a:lnTo>
                    <a:pt x="315403" y="17544"/>
                  </a:lnTo>
                  <a:cubicBezTo>
                    <a:pt x="332193" y="17544"/>
                    <a:pt x="347534" y="20379"/>
                    <a:pt x="361429" y="26055"/>
                  </a:cubicBezTo>
                  <a:cubicBezTo>
                    <a:pt x="375325" y="31615"/>
                    <a:pt x="387310" y="39660"/>
                    <a:pt x="397383" y="50195"/>
                  </a:cubicBezTo>
                  <a:cubicBezTo>
                    <a:pt x="407572" y="60730"/>
                    <a:pt x="415389" y="73351"/>
                    <a:pt x="420826" y="88054"/>
                  </a:cubicBezTo>
                  <a:cubicBezTo>
                    <a:pt x="426269" y="102758"/>
                    <a:pt x="428988" y="119202"/>
                    <a:pt x="428988" y="137378"/>
                  </a:cubicBezTo>
                  <a:lnTo>
                    <a:pt x="428988" y="150754"/>
                  </a:lnTo>
                  <a:cubicBezTo>
                    <a:pt x="428988" y="168930"/>
                    <a:pt x="426269" y="185374"/>
                    <a:pt x="420826" y="200078"/>
                  </a:cubicBezTo>
                  <a:cubicBezTo>
                    <a:pt x="415384" y="214781"/>
                    <a:pt x="407568" y="227403"/>
                    <a:pt x="397383" y="237938"/>
                  </a:cubicBezTo>
                  <a:cubicBezTo>
                    <a:pt x="387193" y="248356"/>
                    <a:pt x="375038" y="256405"/>
                    <a:pt x="360909" y="262077"/>
                  </a:cubicBezTo>
                  <a:cubicBezTo>
                    <a:pt x="346896" y="267636"/>
                    <a:pt x="331211" y="270413"/>
                    <a:pt x="313842" y="270413"/>
                  </a:cubicBezTo>
                  <a:close/>
                  <a:moveTo>
                    <a:pt x="283964" y="17544"/>
                  </a:moveTo>
                  <a:lnTo>
                    <a:pt x="283964" y="270418"/>
                  </a:lnTo>
                  <a:lnTo>
                    <a:pt x="240369" y="270418"/>
                  </a:lnTo>
                  <a:lnTo>
                    <a:pt x="240369" y="17544"/>
                  </a:lnTo>
                  <a:lnTo>
                    <a:pt x="283964" y="17544"/>
                  </a:lnTo>
                  <a:close/>
                  <a:moveTo>
                    <a:pt x="519299" y="17544"/>
                  </a:moveTo>
                  <a:lnTo>
                    <a:pt x="519299" y="270418"/>
                  </a:lnTo>
                  <a:lnTo>
                    <a:pt x="475705" y="270418"/>
                  </a:lnTo>
                  <a:lnTo>
                    <a:pt x="475705" y="17544"/>
                  </a:lnTo>
                  <a:lnTo>
                    <a:pt x="519299" y="17544"/>
                  </a:lnTo>
                  <a:close/>
                  <a:moveTo>
                    <a:pt x="811424" y="188093"/>
                  </a:moveTo>
                  <a:lnTo>
                    <a:pt x="854843" y="188093"/>
                  </a:lnTo>
                  <a:cubicBezTo>
                    <a:pt x="853452" y="204650"/>
                    <a:pt x="848822" y="219411"/>
                    <a:pt x="840947" y="232383"/>
                  </a:cubicBezTo>
                  <a:cubicBezTo>
                    <a:pt x="833073" y="245233"/>
                    <a:pt x="822017" y="255365"/>
                    <a:pt x="807776" y="262777"/>
                  </a:cubicBezTo>
                  <a:cubicBezTo>
                    <a:pt x="793535" y="270185"/>
                    <a:pt x="776225" y="273891"/>
                    <a:pt x="755845" y="273891"/>
                  </a:cubicBezTo>
                  <a:cubicBezTo>
                    <a:pt x="740213" y="273891"/>
                    <a:pt x="726147" y="271114"/>
                    <a:pt x="713642" y="265554"/>
                  </a:cubicBezTo>
                  <a:cubicBezTo>
                    <a:pt x="701137" y="259878"/>
                    <a:pt x="690427" y="251892"/>
                    <a:pt x="681512" y="241585"/>
                  </a:cubicBezTo>
                  <a:cubicBezTo>
                    <a:pt x="672596" y="231162"/>
                    <a:pt x="665768" y="218604"/>
                    <a:pt x="661021" y="203896"/>
                  </a:cubicBezTo>
                  <a:cubicBezTo>
                    <a:pt x="656390" y="189192"/>
                    <a:pt x="654075" y="172748"/>
                    <a:pt x="654075" y="154572"/>
                  </a:cubicBezTo>
                  <a:lnTo>
                    <a:pt x="654075" y="133555"/>
                  </a:lnTo>
                  <a:cubicBezTo>
                    <a:pt x="654075" y="115374"/>
                    <a:pt x="656449" y="98935"/>
                    <a:pt x="661196" y="84231"/>
                  </a:cubicBezTo>
                  <a:cubicBezTo>
                    <a:pt x="666059" y="69528"/>
                    <a:pt x="673005" y="56965"/>
                    <a:pt x="682037" y="46547"/>
                  </a:cubicBezTo>
                  <a:cubicBezTo>
                    <a:pt x="691069" y="36012"/>
                    <a:pt x="701891" y="27962"/>
                    <a:pt x="714513" y="22403"/>
                  </a:cubicBezTo>
                  <a:cubicBezTo>
                    <a:pt x="727246" y="16843"/>
                    <a:pt x="741546" y="14066"/>
                    <a:pt x="757411" y="14066"/>
                  </a:cubicBezTo>
                  <a:cubicBezTo>
                    <a:pt x="777557" y="14066"/>
                    <a:pt x="794581" y="17772"/>
                    <a:pt x="808472" y="25180"/>
                  </a:cubicBezTo>
                  <a:cubicBezTo>
                    <a:pt x="822368" y="32592"/>
                    <a:pt x="833131" y="42836"/>
                    <a:pt x="840777" y="55919"/>
                  </a:cubicBezTo>
                  <a:cubicBezTo>
                    <a:pt x="848535" y="69003"/>
                    <a:pt x="853282" y="83998"/>
                    <a:pt x="855018" y="100900"/>
                  </a:cubicBezTo>
                  <a:lnTo>
                    <a:pt x="811599" y="100900"/>
                  </a:lnTo>
                  <a:cubicBezTo>
                    <a:pt x="810442" y="90015"/>
                    <a:pt x="807893" y="80695"/>
                    <a:pt x="803958" y="72938"/>
                  </a:cubicBezTo>
                  <a:cubicBezTo>
                    <a:pt x="800140" y="65180"/>
                    <a:pt x="794464" y="59275"/>
                    <a:pt x="786940" y="55224"/>
                  </a:cubicBezTo>
                  <a:cubicBezTo>
                    <a:pt x="779415" y="51055"/>
                    <a:pt x="769571" y="48969"/>
                    <a:pt x="757416" y="48969"/>
                  </a:cubicBezTo>
                  <a:cubicBezTo>
                    <a:pt x="747460" y="48969"/>
                    <a:pt x="738773" y="50822"/>
                    <a:pt x="731366" y="54528"/>
                  </a:cubicBezTo>
                  <a:cubicBezTo>
                    <a:pt x="723953" y="58234"/>
                    <a:pt x="717762" y="63677"/>
                    <a:pt x="712781" y="70856"/>
                  </a:cubicBezTo>
                  <a:cubicBezTo>
                    <a:pt x="707801" y="78035"/>
                    <a:pt x="704041" y="86892"/>
                    <a:pt x="701492" y="97427"/>
                  </a:cubicBezTo>
                  <a:cubicBezTo>
                    <a:pt x="699060" y="107845"/>
                    <a:pt x="697844" y="119771"/>
                    <a:pt x="697844" y="133205"/>
                  </a:cubicBezTo>
                  <a:lnTo>
                    <a:pt x="697844" y="154567"/>
                  </a:lnTo>
                  <a:cubicBezTo>
                    <a:pt x="697844" y="167300"/>
                    <a:pt x="698944" y="178881"/>
                    <a:pt x="701142" y="189299"/>
                  </a:cubicBezTo>
                  <a:cubicBezTo>
                    <a:pt x="703457" y="199606"/>
                    <a:pt x="706930" y="208463"/>
                    <a:pt x="711565" y="215870"/>
                  </a:cubicBezTo>
                  <a:cubicBezTo>
                    <a:pt x="716312" y="223283"/>
                    <a:pt x="722334" y="229012"/>
                    <a:pt x="729629" y="233064"/>
                  </a:cubicBezTo>
                  <a:cubicBezTo>
                    <a:pt x="736925" y="237116"/>
                    <a:pt x="745665" y="239144"/>
                    <a:pt x="755855" y="239144"/>
                  </a:cubicBezTo>
                  <a:cubicBezTo>
                    <a:pt x="768243" y="239144"/>
                    <a:pt x="778258" y="237174"/>
                    <a:pt x="785904" y="233239"/>
                  </a:cubicBezTo>
                  <a:cubicBezTo>
                    <a:pt x="793661" y="229304"/>
                    <a:pt x="799508" y="223570"/>
                    <a:pt x="803443" y="216046"/>
                  </a:cubicBezTo>
                  <a:cubicBezTo>
                    <a:pt x="807494" y="208405"/>
                    <a:pt x="810159" y="199085"/>
                    <a:pt x="811434" y="188084"/>
                  </a:cubicBezTo>
                  <a:close/>
                  <a:moveTo>
                    <a:pt x="882285" y="178541"/>
                  </a:moveTo>
                  <a:lnTo>
                    <a:pt x="882285" y="174548"/>
                  </a:lnTo>
                  <a:cubicBezTo>
                    <a:pt x="882285" y="161002"/>
                    <a:pt x="884255" y="148439"/>
                    <a:pt x="888190" y="136858"/>
                  </a:cubicBezTo>
                  <a:cubicBezTo>
                    <a:pt x="892124" y="125165"/>
                    <a:pt x="897800" y="115034"/>
                    <a:pt x="905208" y="106464"/>
                  </a:cubicBezTo>
                  <a:cubicBezTo>
                    <a:pt x="912732" y="97782"/>
                    <a:pt x="921881" y="91065"/>
                    <a:pt x="932650" y="86318"/>
                  </a:cubicBezTo>
                  <a:cubicBezTo>
                    <a:pt x="943535" y="81454"/>
                    <a:pt x="955806" y="79022"/>
                    <a:pt x="969469" y="79022"/>
                  </a:cubicBezTo>
                  <a:cubicBezTo>
                    <a:pt x="983131" y="79022"/>
                    <a:pt x="995519" y="81454"/>
                    <a:pt x="1006288" y="86318"/>
                  </a:cubicBezTo>
                  <a:cubicBezTo>
                    <a:pt x="1017173" y="91065"/>
                    <a:pt x="1026375" y="97782"/>
                    <a:pt x="1033899" y="106464"/>
                  </a:cubicBezTo>
                  <a:cubicBezTo>
                    <a:pt x="1041424" y="115034"/>
                    <a:pt x="1047158" y="125165"/>
                    <a:pt x="1051093" y="136858"/>
                  </a:cubicBezTo>
                  <a:cubicBezTo>
                    <a:pt x="1055028" y="148439"/>
                    <a:pt x="1056998" y="160997"/>
                    <a:pt x="1056998" y="174548"/>
                  </a:cubicBezTo>
                  <a:lnTo>
                    <a:pt x="1056998" y="178541"/>
                  </a:lnTo>
                  <a:cubicBezTo>
                    <a:pt x="1056998" y="192086"/>
                    <a:pt x="1055028" y="204650"/>
                    <a:pt x="1051093" y="216230"/>
                  </a:cubicBezTo>
                  <a:cubicBezTo>
                    <a:pt x="1047153" y="227806"/>
                    <a:pt x="1041424" y="237938"/>
                    <a:pt x="1033899" y="246624"/>
                  </a:cubicBezTo>
                  <a:cubicBezTo>
                    <a:pt x="1026375" y="255194"/>
                    <a:pt x="1017226" y="261906"/>
                    <a:pt x="1006458" y="266770"/>
                  </a:cubicBezTo>
                  <a:cubicBezTo>
                    <a:pt x="995689" y="271517"/>
                    <a:pt x="983476" y="273891"/>
                    <a:pt x="969814" y="273891"/>
                  </a:cubicBezTo>
                  <a:cubicBezTo>
                    <a:pt x="956151" y="273891"/>
                    <a:pt x="943705" y="271517"/>
                    <a:pt x="932820" y="266770"/>
                  </a:cubicBezTo>
                  <a:cubicBezTo>
                    <a:pt x="922051" y="261906"/>
                    <a:pt x="912907" y="255189"/>
                    <a:pt x="905378" y="246624"/>
                  </a:cubicBezTo>
                  <a:cubicBezTo>
                    <a:pt x="897854" y="237942"/>
                    <a:pt x="892119" y="227811"/>
                    <a:pt x="888185" y="216230"/>
                  </a:cubicBezTo>
                  <a:cubicBezTo>
                    <a:pt x="884245" y="204650"/>
                    <a:pt x="882280" y="192086"/>
                    <a:pt x="882280" y="178541"/>
                  </a:cubicBezTo>
                  <a:close/>
                  <a:moveTo>
                    <a:pt x="924143" y="174548"/>
                  </a:moveTo>
                  <a:lnTo>
                    <a:pt x="924143" y="178541"/>
                  </a:lnTo>
                  <a:cubicBezTo>
                    <a:pt x="924143" y="186994"/>
                    <a:pt x="925013" y="194980"/>
                    <a:pt x="926750" y="202510"/>
                  </a:cubicBezTo>
                  <a:cubicBezTo>
                    <a:pt x="928486" y="210034"/>
                    <a:pt x="931210" y="216634"/>
                    <a:pt x="934911" y="222310"/>
                  </a:cubicBezTo>
                  <a:cubicBezTo>
                    <a:pt x="938617" y="227981"/>
                    <a:pt x="943365" y="232441"/>
                    <a:pt x="949152" y="235681"/>
                  </a:cubicBezTo>
                  <a:cubicBezTo>
                    <a:pt x="954940" y="238925"/>
                    <a:pt x="961832" y="240545"/>
                    <a:pt x="969819" y="240545"/>
                  </a:cubicBezTo>
                  <a:cubicBezTo>
                    <a:pt x="977805" y="240545"/>
                    <a:pt x="984293" y="238925"/>
                    <a:pt x="989965" y="235681"/>
                  </a:cubicBezTo>
                  <a:cubicBezTo>
                    <a:pt x="995753" y="232441"/>
                    <a:pt x="1000500" y="227981"/>
                    <a:pt x="1004206" y="222310"/>
                  </a:cubicBezTo>
                  <a:cubicBezTo>
                    <a:pt x="1007912" y="216634"/>
                    <a:pt x="1010631" y="210039"/>
                    <a:pt x="1012367" y="202510"/>
                  </a:cubicBezTo>
                  <a:cubicBezTo>
                    <a:pt x="1014220" y="194985"/>
                    <a:pt x="1015145" y="186994"/>
                    <a:pt x="1015145" y="178541"/>
                  </a:cubicBezTo>
                  <a:lnTo>
                    <a:pt x="1015145" y="174548"/>
                  </a:lnTo>
                  <a:cubicBezTo>
                    <a:pt x="1015145" y="166211"/>
                    <a:pt x="1014220" y="158336"/>
                    <a:pt x="1012367" y="150929"/>
                  </a:cubicBezTo>
                  <a:cubicBezTo>
                    <a:pt x="1010631" y="143405"/>
                    <a:pt x="1007854" y="136746"/>
                    <a:pt x="1004031" y="130958"/>
                  </a:cubicBezTo>
                  <a:cubicBezTo>
                    <a:pt x="1000325" y="125170"/>
                    <a:pt x="995578" y="120652"/>
                    <a:pt x="989790" y="117412"/>
                  </a:cubicBezTo>
                  <a:cubicBezTo>
                    <a:pt x="984118" y="114056"/>
                    <a:pt x="977343" y="112378"/>
                    <a:pt x="969469" y="112378"/>
                  </a:cubicBezTo>
                  <a:cubicBezTo>
                    <a:pt x="961594" y="112378"/>
                    <a:pt x="954765" y="114056"/>
                    <a:pt x="948977" y="117412"/>
                  </a:cubicBezTo>
                  <a:cubicBezTo>
                    <a:pt x="943301" y="120657"/>
                    <a:pt x="938613" y="125170"/>
                    <a:pt x="934911" y="130958"/>
                  </a:cubicBezTo>
                  <a:cubicBezTo>
                    <a:pt x="931205" y="136746"/>
                    <a:pt x="928486" y="143405"/>
                    <a:pt x="926750" y="150929"/>
                  </a:cubicBezTo>
                  <a:cubicBezTo>
                    <a:pt x="925013" y="158341"/>
                    <a:pt x="924143" y="166211"/>
                    <a:pt x="924143" y="174548"/>
                  </a:cubicBezTo>
                  <a:close/>
                  <a:moveTo>
                    <a:pt x="1133598" y="122617"/>
                  </a:moveTo>
                  <a:lnTo>
                    <a:pt x="1133598" y="270418"/>
                  </a:lnTo>
                  <a:lnTo>
                    <a:pt x="1091745" y="270418"/>
                  </a:lnTo>
                  <a:lnTo>
                    <a:pt x="1091745" y="82495"/>
                  </a:lnTo>
                  <a:lnTo>
                    <a:pt x="1131171" y="82495"/>
                  </a:lnTo>
                  <a:lnTo>
                    <a:pt x="1133603" y="122617"/>
                  </a:lnTo>
                  <a:close/>
                  <a:moveTo>
                    <a:pt x="1126132" y="169509"/>
                  </a:moveTo>
                  <a:lnTo>
                    <a:pt x="1112586" y="169334"/>
                  </a:lnTo>
                  <a:cubicBezTo>
                    <a:pt x="1112703" y="156016"/>
                    <a:pt x="1114556" y="143803"/>
                    <a:pt x="1118145" y="132690"/>
                  </a:cubicBezTo>
                  <a:cubicBezTo>
                    <a:pt x="1121852" y="121576"/>
                    <a:pt x="1126944" y="112023"/>
                    <a:pt x="1133428" y="104032"/>
                  </a:cubicBezTo>
                  <a:cubicBezTo>
                    <a:pt x="1140028" y="96041"/>
                    <a:pt x="1147902" y="89908"/>
                    <a:pt x="1157046" y="85623"/>
                  </a:cubicBezTo>
                  <a:cubicBezTo>
                    <a:pt x="1166195" y="81226"/>
                    <a:pt x="1176385" y="79022"/>
                    <a:pt x="1187615" y="79022"/>
                  </a:cubicBezTo>
                  <a:cubicBezTo>
                    <a:pt x="1196647" y="79022"/>
                    <a:pt x="1204809" y="80297"/>
                    <a:pt x="1212105" y="82840"/>
                  </a:cubicBezTo>
                  <a:cubicBezTo>
                    <a:pt x="1219517" y="85272"/>
                    <a:pt x="1225825" y="89265"/>
                    <a:pt x="1231034" y="94825"/>
                  </a:cubicBezTo>
                  <a:cubicBezTo>
                    <a:pt x="1236360" y="100384"/>
                    <a:pt x="1240412" y="107617"/>
                    <a:pt x="1243189" y="116532"/>
                  </a:cubicBezTo>
                  <a:cubicBezTo>
                    <a:pt x="1245966" y="125331"/>
                    <a:pt x="1247357" y="136157"/>
                    <a:pt x="1247357" y="149013"/>
                  </a:cubicBezTo>
                  <a:lnTo>
                    <a:pt x="1247357" y="270413"/>
                  </a:lnTo>
                  <a:lnTo>
                    <a:pt x="1205329" y="270413"/>
                  </a:lnTo>
                  <a:lnTo>
                    <a:pt x="1205329" y="148837"/>
                  </a:lnTo>
                  <a:cubicBezTo>
                    <a:pt x="1205329" y="139805"/>
                    <a:pt x="1203996" y="132685"/>
                    <a:pt x="1201336" y="127476"/>
                  </a:cubicBezTo>
                  <a:cubicBezTo>
                    <a:pt x="1198787" y="122150"/>
                    <a:pt x="1195028" y="118385"/>
                    <a:pt x="1190047" y="116187"/>
                  </a:cubicBezTo>
                  <a:cubicBezTo>
                    <a:pt x="1185183" y="113872"/>
                    <a:pt x="1179104" y="112714"/>
                    <a:pt x="1171813" y="112714"/>
                  </a:cubicBezTo>
                  <a:cubicBezTo>
                    <a:pt x="1164522" y="112714"/>
                    <a:pt x="1158209" y="114217"/>
                    <a:pt x="1152533" y="117228"/>
                  </a:cubicBezTo>
                  <a:cubicBezTo>
                    <a:pt x="1146861" y="120238"/>
                    <a:pt x="1142056" y="124348"/>
                    <a:pt x="1138116" y="129557"/>
                  </a:cubicBezTo>
                  <a:cubicBezTo>
                    <a:pt x="1134293" y="134766"/>
                    <a:pt x="1131341" y="140788"/>
                    <a:pt x="1129259" y="147621"/>
                  </a:cubicBezTo>
                  <a:cubicBezTo>
                    <a:pt x="1127178" y="154450"/>
                    <a:pt x="1126132" y="161746"/>
                    <a:pt x="1126132" y="169504"/>
                  </a:cubicBezTo>
                  <a:close/>
                  <a:moveTo>
                    <a:pt x="1346701" y="270418"/>
                  </a:moveTo>
                  <a:lnTo>
                    <a:pt x="1304843" y="270418"/>
                  </a:lnTo>
                  <a:lnTo>
                    <a:pt x="1304843" y="64436"/>
                  </a:lnTo>
                  <a:cubicBezTo>
                    <a:pt x="1304843" y="50428"/>
                    <a:pt x="1307450" y="38672"/>
                    <a:pt x="1312659" y="29178"/>
                  </a:cubicBezTo>
                  <a:cubicBezTo>
                    <a:pt x="1317985" y="19567"/>
                    <a:pt x="1325567" y="12330"/>
                    <a:pt x="1335412" y="7471"/>
                  </a:cubicBezTo>
                  <a:cubicBezTo>
                    <a:pt x="1345256" y="2490"/>
                    <a:pt x="1356890" y="0"/>
                    <a:pt x="1370319" y="0"/>
                  </a:cubicBezTo>
                  <a:cubicBezTo>
                    <a:pt x="1374488" y="0"/>
                    <a:pt x="1378597" y="292"/>
                    <a:pt x="1382649" y="871"/>
                  </a:cubicBezTo>
                  <a:cubicBezTo>
                    <a:pt x="1386701" y="1333"/>
                    <a:pt x="1390640" y="2087"/>
                    <a:pt x="1394458" y="3127"/>
                  </a:cubicBezTo>
                  <a:lnTo>
                    <a:pt x="1393418" y="35433"/>
                  </a:lnTo>
                  <a:cubicBezTo>
                    <a:pt x="1391102" y="34854"/>
                    <a:pt x="1388554" y="34450"/>
                    <a:pt x="1385776" y="34217"/>
                  </a:cubicBezTo>
                  <a:cubicBezTo>
                    <a:pt x="1383116" y="33983"/>
                    <a:pt x="1380217" y="33872"/>
                    <a:pt x="1377095" y="33872"/>
                  </a:cubicBezTo>
                  <a:cubicBezTo>
                    <a:pt x="1370728" y="33872"/>
                    <a:pt x="1365227" y="35088"/>
                    <a:pt x="1360596" y="37519"/>
                  </a:cubicBezTo>
                  <a:cubicBezTo>
                    <a:pt x="1356083" y="39835"/>
                    <a:pt x="1352605" y="43249"/>
                    <a:pt x="1350178" y="47767"/>
                  </a:cubicBezTo>
                  <a:cubicBezTo>
                    <a:pt x="1347863" y="52286"/>
                    <a:pt x="1346706" y="57840"/>
                    <a:pt x="1346706" y="64441"/>
                  </a:cubicBezTo>
                  <a:lnTo>
                    <a:pt x="1346706" y="270423"/>
                  </a:lnTo>
                  <a:close/>
                  <a:moveTo>
                    <a:pt x="1385431" y="82500"/>
                  </a:moveTo>
                  <a:lnTo>
                    <a:pt x="1385431" y="113069"/>
                  </a:lnTo>
                  <a:lnTo>
                    <a:pt x="1276015" y="113069"/>
                  </a:lnTo>
                  <a:lnTo>
                    <a:pt x="1276015" y="82500"/>
                  </a:lnTo>
                  <a:lnTo>
                    <a:pt x="1385431" y="82500"/>
                  </a:lnTo>
                  <a:close/>
                </a:path>
              </a:pathLst>
            </a:custGeom>
            <a:solidFill>
              <a:srgbClr val="EE3431"/>
            </a:solidFill>
            <a:ln w="4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6" name="Полилиния: фигура 45">
              <a:extLst>
                <a:ext uri="{FF2B5EF4-FFF2-40B4-BE49-F238E27FC236}">
                  <a16:creationId xmlns:a16="http://schemas.microsoft.com/office/drawing/2014/main" id="{EB80AEA3-6D76-4813-B83E-E98064CA7762}"/>
                </a:ext>
              </a:extLst>
            </p:cNvPr>
            <p:cNvSpPr/>
            <p:nvPr/>
          </p:nvSpPr>
          <p:spPr>
            <a:xfrm>
              <a:off x="7406975" y="5855999"/>
              <a:ext cx="1394458" cy="273890"/>
            </a:xfrm>
            <a:custGeom>
              <a:avLst/>
              <a:gdLst>
                <a:gd name="connsiteX0" fmla="*/ 157354 w 1394458"/>
                <a:gd name="connsiteY0" fmla="*/ 188093 h 273890"/>
                <a:gd name="connsiteX1" fmla="*/ 200773 w 1394458"/>
                <a:gd name="connsiteY1" fmla="*/ 188093 h 273890"/>
                <a:gd name="connsiteX2" fmla="*/ 186877 w 1394458"/>
                <a:gd name="connsiteY2" fmla="*/ 232383 h 273890"/>
                <a:gd name="connsiteX3" fmla="*/ 153706 w 1394458"/>
                <a:gd name="connsiteY3" fmla="*/ 262777 h 273890"/>
                <a:gd name="connsiteX4" fmla="*/ 101775 w 1394458"/>
                <a:gd name="connsiteY4" fmla="*/ 273891 h 273890"/>
                <a:gd name="connsiteX5" fmla="*/ 59572 w 1394458"/>
                <a:gd name="connsiteY5" fmla="*/ 265554 h 273890"/>
                <a:gd name="connsiteX6" fmla="*/ 27442 w 1394458"/>
                <a:gd name="connsiteY6" fmla="*/ 241585 h 273890"/>
                <a:gd name="connsiteX7" fmla="*/ 6950 w 1394458"/>
                <a:gd name="connsiteY7" fmla="*/ 203901 h 273890"/>
                <a:gd name="connsiteX8" fmla="*/ 0 w 1394458"/>
                <a:gd name="connsiteY8" fmla="*/ 154572 h 273890"/>
                <a:gd name="connsiteX9" fmla="*/ 0 w 1394458"/>
                <a:gd name="connsiteY9" fmla="*/ 133555 h 273890"/>
                <a:gd name="connsiteX10" fmla="*/ 7121 w 1394458"/>
                <a:gd name="connsiteY10" fmla="*/ 84231 h 273890"/>
                <a:gd name="connsiteX11" fmla="*/ 27962 w 1394458"/>
                <a:gd name="connsiteY11" fmla="*/ 46542 h 273890"/>
                <a:gd name="connsiteX12" fmla="*/ 60438 w 1394458"/>
                <a:gd name="connsiteY12" fmla="*/ 22403 h 273890"/>
                <a:gd name="connsiteX13" fmla="*/ 103336 w 1394458"/>
                <a:gd name="connsiteY13" fmla="*/ 14066 h 273890"/>
                <a:gd name="connsiteX14" fmla="*/ 154397 w 1394458"/>
                <a:gd name="connsiteY14" fmla="*/ 25180 h 273890"/>
                <a:gd name="connsiteX15" fmla="*/ 186702 w 1394458"/>
                <a:gd name="connsiteY15" fmla="*/ 55919 h 273890"/>
                <a:gd name="connsiteX16" fmla="*/ 200943 w 1394458"/>
                <a:gd name="connsiteY16" fmla="*/ 100900 h 273890"/>
                <a:gd name="connsiteX17" fmla="*/ 157524 w 1394458"/>
                <a:gd name="connsiteY17" fmla="*/ 100900 h 273890"/>
                <a:gd name="connsiteX18" fmla="*/ 149883 w 1394458"/>
                <a:gd name="connsiteY18" fmla="*/ 72938 h 273890"/>
                <a:gd name="connsiteX19" fmla="*/ 132865 w 1394458"/>
                <a:gd name="connsiteY19" fmla="*/ 55224 h 273890"/>
                <a:gd name="connsiteX20" fmla="*/ 103341 w 1394458"/>
                <a:gd name="connsiteY20" fmla="*/ 48969 h 273890"/>
                <a:gd name="connsiteX21" fmla="*/ 77291 w 1394458"/>
                <a:gd name="connsiteY21" fmla="*/ 54528 h 273890"/>
                <a:gd name="connsiteX22" fmla="*/ 58706 w 1394458"/>
                <a:gd name="connsiteY22" fmla="*/ 70856 h 273890"/>
                <a:gd name="connsiteX23" fmla="*/ 47417 w 1394458"/>
                <a:gd name="connsiteY23" fmla="*/ 97427 h 273890"/>
                <a:gd name="connsiteX24" fmla="*/ 43769 w 1394458"/>
                <a:gd name="connsiteY24" fmla="*/ 133205 h 273890"/>
                <a:gd name="connsiteX25" fmla="*/ 43769 w 1394458"/>
                <a:gd name="connsiteY25" fmla="*/ 154567 h 273890"/>
                <a:gd name="connsiteX26" fmla="*/ 47067 w 1394458"/>
                <a:gd name="connsiteY26" fmla="*/ 189304 h 273890"/>
                <a:gd name="connsiteX27" fmla="*/ 57490 w 1394458"/>
                <a:gd name="connsiteY27" fmla="*/ 215875 h 273890"/>
                <a:gd name="connsiteX28" fmla="*/ 75550 w 1394458"/>
                <a:gd name="connsiteY28" fmla="*/ 233069 h 273890"/>
                <a:gd name="connsiteX29" fmla="*/ 101775 w 1394458"/>
                <a:gd name="connsiteY29" fmla="*/ 239149 h 273890"/>
                <a:gd name="connsiteX30" fmla="*/ 131824 w 1394458"/>
                <a:gd name="connsiteY30" fmla="*/ 233244 h 273890"/>
                <a:gd name="connsiteX31" fmla="*/ 149363 w 1394458"/>
                <a:gd name="connsiteY31" fmla="*/ 216050 h 273890"/>
                <a:gd name="connsiteX32" fmla="*/ 157354 w 1394458"/>
                <a:gd name="connsiteY32" fmla="*/ 188088 h 273890"/>
                <a:gd name="connsiteX33" fmla="*/ 313837 w 1394458"/>
                <a:gd name="connsiteY33" fmla="*/ 270418 h 273890"/>
                <a:gd name="connsiteX34" fmla="*/ 259825 w 1394458"/>
                <a:gd name="connsiteY34" fmla="*/ 270418 h 273890"/>
                <a:gd name="connsiteX35" fmla="*/ 260170 w 1394458"/>
                <a:gd name="connsiteY35" fmla="*/ 235856 h 273890"/>
                <a:gd name="connsiteX36" fmla="*/ 313837 w 1394458"/>
                <a:gd name="connsiteY36" fmla="*/ 235856 h 273890"/>
                <a:gd name="connsiteX37" fmla="*/ 353088 w 1394458"/>
                <a:gd name="connsiteY37" fmla="*/ 225608 h 273890"/>
                <a:gd name="connsiteX38" fmla="*/ 377057 w 1394458"/>
                <a:gd name="connsiteY38" fmla="*/ 196255 h 273890"/>
                <a:gd name="connsiteX39" fmla="*/ 385218 w 1394458"/>
                <a:gd name="connsiteY39" fmla="*/ 150754 h 273890"/>
                <a:gd name="connsiteX40" fmla="*/ 385218 w 1394458"/>
                <a:gd name="connsiteY40" fmla="*/ 137033 h 273890"/>
                <a:gd name="connsiteX41" fmla="*/ 380530 w 1394458"/>
                <a:gd name="connsiteY41" fmla="*/ 100734 h 273890"/>
                <a:gd name="connsiteX42" fmla="*/ 366984 w 1394458"/>
                <a:gd name="connsiteY42" fmla="*/ 74163 h 273890"/>
                <a:gd name="connsiteX43" fmla="*/ 345102 w 1394458"/>
                <a:gd name="connsiteY43" fmla="*/ 57840 h 273890"/>
                <a:gd name="connsiteX44" fmla="*/ 315403 w 1394458"/>
                <a:gd name="connsiteY44" fmla="*/ 52281 h 273890"/>
                <a:gd name="connsiteX45" fmla="*/ 258784 w 1394458"/>
                <a:gd name="connsiteY45" fmla="*/ 52281 h 273890"/>
                <a:gd name="connsiteX46" fmla="*/ 258784 w 1394458"/>
                <a:gd name="connsiteY46" fmla="*/ 17544 h 273890"/>
                <a:gd name="connsiteX47" fmla="*/ 315403 w 1394458"/>
                <a:gd name="connsiteY47" fmla="*/ 17544 h 273890"/>
                <a:gd name="connsiteX48" fmla="*/ 361429 w 1394458"/>
                <a:gd name="connsiteY48" fmla="*/ 26055 h 273890"/>
                <a:gd name="connsiteX49" fmla="*/ 397383 w 1394458"/>
                <a:gd name="connsiteY49" fmla="*/ 50195 h 273890"/>
                <a:gd name="connsiteX50" fmla="*/ 420826 w 1394458"/>
                <a:gd name="connsiteY50" fmla="*/ 88054 h 273890"/>
                <a:gd name="connsiteX51" fmla="*/ 428988 w 1394458"/>
                <a:gd name="connsiteY51" fmla="*/ 137378 h 273890"/>
                <a:gd name="connsiteX52" fmla="*/ 428988 w 1394458"/>
                <a:gd name="connsiteY52" fmla="*/ 150754 h 273890"/>
                <a:gd name="connsiteX53" fmla="*/ 420826 w 1394458"/>
                <a:gd name="connsiteY53" fmla="*/ 200078 h 273890"/>
                <a:gd name="connsiteX54" fmla="*/ 397383 w 1394458"/>
                <a:gd name="connsiteY54" fmla="*/ 237938 h 273890"/>
                <a:gd name="connsiteX55" fmla="*/ 360909 w 1394458"/>
                <a:gd name="connsiteY55" fmla="*/ 262077 h 273890"/>
                <a:gd name="connsiteX56" fmla="*/ 313842 w 1394458"/>
                <a:gd name="connsiteY56" fmla="*/ 270413 h 273890"/>
                <a:gd name="connsiteX57" fmla="*/ 283964 w 1394458"/>
                <a:gd name="connsiteY57" fmla="*/ 17544 h 273890"/>
                <a:gd name="connsiteX58" fmla="*/ 283964 w 1394458"/>
                <a:gd name="connsiteY58" fmla="*/ 270418 h 273890"/>
                <a:gd name="connsiteX59" fmla="*/ 240369 w 1394458"/>
                <a:gd name="connsiteY59" fmla="*/ 270418 h 273890"/>
                <a:gd name="connsiteX60" fmla="*/ 240369 w 1394458"/>
                <a:gd name="connsiteY60" fmla="*/ 17544 h 273890"/>
                <a:gd name="connsiteX61" fmla="*/ 283964 w 1394458"/>
                <a:gd name="connsiteY61" fmla="*/ 17544 h 273890"/>
                <a:gd name="connsiteX62" fmla="*/ 519299 w 1394458"/>
                <a:gd name="connsiteY62" fmla="*/ 17544 h 273890"/>
                <a:gd name="connsiteX63" fmla="*/ 519299 w 1394458"/>
                <a:gd name="connsiteY63" fmla="*/ 270418 h 273890"/>
                <a:gd name="connsiteX64" fmla="*/ 475705 w 1394458"/>
                <a:gd name="connsiteY64" fmla="*/ 270418 h 273890"/>
                <a:gd name="connsiteX65" fmla="*/ 475705 w 1394458"/>
                <a:gd name="connsiteY65" fmla="*/ 17544 h 273890"/>
                <a:gd name="connsiteX66" fmla="*/ 519299 w 1394458"/>
                <a:gd name="connsiteY66" fmla="*/ 17544 h 273890"/>
                <a:gd name="connsiteX67" fmla="*/ 811424 w 1394458"/>
                <a:gd name="connsiteY67" fmla="*/ 188093 h 273890"/>
                <a:gd name="connsiteX68" fmla="*/ 854843 w 1394458"/>
                <a:gd name="connsiteY68" fmla="*/ 188093 h 273890"/>
                <a:gd name="connsiteX69" fmla="*/ 840947 w 1394458"/>
                <a:gd name="connsiteY69" fmla="*/ 232383 h 273890"/>
                <a:gd name="connsiteX70" fmla="*/ 807776 w 1394458"/>
                <a:gd name="connsiteY70" fmla="*/ 262777 h 273890"/>
                <a:gd name="connsiteX71" fmla="*/ 755845 w 1394458"/>
                <a:gd name="connsiteY71" fmla="*/ 273891 h 273890"/>
                <a:gd name="connsiteX72" fmla="*/ 713642 w 1394458"/>
                <a:gd name="connsiteY72" fmla="*/ 265554 h 273890"/>
                <a:gd name="connsiteX73" fmla="*/ 681512 w 1394458"/>
                <a:gd name="connsiteY73" fmla="*/ 241585 h 273890"/>
                <a:gd name="connsiteX74" fmla="*/ 661021 w 1394458"/>
                <a:gd name="connsiteY74" fmla="*/ 203901 h 273890"/>
                <a:gd name="connsiteX75" fmla="*/ 654075 w 1394458"/>
                <a:gd name="connsiteY75" fmla="*/ 154577 h 273890"/>
                <a:gd name="connsiteX76" fmla="*/ 654075 w 1394458"/>
                <a:gd name="connsiteY76" fmla="*/ 133560 h 273890"/>
                <a:gd name="connsiteX77" fmla="*/ 661196 w 1394458"/>
                <a:gd name="connsiteY77" fmla="*/ 84236 h 273890"/>
                <a:gd name="connsiteX78" fmla="*/ 682037 w 1394458"/>
                <a:gd name="connsiteY78" fmla="*/ 46547 h 273890"/>
                <a:gd name="connsiteX79" fmla="*/ 714513 w 1394458"/>
                <a:gd name="connsiteY79" fmla="*/ 22408 h 273890"/>
                <a:gd name="connsiteX80" fmla="*/ 757411 w 1394458"/>
                <a:gd name="connsiteY80" fmla="*/ 14071 h 273890"/>
                <a:gd name="connsiteX81" fmla="*/ 808472 w 1394458"/>
                <a:gd name="connsiteY81" fmla="*/ 25185 h 273890"/>
                <a:gd name="connsiteX82" fmla="*/ 840777 w 1394458"/>
                <a:gd name="connsiteY82" fmla="*/ 55924 h 273890"/>
                <a:gd name="connsiteX83" fmla="*/ 855018 w 1394458"/>
                <a:gd name="connsiteY83" fmla="*/ 100905 h 273890"/>
                <a:gd name="connsiteX84" fmla="*/ 811599 w 1394458"/>
                <a:gd name="connsiteY84" fmla="*/ 100905 h 273890"/>
                <a:gd name="connsiteX85" fmla="*/ 803958 w 1394458"/>
                <a:gd name="connsiteY85" fmla="*/ 72943 h 273890"/>
                <a:gd name="connsiteX86" fmla="*/ 786940 w 1394458"/>
                <a:gd name="connsiteY86" fmla="*/ 55229 h 273890"/>
                <a:gd name="connsiteX87" fmla="*/ 757416 w 1394458"/>
                <a:gd name="connsiteY87" fmla="*/ 48974 h 273890"/>
                <a:gd name="connsiteX88" fmla="*/ 731366 w 1394458"/>
                <a:gd name="connsiteY88" fmla="*/ 54533 h 273890"/>
                <a:gd name="connsiteX89" fmla="*/ 712781 w 1394458"/>
                <a:gd name="connsiteY89" fmla="*/ 70861 h 273890"/>
                <a:gd name="connsiteX90" fmla="*/ 701492 w 1394458"/>
                <a:gd name="connsiteY90" fmla="*/ 97432 h 273890"/>
                <a:gd name="connsiteX91" fmla="*/ 697844 w 1394458"/>
                <a:gd name="connsiteY91" fmla="*/ 133210 h 273890"/>
                <a:gd name="connsiteX92" fmla="*/ 697844 w 1394458"/>
                <a:gd name="connsiteY92" fmla="*/ 154572 h 273890"/>
                <a:gd name="connsiteX93" fmla="*/ 701142 w 1394458"/>
                <a:gd name="connsiteY93" fmla="*/ 189309 h 273890"/>
                <a:gd name="connsiteX94" fmla="*/ 711565 w 1394458"/>
                <a:gd name="connsiteY94" fmla="*/ 215880 h 273890"/>
                <a:gd name="connsiteX95" fmla="*/ 729629 w 1394458"/>
                <a:gd name="connsiteY95" fmla="*/ 233074 h 273890"/>
                <a:gd name="connsiteX96" fmla="*/ 755855 w 1394458"/>
                <a:gd name="connsiteY96" fmla="*/ 239154 h 273890"/>
                <a:gd name="connsiteX97" fmla="*/ 785904 w 1394458"/>
                <a:gd name="connsiteY97" fmla="*/ 233249 h 273890"/>
                <a:gd name="connsiteX98" fmla="*/ 803443 w 1394458"/>
                <a:gd name="connsiteY98" fmla="*/ 216055 h 273890"/>
                <a:gd name="connsiteX99" fmla="*/ 811434 w 1394458"/>
                <a:gd name="connsiteY99" fmla="*/ 188093 h 273890"/>
                <a:gd name="connsiteX100" fmla="*/ 882285 w 1394458"/>
                <a:gd name="connsiteY100" fmla="*/ 178541 h 273890"/>
                <a:gd name="connsiteX101" fmla="*/ 882285 w 1394458"/>
                <a:gd name="connsiteY101" fmla="*/ 174548 h 273890"/>
                <a:gd name="connsiteX102" fmla="*/ 888190 w 1394458"/>
                <a:gd name="connsiteY102" fmla="*/ 136858 h 273890"/>
                <a:gd name="connsiteX103" fmla="*/ 905208 w 1394458"/>
                <a:gd name="connsiteY103" fmla="*/ 106464 h 273890"/>
                <a:gd name="connsiteX104" fmla="*/ 932650 w 1394458"/>
                <a:gd name="connsiteY104" fmla="*/ 86318 h 273890"/>
                <a:gd name="connsiteX105" fmla="*/ 969469 w 1394458"/>
                <a:gd name="connsiteY105" fmla="*/ 79022 h 273890"/>
                <a:gd name="connsiteX106" fmla="*/ 1006288 w 1394458"/>
                <a:gd name="connsiteY106" fmla="*/ 86318 h 273890"/>
                <a:gd name="connsiteX107" fmla="*/ 1033899 w 1394458"/>
                <a:gd name="connsiteY107" fmla="*/ 106464 h 273890"/>
                <a:gd name="connsiteX108" fmla="*/ 1051093 w 1394458"/>
                <a:gd name="connsiteY108" fmla="*/ 136858 h 273890"/>
                <a:gd name="connsiteX109" fmla="*/ 1056998 w 1394458"/>
                <a:gd name="connsiteY109" fmla="*/ 174548 h 273890"/>
                <a:gd name="connsiteX110" fmla="*/ 1056998 w 1394458"/>
                <a:gd name="connsiteY110" fmla="*/ 178541 h 273890"/>
                <a:gd name="connsiteX111" fmla="*/ 1051093 w 1394458"/>
                <a:gd name="connsiteY111" fmla="*/ 216226 h 273890"/>
                <a:gd name="connsiteX112" fmla="*/ 1033899 w 1394458"/>
                <a:gd name="connsiteY112" fmla="*/ 246619 h 273890"/>
                <a:gd name="connsiteX113" fmla="*/ 1006458 w 1394458"/>
                <a:gd name="connsiteY113" fmla="*/ 266765 h 273890"/>
                <a:gd name="connsiteX114" fmla="*/ 969814 w 1394458"/>
                <a:gd name="connsiteY114" fmla="*/ 273886 h 273890"/>
                <a:gd name="connsiteX115" fmla="*/ 932820 w 1394458"/>
                <a:gd name="connsiteY115" fmla="*/ 266765 h 273890"/>
                <a:gd name="connsiteX116" fmla="*/ 905378 w 1394458"/>
                <a:gd name="connsiteY116" fmla="*/ 246619 h 273890"/>
                <a:gd name="connsiteX117" fmla="*/ 888185 w 1394458"/>
                <a:gd name="connsiteY117" fmla="*/ 216226 h 273890"/>
                <a:gd name="connsiteX118" fmla="*/ 882280 w 1394458"/>
                <a:gd name="connsiteY118" fmla="*/ 178541 h 273890"/>
                <a:gd name="connsiteX119" fmla="*/ 924143 w 1394458"/>
                <a:gd name="connsiteY119" fmla="*/ 174548 h 273890"/>
                <a:gd name="connsiteX120" fmla="*/ 924143 w 1394458"/>
                <a:gd name="connsiteY120" fmla="*/ 178541 h 273890"/>
                <a:gd name="connsiteX121" fmla="*/ 926750 w 1394458"/>
                <a:gd name="connsiteY121" fmla="*/ 202510 h 273890"/>
                <a:gd name="connsiteX122" fmla="*/ 934911 w 1394458"/>
                <a:gd name="connsiteY122" fmla="*/ 222310 h 273890"/>
                <a:gd name="connsiteX123" fmla="*/ 949152 w 1394458"/>
                <a:gd name="connsiteY123" fmla="*/ 235681 h 273890"/>
                <a:gd name="connsiteX124" fmla="*/ 969819 w 1394458"/>
                <a:gd name="connsiteY124" fmla="*/ 240545 h 273890"/>
                <a:gd name="connsiteX125" fmla="*/ 989965 w 1394458"/>
                <a:gd name="connsiteY125" fmla="*/ 235681 h 273890"/>
                <a:gd name="connsiteX126" fmla="*/ 1004206 w 1394458"/>
                <a:gd name="connsiteY126" fmla="*/ 222310 h 273890"/>
                <a:gd name="connsiteX127" fmla="*/ 1012367 w 1394458"/>
                <a:gd name="connsiteY127" fmla="*/ 202510 h 273890"/>
                <a:gd name="connsiteX128" fmla="*/ 1015145 w 1394458"/>
                <a:gd name="connsiteY128" fmla="*/ 178541 h 273890"/>
                <a:gd name="connsiteX129" fmla="*/ 1015145 w 1394458"/>
                <a:gd name="connsiteY129" fmla="*/ 174548 h 273890"/>
                <a:gd name="connsiteX130" fmla="*/ 1012367 w 1394458"/>
                <a:gd name="connsiteY130" fmla="*/ 150929 h 273890"/>
                <a:gd name="connsiteX131" fmla="*/ 1004031 w 1394458"/>
                <a:gd name="connsiteY131" fmla="*/ 130958 h 273890"/>
                <a:gd name="connsiteX132" fmla="*/ 989790 w 1394458"/>
                <a:gd name="connsiteY132" fmla="*/ 117412 h 273890"/>
                <a:gd name="connsiteX133" fmla="*/ 969469 w 1394458"/>
                <a:gd name="connsiteY133" fmla="*/ 112373 h 273890"/>
                <a:gd name="connsiteX134" fmla="*/ 948977 w 1394458"/>
                <a:gd name="connsiteY134" fmla="*/ 117412 h 273890"/>
                <a:gd name="connsiteX135" fmla="*/ 934911 w 1394458"/>
                <a:gd name="connsiteY135" fmla="*/ 130958 h 273890"/>
                <a:gd name="connsiteX136" fmla="*/ 926750 w 1394458"/>
                <a:gd name="connsiteY136" fmla="*/ 150929 h 273890"/>
                <a:gd name="connsiteX137" fmla="*/ 924143 w 1394458"/>
                <a:gd name="connsiteY137" fmla="*/ 174548 h 273890"/>
                <a:gd name="connsiteX138" fmla="*/ 1133598 w 1394458"/>
                <a:gd name="connsiteY138" fmla="*/ 122617 h 273890"/>
                <a:gd name="connsiteX139" fmla="*/ 1133598 w 1394458"/>
                <a:gd name="connsiteY139" fmla="*/ 270418 h 273890"/>
                <a:gd name="connsiteX140" fmla="*/ 1091745 w 1394458"/>
                <a:gd name="connsiteY140" fmla="*/ 270418 h 273890"/>
                <a:gd name="connsiteX141" fmla="*/ 1091745 w 1394458"/>
                <a:gd name="connsiteY141" fmla="*/ 82495 h 273890"/>
                <a:gd name="connsiteX142" fmla="*/ 1131171 w 1394458"/>
                <a:gd name="connsiteY142" fmla="*/ 82495 h 273890"/>
                <a:gd name="connsiteX143" fmla="*/ 1133603 w 1394458"/>
                <a:gd name="connsiteY143" fmla="*/ 122617 h 273890"/>
                <a:gd name="connsiteX144" fmla="*/ 1126132 w 1394458"/>
                <a:gd name="connsiteY144" fmla="*/ 169509 h 273890"/>
                <a:gd name="connsiteX145" fmla="*/ 1112586 w 1394458"/>
                <a:gd name="connsiteY145" fmla="*/ 169334 h 273890"/>
                <a:gd name="connsiteX146" fmla="*/ 1118145 w 1394458"/>
                <a:gd name="connsiteY146" fmla="*/ 132690 h 273890"/>
                <a:gd name="connsiteX147" fmla="*/ 1133428 w 1394458"/>
                <a:gd name="connsiteY147" fmla="*/ 104032 h 273890"/>
                <a:gd name="connsiteX148" fmla="*/ 1157046 w 1394458"/>
                <a:gd name="connsiteY148" fmla="*/ 85623 h 273890"/>
                <a:gd name="connsiteX149" fmla="*/ 1187615 w 1394458"/>
                <a:gd name="connsiteY149" fmla="*/ 79022 h 273890"/>
                <a:gd name="connsiteX150" fmla="*/ 1212105 w 1394458"/>
                <a:gd name="connsiteY150" fmla="*/ 82840 h 273890"/>
                <a:gd name="connsiteX151" fmla="*/ 1231034 w 1394458"/>
                <a:gd name="connsiteY151" fmla="*/ 94825 h 273890"/>
                <a:gd name="connsiteX152" fmla="*/ 1243189 w 1394458"/>
                <a:gd name="connsiteY152" fmla="*/ 116532 h 273890"/>
                <a:gd name="connsiteX153" fmla="*/ 1247357 w 1394458"/>
                <a:gd name="connsiteY153" fmla="*/ 149008 h 273890"/>
                <a:gd name="connsiteX154" fmla="*/ 1247357 w 1394458"/>
                <a:gd name="connsiteY154" fmla="*/ 270408 h 273890"/>
                <a:gd name="connsiteX155" fmla="*/ 1205329 w 1394458"/>
                <a:gd name="connsiteY155" fmla="*/ 270408 h 273890"/>
                <a:gd name="connsiteX156" fmla="*/ 1205329 w 1394458"/>
                <a:gd name="connsiteY156" fmla="*/ 148833 h 273890"/>
                <a:gd name="connsiteX157" fmla="*/ 1201336 w 1394458"/>
                <a:gd name="connsiteY157" fmla="*/ 127471 h 273890"/>
                <a:gd name="connsiteX158" fmla="*/ 1190047 w 1394458"/>
                <a:gd name="connsiteY158" fmla="*/ 116182 h 273890"/>
                <a:gd name="connsiteX159" fmla="*/ 1171813 w 1394458"/>
                <a:gd name="connsiteY159" fmla="*/ 112709 h 273890"/>
                <a:gd name="connsiteX160" fmla="*/ 1152533 w 1394458"/>
                <a:gd name="connsiteY160" fmla="*/ 117223 h 273890"/>
                <a:gd name="connsiteX161" fmla="*/ 1138116 w 1394458"/>
                <a:gd name="connsiteY161" fmla="*/ 129552 h 273890"/>
                <a:gd name="connsiteX162" fmla="*/ 1129259 w 1394458"/>
                <a:gd name="connsiteY162" fmla="*/ 147617 h 273890"/>
                <a:gd name="connsiteX163" fmla="*/ 1126132 w 1394458"/>
                <a:gd name="connsiteY163" fmla="*/ 169499 h 273890"/>
                <a:gd name="connsiteX164" fmla="*/ 1346701 w 1394458"/>
                <a:gd name="connsiteY164" fmla="*/ 270418 h 273890"/>
                <a:gd name="connsiteX165" fmla="*/ 1304843 w 1394458"/>
                <a:gd name="connsiteY165" fmla="*/ 270418 h 273890"/>
                <a:gd name="connsiteX166" fmla="*/ 1304843 w 1394458"/>
                <a:gd name="connsiteY166" fmla="*/ 64436 h 273890"/>
                <a:gd name="connsiteX167" fmla="*/ 1312659 w 1394458"/>
                <a:gd name="connsiteY167" fmla="*/ 29178 h 273890"/>
                <a:gd name="connsiteX168" fmla="*/ 1335412 w 1394458"/>
                <a:gd name="connsiteY168" fmla="*/ 7471 h 273890"/>
                <a:gd name="connsiteX169" fmla="*/ 1370319 w 1394458"/>
                <a:gd name="connsiteY169" fmla="*/ 0 h 273890"/>
                <a:gd name="connsiteX170" fmla="*/ 1382649 w 1394458"/>
                <a:gd name="connsiteY170" fmla="*/ 871 h 273890"/>
                <a:gd name="connsiteX171" fmla="*/ 1394458 w 1394458"/>
                <a:gd name="connsiteY171" fmla="*/ 3127 h 273890"/>
                <a:gd name="connsiteX172" fmla="*/ 1393418 w 1394458"/>
                <a:gd name="connsiteY172" fmla="*/ 35433 h 273890"/>
                <a:gd name="connsiteX173" fmla="*/ 1385776 w 1394458"/>
                <a:gd name="connsiteY173" fmla="*/ 34217 h 273890"/>
                <a:gd name="connsiteX174" fmla="*/ 1377095 w 1394458"/>
                <a:gd name="connsiteY174" fmla="*/ 33867 h 273890"/>
                <a:gd name="connsiteX175" fmla="*/ 1360596 w 1394458"/>
                <a:gd name="connsiteY175" fmla="*/ 37515 h 273890"/>
                <a:gd name="connsiteX176" fmla="*/ 1350178 w 1394458"/>
                <a:gd name="connsiteY176" fmla="*/ 47763 h 273890"/>
                <a:gd name="connsiteX177" fmla="*/ 1346706 w 1394458"/>
                <a:gd name="connsiteY177" fmla="*/ 64436 h 273890"/>
                <a:gd name="connsiteX178" fmla="*/ 1346706 w 1394458"/>
                <a:gd name="connsiteY178" fmla="*/ 270418 h 273890"/>
                <a:gd name="connsiteX179" fmla="*/ 1385431 w 1394458"/>
                <a:gd name="connsiteY179" fmla="*/ 82500 h 273890"/>
                <a:gd name="connsiteX180" fmla="*/ 1385431 w 1394458"/>
                <a:gd name="connsiteY180" fmla="*/ 113069 h 273890"/>
                <a:gd name="connsiteX181" fmla="*/ 1276015 w 1394458"/>
                <a:gd name="connsiteY181" fmla="*/ 113069 h 273890"/>
                <a:gd name="connsiteX182" fmla="*/ 1276015 w 1394458"/>
                <a:gd name="connsiteY182" fmla="*/ 82500 h 273890"/>
                <a:gd name="connsiteX183" fmla="*/ 1385431 w 1394458"/>
                <a:gd name="connsiteY183" fmla="*/ 82500 h 2738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</a:cxnLst>
              <a:rect l="l" t="t" r="r" b="b"/>
              <a:pathLst>
                <a:path w="1394458" h="273890">
                  <a:moveTo>
                    <a:pt x="157354" y="188093"/>
                  </a:moveTo>
                  <a:lnTo>
                    <a:pt x="200773" y="188093"/>
                  </a:lnTo>
                  <a:cubicBezTo>
                    <a:pt x="199382" y="204650"/>
                    <a:pt x="194752" y="219411"/>
                    <a:pt x="186877" y="232383"/>
                  </a:cubicBezTo>
                  <a:cubicBezTo>
                    <a:pt x="179003" y="245233"/>
                    <a:pt x="167947" y="255365"/>
                    <a:pt x="153706" y="262777"/>
                  </a:cubicBezTo>
                  <a:cubicBezTo>
                    <a:pt x="139465" y="270185"/>
                    <a:pt x="122155" y="273891"/>
                    <a:pt x="101775" y="273891"/>
                  </a:cubicBezTo>
                  <a:cubicBezTo>
                    <a:pt x="86143" y="273891"/>
                    <a:pt x="72077" y="271114"/>
                    <a:pt x="59572" y="265554"/>
                  </a:cubicBezTo>
                  <a:cubicBezTo>
                    <a:pt x="47067" y="259878"/>
                    <a:pt x="36357" y="251892"/>
                    <a:pt x="27442" y="241585"/>
                  </a:cubicBezTo>
                  <a:cubicBezTo>
                    <a:pt x="18526" y="231167"/>
                    <a:pt x="11697" y="218604"/>
                    <a:pt x="6950" y="203901"/>
                  </a:cubicBezTo>
                  <a:cubicBezTo>
                    <a:pt x="2315" y="189192"/>
                    <a:pt x="0" y="172753"/>
                    <a:pt x="0" y="154572"/>
                  </a:cubicBezTo>
                  <a:lnTo>
                    <a:pt x="0" y="133555"/>
                  </a:lnTo>
                  <a:cubicBezTo>
                    <a:pt x="0" y="115379"/>
                    <a:pt x="2374" y="98935"/>
                    <a:pt x="7121" y="84231"/>
                  </a:cubicBezTo>
                  <a:cubicBezTo>
                    <a:pt x="11984" y="69528"/>
                    <a:pt x="18930" y="56965"/>
                    <a:pt x="27962" y="46542"/>
                  </a:cubicBezTo>
                  <a:cubicBezTo>
                    <a:pt x="36994" y="36007"/>
                    <a:pt x="47816" y="27957"/>
                    <a:pt x="60438" y="22403"/>
                  </a:cubicBezTo>
                  <a:cubicBezTo>
                    <a:pt x="73171" y="16843"/>
                    <a:pt x="87471" y="14066"/>
                    <a:pt x="103336" y="14066"/>
                  </a:cubicBezTo>
                  <a:cubicBezTo>
                    <a:pt x="123482" y="14066"/>
                    <a:pt x="140506" y="17772"/>
                    <a:pt x="154397" y="25180"/>
                  </a:cubicBezTo>
                  <a:cubicBezTo>
                    <a:pt x="168293" y="32592"/>
                    <a:pt x="179056" y="42836"/>
                    <a:pt x="186702" y="55919"/>
                  </a:cubicBezTo>
                  <a:cubicBezTo>
                    <a:pt x="194460" y="69003"/>
                    <a:pt x="199207" y="83998"/>
                    <a:pt x="200943" y="100900"/>
                  </a:cubicBezTo>
                  <a:lnTo>
                    <a:pt x="157524" y="100900"/>
                  </a:lnTo>
                  <a:cubicBezTo>
                    <a:pt x="156367" y="90015"/>
                    <a:pt x="153818" y="80695"/>
                    <a:pt x="149883" y="72938"/>
                  </a:cubicBezTo>
                  <a:cubicBezTo>
                    <a:pt x="146065" y="65180"/>
                    <a:pt x="140389" y="59275"/>
                    <a:pt x="132865" y="55224"/>
                  </a:cubicBezTo>
                  <a:cubicBezTo>
                    <a:pt x="125340" y="51055"/>
                    <a:pt x="115496" y="48969"/>
                    <a:pt x="103341" y="48969"/>
                  </a:cubicBezTo>
                  <a:cubicBezTo>
                    <a:pt x="93385" y="48969"/>
                    <a:pt x="84698" y="50822"/>
                    <a:pt x="77291" y="54528"/>
                  </a:cubicBezTo>
                  <a:cubicBezTo>
                    <a:pt x="69878" y="58234"/>
                    <a:pt x="63687" y="63677"/>
                    <a:pt x="58706" y="70856"/>
                  </a:cubicBezTo>
                  <a:cubicBezTo>
                    <a:pt x="53730" y="78035"/>
                    <a:pt x="49966" y="86892"/>
                    <a:pt x="47417" y="97427"/>
                  </a:cubicBezTo>
                  <a:cubicBezTo>
                    <a:pt x="44985" y="107845"/>
                    <a:pt x="43769" y="119771"/>
                    <a:pt x="43769" y="133205"/>
                  </a:cubicBezTo>
                  <a:lnTo>
                    <a:pt x="43769" y="154567"/>
                  </a:lnTo>
                  <a:cubicBezTo>
                    <a:pt x="43769" y="167305"/>
                    <a:pt x="44869" y="178881"/>
                    <a:pt x="47067" y="189304"/>
                  </a:cubicBezTo>
                  <a:cubicBezTo>
                    <a:pt x="49382" y="199611"/>
                    <a:pt x="52855" y="208468"/>
                    <a:pt x="57490" y="215875"/>
                  </a:cubicBezTo>
                  <a:cubicBezTo>
                    <a:pt x="62237" y="223288"/>
                    <a:pt x="68259" y="229017"/>
                    <a:pt x="75550" y="233069"/>
                  </a:cubicBezTo>
                  <a:cubicBezTo>
                    <a:pt x="82845" y="237120"/>
                    <a:pt x="91585" y="239149"/>
                    <a:pt x="101775" y="239149"/>
                  </a:cubicBezTo>
                  <a:cubicBezTo>
                    <a:pt x="114163" y="239149"/>
                    <a:pt x="124178" y="237179"/>
                    <a:pt x="131824" y="233244"/>
                  </a:cubicBezTo>
                  <a:cubicBezTo>
                    <a:pt x="139582" y="229304"/>
                    <a:pt x="145428" y="223575"/>
                    <a:pt x="149363" y="216050"/>
                  </a:cubicBezTo>
                  <a:cubicBezTo>
                    <a:pt x="153414" y="208409"/>
                    <a:pt x="156080" y="199090"/>
                    <a:pt x="157354" y="188088"/>
                  </a:cubicBezTo>
                  <a:close/>
                  <a:moveTo>
                    <a:pt x="313837" y="270418"/>
                  </a:moveTo>
                  <a:lnTo>
                    <a:pt x="259825" y="270418"/>
                  </a:lnTo>
                  <a:lnTo>
                    <a:pt x="260170" y="235856"/>
                  </a:lnTo>
                  <a:lnTo>
                    <a:pt x="313837" y="235856"/>
                  </a:lnTo>
                  <a:cubicBezTo>
                    <a:pt x="329469" y="235856"/>
                    <a:pt x="342553" y="232441"/>
                    <a:pt x="353088" y="225608"/>
                  </a:cubicBezTo>
                  <a:cubicBezTo>
                    <a:pt x="363740" y="218779"/>
                    <a:pt x="371731" y="208993"/>
                    <a:pt x="377057" y="196255"/>
                  </a:cubicBezTo>
                  <a:cubicBezTo>
                    <a:pt x="382499" y="183516"/>
                    <a:pt x="385218" y="168351"/>
                    <a:pt x="385218" y="150754"/>
                  </a:cubicBezTo>
                  <a:lnTo>
                    <a:pt x="385218" y="137033"/>
                  </a:lnTo>
                  <a:cubicBezTo>
                    <a:pt x="385218" y="123371"/>
                    <a:pt x="383657" y="111269"/>
                    <a:pt x="380530" y="100734"/>
                  </a:cubicBezTo>
                  <a:cubicBezTo>
                    <a:pt x="377519" y="90199"/>
                    <a:pt x="373005" y="81342"/>
                    <a:pt x="366984" y="74163"/>
                  </a:cubicBezTo>
                  <a:cubicBezTo>
                    <a:pt x="361079" y="66984"/>
                    <a:pt x="353784" y="61542"/>
                    <a:pt x="345102" y="57840"/>
                  </a:cubicBezTo>
                  <a:cubicBezTo>
                    <a:pt x="336532" y="54134"/>
                    <a:pt x="326634" y="52281"/>
                    <a:pt x="315403" y="52281"/>
                  </a:cubicBezTo>
                  <a:lnTo>
                    <a:pt x="258784" y="52281"/>
                  </a:lnTo>
                  <a:lnTo>
                    <a:pt x="258784" y="17544"/>
                  </a:lnTo>
                  <a:lnTo>
                    <a:pt x="315403" y="17544"/>
                  </a:lnTo>
                  <a:cubicBezTo>
                    <a:pt x="332193" y="17544"/>
                    <a:pt x="347534" y="20379"/>
                    <a:pt x="361429" y="26055"/>
                  </a:cubicBezTo>
                  <a:cubicBezTo>
                    <a:pt x="375325" y="31615"/>
                    <a:pt x="387310" y="39660"/>
                    <a:pt x="397383" y="50195"/>
                  </a:cubicBezTo>
                  <a:cubicBezTo>
                    <a:pt x="407572" y="60730"/>
                    <a:pt x="415389" y="73351"/>
                    <a:pt x="420826" y="88054"/>
                  </a:cubicBezTo>
                  <a:cubicBezTo>
                    <a:pt x="426269" y="102758"/>
                    <a:pt x="428988" y="119202"/>
                    <a:pt x="428988" y="137378"/>
                  </a:cubicBezTo>
                  <a:lnTo>
                    <a:pt x="428988" y="150754"/>
                  </a:lnTo>
                  <a:cubicBezTo>
                    <a:pt x="428988" y="168930"/>
                    <a:pt x="426269" y="185374"/>
                    <a:pt x="420826" y="200078"/>
                  </a:cubicBezTo>
                  <a:cubicBezTo>
                    <a:pt x="415384" y="214781"/>
                    <a:pt x="407568" y="227403"/>
                    <a:pt x="397383" y="237938"/>
                  </a:cubicBezTo>
                  <a:cubicBezTo>
                    <a:pt x="387193" y="248356"/>
                    <a:pt x="375038" y="256405"/>
                    <a:pt x="360909" y="262077"/>
                  </a:cubicBezTo>
                  <a:cubicBezTo>
                    <a:pt x="346896" y="267636"/>
                    <a:pt x="331211" y="270413"/>
                    <a:pt x="313842" y="270413"/>
                  </a:cubicBezTo>
                  <a:close/>
                  <a:moveTo>
                    <a:pt x="283964" y="17544"/>
                  </a:moveTo>
                  <a:lnTo>
                    <a:pt x="283964" y="270418"/>
                  </a:lnTo>
                  <a:lnTo>
                    <a:pt x="240369" y="270418"/>
                  </a:lnTo>
                  <a:lnTo>
                    <a:pt x="240369" y="17544"/>
                  </a:lnTo>
                  <a:lnTo>
                    <a:pt x="283964" y="17544"/>
                  </a:lnTo>
                  <a:close/>
                  <a:moveTo>
                    <a:pt x="519299" y="17544"/>
                  </a:moveTo>
                  <a:lnTo>
                    <a:pt x="519299" y="270418"/>
                  </a:lnTo>
                  <a:lnTo>
                    <a:pt x="475705" y="270418"/>
                  </a:lnTo>
                  <a:lnTo>
                    <a:pt x="475705" y="17544"/>
                  </a:lnTo>
                  <a:lnTo>
                    <a:pt x="519299" y="17544"/>
                  </a:lnTo>
                  <a:close/>
                  <a:moveTo>
                    <a:pt x="811424" y="188093"/>
                  </a:moveTo>
                  <a:lnTo>
                    <a:pt x="854843" y="188093"/>
                  </a:lnTo>
                  <a:cubicBezTo>
                    <a:pt x="853452" y="204650"/>
                    <a:pt x="848822" y="219411"/>
                    <a:pt x="840947" y="232383"/>
                  </a:cubicBezTo>
                  <a:cubicBezTo>
                    <a:pt x="833073" y="245233"/>
                    <a:pt x="822017" y="255365"/>
                    <a:pt x="807776" y="262777"/>
                  </a:cubicBezTo>
                  <a:cubicBezTo>
                    <a:pt x="793535" y="270185"/>
                    <a:pt x="776225" y="273891"/>
                    <a:pt x="755845" y="273891"/>
                  </a:cubicBezTo>
                  <a:cubicBezTo>
                    <a:pt x="740213" y="273891"/>
                    <a:pt x="726147" y="271114"/>
                    <a:pt x="713642" y="265554"/>
                  </a:cubicBezTo>
                  <a:cubicBezTo>
                    <a:pt x="701137" y="259878"/>
                    <a:pt x="690427" y="251892"/>
                    <a:pt x="681512" y="241585"/>
                  </a:cubicBezTo>
                  <a:cubicBezTo>
                    <a:pt x="672596" y="231167"/>
                    <a:pt x="665768" y="218604"/>
                    <a:pt x="661021" y="203901"/>
                  </a:cubicBezTo>
                  <a:cubicBezTo>
                    <a:pt x="656390" y="189197"/>
                    <a:pt x="654075" y="172753"/>
                    <a:pt x="654075" y="154577"/>
                  </a:cubicBezTo>
                  <a:lnTo>
                    <a:pt x="654075" y="133560"/>
                  </a:lnTo>
                  <a:cubicBezTo>
                    <a:pt x="654075" y="115384"/>
                    <a:pt x="656449" y="98940"/>
                    <a:pt x="661196" y="84236"/>
                  </a:cubicBezTo>
                  <a:cubicBezTo>
                    <a:pt x="666059" y="69533"/>
                    <a:pt x="673005" y="56970"/>
                    <a:pt x="682037" y="46547"/>
                  </a:cubicBezTo>
                  <a:cubicBezTo>
                    <a:pt x="691069" y="36012"/>
                    <a:pt x="701891" y="27962"/>
                    <a:pt x="714513" y="22408"/>
                  </a:cubicBezTo>
                  <a:cubicBezTo>
                    <a:pt x="727246" y="16848"/>
                    <a:pt x="741546" y="14071"/>
                    <a:pt x="757411" y="14071"/>
                  </a:cubicBezTo>
                  <a:cubicBezTo>
                    <a:pt x="777557" y="14071"/>
                    <a:pt x="794581" y="17777"/>
                    <a:pt x="808472" y="25185"/>
                  </a:cubicBezTo>
                  <a:cubicBezTo>
                    <a:pt x="822368" y="32597"/>
                    <a:pt x="833131" y="42840"/>
                    <a:pt x="840777" y="55924"/>
                  </a:cubicBezTo>
                  <a:cubicBezTo>
                    <a:pt x="848535" y="69008"/>
                    <a:pt x="853282" y="84003"/>
                    <a:pt x="855018" y="100905"/>
                  </a:cubicBezTo>
                  <a:lnTo>
                    <a:pt x="811599" y="100905"/>
                  </a:lnTo>
                  <a:cubicBezTo>
                    <a:pt x="810442" y="90019"/>
                    <a:pt x="807893" y="80700"/>
                    <a:pt x="803958" y="72943"/>
                  </a:cubicBezTo>
                  <a:cubicBezTo>
                    <a:pt x="800140" y="65185"/>
                    <a:pt x="794464" y="59280"/>
                    <a:pt x="786940" y="55229"/>
                  </a:cubicBezTo>
                  <a:cubicBezTo>
                    <a:pt x="779415" y="51060"/>
                    <a:pt x="769571" y="48974"/>
                    <a:pt x="757416" y="48974"/>
                  </a:cubicBezTo>
                  <a:cubicBezTo>
                    <a:pt x="747460" y="48974"/>
                    <a:pt x="738773" y="50827"/>
                    <a:pt x="731366" y="54533"/>
                  </a:cubicBezTo>
                  <a:cubicBezTo>
                    <a:pt x="723953" y="58239"/>
                    <a:pt x="717762" y="63682"/>
                    <a:pt x="712781" y="70861"/>
                  </a:cubicBezTo>
                  <a:cubicBezTo>
                    <a:pt x="707801" y="78040"/>
                    <a:pt x="704041" y="86897"/>
                    <a:pt x="701492" y="97432"/>
                  </a:cubicBezTo>
                  <a:cubicBezTo>
                    <a:pt x="699060" y="107850"/>
                    <a:pt x="697844" y="119776"/>
                    <a:pt x="697844" y="133210"/>
                  </a:cubicBezTo>
                  <a:lnTo>
                    <a:pt x="697844" y="154572"/>
                  </a:lnTo>
                  <a:cubicBezTo>
                    <a:pt x="697844" y="167310"/>
                    <a:pt x="698944" y="178886"/>
                    <a:pt x="701142" y="189309"/>
                  </a:cubicBezTo>
                  <a:cubicBezTo>
                    <a:pt x="703457" y="199616"/>
                    <a:pt x="706930" y="208473"/>
                    <a:pt x="711565" y="215880"/>
                  </a:cubicBezTo>
                  <a:cubicBezTo>
                    <a:pt x="716312" y="223293"/>
                    <a:pt x="722334" y="229022"/>
                    <a:pt x="729629" y="233074"/>
                  </a:cubicBezTo>
                  <a:cubicBezTo>
                    <a:pt x="736925" y="237125"/>
                    <a:pt x="745665" y="239154"/>
                    <a:pt x="755855" y="239154"/>
                  </a:cubicBezTo>
                  <a:cubicBezTo>
                    <a:pt x="768243" y="239154"/>
                    <a:pt x="778258" y="237184"/>
                    <a:pt x="785904" y="233249"/>
                  </a:cubicBezTo>
                  <a:cubicBezTo>
                    <a:pt x="793661" y="229309"/>
                    <a:pt x="799508" y="223580"/>
                    <a:pt x="803443" y="216055"/>
                  </a:cubicBezTo>
                  <a:cubicBezTo>
                    <a:pt x="807494" y="208414"/>
                    <a:pt x="810159" y="199095"/>
                    <a:pt x="811434" y="188093"/>
                  </a:cubicBezTo>
                  <a:close/>
                  <a:moveTo>
                    <a:pt x="882285" y="178541"/>
                  </a:moveTo>
                  <a:lnTo>
                    <a:pt x="882285" y="174548"/>
                  </a:lnTo>
                  <a:cubicBezTo>
                    <a:pt x="882285" y="161002"/>
                    <a:pt x="884255" y="148439"/>
                    <a:pt x="888190" y="136858"/>
                  </a:cubicBezTo>
                  <a:cubicBezTo>
                    <a:pt x="892124" y="125165"/>
                    <a:pt x="897800" y="115034"/>
                    <a:pt x="905208" y="106464"/>
                  </a:cubicBezTo>
                  <a:cubicBezTo>
                    <a:pt x="912732" y="97782"/>
                    <a:pt x="921881" y="91065"/>
                    <a:pt x="932650" y="86318"/>
                  </a:cubicBezTo>
                  <a:cubicBezTo>
                    <a:pt x="943535" y="81454"/>
                    <a:pt x="955806" y="79022"/>
                    <a:pt x="969469" y="79022"/>
                  </a:cubicBezTo>
                  <a:cubicBezTo>
                    <a:pt x="983131" y="79022"/>
                    <a:pt x="995519" y="81454"/>
                    <a:pt x="1006288" y="86318"/>
                  </a:cubicBezTo>
                  <a:cubicBezTo>
                    <a:pt x="1017173" y="91065"/>
                    <a:pt x="1026375" y="97782"/>
                    <a:pt x="1033899" y="106464"/>
                  </a:cubicBezTo>
                  <a:cubicBezTo>
                    <a:pt x="1041424" y="115034"/>
                    <a:pt x="1047158" y="125165"/>
                    <a:pt x="1051093" y="136858"/>
                  </a:cubicBezTo>
                  <a:cubicBezTo>
                    <a:pt x="1055028" y="148434"/>
                    <a:pt x="1056998" y="160997"/>
                    <a:pt x="1056998" y="174548"/>
                  </a:cubicBezTo>
                  <a:lnTo>
                    <a:pt x="1056998" y="178541"/>
                  </a:lnTo>
                  <a:cubicBezTo>
                    <a:pt x="1056998" y="192086"/>
                    <a:pt x="1055028" y="204650"/>
                    <a:pt x="1051093" y="216226"/>
                  </a:cubicBezTo>
                  <a:cubicBezTo>
                    <a:pt x="1047153" y="227806"/>
                    <a:pt x="1041424" y="237938"/>
                    <a:pt x="1033899" y="246619"/>
                  </a:cubicBezTo>
                  <a:cubicBezTo>
                    <a:pt x="1026375" y="255189"/>
                    <a:pt x="1017226" y="261902"/>
                    <a:pt x="1006458" y="266765"/>
                  </a:cubicBezTo>
                  <a:cubicBezTo>
                    <a:pt x="995689" y="271512"/>
                    <a:pt x="983476" y="273886"/>
                    <a:pt x="969814" y="273886"/>
                  </a:cubicBezTo>
                  <a:cubicBezTo>
                    <a:pt x="956151" y="273886"/>
                    <a:pt x="943705" y="271512"/>
                    <a:pt x="932820" y="266765"/>
                  </a:cubicBezTo>
                  <a:cubicBezTo>
                    <a:pt x="922051" y="261902"/>
                    <a:pt x="912907" y="255189"/>
                    <a:pt x="905378" y="246619"/>
                  </a:cubicBezTo>
                  <a:cubicBezTo>
                    <a:pt x="897854" y="237938"/>
                    <a:pt x="892119" y="227806"/>
                    <a:pt x="888185" y="216226"/>
                  </a:cubicBezTo>
                  <a:cubicBezTo>
                    <a:pt x="884245" y="204650"/>
                    <a:pt x="882280" y="192086"/>
                    <a:pt x="882280" y="178541"/>
                  </a:cubicBezTo>
                  <a:close/>
                  <a:moveTo>
                    <a:pt x="924143" y="174548"/>
                  </a:moveTo>
                  <a:lnTo>
                    <a:pt x="924143" y="178541"/>
                  </a:lnTo>
                  <a:cubicBezTo>
                    <a:pt x="924143" y="186994"/>
                    <a:pt x="925013" y="194980"/>
                    <a:pt x="926750" y="202510"/>
                  </a:cubicBezTo>
                  <a:cubicBezTo>
                    <a:pt x="928486" y="210034"/>
                    <a:pt x="931210" y="216634"/>
                    <a:pt x="934911" y="222310"/>
                  </a:cubicBezTo>
                  <a:cubicBezTo>
                    <a:pt x="938617" y="227981"/>
                    <a:pt x="943365" y="232441"/>
                    <a:pt x="949152" y="235681"/>
                  </a:cubicBezTo>
                  <a:cubicBezTo>
                    <a:pt x="954940" y="238925"/>
                    <a:pt x="961832" y="240545"/>
                    <a:pt x="969819" y="240545"/>
                  </a:cubicBezTo>
                  <a:cubicBezTo>
                    <a:pt x="977805" y="240545"/>
                    <a:pt x="984293" y="238925"/>
                    <a:pt x="989965" y="235681"/>
                  </a:cubicBezTo>
                  <a:cubicBezTo>
                    <a:pt x="995753" y="232441"/>
                    <a:pt x="1000500" y="227981"/>
                    <a:pt x="1004206" y="222310"/>
                  </a:cubicBezTo>
                  <a:cubicBezTo>
                    <a:pt x="1007912" y="216634"/>
                    <a:pt x="1010631" y="210039"/>
                    <a:pt x="1012367" y="202510"/>
                  </a:cubicBezTo>
                  <a:cubicBezTo>
                    <a:pt x="1014220" y="194985"/>
                    <a:pt x="1015145" y="186994"/>
                    <a:pt x="1015145" y="178541"/>
                  </a:cubicBezTo>
                  <a:lnTo>
                    <a:pt x="1015145" y="174548"/>
                  </a:lnTo>
                  <a:cubicBezTo>
                    <a:pt x="1015145" y="166211"/>
                    <a:pt x="1014220" y="158336"/>
                    <a:pt x="1012367" y="150929"/>
                  </a:cubicBezTo>
                  <a:cubicBezTo>
                    <a:pt x="1010631" y="143405"/>
                    <a:pt x="1007854" y="136746"/>
                    <a:pt x="1004031" y="130958"/>
                  </a:cubicBezTo>
                  <a:cubicBezTo>
                    <a:pt x="1000325" y="125170"/>
                    <a:pt x="995578" y="120652"/>
                    <a:pt x="989790" y="117412"/>
                  </a:cubicBezTo>
                  <a:cubicBezTo>
                    <a:pt x="984118" y="114056"/>
                    <a:pt x="977343" y="112373"/>
                    <a:pt x="969469" y="112373"/>
                  </a:cubicBezTo>
                  <a:cubicBezTo>
                    <a:pt x="961594" y="112373"/>
                    <a:pt x="954765" y="114051"/>
                    <a:pt x="948977" y="117412"/>
                  </a:cubicBezTo>
                  <a:cubicBezTo>
                    <a:pt x="943301" y="120657"/>
                    <a:pt x="938613" y="125170"/>
                    <a:pt x="934911" y="130958"/>
                  </a:cubicBezTo>
                  <a:cubicBezTo>
                    <a:pt x="931205" y="136746"/>
                    <a:pt x="928486" y="143405"/>
                    <a:pt x="926750" y="150929"/>
                  </a:cubicBezTo>
                  <a:cubicBezTo>
                    <a:pt x="925013" y="158336"/>
                    <a:pt x="924143" y="166211"/>
                    <a:pt x="924143" y="174548"/>
                  </a:cubicBezTo>
                  <a:close/>
                  <a:moveTo>
                    <a:pt x="1133598" y="122617"/>
                  </a:moveTo>
                  <a:lnTo>
                    <a:pt x="1133598" y="270418"/>
                  </a:lnTo>
                  <a:lnTo>
                    <a:pt x="1091745" y="270418"/>
                  </a:lnTo>
                  <a:lnTo>
                    <a:pt x="1091745" y="82495"/>
                  </a:lnTo>
                  <a:lnTo>
                    <a:pt x="1131171" y="82495"/>
                  </a:lnTo>
                  <a:lnTo>
                    <a:pt x="1133603" y="122617"/>
                  </a:lnTo>
                  <a:close/>
                  <a:moveTo>
                    <a:pt x="1126132" y="169509"/>
                  </a:moveTo>
                  <a:lnTo>
                    <a:pt x="1112586" y="169334"/>
                  </a:lnTo>
                  <a:cubicBezTo>
                    <a:pt x="1112703" y="156016"/>
                    <a:pt x="1114556" y="143803"/>
                    <a:pt x="1118145" y="132690"/>
                  </a:cubicBezTo>
                  <a:cubicBezTo>
                    <a:pt x="1121852" y="121576"/>
                    <a:pt x="1126944" y="112023"/>
                    <a:pt x="1133428" y="104032"/>
                  </a:cubicBezTo>
                  <a:cubicBezTo>
                    <a:pt x="1140028" y="96046"/>
                    <a:pt x="1147902" y="89908"/>
                    <a:pt x="1157046" y="85623"/>
                  </a:cubicBezTo>
                  <a:cubicBezTo>
                    <a:pt x="1166195" y="81226"/>
                    <a:pt x="1176385" y="79022"/>
                    <a:pt x="1187615" y="79022"/>
                  </a:cubicBezTo>
                  <a:cubicBezTo>
                    <a:pt x="1196647" y="79022"/>
                    <a:pt x="1204809" y="80297"/>
                    <a:pt x="1212105" y="82840"/>
                  </a:cubicBezTo>
                  <a:cubicBezTo>
                    <a:pt x="1219517" y="85272"/>
                    <a:pt x="1225825" y="89265"/>
                    <a:pt x="1231034" y="94825"/>
                  </a:cubicBezTo>
                  <a:cubicBezTo>
                    <a:pt x="1236360" y="100384"/>
                    <a:pt x="1240412" y="107617"/>
                    <a:pt x="1243189" y="116532"/>
                  </a:cubicBezTo>
                  <a:cubicBezTo>
                    <a:pt x="1245966" y="125331"/>
                    <a:pt x="1247357" y="136157"/>
                    <a:pt x="1247357" y="149008"/>
                  </a:cubicBezTo>
                  <a:lnTo>
                    <a:pt x="1247357" y="270408"/>
                  </a:lnTo>
                  <a:lnTo>
                    <a:pt x="1205329" y="270408"/>
                  </a:lnTo>
                  <a:lnTo>
                    <a:pt x="1205329" y="148833"/>
                  </a:lnTo>
                  <a:cubicBezTo>
                    <a:pt x="1205329" y="139800"/>
                    <a:pt x="1203996" y="132680"/>
                    <a:pt x="1201336" y="127471"/>
                  </a:cubicBezTo>
                  <a:cubicBezTo>
                    <a:pt x="1198787" y="122145"/>
                    <a:pt x="1195028" y="118380"/>
                    <a:pt x="1190047" y="116182"/>
                  </a:cubicBezTo>
                  <a:cubicBezTo>
                    <a:pt x="1185183" y="113867"/>
                    <a:pt x="1179104" y="112709"/>
                    <a:pt x="1171813" y="112709"/>
                  </a:cubicBezTo>
                  <a:cubicBezTo>
                    <a:pt x="1164522" y="112709"/>
                    <a:pt x="1158209" y="114212"/>
                    <a:pt x="1152533" y="117223"/>
                  </a:cubicBezTo>
                  <a:cubicBezTo>
                    <a:pt x="1146861" y="120233"/>
                    <a:pt x="1142056" y="124343"/>
                    <a:pt x="1138116" y="129552"/>
                  </a:cubicBezTo>
                  <a:cubicBezTo>
                    <a:pt x="1134293" y="134762"/>
                    <a:pt x="1131341" y="140783"/>
                    <a:pt x="1129259" y="147617"/>
                  </a:cubicBezTo>
                  <a:cubicBezTo>
                    <a:pt x="1127178" y="154445"/>
                    <a:pt x="1126132" y="161741"/>
                    <a:pt x="1126132" y="169499"/>
                  </a:cubicBezTo>
                  <a:close/>
                  <a:moveTo>
                    <a:pt x="1346701" y="270418"/>
                  </a:moveTo>
                  <a:lnTo>
                    <a:pt x="1304843" y="270418"/>
                  </a:lnTo>
                  <a:lnTo>
                    <a:pt x="1304843" y="64436"/>
                  </a:lnTo>
                  <a:cubicBezTo>
                    <a:pt x="1304843" y="50428"/>
                    <a:pt x="1307450" y="38672"/>
                    <a:pt x="1312659" y="29178"/>
                  </a:cubicBezTo>
                  <a:cubicBezTo>
                    <a:pt x="1317985" y="19567"/>
                    <a:pt x="1325567" y="12330"/>
                    <a:pt x="1335412" y="7471"/>
                  </a:cubicBezTo>
                  <a:cubicBezTo>
                    <a:pt x="1345256" y="2490"/>
                    <a:pt x="1356890" y="0"/>
                    <a:pt x="1370319" y="0"/>
                  </a:cubicBezTo>
                  <a:cubicBezTo>
                    <a:pt x="1374488" y="0"/>
                    <a:pt x="1378597" y="292"/>
                    <a:pt x="1382649" y="871"/>
                  </a:cubicBezTo>
                  <a:cubicBezTo>
                    <a:pt x="1386701" y="1333"/>
                    <a:pt x="1390640" y="2087"/>
                    <a:pt x="1394458" y="3127"/>
                  </a:cubicBezTo>
                  <a:lnTo>
                    <a:pt x="1393418" y="35433"/>
                  </a:lnTo>
                  <a:cubicBezTo>
                    <a:pt x="1391102" y="34854"/>
                    <a:pt x="1388554" y="34450"/>
                    <a:pt x="1385776" y="34217"/>
                  </a:cubicBezTo>
                  <a:cubicBezTo>
                    <a:pt x="1383116" y="33983"/>
                    <a:pt x="1380217" y="33867"/>
                    <a:pt x="1377095" y="33867"/>
                  </a:cubicBezTo>
                  <a:cubicBezTo>
                    <a:pt x="1370728" y="33867"/>
                    <a:pt x="1365227" y="35083"/>
                    <a:pt x="1360596" y="37515"/>
                  </a:cubicBezTo>
                  <a:cubicBezTo>
                    <a:pt x="1356083" y="39830"/>
                    <a:pt x="1352605" y="43244"/>
                    <a:pt x="1350178" y="47763"/>
                  </a:cubicBezTo>
                  <a:cubicBezTo>
                    <a:pt x="1347863" y="52281"/>
                    <a:pt x="1346706" y="57836"/>
                    <a:pt x="1346706" y="64436"/>
                  </a:cubicBezTo>
                  <a:lnTo>
                    <a:pt x="1346706" y="270418"/>
                  </a:lnTo>
                  <a:close/>
                  <a:moveTo>
                    <a:pt x="1385431" y="82500"/>
                  </a:moveTo>
                  <a:lnTo>
                    <a:pt x="1385431" y="113069"/>
                  </a:lnTo>
                  <a:lnTo>
                    <a:pt x="1276015" y="113069"/>
                  </a:lnTo>
                  <a:lnTo>
                    <a:pt x="1276015" y="82500"/>
                  </a:lnTo>
                  <a:lnTo>
                    <a:pt x="1385431" y="82500"/>
                  </a:lnTo>
                  <a:close/>
                </a:path>
              </a:pathLst>
            </a:custGeom>
            <a:solidFill>
              <a:schemeClr val="tx1"/>
            </a:solidFill>
            <a:ln w="4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7" name="Полилиния: фигура 46">
              <a:extLst>
                <a:ext uri="{FF2B5EF4-FFF2-40B4-BE49-F238E27FC236}">
                  <a16:creationId xmlns:a16="http://schemas.microsoft.com/office/drawing/2014/main" id="{0E6F0FB0-99D0-4190-B058-29B8184B7C5F}"/>
                </a:ext>
              </a:extLst>
            </p:cNvPr>
            <p:cNvSpPr/>
            <p:nvPr/>
          </p:nvSpPr>
          <p:spPr>
            <a:xfrm>
              <a:off x="8902858" y="5892336"/>
              <a:ext cx="774600" cy="259834"/>
            </a:xfrm>
            <a:custGeom>
              <a:avLst/>
              <a:gdLst>
                <a:gd name="connsiteX0" fmla="*/ 174372 w 774600"/>
                <a:gd name="connsiteY0" fmla="*/ 223015 h 259834"/>
                <a:gd name="connsiteX1" fmla="*/ 174372 w 774600"/>
                <a:gd name="connsiteY1" fmla="*/ 256362 h 259834"/>
                <a:gd name="connsiteX2" fmla="*/ 4859 w 774600"/>
                <a:gd name="connsiteY2" fmla="*/ 256362 h 259834"/>
                <a:gd name="connsiteX3" fmla="*/ 4859 w 774600"/>
                <a:gd name="connsiteY3" fmla="*/ 227704 h 259834"/>
                <a:gd name="connsiteX4" fmla="*/ 87193 w 774600"/>
                <a:gd name="connsiteY4" fmla="*/ 137913 h 259834"/>
                <a:gd name="connsiteX5" fmla="*/ 108541 w 774600"/>
                <a:gd name="connsiteY5" fmla="*/ 111513 h 259834"/>
                <a:gd name="connsiteX6" fmla="*/ 119499 w 774600"/>
                <a:gd name="connsiteY6" fmla="*/ 91542 h 259834"/>
                <a:gd name="connsiteX7" fmla="*/ 122797 w 774600"/>
                <a:gd name="connsiteY7" fmla="*/ 73998 h 259834"/>
                <a:gd name="connsiteX8" fmla="*/ 118278 w 774600"/>
                <a:gd name="connsiteY8" fmla="*/ 52981 h 259834"/>
                <a:gd name="connsiteX9" fmla="*/ 105413 w 774600"/>
                <a:gd name="connsiteY9" fmla="*/ 38565 h 259834"/>
                <a:gd name="connsiteX10" fmla="*/ 84752 w 774600"/>
                <a:gd name="connsiteY10" fmla="*/ 33181 h 259834"/>
                <a:gd name="connsiteX11" fmla="*/ 61138 w 774600"/>
                <a:gd name="connsiteY11" fmla="*/ 39261 h 259834"/>
                <a:gd name="connsiteX12" fmla="*/ 46712 w 774600"/>
                <a:gd name="connsiteY12" fmla="*/ 56109 h 259834"/>
                <a:gd name="connsiteX13" fmla="*/ 41853 w 774600"/>
                <a:gd name="connsiteY13" fmla="*/ 80423 h 259834"/>
                <a:gd name="connsiteX14" fmla="*/ 0 w 774600"/>
                <a:gd name="connsiteY14" fmla="*/ 80423 h 259834"/>
                <a:gd name="connsiteX15" fmla="*/ 10083 w 774600"/>
                <a:gd name="connsiteY15" fmla="*/ 40131 h 259834"/>
                <a:gd name="connsiteX16" fmla="*/ 39261 w 774600"/>
                <a:gd name="connsiteY16" fmla="*/ 10953 h 259834"/>
                <a:gd name="connsiteX17" fmla="*/ 85272 w 774600"/>
                <a:gd name="connsiteY17" fmla="*/ 10 h 259834"/>
                <a:gd name="connsiteX18" fmla="*/ 128346 w 774600"/>
                <a:gd name="connsiteY18" fmla="*/ 8521 h 259834"/>
                <a:gd name="connsiteX19" fmla="*/ 155277 w 774600"/>
                <a:gd name="connsiteY19" fmla="*/ 32660 h 259834"/>
                <a:gd name="connsiteX20" fmla="*/ 164654 w 774600"/>
                <a:gd name="connsiteY20" fmla="*/ 69655 h 259834"/>
                <a:gd name="connsiteX21" fmla="*/ 160827 w 774600"/>
                <a:gd name="connsiteY21" fmla="*/ 93103 h 259834"/>
                <a:gd name="connsiteX22" fmla="*/ 149888 w 774600"/>
                <a:gd name="connsiteY22" fmla="*/ 116376 h 259834"/>
                <a:gd name="connsiteX23" fmla="*/ 133400 w 774600"/>
                <a:gd name="connsiteY23" fmla="*/ 139475 h 259834"/>
                <a:gd name="connsiteX24" fmla="*/ 112378 w 774600"/>
                <a:gd name="connsiteY24" fmla="*/ 162748 h 259834"/>
                <a:gd name="connsiteX25" fmla="*/ 57675 w 774600"/>
                <a:gd name="connsiteY25" fmla="*/ 223015 h 259834"/>
                <a:gd name="connsiteX26" fmla="*/ 174377 w 774600"/>
                <a:gd name="connsiteY26" fmla="*/ 223015 h 259834"/>
                <a:gd name="connsiteX27" fmla="*/ 371848 w 774600"/>
                <a:gd name="connsiteY27" fmla="*/ 108735 h 259834"/>
                <a:gd name="connsiteX28" fmla="*/ 371848 w 774600"/>
                <a:gd name="connsiteY28" fmla="*/ 150068 h 259834"/>
                <a:gd name="connsiteX29" fmla="*/ 365938 w 774600"/>
                <a:gd name="connsiteY29" fmla="*/ 200783 h 259834"/>
                <a:gd name="connsiteX30" fmla="*/ 349260 w 774600"/>
                <a:gd name="connsiteY30" fmla="*/ 234650 h 259834"/>
                <a:gd name="connsiteX31" fmla="*/ 323035 w 774600"/>
                <a:gd name="connsiteY31" fmla="*/ 253755 h 259834"/>
                <a:gd name="connsiteX32" fmla="*/ 289168 w 774600"/>
                <a:gd name="connsiteY32" fmla="*/ 259834 h 259834"/>
                <a:gd name="connsiteX33" fmla="*/ 261381 w 774600"/>
                <a:gd name="connsiteY33" fmla="*/ 256011 h 259834"/>
                <a:gd name="connsiteX34" fmla="*/ 238468 w 774600"/>
                <a:gd name="connsiteY34" fmla="*/ 244027 h 259834"/>
                <a:gd name="connsiteX35" fmla="*/ 220914 w 774600"/>
                <a:gd name="connsiteY35" fmla="*/ 223011 h 259834"/>
                <a:gd name="connsiteX36" fmla="*/ 209800 w 774600"/>
                <a:gd name="connsiteY36" fmla="*/ 191921 h 259834"/>
                <a:gd name="connsiteX37" fmla="*/ 205972 w 774600"/>
                <a:gd name="connsiteY37" fmla="*/ 150063 h 259834"/>
                <a:gd name="connsiteX38" fmla="*/ 205972 w 774600"/>
                <a:gd name="connsiteY38" fmla="*/ 108730 h 259834"/>
                <a:gd name="connsiteX39" fmla="*/ 211882 w 774600"/>
                <a:gd name="connsiteY39" fmla="*/ 58366 h 259834"/>
                <a:gd name="connsiteX40" fmla="*/ 228730 w 774600"/>
                <a:gd name="connsiteY40" fmla="*/ 24844 h 259834"/>
                <a:gd name="connsiteX41" fmla="*/ 254786 w 774600"/>
                <a:gd name="connsiteY41" fmla="*/ 5914 h 259834"/>
                <a:gd name="connsiteX42" fmla="*/ 288827 w 774600"/>
                <a:gd name="connsiteY42" fmla="*/ 10 h 259834"/>
                <a:gd name="connsiteX43" fmla="*/ 316614 w 774600"/>
                <a:gd name="connsiteY43" fmla="*/ 3833 h 259834"/>
                <a:gd name="connsiteX44" fmla="*/ 339542 w 774600"/>
                <a:gd name="connsiteY44" fmla="*/ 15467 h 259834"/>
                <a:gd name="connsiteX45" fmla="*/ 356906 w 774600"/>
                <a:gd name="connsiteY45" fmla="*/ 36308 h 259834"/>
                <a:gd name="connsiteX46" fmla="*/ 368020 w 774600"/>
                <a:gd name="connsiteY46" fmla="*/ 67048 h 259834"/>
                <a:gd name="connsiteX47" fmla="*/ 371848 w 774600"/>
                <a:gd name="connsiteY47" fmla="*/ 108730 h 259834"/>
                <a:gd name="connsiteX48" fmla="*/ 329995 w 774600"/>
                <a:gd name="connsiteY48" fmla="*/ 155978 h 259834"/>
                <a:gd name="connsiteX49" fmla="*/ 329995 w 774600"/>
                <a:gd name="connsiteY49" fmla="*/ 102485 h 259834"/>
                <a:gd name="connsiteX50" fmla="*/ 328258 w 774600"/>
                <a:gd name="connsiteY50" fmla="*/ 75914 h 259834"/>
                <a:gd name="connsiteX51" fmla="*/ 323039 w 774600"/>
                <a:gd name="connsiteY51" fmla="*/ 56289 h 259834"/>
                <a:gd name="connsiteX52" fmla="*/ 314708 w 774600"/>
                <a:gd name="connsiteY52" fmla="*/ 43088 h 259834"/>
                <a:gd name="connsiteX53" fmla="*/ 303234 w 774600"/>
                <a:gd name="connsiteY53" fmla="*/ 35623 h 259834"/>
                <a:gd name="connsiteX54" fmla="*/ 288823 w 774600"/>
                <a:gd name="connsiteY54" fmla="*/ 33191 h 259834"/>
                <a:gd name="connsiteX55" fmla="*/ 271459 w 774600"/>
                <a:gd name="connsiteY55" fmla="*/ 37014 h 259834"/>
                <a:gd name="connsiteX56" fmla="*/ 258613 w 774600"/>
                <a:gd name="connsiteY56" fmla="*/ 48823 h 259834"/>
                <a:gd name="connsiteX57" fmla="*/ 250608 w 774600"/>
                <a:gd name="connsiteY57" fmla="*/ 70360 h 259834"/>
                <a:gd name="connsiteX58" fmla="*/ 248015 w 774600"/>
                <a:gd name="connsiteY58" fmla="*/ 102490 h 259834"/>
                <a:gd name="connsiteX59" fmla="*/ 248015 w 774600"/>
                <a:gd name="connsiteY59" fmla="*/ 155982 h 259834"/>
                <a:gd name="connsiteX60" fmla="*/ 249752 w 774600"/>
                <a:gd name="connsiteY60" fmla="*/ 182904 h 259834"/>
                <a:gd name="connsiteX61" fmla="*/ 254956 w 774600"/>
                <a:gd name="connsiteY61" fmla="*/ 202874 h 259834"/>
                <a:gd name="connsiteX62" fmla="*/ 263302 w 774600"/>
                <a:gd name="connsiteY62" fmla="*/ 216420 h 259834"/>
                <a:gd name="connsiteX63" fmla="*/ 274756 w 774600"/>
                <a:gd name="connsiteY63" fmla="*/ 224061 h 259834"/>
                <a:gd name="connsiteX64" fmla="*/ 289168 w 774600"/>
                <a:gd name="connsiteY64" fmla="*/ 226493 h 259834"/>
                <a:gd name="connsiteX65" fmla="*/ 306721 w 774600"/>
                <a:gd name="connsiteY65" fmla="*/ 222670 h 259834"/>
                <a:gd name="connsiteX66" fmla="*/ 319567 w 774600"/>
                <a:gd name="connsiteY66" fmla="*/ 210511 h 259834"/>
                <a:gd name="connsiteX67" fmla="*/ 327383 w 774600"/>
                <a:gd name="connsiteY67" fmla="*/ 188453 h 259834"/>
                <a:gd name="connsiteX68" fmla="*/ 329995 w 774600"/>
                <a:gd name="connsiteY68" fmla="*/ 155978 h 259834"/>
                <a:gd name="connsiteX69" fmla="*/ 578701 w 774600"/>
                <a:gd name="connsiteY69" fmla="*/ 223015 h 259834"/>
                <a:gd name="connsiteX70" fmla="*/ 578701 w 774600"/>
                <a:gd name="connsiteY70" fmla="*/ 256362 h 259834"/>
                <a:gd name="connsiteX71" fmla="*/ 409187 w 774600"/>
                <a:gd name="connsiteY71" fmla="*/ 256362 h 259834"/>
                <a:gd name="connsiteX72" fmla="*/ 409187 w 774600"/>
                <a:gd name="connsiteY72" fmla="*/ 227704 h 259834"/>
                <a:gd name="connsiteX73" fmla="*/ 491507 w 774600"/>
                <a:gd name="connsiteY73" fmla="*/ 137913 h 259834"/>
                <a:gd name="connsiteX74" fmla="*/ 512874 w 774600"/>
                <a:gd name="connsiteY74" fmla="*/ 111513 h 259834"/>
                <a:gd name="connsiteX75" fmla="*/ 523813 w 774600"/>
                <a:gd name="connsiteY75" fmla="*/ 91542 h 259834"/>
                <a:gd name="connsiteX76" fmla="*/ 527110 w 774600"/>
                <a:gd name="connsiteY76" fmla="*/ 73998 h 259834"/>
                <a:gd name="connsiteX77" fmla="*/ 522592 w 774600"/>
                <a:gd name="connsiteY77" fmla="*/ 52981 h 259834"/>
                <a:gd name="connsiteX78" fmla="*/ 509746 w 774600"/>
                <a:gd name="connsiteY78" fmla="*/ 38565 h 259834"/>
                <a:gd name="connsiteX79" fmla="*/ 489085 w 774600"/>
                <a:gd name="connsiteY79" fmla="*/ 33181 h 259834"/>
                <a:gd name="connsiteX80" fmla="*/ 465452 w 774600"/>
                <a:gd name="connsiteY80" fmla="*/ 39261 h 259834"/>
                <a:gd name="connsiteX81" fmla="*/ 451040 w 774600"/>
                <a:gd name="connsiteY81" fmla="*/ 56109 h 259834"/>
                <a:gd name="connsiteX82" fmla="*/ 446181 w 774600"/>
                <a:gd name="connsiteY82" fmla="*/ 80423 h 259834"/>
                <a:gd name="connsiteX83" fmla="*/ 404328 w 774600"/>
                <a:gd name="connsiteY83" fmla="*/ 80423 h 259834"/>
                <a:gd name="connsiteX84" fmla="*/ 414391 w 774600"/>
                <a:gd name="connsiteY84" fmla="*/ 40131 h 259834"/>
                <a:gd name="connsiteX85" fmla="*/ 443569 w 774600"/>
                <a:gd name="connsiteY85" fmla="*/ 10953 h 259834"/>
                <a:gd name="connsiteX86" fmla="*/ 489596 w 774600"/>
                <a:gd name="connsiteY86" fmla="*/ 10 h 259834"/>
                <a:gd name="connsiteX87" fmla="*/ 532670 w 774600"/>
                <a:gd name="connsiteY87" fmla="*/ 8521 h 259834"/>
                <a:gd name="connsiteX88" fmla="*/ 559581 w 774600"/>
                <a:gd name="connsiteY88" fmla="*/ 32660 h 259834"/>
                <a:gd name="connsiteX89" fmla="*/ 568958 w 774600"/>
                <a:gd name="connsiteY89" fmla="*/ 69655 h 259834"/>
                <a:gd name="connsiteX90" fmla="*/ 565145 w 774600"/>
                <a:gd name="connsiteY90" fmla="*/ 93103 h 259834"/>
                <a:gd name="connsiteX91" fmla="*/ 554207 w 774600"/>
                <a:gd name="connsiteY91" fmla="*/ 116376 h 259834"/>
                <a:gd name="connsiteX92" fmla="*/ 537704 w 774600"/>
                <a:gd name="connsiteY92" fmla="*/ 139475 h 259834"/>
                <a:gd name="connsiteX93" fmla="*/ 516697 w 774600"/>
                <a:gd name="connsiteY93" fmla="*/ 162748 h 259834"/>
                <a:gd name="connsiteX94" fmla="*/ 461979 w 774600"/>
                <a:gd name="connsiteY94" fmla="*/ 223015 h 259834"/>
                <a:gd name="connsiteX95" fmla="*/ 578701 w 774600"/>
                <a:gd name="connsiteY95" fmla="*/ 223015 h 259834"/>
                <a:gd name="connsiteX96" fmla="*/ 660505 w 774600"/>
                <a:gd name="connsiteY96" fmla="*/ 110992 h 259834"/>
                <a:gd name="connsiteX97" fmla="*/ 685510 w 774600"/>
                <a:gd name="connsiteY97" fmla="*/ 110992 h 259834"/>
                <a:gd name="connsiteX98" fmla="*/ 709639 w 774600"/>
                <a:gd name="connsiteY98" fmla="*/ 105953 h 259834"/>
                <a:gd name="connsiteX99" fmla="*/ 724065 w 774600"/>
                <a:gd name="connsiteY99" fmla="*/ 92057 h 259834"/>
                <a:gd name="connsiteX100" fmla="*/ 728754 w 774600"/>
                <a:gd name="connsiteY100" fmla="*/ 71736 h 259834"/>
                <a:gd name="connsiteX101" fmla="*/ 724411 w 774600"/>
                <a:gd name="connsiteY101" fmla="*/ 51240 h 259834"/>
                <a:gd name="connsiteX102" fmla="*/ 711565 w 774600"/>
                <a:gd name="connsiteY102" fmla="*/ 37865 h 259834"/>
                <a:gd name="connsiteX103" fmla="*/ 689858 w 774600"/>
                <a:gd name="connsiteY103" fmla="*/ 33176 h 259834"/>
                <a:gd name="connsiteX104" fmla="*/ 669712 w 774600"/>
                <a:gd name="connsiteY104" fmla="*/ 37690 h 259834"/>
                <a:gd name="connsiteX105" fmla="*/ 655626 w 774600"/>
                <a:gd name="connsiteY105" fmla="*/ 50195 h 259834"/>
                <a:gd name="connsiteX106" fmla="*/ 650422 w 774600"/>
                <a:gd name="connsiteY106" fmla="*/ 69300 h 259834"/>
                <a:gd name="connsiteX107" fmla="*/ 608394 w 774600"/>
                <a:gd name="connsiteY107" fmla="*/ 69300 h 259834"/>
                <a:gd name="connsiteX108" fmla="*/ 618992 w 774600"/>
                <a:gd name="connsiteY108" fmla="*/ 33521 h 259834"/>
                <a:gd name="connsiteX109" fmla="*/ 647810 w 774600"/>
                <a:gd name="connsiteY109" fmla="*/ 9032 h 259834"/>
                <a:gd name="connsiteX110" fmla="*/ 689148 w 774600"/>
                <a:gd name="connsiteY110" fmla="*/ 0 h 259834"/>
                <a:gd name="connsiteX111" fmla="*/ 731876 w 774600"/>
                <a:gd name="connsiteY111" fmla="*/ 8161 h 259834"/>
                <a:gd name="connsiteX112" fmla="*/ 760524 w 774600"/>
                <a:gd name="connsiteY112" fmla="*/ 32130 h 259834"/>
                <a:gd name="connsiteX113" fmla="*/ 770777 w 774600"/>
                <a:gd name="connsiteY113" fmla="*/ 71731 h 259834"/>
                <a:gd name="connsiteX114" fmla="*/ 765743 w 774600"/>
                <a:gd name="connsiteY114" fmla="*/ 93614 h 259834"/>
                <a:gd name="connsiteX115" fmla="*/ 750802 w 774600"/>
                <a:gd name="connsiteY115" fmla="*/ 113935 h 259834"/>
                <a:gd name="connsiteX116" fmla="*/ 726137 w 774600"/>
                <a:gd name="connsiteY116" fmla="*/ 128696 h 259834"/>
                <a:gd name="connsiteX117" fmla="*/ 691925 w 774600"/>
                <a:gd name="connsiteY117" fmla="*/ 134256 h 259834"/>
                <a:gd name="connsiteX118" fmla="*/ 660495 w 774600"/>
                <a:gd name="connsiteY118" fmla="*/ 134256 h 259834"/>
                <a:gd name="connsiteX119" fmla="*/ 660495 w 774600"/>
                <a:gd name="connsiteY119" fmla="*/ 110982 h 259834"/>
                <a:gd name="connsiteX120" fmla="*/ 660505 w 774600"/>
                <a:gd name="connsiteY120" fmla="*/ 143643 h 259834"/>
                <a:gd name="connsiteX121" fmla="*/ 660505 w 774600"/>
                <a:gd name="connsiteY121" fmla="*/ 120715 h 259834"/>
                <a:gd name="connsiteX122" fmla="*/ 691935 w 774600"/>
                <a:gd name="connsiteY122" fmla="*/ 120715 h 259834"/>
                <a:gd name="connsiteX123" fmla="*/ 729790 w 774600"/>
                <a:gd name="connsiteY123" fmla="*/ 125924 h 259834"/>
                <a:gd name="connsiteX124" fmla="*/ 755500 w 774600"/>
                <a:gd name="connsiteY124" fmla="*/ 140340 h 259834"/>
                <a:gd name="connsiteX125" fmla="*/ 769911 w 774600"/>
                <a:gd name="connsiteY125" fmla="*/ 161007 h 259834"/>
                <a:gd name="connsiteX126" fmla="*/ 774600 w 774600"/>
                <a:gd name="connsiteY126" fmla="*/ 185671 h 259834"/>
                <a:gd name="connsiteX127" fmla="*/ 768175 w 774600"/>
                <a:gd name="connsiteY127" fmla="*/ 217281 h 259834"/>
                <a:gd name="connsiteX128" fmla="*/ 750296 w 774600"/>
                <a:gd name="connsiteY128" fmla="*/ 240554 h 259834"/>
                <a:gd name="connsiteX129" fmla="*/ 723024 w 774600"/>
                <a:gd name="connsiteY129" fmla="*/ 254971 h 259834"/>
                <a:gd name="connsiteX130" fmla="*/ 689328 w 774600"/>
                <a:gd name="connsiteY130" fmla="*/ 259834 h 259834"/>
                <a:gd name="connsiteX131" fmla="*/ 658068 w 774600"/>
                <a:gd name="connsiteY131" fmla="*/ 255316 h 259834"/>
                <a:gd name="connsiteX132" fmla="*/ 631327 w 774600"/>
                <a:gd name="connsiteY132" fmla="*/ 241945 h 259834"/>
                <a:gd name="connsiteX133" fmla="*/ 612572 w 774600"/>
                <a:gd name="connsiteY133" fmla="*/ 219543 h 259834"/>
                <a:gd name="connsiteX134" fmla="*/ 605787 w 774600"/>
                <a:gd name="connsiteY134" fmla="*/ 188283 h 259834"/>
                <a:gd name="connsiteX135" fmla="*/ 647640 w 774600"/>
                <a:gd name="connsiteY135" fmla="*/ 188283 h 259834"/>
                <a:gd name="connsiteX136" fmla="*/ 652859 w 774600"/>
                <a:gd name="connsiteY136" fmla="*/ 208254 h 259834"/>
                <a:gd name="connsiteX137" fmla="*/ 667786 w 774600"/>
                <a:gd name="connsiteY137" fmla="*/ 221624 h 259834"/>
                <a:gd name="connsiteX138" fmla="*/ 690028 w 774600"/>
                <a:gd name="connsiteY138" fmla="*/ 226488 h 259834"/>
                <a:gd name="connsiteX139" fmla="*/ 712767 w 774600"/>
                <a:gd name="connsiteY139" fmla="*/ 221799 h 259834"/>
                <a:gd name="connsiteX140" fmla="*/ 727363 w 774600"/>
                <a:gd name="connsiteY140" fmla="*/ 207904 h 259834"/>
                <a:gd name="connsiteX141" fmla="*/ 732567 w 774600"/>
                <a:gd name="connsiteY141" fmla="*/ 185671 h 259834"/>
                <a:gd name="connsiteX142" fmla="*/ 726847 w 774600"/>
                <a:gd name="connsiteY142" fmla="*/ 161702 h 259834"/>
                <a:gd name="connsiteX143" fmla="*/ 710515 w 774600"/>
                <a:gd name="connsiteY143" fmla="*/ 148157 h 259834"/>
                <a:gd name="connsiteX144" fmla="*/ 685510 w 774600"/>
                <a:gd name="connsiteY144" fmla="*/ 143643 h 259834"/>
                <a:gd name="connsiteX145" fmla="*/ 660505 w 774600"/>
                <a:gd name="connsiteY145" fmla="*/ 143643 h 2598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</a:cxnLst>
              <a:rect l="l" t="t" r="r" b="b"/>
              <a:pathLst>
                <a:path w="774600" h="259834">
                  <a:moveTo>
                    <a:pt x="174372" y="223015"/>
                  </a:moveTo>
                  <a:lnTo>
                    <a:pt x="174372" y="256362"/>
                  </a:lnTo>
                  <a:lnTo>
                    <a:pt x="4859" y="256362"/>
                  </a:lnTo>
                  <a:lnTo>
                    <a:pt x="4859" y="227704"/>
                  </a:lnTo>
                  <a:lnTo>
                    <a:pt x="87193" y="137913"/>
                  </a:lnTo>
                  <a:cubicBezTo>
                    <a:pt x="96211" y="127724"/>
                    <a:pt x="103336" y="118925"/>
                    <a:pt x="108541" y="111513"/>
                  </a:cubicBezTo>
                  <a:cubicBezTo>
                    <a:pt x="113760" y="104100"/>
                    <a:pt x="117403" y="97446"/>
                    <a:pt x="119499" y="91542"/>
                  </a:cubicBezTo>
                  <a:cubicBezTo>
                    <a:pt x="121697" y="85520"/>
                    <a:pt x="122797" y="79674"/>
                    <a:pt x="122797" y="73998"/>
                  </a:cubicBezTo>
                  <a:cubicBezTo>
                    <a:pt x="122797" y="66012"/>
                    <a:pt x="121284" y="59003"/>
                    <a:pt x="118278" y="52981"/>
                  </a:cubicBezTo>
                  <a:cubicBezTo>
                    <a:pt x="115374" y="46843"/>
                    <a:pt x="111099" y="42038"/>
                    <a:pt x="105413" y="38565"/>
                  </a:cubicBezTo>
                  <a:cubicBezTo>
                    <a:pt x="99747" y="34976"/>
                    <a:pt x="92860" y="33181"/>
                    <a:pt x="84752" y="33181"/>
                  </a:cubicBezTo>
                  <a:cubicBezTo>
                    <a:pt x="75374" y="33181"/>
                    <a:pt x="67510" y="35209"/>
                    <a:pt x="61138" y="39261"/>
                  </a:cubicBezTo>
                  <a:cubicBezTo>
                    <a:pt x="54766" y="43312"/>
                    <a:pt x="49956" y="48930"/>
                    <a:pt x="46712" y="56109"/>
                  </a:cubicBezTo>
                  <a:cubicBezTo>
                    <a:pt x="43482" y="63171"/>
                    <a:pt x="41853" y="71279"/>
                    <a:pt x="41853" y="80423"/>
                  </a:cubicBezTo>
                  <a:lnTo>
                    <a:pt x="0" y="80423"/>
                  </a:lnTo>
                  <a:cubicBezTo>
                    <a:pt x="0" y="65720"/>
                    <a:pt x="3366" y="52286"/>
                    <a:pt x="10083" y="40131"/>
                  </a:cubicBezTo>
                  <a:cubicBezTo>
                    <a:pt x="16800" y="27860"/>
                    <a:pt x="26517" y="18132"/>
                    <a:pt x="39261" y="10953"/>
                  </a:cubicBezTo>
                  <a:cubicBezTo>
                    <a:pt x="51989" y="3658"/>
                    <a:pt x="67325" y="10"/>
                    <a:pt x="85272" y="10"/>
                  </a:cubicBezTo>
                  <a:cubicBezTo>
                    <a:pt x="102189" y="10"/>
                    <a:pt x="116546" y="2845"/>
                    <a:pt x="128346" y="8521"/>
                  </a:cubicBezTo>
                  <a:cubicBezTo>
                    <a:pt x="140160" y="14193"/>
                    <a:pt x="149129" y="22242"/>
                    <a:pt x="155277" y="32660"/>
                  </a:cubicBezTo>
                  <a:cubicBezTo>
                    <a:pt x="161527" y="43079"/>
                    <a:pt x="164654" y="55413"/>
                    <a:pt x="164654" y="69655"/>
                  </a:cubicBezTo>
                  <a:cubicBezTo>
                    <a:pt x="164654" y="77529"/>
                    <a:pt x="163385" y="85345"/>
                    <a:pt x="160827" y="93103"/>
                  </a:cubicBezTo>
                  <a:cubicBezTo>
                    <a:pt x="158283" y="100861"/>
                    <a:pt x="154645" y="108619"/>
                    <a:pt x="149888" y="116376"/>
                  </a:cubicBezTo>
                  <a:cubicBezTo>
                    <a:pt x="145267" y="124017"/>
                    <a:pt x="139757" y="131717"/>
                    <a:pt x="133400" y="139475"/>
                  </a:cubicBezTo>
                  <a:cubicBezTo>
                    <a:pt x="127028" y="147116"/>
                    <a:pt x="120019" y="154873"/>
                    <a:pt x="112378" y="162748"/>
                  </a:cubicBezTo>
                  <a:lnTo>
                    <a:pt x="57675" y="223015"/>
                  </a:lnTo>
                  <a:lnTo>
                    <a:pt x="174377" y="223015"/>
                  </a:lnTo>
                  <a:close/>
                  <a:moveTo>
                    <a:pt x="371848" y="108735"/>
                  </a:moveTo>
                  <a:lnTo>
                    <a:pt x="371848" y="150068"/>
                  </a:lnTo>
                  <a:cubicBezTo>
                    <a:pt x="371848" y="169869"/>
                    <a:pt x="369873" y="186770"/>
                    <a:pt x="365938" y="200783"/>
                  </a:cubicBezTo>
                  <a:cubicBezTo>
                    <a:pt x="362125" y="214674"/>
                    <a:pt x="356561" y="225963"/>
                    <a:pt x="349260" y="234650"/>
                  </a:cubicBezTo>
                  <a:cubicBezTo>
                    <a:pt x="341960" y="243332"/>
                    <a:pt x="333219" y="249703"/>
                    <a:pt x="323035" y="253755"/>
                  </a:cubicBezTo>
                  <a:cubicBezTo>
                    <a:pt x="312971" y="257806"/>
                    <a:pt x="301668" y="259834"/>
                    <a:pt x="289168" y="259834"/>
                  </a:cubicBezTo>
                  <a:cubicBezTo>
                    <a:pt x="279221" y="259834"/>
                    <a:pt x="269951" y="258560"/>
                    <a:pt x="261381" y="256011"/>
                  </a:cubicBezTo>
                  <a:cubicBezTo>
                    <a:pt x="252933" y="253463"/>
                    <a:pt x="245287" y="249470"/>
                    <a:pt x="238468" y="244027"/>
                  </a:cubicBezTo>
                  <a:cubicBezTo>
                    <a:pt x="231634" y="238584"/>
                    <a:pt x="225773" y="231581"/>
                    <a:pt x="220914" y="223011"/>
                  </a:cubicBezTo>
                  <a:cubicBezTo>
                    <a:pt x="216172" y="214329"/>
                    <a:pt x="212466" y="203964"/>
                    <a:pt x="209800" y="191921"/>
                  </a:cubicBezTo>
                  <a:cubicBezTo>
                    <a:pt x="207256" y="179878"/>
                    <a:pt x="205972" y="165929"/>
                    <a:pt x="205972" y="150063"/>
                  </a:cubicBezTo>
                  <a:lnTo>
                    <a:pt x="205972" y="108730"/>
                  </a:lnTo>
                  <a:cubicBezTo>
                    <a:pt x="205972" y="88813"/>
                    <a:pt x="207947" y="72028"/>
                    <a:pt x="211882" y="58366"/>
                  </a:cubicBezTo>
                  <a:cubicBezTo>
                    <a:pt x="215831" y="44587"/>
                    <a:pt x="221430" y="33414"/>
                    <a:pt x="228730" y="24844"/>
                  </a:cubicBezTo>
                  <a:cubicBezTo>
                    <a:pt x="236031" y="16162"/>
                    <a:pt x="244722" y="9849"/>
                    <a:pt x="254786" y="5914"/>
                  </a:cubicBezTo>
                  <a:cubicBezTo>
                    <a:pt x="264970" y="1980"/>
                    <a:pt x="276323" y="10"/>
                    <a:pt x="288827" y="10"/>
                  </a:cubicBezTo>
                  <a:cubicBezTo>
                    <a:pt x="298910" y="10"/>
                    <a:pt x="308166" y="1284"/>
                    <a:pt x="316614" y="3833"/>
                  </a:cubicBezTo>
                  <a:cubicBezTo>
                    <a:pt x="325184" y="6265"/>
                    <a:pt x="332825" y="10141"/>
                    <a:pt x="339542" y="15467"/>
                  </a:cubicBezTo>
                  <a:cubicBezTo>
                    <a:pt x="346376" y="20793"/>
                    <a:pt x="352164" y="27743"/>
                    <a:pt x="356906" y="36308"/>
                  </a:cubicBezTo>
                  <a:cubicBezTo>
                    <a:pt x="361765" y="44762"/>
                    <a:pt x="365476" y="55010"/>
                    <a:pt x="368020" y="67048"/>
                  </a:cubicBezTo>
                  <a:cubicBezTo>
                    <a:pt x="370578" y="78974"/>
                    <a:pt x="371848" y="92870"/>
                    <a:pt x="371848" y="108730"/>
                  </a:cubicBezTo>
                  <a:close/>
                  <a:moveTo>
                    <a:pt x="329995" y="155978"/>
                  </a:moveTo>
                  <a:lnTo>
                    <a:pt x="329995" y="102485"/>
                  </a:lnTo>
                  <a:cubicBezTo>
                    <a:pt x="329995" y="92412"/>
                    <a:pt x="329411" y="83555"/>
                    <a:pt x="328258" y="75914"/>
                  </a:cubicBezTo>
                  <a:cubicBezTo>
                    <a:pt x="327091" y="68157"/>
                    <a:pt x="325355" y="61615"/>
                    <a:pt x="323039" y="56289"/>
                  </a:cubicBezTo>
                  <a:cubicBezTo>
                    <a:pt x="320841" y="50846"/>
                    <a:pt x="318059" y="46445"/>
                    <a:pt x="314708" y="43088"/>
                  </a:cubicBezTo>
                  <a:cubicBezTo>
                    <a:pt x="311342" y="39616"/>
                    <a:pt x="307529" y="37125"/>
                    <a:pt x="303234" y="35623"/>
                  </a:cubicBezTo>
                  <a:cubicBezTo>
                    <a:pt x="298959" y="34003"/>
                    <a:pt x="294148" y="33191"/>
                    <a:pt x="288823" y="33191"/>
                  </a:cubicBezTo>
                  <a:cubicBezTo>
                    <a:pt x="282349" y="33191"/>
                    <a:pt x="276542" y="34465"/>
                    <a:pt x="271459" y="37014"/>
                  </a:cubicBezTo>
                  <a:cubicBezTo>
                    <a:pt x="266357" y="39445"/>
                    <a:pt x="262081" y="43380"/>
                    <a:pt x="258613" y="48823"/>
                  </a:cubicBezTo>
                  <a:cubicBezTo>
                    <a:pt x="255126" y="54266"/>
                    <a:pt x="252466" y="61445"/>
                    <a:pt x="250608" y="70360"/>
                  </a:cubicBezTo>
                  <a:cubicBezTo>
                    <a:pt x="248871" y="79159"/>
                    <a:pt x="248015" y="89869"/>
                    <a:pt x="248015" y="102490"/>
                  </a:cubicBezTo>
                  <a:lnTo>
                    <a:pt x="248015" y="155982"/>
                  </a:lnTo>
                  <a:cubicBezTo>
                    <a:pt x="248015" y="166172"/>
                    <a:pt x="248584" y="175146"/>
                    <a:pt x="249752" y="182904"/>
                  </a:cubicBezTo>
                  <a:cubicBezTo>
                    <a:pt x="250904" y="190661"/>
                    <a:pt x="252636" y="197320"/>
                    <a:pt x="254956" y="202874"/>
                  </a:cubicBezTo>
                  <a:cubicBezTo>
                    <a:pt x="257276" y="208317"/>
                    <a:pt x="260058" y="212831"/>
                    <a:pt x="263302" y="216420"/>
                  </a:cubicBezTo>
                  <a:cubicBezTo>
                    <a:pt x="266653" y="219893"/>
                    <a:pt x="270481" y="222441"/>
                    <a:pt x="274756" y="224061"/>
                  </a:cubicBezTo>
                  <a:cubicBezTo>
                    <a:pt x="279153" y="225681"/>
                    <a:pt x="283964" y="226493"/>
                    <a:pt x="289168" y="226493"/>
                  </a:cubicBezTo>
                  <a:cubicBezTo>
                    <a:pt x="295778" y="226493"/>
                    <a:pt x="301619" y="225219"/>
                    <a:pt x="306721" y="222670"/>
                  </a:cubicBezTo>
                  <a:cubicBezTo>
                    <a:pt x="311804" y="220121"/>
                    <a:pt x="316099" y="216070"/>
                    <a:pt x="319567" y="210511"/>
                  </a:cubicBezTo>
                  <a:cubicBezTo>
                    <a:pt x="323035" y="204839"/>
                    <a:pt x="325646" y="197485"/>
                    <a:pt x="327383" y="188453"/>
                  </a:cubicBezTo>
                  <a:cubicBezTo>
                    <a:pt x="329119" y="179421"/>
                    <a:pt x="329995" y="168594"/>
                    <a:pt x="329995" y="155978"/>
                  </a:cubicBezTo>
                  <a:close/>
                  <a:moveTo>
                    <a:pt x="578701" y="223015"/>
                  </a:moveTo>
                  <a:lnTo>
                    <a:pt x="578701" y="256362"/>
                  </a:lnTo>
                  <a:lnTo>
                    <a:pt x="409187" y="256362"/>
                  </a:lnTo>
                  <a:lnTo>
                    <a:pt x="409187" y="227704"/>
                  </a:lnTo>
                  <a:lnTo>
                    <a:pt x="491507" y="137913"/>
                  </a:lnTo>
                  <a:cubicBezTo>
                    <a:pt x="500539" y="127724"/>
                    <a:pt x="507670" y="118925"/>
                    <a:pt x="512874" y="111513"/>
                  </a:cubicBezTo>
                  <a:cubicBezTo>
                    <a:pt x="518078" y="104100"/>
                    <a:pt x="521736" y="97446"/>
                    <a:pt x="523813" y="91542"/>
                  </a:cubicBezTo>
                  <a:cubicBezTo>
                    <a:pt x="526011" y="85520"/>
                    <a:pt x="527110" y="79674"/>
                    <a:pt x="527110" y="73998"/>
                  </a:cubicBezTo>
                  <a:cubicBezTo>
                    <a:pt x="527110" y="66012"/>
                    <a:pt x="525617" y="59003"/>
                    <a:pt x="522592" y="52981"/>
                  </a:cubicBezTo>
                  <a:cubicBezTo>
                    <a:pt x="519708" y="46843"/>
                    <a:pt x="515413" y="42038"/>
                    <a:pt x="509746" y="38565"/>
                  </a:cubicBezTo>
                  <a:cubicBezTo>
                    <a:pt x="504080" y="34976"/>
                    <a:pt x="497193" y="33181"/>
                    <a:pt x="489085" y="33181"/>
                  </a:cubicBezTo>
                  <a:cubicBezTo>
                    <a:pt x="479708" y="33181"/>
                    <a:pt x="471823" y="35209"/>
                    <a:pt x="465452" y="39261"/>
                  </a:cubicBezTo>
                  <a:cubicBezTo>
                    <a:pt x="459095" y="43312"/>
                    <a:pt x="454289" y="48930"/>
                    <a:pt x="451040" y="56109"/>
                  </a:cubicBezTo>
                  <a:cubicBezTo>
                    <a:pt x="447796" y="63171"/>
                    <a:pt x="446181" y="71279"/>
                    <a:pt x="446181" y="80423"/>
                  </a:cubicBezTo>
                  <a:lnTo>
                    <a:pt x="404328" y="80423"/>
                  </a:lnTo>
                  <a:cubicBezTo>
                    <a:pt x="404328" y="65720"/>
                    <a:pt x="407679" y="52286"/>
                    <a:pt x="414391" y="40131"/>
                  </a:cubicBezTo>
                  <a:cubicBezTo>
                    <a:pt x="421108" y="27860"/>
                    <a:pt x="430846" y="18132"/>
                    <a:pt x="443569" y="10953"/>
                  </a:cubicBezTo>
                  <a:cubicBezTo>
                    <a:pt x="456313" y="3658"/>
                    <a:pt x="471648" y="10"/>
                    <a:pt x="489596" y="10"/>
                  </a:cubicBezTo>
                  <a:cubicBezTo>
                    <a:pt x="506497" y="10"/>
                    <a:pt x="520855" y="2845"/>
                    <a:pt x="532670" y="8521"/>
                  </a:cubicBezTo>
                  <a:cubicBezTo>
                    <a:pt x="544484" y="14193"/>
                    <a:pt x="553453" y="22242"/>
                    <a:pt x="559581" y="32660"/>
                  </a:cubicBezTo>
                  <a:cubicBezTo>
                    <a:pt x="565831" y="43079"/>
                    <a:pt x="568958" y="55413"/>
                    <a:pt x="568958" y="69655"/>
                  </a:cubicBezTo>
                  <a:cubicBezTo>
                    <a:pt x="568958" y="77529"/>
                    <a:pt x="567689" y="85345"/>
                    <a:pt x="565145" y="93103"/>
                  </a:cubicBezTo>
                  <a:cubicBezTo>
                    <a:pt x="562601" y="100861"/>
                    <a:pt x="558944" y="108619"/>
                    <a:pt x="554207" y="116376"/>
                  </a:cubicBezTo>
                  <a:cubicBezTo>
                    <a:pt x="549571" y="124017"/>
                    <a:pt x="544075" y="131717"/>
                    <a:pt x="537704" y="139475"/>
                  </a:cubicBezTo>
                  <a:cubicBezTo>
                    <a:pt x="531332" y="147116"/>
                    <a:pt x="524323" y="154873"/>
                    <a:pt x="516697" y="162748"/>
                  </a:cubicBezTo>
                  <a:lnTo>
                    <a:pt x="461979" y="223015"/>
                  </a:lnTo>
                  <a:lnTo>
                    <a:pt x="578701" y="223015"/>
                  </a:lnTo>
                  <a:close/>
                  <a:moveTo>
                    <a:pt x="660505" y="110992"/>
                  </a:moveTo>
                  <a:lnTo>
                    <a:pt x="685510" y="110992"/>
                  </a:lnTo>
                  <a:cubicBezTo>
                    <a:pt x="695233" y="110992"/>
                    <a:pt x="703287" y="109314"/>
                    <a:pt x="709639" y="105953"/>
                  </a:cubicBezTo>
                  <a:cubicBezTo>
                    <a:pt x="716132" y="102597"/>
                    <a:pt x="720943" y="97962"/>
                    <a:pt x="724065" y="92057"/>
                  </a:cubicBezTo>
                  <a:cubicBezTo>
                    <a:pt x="727188" y="86153"/>
                    <a:pt x="728754" y="79377"/>
                    <a:pt x="728754" y="71736"/>
                  </a:cubicBezTo>
                  <a:cubicBezTo>
                    <a:pt x="728754" y="64095"/>
                    <a:pt x="727295" y="56916"/>
                    <a:pt x="724411" y="51240"/>
                  </a:cubicBezTo>
                  <a:cubicBezTo>
                    <a:pt x="721628" y="45452"/>
                    <a:pt x="717353" y="40992"/>
                    <a:pt x="711565" y="37865"/>
                  </a:cubicBezTo>
                  <a:cubicBezTo>
                    <a:pt x="705879" y="34737"/>
                    <a:pt x="698652" y="33176"/>
                    <a:pt x="689858" y="33176"/>
                  </a:cubicBezTo>
                  <a:cubicBezTo>
                    <a:pt x="682441" y="33176"/>
                    <a:pt x="675724" y="34684"/>
                    <a:pt x="669712" y="37690"/>
                  </a:cubicBezTo>
                  <a:cubicBezTo>
                    <a:pt x="663803" y="40584"/>
                    <a:pt x="659114" y="44752"/>
                    <a:pt x="655626" y="50195"/>
                  </a:cubicBezTo>
                  <a:cubicBezTo>
                    <a:pt x="652159" y="55520"/>
                    <a:pt x="650422" y="61887"/>
                    <a:pt x="650422" y="69300"/>
                  </a:cubicBezTo>
                  <a:lnTo>
                    <a:pt x="608394" y="69300"/>
                  </a:lnTo>
                  <a:cubicBezTo>
                    <a:pt x="608394" y="55871"/>
                    <a:pt x="611916" y="43945"/>
                    <a:pt x="618992" y="33521"/>
                  </a:cubicBezTo>
                  <a:cubicBezTo>
                    <a:pt x="626050" y="23103"/>
                    <a:pt x="635670" y="14937"/>
                    <a:pt x="647810" y="9032"/>
                  </a:cubicBezTo>
                  <a:cubicBezTo>
                    <a:pt x="660092" y="3011"/>
                    <a:pt x="673866" y="0"/>
                    <a:pt x="689148" y="0"/>
                  </a:cubicBezTo>
                  <a:cubicBezTo>
                    <a:pt x="705480" y="0"/>
                    <a:pt x="719717" y="2724"/>
                    <a:pt x="731876" y="8161"/>
                  </a:cubicBezTo>
                  <a:cubicBezTo>
                    <a:pt x="744138" y="13487"/>
                    <a:pt x="753705" y="21479"/>
                    <a:pt x="760524" y="32130"/>
                  </a:cubicBezTo>
                  <a:cubicBezTo>
                    <a:pt x="767358" y="42782"/>
                    <a:pt x="770777" y="55982"/>
                    <a:pt x="770777" y="71731"/>
                  </a:cubicBezTo>
                  <a:cubicBezTo>
                    <a:pt x="770777" y="78910"/>
                    <a:pt x="769094" y="86206"/>
                    <a:pt x="765743" y="93614"/>
                  </a:cubicBezTo>
                  <a:cubicBezTo>
                    <a:pt x="762378" y="101026"/>
                    <a:pt x="757397" y="107797"/>
                    <a:pt x="750802" y="113935"/>
                  </a:cubicBezTo>
                  <a:cubicBezTo>
                    <a:pt x="744206" y="119956"/>
                    <a:pt x="735982" y="124873"/>
                    <a:pt x="726137" y="128696"/>
                  </a:cubicBezTo>
                  <a:cubicBezTo>
                    <a:pt x="716298" y="132403"/>
                    <a:pt x="704892" y="134256"/>
                    <a:pt x="691925" y="134256"/>
                  </a:cubicBezTo>
                  <a:lnTo>
                    <a:pt x="660495" y="134256"/>
                  </a:lnTo>
                  <a:lnTo>
                    <a:pt x="660495" y="110982"/>
                  </a:lnTo>
                  <a:close/>
                  <a:moveTo>
                    <a:pt x="660505" y="143643"/>
                  </a:moveTo>
                  <a:lnTo>
                    <a:pt x="660505" y="120715"/>
                  </a:lnTo>
                  <a:lnTo>
                    <a:pt x="691935" y="120715"/>
                  </a:lnTo>
                  <a:cubicBezTo>
                    <a:pt x="706755" y="120715"/>
                    <a:pt x="719381" y="122451"/>
                    <a:pt x="729790" y="125924"/>
                  </a:cubicBezTo>
                  <a:cubicBezTo>
                    <a:pt x="740335" y="129397"/>
                    <a:pt x="748905" y="134202"/>
                    <a:pt x="755500" y="140340"/>
                  </a:cubicBezTo>
                  <a:cubicBezTo>
                    <a:pt x="762095" y="146362"/>
                    <a:pt x="766906" y="153249"/>
                    <a:pt x="769911" y="161007"/>
                  </a:cubicBezTo>
                  <a:cubicBezTo>
                    <a:pt x="773039" y="168764"/>
                    <a:pt x="774600" y="176984"/>
                    <a:pt x="774600" y="185671"/>
                  </a:cubicBezTo>
                  <a:cubicBezTo>
                    <a:pt x="774600" y="197480"/>
                    <a:pt x="772470" y="208015"/>
                    <a:pt x="768175" y="217281"/>
                  </a:cubicBezTo>
                  <a:cubicBezTo>
                    <a:pt x="764016" y="226430"/>
                    <a:pt x="758044" y="234188"/>
                    <a:pt x="750296" y="240554"/>
                  </a:cubicBezTo>
                  <a:cubicBezTo>
                    <a:pt x="742533" y="246921"/>
                    <a:pt x="733447" y="251726"/>
                    <a:pt x="723024" y="254971"/>
                  </a:cubicBezTo>
                  <a:cubicBezTo>
                    <a:pt x="712718" y="258215"/>
                    <a:pt x="701487" y="259834"/>
                    <a:pt x="689328" y="259834"/>
                  </a:cubicBezTo>
                  <a:cubicBezTo>
                    <a:pt x="678457" y="259834"/>
                    <a:pt x="668029" y="258327"/>
                    <a:pt x="658068" y="255316"/>
                  </a:cubicBezTo>
                  <a:cubicBezTo>
                    <a:pt x="648107" y="252305"/>
                    <a:pt x="639192" y="247850"/>
                    <a:pt x="631327" y="241945"/>
                  </a:cubicBezTo>
                  <a:cubicBezTo>
                    <a:pt x="623443" y="235924"/>
                    <a:pt x="617193" y="228458"/>
                    <a:pt x="612572" y="219543"/>
                  </a:cubicBezTo>
                  <a:cubicBezTo>
                    <a:pt x="608054" y="210511"/>
                    <a:pt x="605787" y="200092"/>
                    <a:pt x="605787" y="188283"/>
                  </a:cubicBezTo>
                  <a:lnTo>
                    <a:pt x="647640" y="188283"/>
                  </a:lnTo>
                  <a:cubicBezTo>
                    <a:pt x="647640" y="195807"/>
                    <a:pt x="649377" y="202466"/>
                    <a:pt x="652859" y="208254"/>
                  </a:cubicBezTo>
                  <a:cubicBezTo>
                    <a:pt x="656449" y="213925"/>
                    <a:pt x="661429" y="218385"/>
                    <a:pt x="667786" y="221624"/>
                  </a:cubicBezTo>
                  <a:cubicBezTo>
                    <a:pt x="674279" y="224869"/>
                    <a:pt x="681682" y="226488"/>
                    <a:pt x="690028" y="226488"/>
                  </a:cubicBezTo>
                  <a:cubicBezTo>
                    <a:pt x="698822" y="226488"/>
                    <a:pt x="706415" y="224927"/>
                    <a:pt x="712767" y="221799"/>
                  </a:cubicBezTo>
                  <a:cubicBezTo>
                    <a:pt x="719138" y="218672"/>
                    <a:pt x="723997" y="214042"/>
                    <a:pt x="727363" y="207904"/>
                  </a:cubicBezTo>
                  <a:cubicBezTo>
                    <a:pt x="730831" y="201765"/>
                    <a:pt x="732567" y="194358"/>
                    <a:pt x="732567" y="185671"/>
                  </a:cubicBezTo>
                  <a:cubicBezTo>
                    <a:pt x="732567" y="175827"/>
                    <a:pt x="730660" y="167840"/>
                    <a:pt x="726847" y="161702"/>
                  </a:cubicBezTo>
                  <a:cubicBezTo>
                    <a:pt x="723019" y="155564"/>
                    <a:pt x="717572" y="151050"/>
                    <a:pt x="710515" y="148157"/>
                  </a:cubicBezTo>
                  <a:cubicBezTo>
                    <a:pt x="703457" y="145146"/>
                    <a:pt x="695111" y="143643"/>
                    <a:pt x="685510" y="143643"/>
                  </a:cubicBezTo>
                  <a:lnTo>
                    <a:pt x="660505" y="143643"/>
                  </a:lnTo>
                  <a:close/>
                </a:path>
              </a:pathLst>
            </a:custGeom>
            <a:solidFill>
              <a:srgbClr val="EE3431"/>
            </a:solidFill>
            <a:ln w="4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8" name="Полилиния: фигура 47">
              <a:extLst>
                <a:ext uri="{FF2B5EF4-FFF2-40B4-BE49-F238E27FC236}">
                  <a16:creationId xmlns:a16="http://schemas.microsoft.com/office/drawing/2014/main" id="{C3ADAD60-17B9-4A06-AE0E-BCB35AB4E7E8}"/>
                </a:ext>
              </a:extLst>
            </p:cNvPr>
            <p:cNvSpPr/>
            <p:nvPr/>
          </p:nvSpPr>
          <p:spPr>
            <a:xfrm>
              <a:off x="8902858" y="5870060"/>
              <a:ext cx="774600" cy="259829"/>
            </a:xfrm>
            <a:custGeom>
              <a:avLst/>
              <a:gdLst>
                <a:gd name="connsiteX0" fmla="*/ 174372 w 774600"/>
                <a:gd name="connsiteY0" fmla="*/ 223011 h 259829"/>
                <a:gd name="connsiteX1" fmla="*/ 174372 w 774600"/>
                <a:gd name="connsiteY1" fmla="*/ 256357 h 259829"/>
                <a:gd name="connsiteX2" fmla="*/ 4859 w 774600"/>
                <a:gd name="connsiteY2" fmla="*/ 256357 h 259829"/>
                <a:gd name="connsiteX3" fmla="*/ 4859 w 774600"/>
                <a:gd name="connsiteY3" fmla="*/ 227699 h 259829"/>
                <a:gd name="connsiteX4" fmla="*/ 87193 w 774600"/>
                <a:gd name="connsiteY4" fmla="*/ 137908 h 259829"/>
                <a:gd name="connsiteX5" fmla="*/ 108541 w 774600"/>
                <a:gd name="connsiteY5" fmla="*/ 111508 h 259829"/>
                <a:gd name="connsiteX6" fmla="*/ 119499 w 774600"/>
                <a:gd name="connsiteY6" fmla="*/ 91537 h 259829"/>
                <a:gd name="connsiteX7" fmla="*/ 122797 w 774600"/>
                <a:gd name="connsiteY7" fmla="*/ 73993 h 259829"/>
                <a:gd name="connsiteX8" fmla="*/ 118278 w 774600"/>
                <a:gd name="connsiteY8" fmla="*/ 52977 h 259829"/>
                <a:gd name="connsiteX9" fmla="*/ 105413 w 774600"/>
                <a:gd name="connsiteY9" fmla="*/ 38560 h 259829"/>
                <a:gd name="connsiteX10" fmla="*/ 84752 w 774600"/>
                <a:gd name="connsiteY10" fmla="*/ 33176 h 259829"/>
                <a:gd name="connsiteX11" fmla="*/ 61138 w 774600"/>
                <a:gd name="connsiteY11" fmla="*/ 39256 h 259829"/>
                <a:gd name="connsiteX12" fmla="*/ 46712 w 774600"/>
                <a:gd name="connsiteY12" fmla="*/ 56104 h 259829"/>
                <a:gd name="connsiteX13" fmla="*/ 41853 w 774600"/>
                <a:gd name="connsiteY13" fmla="*/ 80418 h 259829"/>
                <a:gd name="connsiteX14" fmla="*/ 0 w 774600"/>
                <a:gd name="connsiteY14" fmla="*/ 80418 h 259829"/>
                <a:gd name="connsiteX15" fmla="*/ 10083 w 774600"/>
                <a:gd name="connsiteY15" fmla="*/ 40126 h 259829"/>
                <a:gd name="connsiteX16" fmla="*/ 39261 w 774600"/>
                <a:gd name="connsiteY16" fmla="*/ 10948 h 259829"/>
                <a:gd name="connsiteX17" fmla="*/ 85272 w 774600"/>
                <a:gd name="connsiteY17" fmla="*/ 5 h 259829"/>
                <a:gd name="connsiteX18" fmla="*/ 128346 w 774600"/>
                <a:gd name="connsiteY18" fmla="*/ 8517 h 259829"/>
                <a:gd name="connsiteX19" fmla="*/ 155277 w 774600"/>
                <a:gd name="connsiteY19" fmla="*/ 32660 h 259829"/>
                <a:gd name="connsiteX20" fmla="*/ 164654 w 774600"/>
                <a:gd name="connsiteY20" fmla="*/ 69655 h 259829"/>
                <a:gd name="connsiteX21" fmla="*/ 160827 w 774600"/>
                <a:gd name="connsiteY21" fmla="*/ 93103 h 259829"/>
                <a:gd name="connsiteX22" fmla="*/ 149888 w 774600"/>
                <a:gd name="connsiteY22" fmla="*/ 116376 h 259829"/>
                <a:gd name="connsiteX23" fmla="*/ 133400 w 774600"/>
                <a:gd name="connsiteY23" fmla="*/ 139475 h 259829"/>
                <a:gd name="connsiteX24" fmla="*/ 112378 w 774600"/>
                <a:gd name="connsiteY24" fmla="*/ 162748 h 259829"/>
                <a:gd name="connsiteX25" fmla="*/ 57675 w 774600"/>
                <a:gd name="connsiteY25" fmla="*/ 223015 h 259829"/>
                <a:gd name="connsiteX26" fmla="*/ 174377 w 774600"/>
                <a:gd name="connsiteY26" fmla="*/ 223015 h 259829"/>
                <a:gd name="connsiteX27" fmla="*/ 371848 w 774600"/>
                <a:gd name="connsiteY27" fmla="*/ 108730 h 259829"/>
                <a:gd name="connsiteX28" fmla="*/ 371848 w 774600"/>
                <a:gd name="connsiteY28" fmla="*/ 150063 h 259829"/>
                <a:gd name="connsiteX29" fmla="*/ 365938 w 774600"/>
                <a:gd name="connsiteY29" fmla="*/ 200778 h 259829"/>
                <a:gd name="connsiteX30" fmla="*/ 349260 w 774600"/>
                <a:gd name="connsiteY30" fmla="*/ 234645 h 259829"/>
                <a:gd name="connsiteX31" fmla="*/ 323035 w 774600"/>
                <a:gd name="connsiteY31" fmla="*/ 253750 h 259829"/>
                <a:gd name="connsiteX32" fmla="*/ 289168 w 774600"/>
                <a:gd name="connsiteY32" fmla="*/ 259830 h 259829"/>
                <a:gd name="connsiteX33" fmla="*/ 261381 w 774600"/>
                <a:gd name="connsiteY33" fmla="*/ 256011 h 259829"/>
                <a:gd name="connsiteX34" fmla="*/ 238468 w 774600"/>
                <a:gd name="connsiteY34" fmla="*/ 244027 h 259829"/>
                <a:gd name="connsiteX35" fmla="*/ 220914 w 774600"/>
                <a:gd name="connsiteY35" fmla="*/ 223011 h 259829"/>
                <a:gd name="connsiteX36" fmla="*/ 209800 w 774600"/>
                <a:gd name="connsiteY36" fmla="*/ 191921 h 259829"/>
                <a:gd name="connsiteX37" fmla="*/ 205972 w 774600"/>
                <a:gd name="connsiteY37" fmla="*/ 150063 h 259829"/>
                <a:gd name="connsiteX38" fmla="*/ 205972 w 774600"/>
                <a:gd name="connsiteY38" fmla="*/ 108730 h 259829"/>
                <a:gd name="connsiteX39" fmla="*/ 211882 w 774600"/>
                <a:gd name="connsiteY39" fmla="*/ 58366 h 259829"/>
                <a:gd name="connsiteX40" fmla="*/ 228730 w 774600"/>
                <a:gd name="connsiteY40" fmla="*/ 24844 h 259829"/>
                <a:gd name="connsiteX41" fmla="*/ 254786 w 774600"/>
                <a:gd name="connsiteY41" fmla="*/ 5914 h 259829"/>
                <a:gd name="connsiteX42" fmla="*/ 288827 w 774600"/>
                <a:gd name="connsiteY42" fmla="*/ 10 h 259829"/>
                <a:gd name="connsiteX43" fmla="*/ 316614 w 774600"/>
                <a:gd name="connsiteY43" fmla="*/ 3833 h 259829"/>
                <a:gd name="connsiteX44" fmla="*/ 339542 w 774600"/>
                <a:gd name="connsiteY44" fmla="*/ 15467 h 259829"/>
                <a:gd name="connsiteX45" fmla="*/ 356906 w 774600"/>
                <a:gd name="connsiteY45" fmla="*/ 36308 h 259829"/>
                <a:gd name="connsiteX46" fmla="*/ 368020 w 774600"/>
                <a:gd name="connsiteY46" fmla="*/ 67048 h 259829"/>
                <a:gd name="connsiteX47" fmla="*/ 371848 w 774600"/>
                <a:gd name="connsiteY47" fmla="*/ 108730 h 259829"/>
                <a:gd name="connsiteX48" fmla="*/ 329995 w 774600"/>
                <a:gd name="connsiteY48" fmla="*/ 155968 h 259829"/>
                <a:gd name="connsiteX49" fmla="*/ 329995 w 774600"/>
                <a:gd name="connsiteY49" fmla="*/ 102476 h 259829"/>
                <a:gd name="connsiteX50" fmla="*/ 328258 w 774600"/>
                <a:gd name="connsiteY50" fmla="*/ 75905 h 259829"/>
                <a:gd name="connsiteX51" fmla="*/ 323039 w 774600"/>
                <a:gd name="connsiteY51" fmla="*/ 56279 h 259829"/>
                <a:gd name="connsiteX52" fmla="*/ 314708 w 774600"/>
                <a:gd name="connsiteY52" fmla="*/ 43079 h 259829"/>
                <a:gd name="connsiteX53" fmla="*/ 303234 w 774600"/>
                <a:gd name="connsiteY53" fmla="*/ 35613 h 259829"/>
                <a:gd name="connsiteX54" fmla="*/ 288823 w 774600"/>
                <a:gd name="connsiteY54" fmla="*/ 33181 h 259829"/>
                <a:gd name="connsiteX55" fmla="*/ 271459 w 774600"/>
                <a:gd name="connsiteY55" fmla="*/ 37004 h 259829"/>
                <a:gd name="connsiteX56" fmla="*/ 258613 w 774600"/>
                <a:gd name="connsiteY56" fmla="*/ 48813 h 259829"/>
                <a:gd name="connsiteX57" fmla="*/ 250608 w 774600"/>
                <a:gd name="connsiteY57" fmla="*/ 70350 h 259829"/>
                <a:gd name="connsiteX58" fmla="*/ 248015 w 774600"/>
                <a:gd name="connsiteY58" fmla="*/ 102480 h 259829"/>
                <a:gd name="connsiteX59" fmla="*/ 248015 w 774600"/>
                <a:gd name="connsiteY59" fmla="*/ 155973 h 259829"/>
                <a:gd name="connsiteX60" fmla="*/ 249752 w 774600"/>
                <a:gd name="connsiteY60" fmla="*/ 182894 h 259829"/>
                <a:gd name="connsiteX61" fmla="*/ 254956 w 774600"/>
                <a:gd name="connsiteY61" fmla="*/ 202865 h 259829"/>
                <a:gd name="connsiteX62" fmla="*/ 263302 w 774600"/>
                <a:gd name="connsiteY62" fmla="*/ 216410 h 259829"/>
                <a:gd name="connsiteX63" fmla="*/ 274756 w 774600"/>
                <a:gd name="connsiteY63" fmla="*/ 224051 h 259829"/>
                <a:gd name="connsiteX64" fmla="*/ 289168 w 774600"/>
                <a:gd name="connsiteY64" fmla="*/ 226483 h 259829"/>
                <a:gd name="connsiteX65" fmla="*/ 306721 w 774600"/>
                <a:gd name="connsiteY65" fmla="*/ 222660 h 259829"/>
                <a:gd name="connsiteX66" fmla="*/ 319567 w 774600"/>
                <a:gd name="connsiteY66" fmla="*/ 210501 h 259829"/>
                <a:gd name="connsiteX67" fmla="*/ 327383 w 774600"/>
                <a:gd name="connsiteY67" fmla="*/ 188443 h 259829"/>
                <a:gd name="connsiteX68" fmla="*/ 329995 w 774600"/>
                <a:gd name="connsiteY68" fmla="*/ 155963 h 259829"/>
                <a:gd name="connsiteX69" fmla="*/ 578701 w 774600"/>
                <a:gd name="connsiteY69" fmla="*/ 223006 h 259829"/>
                <a:gd name="connsiteX70" fmla="*/ 578701 w 774600"/>
                <a:gd name="connsiteY70" fmla="*/ 256352 h 259829"/>
                <a:gd name="connsiteX71" fmla="*/ 409187 w 774600"/>
                <a:gd name="connsiteY71" fmla="*/ 256352 h 259829"/>
                <a:gd name="connsiteX72" fmla="*/ 409187 w 774600"/>
                <a:gd name="connsiteY72" fmla="*/ 227694 h 259829"/>
                <a:gd name="connsiteX73" fmla="*/ 491507 w 774600"/>
                <a:gd name="connsiteY73" fmla="*/ 137904 h 259829"/>
                <a:gd name="connsiteX74" fmla="*/ 512874 w 774600"/>
                <a:gd name="connsiteY74" fmla="*/ 111503 h 259829"/>
                <a:gd name="connsiteX75" fmla="*/ 523813 w 774600"/>
                <a:gd name="connsiteY75" fmla="*/ 91532 h 259829"/>
                <a:gd name="connsiteX76" fmla="*/ 527110 w 774600"/>
                <a:gd name="connsiteY76" fmla="*/ 73988 h 259829"/>
                <a:gd name="connsiteX77" fmla="*/ 522592 w 774600"/>
                <a:gd name="connsiteY77" fmla="*/ 52972 h 259829"/>
                <a:gd name="connsiteX78" fmla="*/ 509746 w 774600"/>
                <a:gd name="connsiteY78" fmla="*/ 38555 h 259829"/>
                <a:gd name="connsiteX79" fmla="*/ 489085 w 774600"/>
                <a:gd name="connsiteY79" fmla="*/ 33171 h 259829"/>
                <a:gd name="connsiteX80" fmla="*/ 465452 w 774600"/>
                <a:gd name="connsiteY80" fmla="*/ 39251 h 259829"/>
                <a:gd name="connsiteX81" fmla="*/ 451040 w 774600"/>
                <a:gd name="connsiteY81" fmla="*/ 56099 h 259829"/>
                <a:gd name="connsiteX82" fmla="*/ 446181 w 774600"/>
                <a:gd name="connsiteY82" fmla="*/ 80413 h 259829"/>
                <a:gd name="connsiteX83" fmla="*/ 404328 w 774600"/>
                <a:gd name="connsiteY83" fmla="*/ 80413 h 259829"/>
                <a:gd name="connsiteX84" fmla="*/ 414391 w 774600"/>
                <a:gd name="connsiteY84" fmla="*/ 40122 h 259829"/>
                <a:gd name="connsiteX85" fmla="*/ 443569 w 774600"/>
                <a:gd name="connsiteY85" fmla="*/ 10944 h 259829"/>
                <a:gd name="connsiteX86" fmla="*/ 489596 w 774600"/>
                <a:gd name="connsiteY86" fmla="*/ 0 h 259829"/>
                <a:gd name="connsiteX87" fmla="*/ 532670 w 774600"/>
                <a:gd name="connsiteY87" fmla="*/ 8512 h 259829"/>
                <a:gd name="connsiteX88" fmla="*/ 559581 w 774600"/>
                <a:gd name="connsiteY88" fmla="*/ 32656 h 259829"/>
                <a:gd name="connsiteX89" fmla="*/ 568958 w 774600"/>
                <a:gd name="connsiteY89" fmla="*/ 69650 h 259829"/>
                <a:gd name="connsiteX90" fmla="*/ 565145 w 774600"/>
                <a:gd name="connsiteY90" fmla="*/ 93098 h 259829"/>
                <a:gd name="connsiteX91" fmla="*/ 554207 w 774600"/>
                <a:gd name="connsiteY91" fmla="*/ 116372 h 259829"/>
                <a:gd name="connsiteX92" fmla="*/ 537704 w 774600"/>
                <a:gd name="connsiteY92" fmla="*/ 139470 h 259829"/>
                <a:gd name="connsiteX93" fmla="*/ 516697 w 774600"/>
                <a:gd name="connsiteY93" fmla="*/ 162743 h 259829"/>
                <a:gd name="connsiteX94" fmla="*/ 461979 w 774600"/>
                <a:gd name="connsiteY94" fmla="*/ 223011 h 259829"/>
                <a:gd name="connsiteX95" fmla="*/ 578701 w 774600"/>
                <a:gd name="connsiteY95" fmla="*/ 223011 h 259829"/>
                <a:gd name="connsiteX96" fmla="*/ 660505 w 774600"/>
                <a:gd name="connsiteY96" fmla="*/ 110982 h 259829"/>
                <a:gd name="connsiteX97" fmla="*/ 685510 w 774600"/>
                <a:gd name="connsiteY97" fmla="*/ 110982 h 259829"/>
                <a:gd name="connsiteX98" fmla="*/ 709639 w 774600"/>
                <a:gd name="connsiteY98" fmla="*/ 105948 h 259829"/>
                <a:gd name="connsiteX99" fmla="*/ 724065 w 774600"/>
                <a:gd name="connsiteY99" fmla="*/ 92052 h 259829"/>
                <a:gd name="connsiteX100" fmla="*/ 728754 w 774600"/>
                <a:gd name="connsiteY100" fmla="*/ 71731 h 259829"/>
                <a:gd name="connsiteX101" fmla="*/ 724411 w 774600"/>
                <a:gd name="connsiteY101" fmla="*/ 51240 h 259829"/>
                <a:gd name="connsiteX102" fmla="*/ 711565 w 774600"/>
                <a:gd name="connsiteY102" fmla="*/ 37865 h 259829"/>
                <a:gd name="connsiteX103" fmla="*/ 689858 w 774600"/>
                <a:gd name="connsiteY103" fmla="*/ 33176 h 259829"/>
                <a:gd name="connsiteX104" fmla="*/ 669712 w 774600"/>
                <a:gd name="connsiteY104" fmla="*/ 37690 h 259829"/>
                <a:gd name="connsiteX105" fmla="*/ 655626 w 774600"/>
                <a:gd name="connsiteY105" fmla="*/ 50195 h 259829"/>
                <a:gd name="connsiteX106" fmla="*/ 650422 w 774600"/>
                <a:gd name="connsiteY106" fmla="*/ 69300 h 259829"/>
                <a:gd name="connsiteX107" fmla="*/ 608394 w 774600"/>
                <a:gd name="connsiteY107" fmla="*/ 69300 h 259829"/>
                <a:gd name="connsiteX108" fmla="*/ 618992 w 774600"/>
                <a:gd name="connsiteY108" fmla="*/ 33521 h 259829"/>
                <a:gd name="connsiteX109" fmla="*/ 647810 w 774600"/>
                <a:gd name="connsiteY109" fmla="*/ 9032 h 259829"/>
                <a:gd name="connsiteX110" fmla="*/ 689148 w 774600"/>
                <a:gd name="connsiteY110" fmla="*/ 0 h 259829"/>
                <a:gd name="connsiteX111" fmla="*/ 731876 w 774600"/>
                <a:gd name="connsiteY111" fmla="*/ 8161 h 259829"/>
                <a:gd name="connsiteX112" fmla="*/ 760524 w 774600"/>
                <a:gd name="connsiteY112" fmla="*/ 32130 h 259829"/>
                <a:gd name="connsiteX113" fmla="*/ 770777 w 774600"/>
                <a:gd name="connsiteY113" fmla="*/ 71727 h 259829"/>
                <a:gd name="connsiteX114" fmla="*/ 765743 w 774600"/>
                <a:gd name="connsiteY114" fmla="*/ 93609 h 259829"/>
                <a:gd name="connsiteX115" fmla="*/ 750802 w 774600"/>
                <a:gd name="connsiteY115" fmla="*/ 113930 h 259829"/>
                <a:gd name="connsiteX116" fmla="*/ 726137 w 774600"/>
                <a:gd name="connsiteY116" fmla="*/ 128692 h 259829"/>
                <a:gd name="connsiteX117" fmla="*/ 691925 w 774600"/>
                <a:gd name="connsiteY117" fmla="*/ 134251 h 259829"/>
                <a:gd name="connsiteX118" fmla="*/ 660495 w 774600"/>
                <a:gd name="connsiteY118" fmla="*/ 134251 h 259829"/>
                <a:gd name="connsiteX119" fmla="*/ 660495 w 774600"/>
                <a:gd name="connsiteY119" fmla="*/ 110978 h 259829"/>
                <a:gd name="connsiteX120" fmla="*/ 660505 w 774600"/>
                <a:gd name="connsiteY120" fmla="*/ 143633 h 259829"/>
                <a:gd name="connsiteX121" fmla="*/ 660505 w 774600"/>
                <a:gd name="connsiteY121" fmla="*/ 120705 h 259829"/>
                <a:gd name="connsiteX122" fmla="*/ 691935 w 774600"/>
                <a:gd name="connsiteY122" fmla="*/ 120705 h 259829"/>
                <a:gd name="connsiteX123" fmla="*/ 729790 w 774600"/>
                <a:gd name="connsiteY123" fmla="*/ 125914 h 259829"/>
                <a:gd name="connsiteX124" fmla="*/ 755500 w 774600"/>
                <a:gd name="connsiteY124" fmla="*/ 140331 h 259829"/>
                <a:gd name="connsiteX125" fmla="*/ 769911 w 774600"/>
                <a:gd name="connsiteY125" fmla="*/ 160997 h 259829"/>
                <a:gd name="connsiteX126" fmla="*/ 774600 w 774600"/>
                <a:gd name="connsiteY126" fmla="*/ 185661 h 259829"/>
                <a:gd name="connsiteX127" fmla="*/ 768175 w 774600"/>
                <a:gd name="connsiteY127" fmla="*/ 217271 h 259829"/>
                <a:gd name="connsiteX128" fmla="*/ 750296 w 774600"/>
                <a:gd name="connsiteY128" fmla="*/ 240545 h 259829"/>
                <a:gd name="connsiteX129" fmla="*/ 723024 w 774600"/>
                <a:gd name="connsiteY129" fmla="*/ 254961 h 259829"/>
                <a:gd name="connsiteX130" fmla="*/ 689328 w 774600"/>
                <a:gd name="connsiteY130" fmla="*/ 259825 h 259829"/>
                <a:gd name="connsiteX131" fmla="*/ 658068 w 774600"/>
                <a:gd name="connsiteY131" fmla="*/ 255311 h 259829"/>
                <a:gd name="connsiteX132" fmla="*/ 631327 w 774600"/>
                <a:gd name="connsiteY132" fmla="*/ 241940 h 259829"/>
                <a:gd name="connsiteX133" fmla="*/ 612572 w 774600"/>
                <a:gd name="connsiteY133" fmla="*/ 219538 h 259829"/>
                <a:gd name="connsiteX134" fmla="*/ 605787 w 774600"/>
                <a:gd name="connsiteY134" fmla="*/ 188273 h 259829"/>
                <a:gd name="connsiteX135" fmla="*/ 647640 w 774600"/>
                <a:gd name="connsiteY135" fmla="*/ 188273 h 259829"/>
                <a:gd name="connsiteX136" fmla="*/ 652859 w 774600"/>
                <a:gd name="connsiteY136" fmla="*/ 208249 h 259829"/>
                <a:gd name="connsiteX137" fmla="*/ 667786 w 774600"/>
                <a:gd name="connsiteY137" fmla="*/ 221619 h 259829"/>
                <a:gd name="connsiteX138" fmla="*/ 690028 w 774600"/>
                <a:gd name="connsiteY138" fmla="*/ 226483 h 259829"/>
                <a:gd name="connsiteX139" fmla="*/ 712767 w 774600"/>
                <a:gd name="connsiteY139" fmla="*/ 221795 h 259829"/>
                <a:gd name="connsiteX140" fmla="*/ 727363 w 774600"/>
                <a:gd name="connsiteY140" fmla="*/ 207899 h 259829"/>
                <a:gd name="connsiteX141" fmla="*/ 732567 w 774600"/>
                <a:gd name="connsiteY141" fmla="*/ 185671 h 259829"/>
                <a:gd name="connsiteX142" fmla="*/ 726847 w 774600"/>
                <a:gd name="connsiteY142" fmla="*/ 161702 h 259829"/>
                <a:gd name="connsiteX143" fmla="*/ 710515 w 774600"/>
                <a:gd name="connsiteY143" fmla="*/ 148157 h 259829"/>
                <a:gd name="connsiteX144" fmla="*/ 685510 w 774600"/>
                <a:gd name="connsiteY144" fmla="*/ 143643 h 259829"/>
                <a:gd name="connsiteX145" fmla="*/ 660505 w 774600"/>
                <a:gd name="connsiteY145" fmla="*/ 143643 h 2598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</a:cxnLst>
              <a:rect l="l" t="t" r="r" b="b"/>
              <a:pathLst>
                <a:path w="774600" h="259829">
                  <a:moveTo>
                    <a:pt x="174372" y="223011"/>
                  </a:moveTo>
                  <a:lnTo>
                    <a:pt x="174372" y="256357"/>
                  </a:lnTo>
                  <a:lnTo>
                    <a:pt x="4859" y="256357"/>
                  </a:lnTo>
                  <a:lnTo>
                    <a:pt x="4859" y="227699"/>
                  </a:lnTo>
                  <a:lnTo>
                    <a:pt x="87193" y="137908"/>
                  </a:lnTo>
                  <a:cubicBezTo>
                    <a:pt x="96211" y="127719"/>
                    <a:pt x="103336" y="118920"/>
                    <a:pt x="108541" y="111508"/>
                  </a:cubicBezTo>
                  <a:cubicBezTo>
                    <a:pt x="113760" y="104095"/>
                    <a:pt x="117403" y="97442"/>
                    <a:pt x="119499" y="91537"/>
                  </a:cubicBezTo>
                  <a:cubicBezTo>
                    <a:pt x="121697" y="85516"/>
                    <a:pt x="122797" y="79669"/>
                    <a:pt x="122797" y="73993"/>
                  </a:cubicBezTo>
                  <a:cubicBezTo>
                    <a:pt x="122797" y="66002"/>
                    <a:pt x="121284" y="58998"/>
                    <a:pt x="118278" y="52977"/>
                  </a:cubicBezTo>
                  <a:cubicBezTo>
                    <a:pt x="115374" y="46838"/>
                    <a:pt x="111099" y="42033"/>
                    <a:pt x="105413" y="38560"/>
                  </a:cubicBezTo>
                  <a:cubicBezTo>
                    <a:pt x="99747" y="34971"/>
                    <a:pt x="92860" y="33176"/>
                    <a:pt x="84752" y="33176"/>
                  </a:cubicBezTo>
                  <a:cubicBezTo>
                    <a:pt x="75374" y="33176"/>
                    <a:pt x="67510" y="35204"/>
                    <a:pt x="61138" y="39256"/>
                  </a:cubicBezTo>
                  <a:cubicBezTo>
                    <a:pt x="54766" y="43307"/>
                    <a:pt x="49956" y="48925"/>
                    <a:pt x="46712" y="56104"/>
                  </a:cubicBezTo>
                  <a:cubicBezTo>
                    <a:pt x="43482" y="63166"/>
                    <a:pt x="41853" y="71274"/>
                    <a:pt x="41853" y="80418"/>
                  </a:cubicBezTo>
                  <a:lnTo>
                    <a:pt x="0" y="80418"/>
                  </a:lnTo>
                  <a:cubicBezTo>
                    <a:pt x="0" y="65715"/>
                    <a:pt x="3366" y="52281"/>
                    <a:pt x="10083" y="40126"/>
                  </a:cubicBezTo>
                  <a:cubicBezTo>
                    <a:pt x="16800" y="27855"/>
                    <a:pt x="26517" y="18127"/>
                    <a:pt x="39261" y="10948"/>
                  </a:cubicBezTo>
                  <a:cubicBezTo>
                    <a:pt x="51989" y="3653"/>
                    <a:pt x="67325" y="5"/>
                    <a:pt x="85272" y="5"/>
                  </a:cubicBezTo>
                  <a:cubicBezTo>
                    <a:pt x="102189" y="5"/>
                    <a:pt x="116546" y="2840"/>
                    <a:pt x="128346" y="8517"/>
                  </a:cubicBezTo>
                  <a:cubicBezTo>
                    <a:pt x="140160" y="14193"/>
                    <a:pt x="149129" y="22237"/>
                    <a:pt x="155277" y="32660"/>
                  </a:cubicBezTo>
                  <a:cubicBezTo>
                    <a:pt x="161527" y="43079"/>
                    <a:pt x="164654" y="55413"/>
                    <a:pt x="164654" y="69655"/>
                  </a:cubicBezTo>
                  <a:cubicBezTo>
                    <a:pt x="164654" y="77529"/>
                    <a:pt x="163385" y="85345"/>
                    <a:pt x="160827" y="93103"/>
                  </a:cubicBezTo>
                  <a:cubicBezTo>
                    <a:pt x="158283" y="100861"/>
                    <a:pt x="154645" y="108619"/>
                    <a:pt x="149888" y="116376"/>
                  </a:cubicBezTo>
                  <a:cubicBezTo>
                    <a:pt x="145267" y="124017"/>
                    <a:pt x="139757" y="131717"/>
                    <a:pt x="133400" y="139475"/>
                  </a:cubicBezTo>
                  <a:cubicBezTo>
                    <a:pt x="127028" y="147116"/>
                    <a:pt x="120019" y="154873"/>
                    <a:pt x="112378" y="162748"/>
                  </a:cubicBezTo>
                  <a:lnTo>
                    <a:pt x="57675" y="223015"/>
                  </a:lnTo>
                  <a:lnTo>
                    <a:pt x="174377" y="223015"/>
                  </a:lnTo>
                  <a:close/>
                  <a:moveTo>
                    <a:pt x="371848" y="108730"/>
                  </a:moveTo>
                  <a:lnTo>
                    <a:pt x="371848" y="150063"/>
                  </a:lnTo>
                  <a:cubicBezTo>
                    <a:pt x="371848" y="169864"/>
                    <a:pt x="369873" y="186765"/>
                    <a:pt x="365938" y="200778"/>
                  </a:cubicBezTo>
                  <a:cubicBezTo>
                    <a:pt x="362125" y="214674"/>
                    <a:pt x="356561" y="225963"/>
                    <a:pt x="349260" y="234645"/>
                  </a:cubicBezTo>
                  <a:cubicBezTo>
                    <a:pt x="341960" y="243327"/>
                    <a:pt x="333219" y="249698"/>
                    <a:pt x="323035" y="253750"/>
                  </a:cubicBezTo>
                  <a:cubicBezTo>
                    <a:pt x="312971" y="257801"/>
                    <a:pt x="301668" y="259830"/>
                    <a:pt x="289168" y="259830"/>
                  </a:cubicBezTo>
                  <a:cubicBezTo>
                    <a:pt x="279221" y="259830"/>
                    <a:pt x="269951" y="258555"/>
                    <a:pt x="261381" y="256011"/>
                  </a:cubicBezTo>
                  <a:cubicBezTo>
                    <a:pt x="252933" y="253463"/>
                    <a:pt x="245287" y="249470"/>
                    <a:pt x="238468" y="244027"/>
                  </a:cubicBezTo>
                  <a:cubicBezTo>
                    <a:pt x="231634" y="238584"/>
                    <a:pt x="225773" y="231581"/>
                    <a:pt x="220914" y="223011"/>
                  </a:cubicBezTo>
                  <a:cubicBezTo>
                    <a:pt x="216172" y="214329"/>
                    <a:pt x="212466" y="203964"/>
                    <a:pt x="209800" y="191921"/>
                  </a:cubicBezTo>
                  <a:cubicBezTo>
                    <a:pt x="207256" y="179878"/>
                    <a:pt x="205972" y="165929"/>
                    <a:pt x="205972" y="150063"/>
                  </a:cubicBezTo>
                  <a:lnTo>
                    <a:pt x="205972" y="108730"/>
                  </a:lnTo>
                  <a:cubicBezTo>
                    <a:pt x="205972" y="88813"/>
                    <a:pt x="207947" y="72028"/>
                    <a:pt x="211882" y="58366"/>
                  </a:cubicBezTo>
                  <a:cubicBezTo>
                    <a:pt x="215831" y="44587"/>
                    <a:pt x="221430" y="33414"/>
                    <a:pt x="228730" y="24844"/>
                  </a:cubicBezTo>
                  <a:cubicBezTo>
                    <a:pt x="236031" y="16162"/>
                    <a:pt x="244722" y="9849"/>
                    <a:pt x="254786" y="5914"/>
                  </a:cubicBezTo>
                  <a:cubicBezTo>
                    <a:pt x="264970" y="1975"/>
                    <a:pt x="276323" y="10"/>
                    <a:pt x="288827" y="10"/>
                  </a:cubicBezTo>
                  <a:cubicBezTo>
                    <a:pt x="298910" y="10"/>
                    <a:pt x="308166" y="1284"/>
                    <a:pt x="316614" y="3833"/>
                  </a:cubicBezTo>
                  <a:cubicBezTo>
                    <a:pt x="325184" y="6265"/>
                    <a:pt x="332825" y="10141"/>
                    <a:pt x="339542" y="15467"/>
                  </a:cubicBezTo>
                  <a:cubicBezTo>
                    <a:pt x="346376" y="20793"/>
                    <a:pt x="352164" y="27738"/>
                    <a:pt x="356906" y="36308"/>
                  </a:cubicBezTo>
                  <a:cubicBezTo>
                    <a:pt x="361765" y="44762"/>
                    <a:pt x="365476" y="55010"/>
                    <a:pt x="368020" y="67048"/>
                  </a:cubicBezTo>
                  <a:cubicBezTo>
                    <a:pt x="370578" y="78974"/>
                    <a:pt x="371848" y="92870"/>
                    <a:pt x="371848" y="108730"/>
                  </a:cubicBezTo>
                  <a:close/>
                  <a:moveTo>
                    <a:pt x="329995" y="155968"/>
                  </a:moveTo>
                  <a:lnTo>
                    <a:pt x="329995" y="102476"/>
                  </a:lnTo>
                  <a:cubicBezTo>
                    <a:pt x="329995" y="92403"/>
                    <a:pt x="329411" y="83546"/>
                    <a:pt x="328258" y="75905"/>
                  </a:cubicBezTo>
                  <a:cubicBezTo>
                    <a:pt x="327091" y="68147"/>
                    <a:pt x="325355" y="61605"/>
                    <a:pt x="323039" y="56279"/>
                  </a:cubicBezTo>
                  <a:cubicBezTo>
                    <a:pt x="320841" y="50837"/>
                    <a:pt x="318059" y="46440"/>
                    <a:pt x="314708" y="43079"/>
                  </a:cubicBezTo>
                  <a:cubicBezTo>
                    <a:pt x="311342" y="39606"/>
                    <a:pt x="307529" y="37116"/>
                    <a:pt x="303234" y="35613"/>
                  </a:cubicBezTo>
                  <a:cubicBezTo>
                    <a:pt x="298959" y="33993"/>
                    <a:pt x="294148" y="33181"/>
                    <a:pt x="288823" y="33181"/>
                  </a:cubicBezTo>
                  <a:cubicBezTo>
                    <a:pt x="282349" y="33181"/>
                    <a:pt x="276542" y="34455"/>
                    <a:pt x="271459" y="37004"/>
                  </a:cubicBezTo>
                  <a:cubicBezTo>
                    <a:pt x="266357" y="39436"/>
                    <a:pt x="262081" y="43371"/>
                    <a:pt x="258613" y="48813"/>
                  </a:cubicBezTo>
                  <a:cubicBezTo>
                    <a:pt x="255126" y="54256"/>
                    <a:pt x="252466" y="61435"/>
                    <a:pt x="250608" y="70350"/>
                  </a:cubicBezTo>
                  <a:cubicBezTo>
                    <a:pt x="248871" y="79149"/>
                    <a:pt x="248015" y="89859"/>
                    <a:pt x="248015" y="102480"/>
                  </a:cubicBezTo>
                  <a:lnTo>
                    <a:pt x="248015" y="155973"/>
                  </a:lnTo>
                  <a:cubicBezTo>
                    <a:pt x="248015" y="166162"/>
                    <a:pt x="248584" y="175136"/>
                    <a:pt x="249752" y="182894"/>
                  </a:cubicBezTo>
                  <a:cubicBezTo>
                    <a:pt x="250904" y="190652"/>
                    <a:pt x="252636" y="197310"/>
                    <a:pt x="254956" y="202865"/>
                  </a:cubicBezTo>
                  <a:cubicBezTo>
                    <a:pt x="257276" y="208307"/>
                    <a:pt x="260058" y="212821"/>
                    <a:pt x="263302" y="216410"/>
                  </a:cubicBezTo>
                  <a:cubicBezTo>
                    <a:pt x="266653" y="219883"/>
                    <a:pt x="270481" y="222432"/>
                    <a:pt x="274756" y="224051"/>
                  </a:cubicBezTo>
                  <a:cubicBezTo>
                    <a:pt x="279153" y="225671"/>
                    <a:pt x="283964" y="226483"/>
                    <a:pt x="289168" y="226483"/>
                  </a:cubicBezTo>
                  <a:cubicBezTo>
                    <a:pt x="295778" y="226483"/>
                    <a:pt x="301619" y="225209"/>
                    <a:pt x="306721" y="222660"/>
                  </a:cubicBezTo>
                  <a:cubicBezTo>
                    <a:pt x="311804" y="220112"/>
                    <a:pt x="316099" y="216060"/>
                    <a:pt x="319567" y="210501"/>
                  </a:cubicBezTo>
                  <a:cubicBezTo>
                    <a:pt x="323035" y="204830"/>
                    <a:pt x="325646" y="197476"/>
                    <a:pt x="327383" y="188443"/>
                  </a:cubicBezTo>
                  <a:cubicBezTo>
                    <a:pt x="329119" y="179411"/>
                    <a:pt x="329995" y="168585"/>
                    <a:pt x="329995" y="155963"/>
                  </a:cubicBezTo>
                  <a:close/>
                  <a:moveTo>
                    <a:pt x="578701" y="223006"/>
                  </a:moveTo>
                  <a:lnTo>
                    <a:pt x="578701" y="256352"/>
                  </a:lnTo>
                  <a:lnTo>
                    <a:pt x="409187" y="256352"/>
                  </a:lnTo>
                  <a:lnTo>
                    <a:pt x="409187" y="227694"/>
                  </a:lnTo>
                  <a:lnTo>
                    <a:pt x="491507" y="137904"/>
                  </a:lnTo>
                  <a:cubicBezTo>
                    <a:pt x="500539" y="127714"/>
                    <a:pt x="507670" y="118915"/>
                    <a:pt x="512874" y="111503"/>
                  </a:cubicBezTo>
                  <a:cubicBezTo>
                    <a:pt x="518078" y="104090"/>
                    <a:pt x="521736" y="97437"/>
                    <a:pt x="523813" y="91532"/>
                  </a:cubicBezTo>
                  <a:cubicBezTo>
                    <a:pt x="526011" y="85511"/>
                    <a:pt x="527110" y="79664"/>
                    <a:pt x="527110" y="73988"/>
                  </a:cubicBezTo>
                  <a:cubicBezTo>
                    <a:pt x="527110" y="65997"/>
                    <a:pt x="525617" y="58993"/>
                    <a:pt x="522592" y="52972"/>
                  </a:cubicBezTo>
                  <a:cubicBezTo>
                    <a:pt x="519708" y="46834"/>
                    <a:pt x="515413" y="42028"/>
                    <a:pt x="509746" y="38555"/>
                  </a:cubicBezTo>
                  <a:cubicBezTo>
                    <a:pt x="504080" y="34966"/>
                    <a:pt x="497193" y="33171"/>
                    <a:pt x="489085" y="33171"/>
                  </a:cubicBezTo>
                  <a:cubicBezTo>
                    <a:pt x="479708" y="33171"/>
                    <a:pt x="471823" y="35199"/>
                    <a:pt x="465452" y="39251"/>
                  </a:cubicBezTo>
                  <a:cubicBezTo>
                    <a:pt x="459095" y="43302"/>
                    <a:pt x="454289" y="48920"/>
                    <a:pt x="451040" y="56099"/>
                  </a:cubicBezTo>
                  <a:cubicBezTo>
                    <a:pt x="447796" y="63161"/>
                    <a:pt x="446181" y="71269"/>
                    <a:pt x="446181" y="80413"/>
                  </a:cubicBezTo>
                  <a:lnTo>
                    <a:pt x="404328" y="80413"/>
                  </a:lnTo>
                  <a:cubicBezTo>
                    <a:pt x="404328" y="65710"/>
                    <a:pt x="407679" y="52276"/>
                    <a:pt x="414391" y="40122"/>
                  </a:cubicBezTo>
                  <a:cubicBezTo>
                    <a:pt x="421108" y="27850"/>
                    <a:pt x="430846" y="18123"/>
                    <a:pt x="443569" y="10944"/>
                  </a:cubicBezTo>
                  <a:cubicBezTo>
                    <a:pt x="456313" y="3648"/>
                    <a:pt x="471648" y="0"/>
                    <a:pt x="489596" y="0"/>
                  </a:cubicBezTo>
                  <a:cubicBezTo>
                    <a:pt x="506497" y="0"/>
                    <a:pt x="520855" y="2836"/>
                    <a:pt x="532670" y="8512"/>
                  </a:cubicBezTo>
                  <a:cubicBezTo>
                    <a:pt x="544484" y="14188"/>
                    <a:pt x="553453" y="22232"/>
                    <a:pt x="559581" y="32656"/>
                  </a:cubicBezTo>
                  <a:cubicBezTo>
                    <a:pt x="565831" y="43074"/>
                    <a:pt x="568958" y="55409"/>
                    <a:pt x="568958" y="69650"/>
                  </a:cubicBezTo>
                  <a:cubicBezTo>
                    <a:pt x="568958" y="77524"/>
                    <a:pt x="567689" y="85340"/>
                    <a:pt x="565145" y="93098"/>
                  </a:cubicBezTo>
                  <a:cubicBezTo>
                    <a:pt x="562601" y="100856"/>
                    <a:pt x="558944" y="108614"/>
                    <a:pt x="554207" y="116372"/>
                  </a:cubicBezTo>
                  <a:cubicBezTo>
                    <a:pt x="549571" y="124013"/>
                    <a:pt x="544075" y="131712"/>
                    <a:pt x="537704" y="139470"/>
                  </a:cubicBezTo>
                  <a:cubicBezTo>
                    <a:pt x="531332" y="147111"/>
                    <a:pt x="524323" y="154869"/>
                    <a:pt x="516697" y="162743"/>
                  </a:cubicBezTo>
                  <a:lnTo>
                    <a:pt x="461979" y="223011"/>
                  </a:lnTo>
                  <a:lnTo>
                    <a:pt x="578701" y="223011"/>
                  </a:lnTo>
                  <a:close/>
                  <a:moveTo>
                    <a:pt x="660505" y="110982"/>
                  </a:moveTo>
                  <a:lnTo>
                    <a:pt x="685510" y="110982"/>
                  </a:lnTo>
                  <a:cubicBezTo>
                    <a:pt x="695233" y="110982"/>
                    <a:pt x="703287" y="109304"/>
                    <a:pt x="709639" y="105948"/>
                  </a:cubicBezTo>
                  <a:cubicBezTo>
                    <a:pt x="716132" y="102592"/>
                    <a:pt x="720943" y="97957"/>
                    <a:pt x="724065" y="92052"/>
                  </a:cubicBezTo>
                  <a:cubicBezTo>
                    <a:pt x="727193" y="86148"/>
                    <a:pt x="728754" y="79373"/>
                    <a:pt x="728754" y="71731"/>
                  </a:cubicBezTo>
                  <a:cubicBezTo>
                    <a:pt x="728754" y="64090"/>
                    <a:pt x="727295" y="56911"/>
                    <a:pt x="724411" y="51240"/>
                  </a:cubicBezTo>
                  <a:cubicBezTo>
                    <a:pt x="721628" y="45452"/>
                    <a:pt x="717353" y="40992"/>
                    <a:pt x="711565" y="37865"/>
                  </a:cubicBezTo>
                  <a:cubicBezTo>
                    <a:pt x="705879" y="34737"/>
                    <a:pt x="698652" y="33176"/>
                    <a:pt x="689858" y="33176"/>
                  </a:cubicBezTo>
                  <a:cubicBezTo>
                    <a:pt x="682441" y="33176"/>
                    <a:pt x="675724" y="34679"/>
                    <a:pt x="669712" y="37690"/>
                  </a:cubicBezTo>
                  <a:cubicBezTo>
                    <a:pt x="663803" y="40584"/>
                    <a:pt x="659114" y="44752"/>
                    <a:pt x="655626" y="50195"/>
                  </a:cubicBezTo>
                  <a:cubicBezTo>
                    <a:pt x="652159" y="55520"/>
                    <a:pt x="650422" y="61887"/>
                    <a:pt x="650422" y="69300"/>
                  </a:cubicBezTo>
                  <a:lnTo>
                    <a:pt x="608394" y="69300"/>
                  </a:lnTo>
                  <a:cubicBezTo>
                    <a:pt x="608394" y="55866"/>
                    <a:pt x="611916" y="43945"/>
                    <a:pt x="618992" y="33521"/>
                  </a:cubicBezTo>
                  <a:cubicBezTo>
                    <a:pt x="626050" y="23103"/>
                    <a:pt x="635670" y="14937"/>
                    <a:pt x="647810" y="9032"/>
                  </a:cubicBezTo>
                  <a:cubicBezTo>
                    <a:pt x="660092" y="3011"/>
                    <a:pt x="673866" y="0"/>
                    <a:pt x="689148" y="0"/>
                  </a:cubicBezTo>
                  <a:cubicBezTo>
                    <a:pt x="705480" y="0"/>
                    <a:pt x="719717" y="2724"/>
                    <a:pt x="731876" y="8161"/>
                  </a:cubicBezTo>
                  <a:cubicBezTo>
                    <a:pt x="744138" y="13487"/>
                    <a:pt x="753705" y="21479"/>
                    <a:pt x="760524" y="32130"/>
                  </a:cubicBezTo>
                  <a:cubicBezTo>
                    <a:pt x="767358" y="42782"/>
                    <a:pt x="770777" y="55982"/>
                    <a:pt x="770777" y="71727"/>
                  </a:cubicBezTo>
                  <a:cubicBezTo>
                    <a:pt x="770777" y="78906"/>
                    <a:pt x="769094" y="86201"/>
                    <a:pt x="765743" y="93609"/>
                  </a:cubicBezTo>
                  <a:cubicBezTo>
                    <a:pt x="762378" y="101021"/>
                    <a:pt x="757397" y="107792"/>
                    <a:pt x="750802" y="113930"/>
                  </a:cubicBezTo>
                  <a:cubicBezTo>
                    <a:pt x="744206" y="119951"/>
                    <a:pt x="735982" y="124869"/>
                    <a:pt x="726137" y="128692"/>
                  </a:cubicBezTo>
                  <a:cubicBezTo>
                    <a:pt x="716298" y="132398"/>
                    <a:pt x="704892" y="134251"/>
                    <a:pt x="691925" y="134251"/>
                  </a:cubicBezTo>
                  <a:lnTo>
                    <a:pt x="660495" y="134251"/>
                  </a:lnTo>
                  <a:lnTo>
                    <a:pt x="660495" y="110978"/>
                  </a:lnTo>
                  <a:close/>
                  <a:moveTo>
                    <a:pt x="660505" y="143633"/>
                  </a:moveTo>
                  <a:lnTo>
                    <a:pt x="660505" y="120705"/>
                  </a:lnTo>
                  <a:lnTo>
                    <a:pt x="691935" y="120705"/>
                  </a:lnTo>
                  <a:cubicBezTo>
                    <a:pt x="706755" y="120705"/>
                    <a:pt x="719381" y="122442"/>
                    <a:pt x="729790" y="125914"/>
                  </a:cubicBezTo>
                  <a:cubicBezTo>
                    <a:pt x="740335" y="129387"/>
                    <a:pt x="748905" y="134193"/>
                    <a:pt x="755500" y="140331"/>
                  </a:cubicBezTo>
                  <a:cubicBezTo>
                    <a:pt x="762095" y="146352"/>
                    <a:pt x="766906" y="153239"/>
                    <a:pt x="769911" y="160997"/>
                  </a:cubicBezTo>
                  <a:cubicBezTo>
                    <a:pt x="773039" y="168755"/>
                    <a:pt x="774600" y="176975"/>
                    <a:pt x="774600" y="185661"/>
                  </a:cubicBezTo>
                  <a:cubicBezTo>
                    <a:pt x="774600" y="197471"/>
                    <a:pt x="772470" y="208006"/>
                    <a:pt x="768175" y="217271"/>
                  </a:cubicBezTo>
                  <a:cubicBezTo>
                    <a:pt x="764016" y="226420"/>
                    <a:pt x="758044" y="234178"/>
                    <a:pt x="750296" y="240545"/>
                  </a:cubicBezTo>
                  <a:cubicBezTo>
                    <a:pt x="742533" y="246911"/>
                    <a:pt x="733447" y="251717"/>
                    <a:pt x="723024" y="254961"/>
                  </a:cubicBezTo>
                  <a:cubicBezTo>
                    <a:pt x="712718" y="258205"/>
                    <a:pt x="701487" y="259825"/>
                    <a:pt x="689328" y="259825"/>
                  </a:cubicBezTo>
                  <a:cubicBezTo>
                    <a:pt x="678457" y="259825"/>
                    <a:pt x="668029" y="258322"/>
                    <a:pt x="658068" y="255311"/>
                  </a:cubicBezTo>
                  <a:cubicBezTo>
                    <a:pt x="648107" y="252300"/>
                    <a:pt x="639192" y="247845"/>
                    <a:pt x="631327" y="241940"/>
                  </a:cubicBezTo>
                  <a:cubicBezTo>
                    <a:pt x="623443" y="235919"/>
                    <a:pt x="617193" y="228453"/>
                    <a:pt x="612572" y="219538"/>
                  </a:cubicBezTo>
                  <a:cubicBezTo>
                    <a:pt x="608054" y="210506"/>
                    <a:pt x="605787" y="200087"/>
                    <a:pt x="605787" y="188273"/>
                  </a:cubicBezTo>
                  <a:lnTo>
                    <a:pt x="647640" y="188273"/>
                  </a:lnTo>
                  <a:cubicBezTo>
                    <a:pt x="647640" y="195802"/>
                    <a:pt x="649377" y="202456"/>
                    <a:pt x="652859" y="208249"/>
                  </a:cubicBezTo>
                  <a:cubicBezTo>
                    <a:pt x="656449" y="213920"/>
                    <a:pt x="661429" y="218380"/>
                    <a:pt x="667786" y="221619"/>
                  </a:cubicBezTo>
                  <a:cubicBezTo>
                    <a:pt x="674279" y="224864"/>
                    <a:pt x="681682" y="226483"/>
                    <a:pt x="690028" y="226483"/>
                  </a:cubicBezTo>
                  <a:cubicBezTo>
                    <a:pt x="698822" y="226483"/>
                    <a:pt x="706415" y="224922"/>
                    <a:pt x="712767" y="221795"/>
                  </a:cubicBezTo>
                  <a:cubicBezTo>
                    <a:pt x="719138" y="218667"/>
                    <a:pt x="723997" y="214037"/>
                    <a:pt x="727363" y="207899"/>
                  </a:cubicBezTo>
                  <a:cubicBezTo>
                    <a:pt x="730831" y="201761"/>
                    <a:pt x="732567" y="194353"/>
                    <a:pt x="732567" y="185671"/>
                  </a:cubicBezTo>
                  <a:cubicBezTo>
                    <a:pt x="732567" y="175827"/>
                    <a:pt x="730660" y="167840"/>
                    <a:pt x="726847" y="161702"/>
                  </a:cubicBezTo>
                  <a:cubicBezTo>
                    <a:pt x="723019" y="155564"/>
                    <a:pt x="717572" y="151050"/>
                    <a:pt x="710515" y="148157"/>
                  </a:cubicBezTo>
                  <a:cubicBezTo>
                    <a:pt x="703457" y="145146"/>
                    <a:pt x="695111" y="143643"/>
                    <a:pt x="685510" y="143643"/>
                  </a:cubicBezTo>
                  <a:lnTo>
                    <a:pt x="660505" y="143643"/>
                  </a:lnTo>
                  <a:close/>
                </a:path>
              </a:pathLst>
            </a:custGeom>
            <a:solidFill>
              <a:schemeClr val="tx1"/>
            </a:solidFill>
            <a:ln w="4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pic>
        <p:nvPicPr>
          <p:cNvPr id="327" name="Рисунок 326">
            <a:extLst>
              <a:ext uri="{FF2B5EF4-FFF2-40B4-BE49-F238E27FC236}">
                <a16:creationId xmlns:a16="http://schemas.microsoft.com/office/drawing/2014/main" id="{5FBFD731-DA0C-468F-932D-BEB32E313CC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503721" y="6049020"/>
            <a:ext cx="1688608" cy="472507"/>
          </a:xfrm>
          <a:prstGeom prst="rect">
            <a:avLst/>
          </a:prstGeom>
        </p:spPr>
      </p:pic>
      <p:grpSp>
        <p:nvGrpSpPr>
          <p:cNvPr id="2" name="Группа 1">
            <a:extLst>
              <a:ext uri="{FF2B5EF4-FFF2-40B4-BE49-F238E27FC236}">
                <a16:creationId xmlns:a16="http://schemas.microsoft.com/office/drawing/2014/main" id="{CBD1E006-D8D6-478D-A8B3-D65DBCE9A924}"/>
              </a:ext>
            </a:extLst>
          </p:cNvPr>
          <p:cNvGrpSpPr/>
          <p:nvPr/>
        </p:nvGrpSpPr>
        <p:grpSpPr>
          <a:xfrm>
            <a:off x="-324073" y="1116160"/>
            <a:ext cx="6277840" cy="4262036"/>
            <a:chOff x="5821403" y="1844135"/>
            <a:chExt cx="6277840" cy="4262036"/>
          </a:xfrm>
        </p:grpSpPr>
        <p:sp>
          <p:nvSpPr>
            <p:cNvPr id="817" name="Shape_фон">
              <a:extLst>
                <a:ext uri="{FF2B5EF4-FFF2-40B4-BE49-F238E27FC236}">
                  <a16:creationId xmlns:a16="http://schemas.microsoft.com/office/drawing/2014/main" id="{8C3218E2-A51F-4FB1-BED8-CDE77873EB75}"/>
                </a:ext>
              </a:extLst>
            </p:cNvPr>
            <p:cNvSpPr/>
            <p:nvPr/>
          </p:nvSpPr>
          <p:spPr>
            <a:xfrm>
              <a:off x="5821403" y="1844135"/>
              <a:ext cx="6277840" cy="4262036"/>
            </a:xfrm>
            <a:prstGeom prst="roundRect">
              <a:avLst>
                <a:gd name="adj" fmla="val 8571"/>
              </a:avLst>
            </a:prstGeom>
            <a:solidFill>
              <a:schemeClr val="bg1"/>
            </a:solidFill>
            <a:ln w="12700" cap="flat">
              <a:noFill/>
              <a:prstDash val="solid"/>
              <a:miter/>
            </a:ln>
            <a:effectLst>
              <a:outerShdw blurRad="1003300" sx="102000" sy="102000" algn="ctr" rotWithShape="0">
                <a:schemeClr val="tx1">
                  <a:alpha val="20000"/>
                </a:schemeClr>
              </a:outerShdw>
            </a:effectLst>
          </p:spPr>
          <p:txBody>
            <a:bodyPr lIns="0" tIns="0" rIns="0" bIns="0" anchor="ctr"/>
            <a:lstStyle/>
            <a:p>
              <a:pPr marL="0" marR="0" lvl="0" indent="0" algn="ctr" defTabSz="309563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Roboto" pitchFamily="2" charset="0"/>
                  <a:ea typeface="Roboto" pitchFamily="2" charset="0"/>
                  <a:cs typeface="Poppins Bold"/>
                  <a:sym typeface="Poppins Bold"/>
                </a:rPr>
                <a:t> </a:t>
              </a:r>
              <a:endPara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itchFamily="2" charset="0"/>
                <a:ea typeface="Roboto" pitchFamily="2" charset="0"/>
                <a:cs typeface="Poppins Bold"/>
                <a:sym typeface="Poppins Bold"/>
              </a:endParaRPr>
            </a:p>
          </p:txBody>
        </p:sp>
        <p:sp>
          <p:nvSpPr>
            <p:cNvPr id="328" name="Заголовок">
              <a:extLst>
                <a:ext uri="{FF2B5EF4-FFF2-40B4-BE49-F238E27FC236}">
                  <a16:creationId xmlns:a16="http://schemas.microsoft.com/office/drawing/2014/main" id="{0D424A7E-5ED8-4606-A34F-F807A4E10376}"/>
                </a:ext>
              </a:extLst>
            </p:cNvPr>
            <p:cNvSpPr txBox="1"/>
            <p:nvPr/>
          </p:nvSpPr>
          <p:spPr>
            <a:xfrm>
              <a:off x="6500834" y="2120904"/>
              <a:ext cx="4275970" cy="70788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ru-RU" sz="4000" dirty="0">
                  <a:solidFill>
                    <a:schemeClr val="bg2"/>
                  </a:solidFill>
                  <a:latin typeface="SB Sans Text Medium" panose="020B0603040504020204" pitchFamily="34" charset="-52"/>
                  <a:ea typeface="Roboto" pitchFamily="2" charset="0"/>
                  <a:cs typeface="SB Sans Text Medium" panose="020B0603040504020204" pitchFamily="34" charset="-52"/>
                </a:rPr>
                <a:t>Согласия</a:t>
              </a:r>
            </a:p>
          </p:txBody>
        </p:sp>
        <p:sp>
          <p:nvSpPr>
            <p:cNvPr id="329" name="Motion design">
              <a:extLst>
                <a:ext uri="{FF2B5EF4-FFF2-40B4-BE49-F238E27FC236}">
                  <a16:creationId xmlns:a16="http://schemas.microsoft.com/office/drawing/2014/main" id="{CDE623FD-5797-42BF-A4A5-135CFD69E616}"/>
                </a:ext>
              </a:extLst>
            </p:cNvPr>
            <p:cNvSpPr txBox="1"/>
            <p:nvPr/>
          </p:nvSpPr>
          <p:spPr>
            <a:xfrm>
              <a:off x="6628874" y="2925768"/>
              <a:ext cx="5168548" cy="2852063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</a:ext>
            </a:extLst>
          </p:spPr>
          <p:txBody>
            <a:bodyPr wrap="square" lIns="0" tIns="0" rIns="0" bIns="0" anchor="ctr">
              <a:spAutoFit/>
            </a:bodyPr>
            <a:lstStyle>
              <a:lvl1pPr>
                <a:lnSpc>
                  <a:spcPct val="130000"/>
                </a:lnSpc>
                <a:defRPr sz="3000">
                  <a:latin typeface="+mn-lt"/>
                  <a:ea typeface="+mn-ea"/>
                  <a:cs typeface="+mn-cs"/>
                  <a:sym typeface="Poppins SemiBold"/>
                </a:defRPr>
              </a:lvl1pPr>
            </a:lstStyle>
            <a:p>
              <a:pPr defTabSz="309563" hangingPunct="0">
                <a:buClrTx/>
                <a:defRPr/>
              </a:pPr>
              <a:r>
                <a:rPr lang="ru-RU" sz="1600" dirty="0">
                  <a:solidFill>
                    <a:srgbClr val="0D0D0D"/>
                  </a:solidFill>
                  <a:latin typeface="SB Sans Text Light" panose="020B0303040504020204" pitchFamily="34" charset="-52"/>
                  <a:ea typeface="Roboto Light" panose="02000000000000000000" pitchFamily="2" charset="0"/>
                  <a:cs typeface="SB Sans Text Light" panose="020B0303040504020204" pitchFamily="34" charset="-52"/>
                </a:rPr>
                <a:t>Все звучит классно, но чтобы передать полный профиль, нужно правильно составленное </a:t>
              </a:r>
              <a:r>
                <a:rPr lang="ru-RU" sz="1600" dirty="0">
                  <a:solidFill>
                    <a:schemeClr val="bg2"/>
                  </a:solidFill>
                  <a:latin typeface="SB Sans Text Light" panose="020B0303040504020204" pitchFamily="34" charset="-52"/>
                  <a:ea typeface="Roboto Light" panose="02000000000000000000" pitchFamily="2" charset="0"/>
                  <a:cs typeface="SB Sans Text Light" panose="020B0303040504020204" pitchFamily="34" charset="-52"/>
                </a:rPr>
                <a:t>согласие</a:t>
              </a:r>
              <a:r>
                <a:rPr lang="ru-RU" sz="1600" dirty="0">
                  <a:solidFill>
                    <a:srgbClr val="0D0D0D"/>
                  </a:solidFill>
                  <a:latin typeface="SB Sans Text Light" panose="020B0303040504020204" pitchFamily="34" charset="-52"/>
                  <a:ea typeface="Roboto Light" panose="02000000000000000000" pitchFamily="2" charset="0"/>
                  <a:cs typeface="SB Sans Text Light" panose="020B0303040504020204" pitchFamily="34" charset="-52"/>
                </a:rPr>
                <a:t> </a:t>
              </a:r>
              <a:br>
                <a:rPr lang="ru-RU" sz="1600" dirty="0">
                  <a:solidFill>
                    <a:srgbClr val="0D0D0D"/>
                  </a:solidFill>
                  <a:latin typeface="SB Sans Text Light" panose="020B0303040504020204" pitchFamily="34" charset="-52"/>
                  <a:ea typeface="Roboto Light" panose="02000000000000000000" pitchFamily="2" charset="0"/>
                  <a:cs typeface="SB Sans Text Light" panose="020B0303040504020204" pitchFamily="34" charset="-52"/>
                </a:rPr>
              </a:br>
              <a:r>
                <a:rPr lang="ru-RU" sz="1600" dirty="0">
                  <a:solidFill>
                    <a:srgbClr val="0D0D0D"/>
                  </a:solidFill>
                  <a:latin typeface="SB Sans Text Light" panose="020B0303040504020204" pitchFamily="34" charset="-52"/>
                  <a:ea typeface="Roboto Light" panose="02000000000000000000" pitchFamily="2" charset="0"/>
                  <a:cs typeface="SB Sans Text Light" panose="020B0303040504020204" pitchFamily="34" charset="-52"/>
                </a:rPr>
                <a:t>от клиента. Причем оформить его нужно там, </a:t>
              </a:r>
              <a:br>
                <a:rPr lang="ru-RU" sz="1600" dirty="0">
                  <a:solidFill>
                    <a:srgbClr val="0D0D0D"/>
                  </a:solidFill>
                  <a:latin typeface="SB Sans Text Light" panose="020B0303040504020204" pitchFamily="34" charset="-52"/>
                  <a:ea typeface="Roboto Light" panose="02000000000000000000" pitchFamily="2" charset="0"/>
                  <a:cs typeface="SB Sans Text Light" panose="020B0303040504020204" pitchFamily="34" charset="-52"/>
                </a:rPr>
              </a:br>
              <a:r>
                <a:rPr lang="ru-RU" sz="1600" dirty="0">
                  <a:solidFill>
                    <a:srgbClr val="0D0D0D"/>
                  </a:solidFill>
                  <a:latin typeface="SB Sans Text Light" panose="020B0303040504020204" pitchFamily="34" charset="-52"/>
                  <a:ea typeface="Roboto Light" panose="02000000000000000000" pitchFamily="2" charset="0"/>
                  <a:cs typeface="SB Sans Text Light" panose="020B0303040504020204" pitchFamily="34" charset="-52"/>
                </a:rPr>
                <a:t>где клиент бывает чаще </a:t>
              </a:r>
              <a:r>
                <a:rPr lang="ru-RU" sz="1600" dirty="0">
                  <a:solidFill>
                    <a:srgbClr val="0D0D0D"/>
                  </a:solidFill>
                  <a:latin typeface="SB Sans Text Light" panose="020B0303040504020204" pitchFamily="34" charset="-52"/>
                  <a:cs typeface="SB Sans Text Light" panose="020B0303040504020204" pitchFamily="34" charset="-52"/>
                </a:rPr>
                <a:t>всего, — в банке. </a:t>
              </a:r>
            </a:p>
            <a:p>
              <a:pPr defTabSz="309563" hangingPunct="0">
                <a:buClrTx/>
                <a:defRPr/>
              </a:pPr>
              <a:endParaRPr lang="ru-RU" sz="1600" dirty="0">
                <a:solidFill>
                  <a:srgbClr val="0D0D0D"/>
                </a:solidFill>
                <a:latin typeface="SB Sans Text Light" panose="020B0303040504020204" pitchFamily="34" charset="-52"/>
                <a:ea typeface="Roboto Light" panose="02000000000000000000" pitchFamily="2" charset="0"/>
                <a:cs typeface="SB Sans Text Light" panose="020B0303040504020204" pitchFamily="34" charset="-52"/>
              </a:endParaRPr>
            </a:p>
            <a:p>
              <a:pPr defTabSz="309563" hangingPunct="0">
                <a:buClrTx/>
                <a:defRPr/>
              </a:pPr>
              <a:r>
                <a:rPr lang="ru-RU" sz="1600" dirty="0">
                  <a:solidFill>
                    <a:srgbClr val="0D0D0D"/>
                  </a:solidFill>
                  <a:latin typeface="SB Sans Text Light" panose="020B0303040504020204" pitchFamily="34" charset="-52"/>
                  <a:ea typeface="Roboto Light" panose="02000000000000000000" pitchFamily="2" charset="0"/>
                  <a:cs typeface="SB Sans Text Light" panose="020B0303040504020204" pitchFamily="34" charset="-52"/>
                </a:rPr>
                <a:t>Поэтому нужно это согласие собрать в банке, передать и обработать в НПФ. Местом хранения согласий на стороне </a:t>
              </a:r>
              <a:r>
                <a:rPr lang="ru-RU" sz="1600" dirty="0" err="1">
                  <a:solidFill>
                    <a:srgbClr val="0D0D0D"/>
                  </a:solidFill>
                  <a:latin typeface="SB Sans Text Light" panose="020B0303040504020204" pitchFamily="34" charset="-52"/>
                  <a:ea typeface="Roboto Light" panose="02000000000000000000" pitchFamily="2" charset="0"/>
                  <a:cs typeface="SB Sans Text Light" panose="020B0303040504020204" pitchFamily="34" charset="-52"/>
                </a:rPr>
                <a:t>СберНПФ</a:t>
              </a:r>
              <a:r>
                <a:rPr lang="ru-RU" sz="1600" dirty="0">
                  <a:solidFill>
                    <a:srgbClr val="0D0D0D"/>
                  </a:solidFill>
                  <a:latin typeface="SB Sans Text Light" panose="020B0303040504020204" pitchFamily="34" charset="-52"/>
                  <a:ea typeface="Roboto Light" panose="02000000000000000000" pitchFamily="2" charset="0"/>
                  <a:cs typeface="SB Sans Text Light" panose="020B0303040504020204" pitchFamily="34" charset="-52"/>
                </a:rPr>
                <a:t> становится </a:t>
              </a:r>
              <a:br>
                <a:rPr lang="ru-RU" sz="1600" dirty="0">
                  <a:solidFill>
                    <a:srgbClr val="0D0D0D"/>
                  </a:solidFill>
                  <a:latin typeface="SB Sans Text Light" panose="020B0303040504020204" pitchFamily="34" charset="-52"/>
                  <a:ea typeface="Roboto Light" panose="02000000000000000000" pitchFamily="2" charset="0"/>
                  <a:cs typeface="SB Sans Text Light" panose="020B0303040504020204" pitchFamily="34" charset="-52"/>
                </a:rPr>
              </a:br>
              <a:r>
                <a:rPr lang="ru-RU" sz="1600" dirty="0">
                  <a:solidFill>
                    <a:srgbClr val="0D0D0D"/>
                  </a:solidFill>
                  <a:latin typeface="SB Sans Text Light" panose="020B0303040504020204" pitchFamily="34" charset="-52"/>
                  <a:ea typeface="Roboto Light" panose="02000000000000000000" pitchFamily="2" charset="0"/>
                  <a:cs typeface="SB Sans Text Light" panose="020B0303040504020204" pitchFamily="34" charset="-52"/>
                </a:rPr>
                <a:t>«Единый клиент». </a:t>
              </a:r>
            </a:p>
          </p:txBody>
        </p:sp>
      </p:grpSp>
      <p:grpSp>
        <p:nvGrpSpPr>
          <p:cNvPr id="1617" name="Рисунок 1613">
            <a:extLst>
              <a:ext uri="{FF2B5EF4-FFF2-40B4-BE49-F238E27FC236}">
                <a16:creationId xmlns:a16="http://schemas.microsoft.com/office/drawing/2014/main" id="{27EF9208-9FFB-42A3-9B09-1055A96DBB1C}"/>
              </a:ext>
            </a:extLst>
          </p:cNvPr>
          <p:cNvGrpSpPr/>
          <p:nvPr/>
        </p:nvGrpSpPr>
        <p:grpSpPr>
          <a:xfrm>
            <a:off x="6279912" y="1118984"/>
            <a:ext cx="4978058" cy="4422314"/>
            <a:chOff x="6279912" y="1118984"/>
            <a:chExt cx="4978058" cy="4422314"/>
          </a:xfrm>
        </p:grpSpPr>
        <p:sp>
          <p:nvSpPr>
            <p:cNvPr id="1618" name="Полилиния: фигура 1617">
              <a:extLst>
                <a:ext uri="{FF2B5EF4-FFF2-40B4-BE49-F238E27FC236}">
                  <a16:creationId xmlns:a16="http://schemas.microsoft.com/office/drawing/2014/main" id="{C1DADBAA-4B4E-4696-AC9F-85E2427068B3}"/>
                </a:ext>
              </a:extLst>
            </p:cNvPr>
            <p:cNvSpPr/>
            <p:nvPr/>
          </p:nvSpPr>
          <p:spPr>
            <a:xfrm>
              <a:off x="6279912" y="1118984"/>
              <a:ext cx="4978058" cy="4422314"/>
            </a:xfrm>
            <a:custGeom>
              <a:avLst/>
              <a:gdLst>
                <a:gd name="connsiteX0" fmla="*/ 4972599 w 4978058"/>
                <a:gd name="connsiteY0" fmla="*/ 2657241 h 4422314"/>
                <a:gd name="connsiteX1" fmla="*/ 3748812 w 4978058"/>
                <a:gd name="connsiteY1" fmla="*/ 379760 h 4422314"/>
                <a:gd name="connsiteX2" fmla="*/ 3267440 w 4978058"/>
                <a:gd name="connsiteY2" fmla="*/ 176210 h 4422314"/>
                <a:gd name="connsiteX3" fmla="*/ 1133531 w 4978058"/>
                <a:gd name="connsiteY3" fmla="*/ 528408 h 4422314"/>
                <a:gd name="connsiteX4" fmla="*/ 719180 w 4978058"/>
                <a:gd name="connsiteY4" fmla="*/ 1937202 h 4422314"/>
                <a:gd name="connsiteX5" fmla="*/ 45859 w 4978058"/>
                <a:gd name="connsiteY5" fmla="*/ 3252768 h 4422314"/>
                <a:gd name="connsiteX6" fmla="*/ 1185325 w 4978058"/>
                <a:gd name="connsiteY6" fmla="*/ 4226493 h 4422314"/>
                <a:gd name="connsiteX7" fmla="*/ 2438737 w 4978058"/>
                <a:gd name="connsiteY7" fmla="*/ 3998600 h 4422314"/>
                <a:gd name="connsiteX8" fmla="*/ 4458700 w 4978058"/>
                <a:gd name="connsiteY8" fmla="*/ 4102188 h 4422314"/>
                <a:gd name="connsiteX9" fmla="*/ 4972702 w 4978058"/>
                <a:gd name="connsiteY9" fmla="*/ 2657241 h 44223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978058" h="4422314">
                  <a:moveTo>
                    <a:pt x="4972599" y="2657241"/>
                  </a:moveTo>
                  <a:cubicBezTo>
                    <a:pt x="5034648" y="1725780"/>
                    <a:pt x="4564152" y="834096"/>
                    <a:pt x="3748812" y="379760"/>
                  </a:cubicBezTo>
                  <a:cubicBezTo>
                    <a:pt x="3604204" y="299168"/>
                    <a:pt x="3444161" y="229557"/>
                    <a:pt x="3267440" y="176210"/>
                  </a:cubicBezTo>
                  <a:cubicBezTo>
                    <a:pt x="1962233" y="-217424"/>
                    <a:pt x="1475371" y="114057"/>
                    <a:pt x="1133531" y="528408"/>
                  </a:cubicBezTo>
                  <a:cubicBezTo>
                    <a:pt x="791691" y="942759"/>
                    <a:pt x="1112814" y="1647157"/>
                    <a:pt x="719180" y="1937202"/>
                  </a:cubicBezTo>
                  <a:cubicBezTo>
                    <a:pt x="325546" y="2227248"/>
                    <a:pt x="-150958" y="2641600"/>
                    <a:pt x="45859" y="3252768"/>
                  </a:cubicBezTo>
                  <a:cubicBezTo>
                    <a:pt x="242676" y="3863936"/>
                    <a:pt x="729539" y="4267928"/>
                    <a:pt x="1185325" y="4226493"/>
                  </a:cubicBezTo>
                  <a:cubicBezTo>
                    <a:pt x="1641111" y="4185058"/>
                    <a:pt x="2117615" y="3646401"/>
                    <a:pt x="2438737" y="3998600"/>
                  </a:cubicBezTo>
                  <a:cubicBezTo>
                    <a:pt x="2759860" y="4350799"/>
                    <a:pt x="3785379" y="4692638"/>
                    <a:pt x="4458700" y="4102188"/>
                  </a:cubicBezTo>
                  <a:cubicBezTo>
                    <a:pt x="4818564" y="3786659"/>
                    <a:pt x="4938725" y="3166376"/>
                    <a:pt x="4972702" y="2657241"/>
                  </a:cubicBezTo>
                  <a:close/>
                </a:path>
              </a:pathLst>
            </a:custGeom>
            <a:solidFill>
              <a:srgbClr val="21A038"/>
            </a:solidFill>
            <a:ln w="10355" cap="flat">
              <a:solidFill>
                <a:srgbClr val="000000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619" name="Полилиния: фигура 1618">
              <a:extLst>
                <a:ext uri="{FF2B5EF4-FFF2-40B4-BE49-F238E27FC236}">
                  <a16:creationId xmlns:a16="http://schemas.microsoft.com/office/drawing/2014/main" id="{DE81194E-7D8D-421A-AE7D-33A3814667AB}"/>
                </a:ext>
              </a:extLst>
            </p:cNvPr>
            <p:cNvSpPr/>
            <p:nvPr/>
          </p:nvSpPr>
          <p:spPr>
            <a:xfrm>
              <a:off x="6279912" y="1118984"/>
              <a:ext cx="4978058" cy="4422314"/>
            </a:xfrm>
            <a:custGeom>
              <a:avLst/>
              <a:gdLst>
                <a:gd name="connsiteX0" fmla="*/ 4972599 w 4978058"/>
                <a:gd name="connsiteY0" fmla="*/ 2657241 h 4422314"/>
                <a:gd name="connsiteX1" fmla="*/ 3748812 w 4978058"/>
                <a:gd name="connsiteY1" fmla="*/ 379760 h 4422314"/>
                <a:gd name="connsiteX2" fmla="*/ 3267440 w 4978058"/>
                <a:gd name="connsiteY2" fmla="*/ 176210 h 4422314"/>
                <a:gd name="connsiteX3" fmla="*/ 1133531 w 4978058"/>
                <a:gd name="connsiteY3" fmla="*/ 528408 h 4422314"/>
                <a:gd name="connsiteX4" fmla="*/ 719180 w 4978058"/>
                <a:gd name="connsiteY4" fmla="*/ 1937202 h 4422314"/>
                <a:gd name="connsiteX5" fmla="*/ 45859 w 4978058"/>
                <a:gd name="connsiteY5" fmla="*/ 3252768 h 4422314"/>
                <a:gd name="connsiteX6" fmla="*/ 1185325 w 4978058"/>
                <a:gd name="connsiteY6" fmla="*/ 4226493 h 4422314"/>
                <a:gd name="connsiteX7" fmla="*/ 2438737 w 4978058"/>
                <a:gd name="connsiteY7" fmla="*/ 3998600 h 4422314"/>
                <a:gd name="connsiteX8" fmla="*/ 4458700 w 4978058"/>
                <a:gd name="connsiteY8" fmla="*/ 4102188 h 4422314"/>
                <a:gd name="connsiteX9" fmla="*/ 4972702 w 4978058"/>
                <a:gd name="connsiteY9" fmla="*/ 2657241 h 44223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978058" h="4422314">
                  <a:moveTo>
                    <a:pt x="4972599" y="2657241"/>
                  </a:moveTo>
                  <a:cubicBezTo>
                    <a:pt x="5034648" y="1725780"/>
                    <a:pt x="4564152" y="834096"/>
                    <a:pt x="3748812" y="379760"/>
                  </a:cubicBezTo>
                  <a:cubicBezTo>
                    <a:pt x="3604204" y="299168"/>
                    <a:pt x="3444161" y="229557"/>
                    <a:pt x="3267440" y="176210"/>
                  </a:cubicBezTo>
                  <a:cubicBezTo>
                    <a:pt x="1962233" y="-217424"/>
                    <a:pt x="1475371" y="114057"/>
                    <a:pt x="1133531" y="528408"/>
                  </a:cubicBezTo>
                  <a:cubicBezTo>
                    <a:pt x="791691" y="942759"/>
                    <a:pt x="1112814" y="1647157"/>
                    <a:pt x="719180" y="1937202"/>
                  </a:cubicBezTo>
                  <a:cubicBezTo>
                    <a:pt x="325546" y="2227248"/>
                    <a:pt x="-150958" y="2641600"/>
                    <a:pt x="45859" y="3252768"/>
                  </a:cubicBezTo>
                  <a:cubicBezTo>
                    <a:pt x="242676" y="3863936"/>
                    <a:pt x="729539" y="4267928"/>
                    <a:pt x="1185325" y="4226493"/>
                  </a:cubicBezTo>
                  <a:cubicBezTo>
                    <a:pt x="1641111" y="4185058"/>
                    <a:pt x="2117615" y="3646401"/>
                    <a:pt x="2438737" y="3998600"/>
                  </a:cubicBezTo>
                  <a:cubicBezTo>
                    <a:pt x="2759860" y="4350799"/>
                    <a:pt x="3785379" y="4692638"/>
                    <a:pt x="4458700" y="4102188"/>
                  </a:cubicBezTo>
                  <a:cubicBezTo>
                    <a:pt x="4818564" y="3786659"/>
                    <a:pt x="4938725" y="3166376"/>
                    <a:pt x="4972702" y="2657241"/>
                  </a:cubicBezTo>
                  <a:close/>
                </a:path>
              </a:pathLst>
            </a:custGeom>
            <a:solidFill>
              <a:srgbClr val="FFFFFF">
                <a:alpha val="70000"/>
              </a:srgbClr>
            </a:solidFill>
            <a:ln w="1035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sp>
        <p:nvSpPr>
          <p:cNvPr id="1620" name="Полилиния: фигура 1619">
            <a:extLst>
              <a:ext uri="{FF2B5EF4-FFF2-40B4-BE49-F238E27FC236}">
                <a16:creationId xmlns:a16="http://schemas.microsoft.com/office/drawing/2014/main" id="{D082177B-D64C-412B-957C-0D07D85F379A}"/>
              </a:ext>
            </a:extLst>
          </p:cNvPr>
          <p:cNvSpPr/>
          <p:nvPr/>
        </p:nvSpPr>
        <p:spPr>
          <a:xfrm>
            <a:off x="6595100" y="5573370"/>
            <a:ext cx="4288534" cy="165740"/>
          </a:xfrm>
          <a:custGeom>
            <a:avLst/>
            <a:gdLst>
              <a:gd name="connsiteX0" fmla="*/ 4288535 w 4288534"/>
              <a:gd name="connsiteY0" fmla="*/ 82870 h 165740"/>
              <a:gd name="connsiteX1" fmla="*/ 2144268 w 4288534"/>
              <a:gd name="connsiteY1" fmla="*/ 165741 h 165740"/>
              <a:gd name="connsiteX2" fmla="*/ 0 w 4288534"/>
              <a:gd name="connsiteY2" fmla="*/ 82870 h 165740"/>
              <a:gd name="connsiteX3" fmla="*/ 2144268 w 4288534"/>
              <a:gd name="connsiteY3" fmla="*/ 0 h 165740"/>
              <a:gd name="connsiteX4" fmla="*/ 4288535 w 4288534"/>
              <a:gd name="connsiteY4" fmla="*/ 82870 h 1657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88534" h="165740">
                <a:moveTo>
                  <a:pt x="4288535" y="82870"/>
                </a:moveTo>
                <a:cubicBezTo>
                  <a:pt x="4288535" y="128638"/>
                  <a:pt x="3328514" y="165741"/>
                  <a:pt x="2144268" y="165741"/>
                </a:cubicBezTo>
                <a:cubicBezTo>
                  <a:pt x="960021" y="165741"/>
                  <a:pt x="0" y="128638"/>
                  <a:pt x="0" y="82870"/>
                </a:cubicBezTo>
                <a:cubicBezTo>
                  <a:pt x="0" y="37102"/>
                  <a:pt x="960021" y="0"/>
                  <a:pt x="2144268" y="0"/>
                </a:cubicBezTo>
                <a:cubicBezTo>
                  <a:pt x="3328514" y="0"/>
                  <a:pt x="4288535" y="37102"/>
                  <a:pt x="4288535" y="82870"/>
                </a:cubicBezTo>
                <a:close/>
              </a:path>
            </a:pathLst>
          </a:custGeom>
          <a:solidFill>
            <a:srgbClr val="263238"/>
          </a:solidFill>
          <a:ln w="10355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pic>
        <p:nvPicPr>
          <p:cNvPr id="1751" name="Icon 2">
            <a:extLst>
              <a:ext uri="{FF2B5EF4-FFF2-40B4-BE49-F238E27FC236}">
                <a16:creationId xmlns:a16="http://schemas.microsoft.com/office/drawing/2014/main" id="{D4724F51-76EF-4104-8C43-8FCD55D2F296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649284" y="1778361"/>
            <a:ext cx="647700" cy="647700"/>
          </a:xfrm>
          <a:prstGeom prst="rect">
            <a:avLst/>
          </a:prstGeom>
        </p:spPr>
      </p:pic>
      <p:grpSp>
        <p:nvGrpSpPr>
          <p:cNvPr id="1621" name="Рисунок 1613">
            <a:extLst>
              <a:ext uri="{FF2B5EF4-FFF2-40B4-BE49-F238E27FC236}">
                <a16:creationId xmlns:a16="http://schemas.microsoft.com/office/drawing/2014/main" id="{27EF9208-9FFB-42A3-9B09-1055A96DBB1C}"/>
              </a:ext>
            </a:extLst>
          </p:cNvPr>
          <p:cNvGrpSpPr/>
          <p:nvPr/>
        </p:nvGrpSpPr>
        <p:grpSpPr>
          <a:xfrm>
            <a:off x="7189383" y="1127278"/>
            <a:ext cx="3756197" cy="3158081"/>
            <a:chOff x="7189383" y="1127278"/>
            <a:chExt cx="3756197" cy="3158081"/>
          </a:xfrm>
        </p:grpSpPr>
        <p:grpSp>
          <p:nvGrpSpPr>
            <p:cNvPr id="1622" name="Рисунок 1613">
              <a:extLst>
                <a:ext uri="{FF2B5EF4-FFF2-40B4-BE49-F238E27FC236}">
                  <a16:creationId xmlns:a16="http://schemas.microsoft.com/office/drawing/2014/main" id="{27EF9208-9FFB-42A3-9B09-1055A96DBB1C}"/>
                </a:ext>
              </a:extLst>
            </p:cNvPr>
            <p:cNvGrpSpPr/>
            <p:nvPr/>
          </p:nvGrpSpPr>
          <p:grpSpPr>
            <a:xfrm>
              <a:off x="7189383" y="1127278"/>
              <a:ext cx="3756197" cy="3158081"/>
              <a:chOff x="7189383" y="1127278"/>
              <a:chExt cx="3756197" cy="3158081"/>
            </a:xfrm>
          </p:grpSpPr>
          <p:sp>
            <p:nvSpPr>
              <p:cNvPr id="1623" name="Полилиния: фигура 1622">
                <a:extLst>
                  <a:ext uri="{FF2B5EF4-FFF2-40B4-BE49-F238E27FC236}">
                    <a16:creationId xmlns:a16="http://schemas.microsoft.com/office/drawing/2014/main" id="{7D61FF28-FE0E-40AC-AFBC-EAED25B5CB3E}"/>
                  </a:ext>
                </a:extLst>
              </p:cNvPr>
              <p:cNvSpPr/>
              <p:nvPr/>
            </p:nvSpPr>
            <p:spPr>
              <a:xfrm>
                <a:off x="7189486" y="1127278"/>
                <a:ext cx="3756093" cy="3158081"/>
              </a:xfrm>
              <a:custGeom>
                <a:avLst/>
                <a:gdLst>
                  <a:gd name="connsiteX0" fmla="*/ 3067131 w 3756093"/>
                  <a:gd name="connsiteY0" fmla="*/ 2433070 h 3158081"/>
                  <a:gd name="connsiteX1" fmla="*/ 3233390 w 3756093"/>
                  <a:gd name="connsiteY1" fmla="*/ 2342224 h 3158081"/>
                  <a:gd name="connsiteX2" fmla="*/ 3283837 w 3756093"/>
                  <a:gd name="connsiteY2" fmla="*/ 2194508 h 3158081"/>
                  <a:gd name="connsiteX3" fmla="*/ 3756094 w 3756093"/>
                  <a:gd name="connsiteY3" fmla="*/ 0 h 3158081"/>
                  <a:gd name="connsiteX4" fmla="*/ 1452094 w 3756093"/>
                  <a:gd name="connsiteY4" fmla="*/ 0 h 3158081"/>
                  <a:gd name="connsiteX5" fmla="*/ 983048 w 3756093"/>
                  <a:gd name="connsiteY5" fmla="*/ 2179591 h 3158081"/>
                  <a:gd name="connsiteX6" fmla="*/ 963988 w 3756093"/>
                  <a:gd name="connsiteY6" fmla="*/ 2267537 h 3158081"/>
                  <a:gd name="connsiteX7" fmla="*/ 943374 w 3756093"/>
                  <a:gd name="connsiteY7" fmla="*/ 2319020 h 3158081"/>
                  <a:gd name="connsiteX8" fmla="*/ 929390 w 3756093"/>
                  <a:gd name="connsiteY8" fmla="*/ 2342120 h 3158081"/>
                  <a:gd name="connsiteX9" fmla="*/ 796694 w 3756093"/>
                  <a:gd name="connsiteY9" fmla="*/ 2417118 h 3158081"/>
                  <a:gd name="connsiteX10" fmla="*/ 654675 w 3756093"/>
                  <a:gd name="connsiteY10" fmla="*/ 2325236 h 3158081"/>
                  <a:gd name="connsiteX11" fmla="*/ 433929 w 3756093"/>
                  <a:gd name="connsiteY11" fmla="*/ 2179591 h 3158081"/>
                  <a:gd name="connsiteX12" fmla="*/ 429579 w 3756093"/>
                  <a:gd name="connsiteY12" fmla="*/ 2179591 h 3158081"/>
                  <a:gd name="connsiteX13" fmla="*/ 425332 w 3756093"/>
                  <a:gd name="connsiteY13" fmla="*/ 2179591 h 3158081"/>
                  <a:gd name="connsiteX14" fmla="*/ 297919 w 3756093"/>
                  <a:gd name="connsiteY14" fmla="*/ 2217919 h 3158081"/>
                  <a:gd name="connsiteX15" fmla="*/ 190394 w 3756093"/>
                  <a:gd name="connsiteY15" fmla="*/ 2368225 h 3158081"/>
                  <a:gd name="connsiteX16" fmla="*/ 0 w 3756093"/>
                  <a:gd name="connsiteY16" fmla="*/ 3158082 h 3158081"/>
                  <a:gd name="connsiteX17" fmla="*/ 2304000 w 3756093"/>
                  <a:gd name="connsiteY17" fmla="*/ 3158082 h 3158081"/>
                  <a:gd name="connsiteX18" fmla="*/ 2478856 w 3756093"/>
                  <a:gd name="connsiteY18" fmla="*/ 2433070 h 31580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3756093" h="3158081">
                    <a:moveTo>
                      <a:pt x="3067131" y="2433070"/>
                    </a:moveTo>
                    <a:cubicBezTo>
                      <a:pt x="3128352" y="2444465"/>
                      <a:pt x="3195166" y="2405309"/>
                      <a:pt x="3233390" y="2342224"/>
                    </a:cubicBezTo>
                    <a:cubicBezTo>
                      <a:pt x="3261980" y="2294884"/>
                      <a:pt x="3272132" y="2248063"/>
                      <a:pt x="3283837" y="2194508"/>
                    </a:cubicBezTo>
                    <a:cubicBezTo>
                      <a:pt x="3296578" y="2135877"/>
                      <a:pt x="3751432" y="21028"/>
                      <a:pt x="3756094" y="0"/>
                    </a:cubicBezTo>
                    <a:lnTo>
                      <a:pt x="1452094" y="0"/>
                    </a:lnTo>
                    <a:lnTo>
                      <a:pt x="983048" y="2179591"/>
                    </a:lnTo>
                    <a:lnTo>
                      <a:pt x="963988" y="2267537"/>
                    </a:lnTo>
                    <a:cubicBezTo>
                      <a:pt x="960052" y="2285665"/>
                      <a:pt x="953008" y="2303068"/>
                      <a:pt x="943374" y="2319020"/>
                    </a:cubicBezTo>
                    <a:lnTo>
                      <a:pt x="929390" y="2342120"/>
                    </a:lnTo>
                    <a:cubicBezTo>
                      <a:pt x="898831" y="2392464"/>
                      <a:pt x="847659" y="2417118"/>
                      <a:pt x="796694" y="2417118"/>
                    </a:cubicBezTo>
                    <a:cubicBezTo>
                      <a:pt x="739099" y="2417118"/>
                      <a:pt x="681815" y="2385834"/>
                      <a:pt x="654675" y="2325236"/>
                    </a:cubicBezTo>
                    <a:cubicBezTo>
                      <a:pt x="613861" y="2234182"/>
                      <a:pt x="525708" y="2181249"/>
                      <a:pt x="433929" y="2179591"/>
                    </a:cubicBezTo>
                    <a:cubicBezTo>
                      <a:pt x="432479" y="2179591"/>
                      <a:pt x="431029" y="2179591"/>
                      <a:pt x="429579" y="2179591"/>
                    </a:cubicBezTo>
                    <a:cubicBezTo>
                      <a:pt x="428128" y="2179591"/>
                      <a:pt x="426782" y="2179591"/>
                      <a:pt x="425332" y="2179591"/>
                    </a:cubicBezTo>
                    <a:cubicBezTo>
                      <a:pt x="381928" y="2180213"/>
                      <a:pt x="337800" y="2192643"/>
                      <a:pt x="297919" y="2217919"/>
                    </a:cubicBezTo>
                    <a:cubicBezTo>
                      <a:pt x="243949" y="2252206"/>
                      <a:pt x="205415" y="2306072"/>
                      <a:pt x="190394" y="2368225"/>
                    </a:cubicBezTo>
                    <a:lnTo>
                      <a:pt x="0" y="3158082"/>
                    </a:lnTo>
                    <a:lnTo>
                      <a:pt x="2304000" y="3158082"/>
                    </a:lnTo>
                    <a:lnTo>
                      <a:pt x="2478856" y="2433070"/>
                    </a:lnTo>
                  </a:path>
                </a:pathLst>
              </a:custGeom>
              <a:solidFill>
                <a:srgbClr val="FFFFFF"/>
              </a:solidFill>
              <a:ln w="10355" cap="rnd">
                <a:solidFill>
                  <a:srgbClr val="263238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624" name="Полилиния: фигура 1623">
                <a:extLst>
                  <a:ext uri="{FF2B5EF4-FFF2-40B4-BE49-F238E27FC236}">
                    <a16:creationId xmlns:a16="http://schemas.microsoft.com/office/drawing/2014/main" id="{48083AA3-1D45-418B-823D-9BF71EAE43A4}"/>
                  </a:ext>
                </a:extLst>
              </p:cNvPr>
              <p:cNvSpPr/>
              <p:nvPr/>
            </p:nvSpPr>
            <p:spPr>
              <a:xfrm>
                <a:off x="8700936" y="1614866"/>
                <a:ext cx="2032289" cy="10358"/>
              </a:xfrm>
              <a:custGeom>
                <a:avLst/>
                <a:gdLst>
                  <a:gd name="connsiteX0" fmla="*/ 0 w 2032289"/>
                  <a:gd name="connsiteY0" fmla="*/ 0 h 10358"/>
                  <a:gd name="connsiteX1" fmla="*/ 2032289 w 2032289"/>
                  <a:gd name="connsiteY1" fmla="*/ 0 h 103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032289" h="10358">
                    <a:moveTo>
                      <a:pt x="0" y="0"/>
                    </a:moveTo>
                    <a:lnTo>
                      <a:pt x="2032289" y="0"/>
                    </a:lnTo>
                  </a:path>
                </a:pathLst>
              </a:custGeom>
              <a:ln w="10355" cap="flat">
                <a:solidFill>
                  <a:srgbClr val="26323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grpSp>
            <p:nvGrpSpPr>
              <p:cNvPr id="1625" name="Рисунок 1613">
                <a:extLst>
                  <a:ext uri="{FF2B5EF4-FFF2-40B4-BE49-F238E27FC236}">
                    <a16:creationId xmlns:a16="http://schemas.microsoft.com/office/drawing/2014/main" id="{27EF9208-9FFB-42A3-9B09-1055A96DBB1C}"/>
                  </a:ext>
                </a:extLst>
              </p:cNvPr>
              <p:cNvGrpSpPr/>
              <p:nvPr/>
            </p:nvGrpSpPr>
            <p:grpSpPr>
              <a:xfrm>
                <a:off x="8335582" y="1840066"/>
                <a:ext cx="2332486" cy="1381550"/>
                <a:chOff x="8335582" y="1840066"/>
                <a:chExt cx="2332486" cy="1381550"/>
              </a:xfrm>
            </p:grpSpPr>
            <p:grpSp>
              <p:nvGrpSpPr>
                <p:cNvPr id="1626" name="Рисунок 1613">
                  <a:extLst>
                    <a:ext uri="{FF2B5EF4-FFF2-40B4-BE49-F238E27FC236}">
                      <a16:creationId xmlns:a16="http://schemas.microsoft.com/office/drawing/2014/main" id="{27EF9208-9FFB-42A3-9B09-1055A96DBB1C}"/>
                    </a:ext>
                  </a:extLst>
                </p:cNvPr>
                <p:cNvGrpSpPr/>
                <p:nvPr/>
              </p:nvGrpSpPr>
              <p:grpSpPr>
                <a:xfrm>
                  <a:off x="8360546" y="1840066"/>
                  <a:ext cx="2307521" cy="1381550"/>
                  <a:chOff x="8360546" y="1840066"/>
                  <a:chExt cx="2307521" cy="1381550"/>
                </a:xfrm>
              </p:grpSpPr>
              <p:grpSp>
                <p:nvGrpSpPr>
                  <p:cNvPr id="1627" name="Рисунок 1613">
                    <a:extLst>
                      <a:ext uri="{FF2B5EF4-FFF2-40B4-BE49-F238E27FC236}">
                        <a16:creationId xmlns:a16="http://schemas.microsoft.com/office/drawing/2014/main" id="{27EF9208-9FFB-42A3-9B09-1055A96DBB1C}"/>
                      </a:ext>
                    </a:extLst>
                  </p:cNvPr>
                  <p:cNvGrpSpPr/>
                  <p:nvPr/>
                </p:nvGrpSpPr>
                <p:grpSpPr>
                  <a:xfrm>
                    <a:off x="8360546" y="1840066"/>
                    <a:ext cx="2307521" cy="1266464"/>
                    <a:chOff x="8360546" y="1840066"/>
                    <a:chExt cx="2307521" cy="1266464"/>
                  </a:xfrm>
                </p:grpSpPr>
                <p:sp>
                  <p:nvSpPr>
                    <p:cNvPr id="1628" name="Полилиния: фигура 1627">
                      <a:extLst>
                        <a:ext uri="{FF2B5EF4-FFF2-40B4-BE49-F238E27FC236}">
                          <a16:creationId xmlns:a16="http://schemas.microsoft.com/office/drawing/2014/main" id="{4D75BA33-B4B4-48F5-9324-7295A14DB464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0192600" y="1840066"/>
                      <a:ext cx="475468" cy="10358"/>
                    </a:xfrm>
                    <a:custGeom>
                      <a:avLst/>
                      <a:gdLst>
                        <a:gd name="connsiteX0" fmla="*/ 0 w 475468"/>
                        <a:gd name="connsiteY0" fmla="*/ 0 h 10358"/>
                        <a:gd name="connsiteX1" fmla="*/ 475468 w 475468"/>
                        <a:gd name="connsiteY1" fmla="*/ 0 h 10358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475468" h="10358">
                          <a:moveTo>
                            <a:pt x="0" y="0"/>
                          </a:moveTo>
                          <a:lnTo>
                            <a:pt x="475468" y="0"/>
                          </a:lnTo>
                        </a:path>
                      </a:pathLst>
                    </a:custGeom>
                    <a:ln w="10355" cap="flat">
                      <a:solidFill>
                        <a:srgbClr val="263238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ru-RU"/>
                    </a:p>
                  </p:txBody>
                </p:sp>
                <p:sp>
                  <p:nvSpPr>
                    <p:cNvPr id="1629" name="Полилиния: фигура 1628">
                      <a:extLst>
                        <a:ext uri="{FF2B5EF4-FFF2-40B4-BE49-F238E27FC236}">
                          <a16:creationId xmlns:a16="http://schemas.microsoft.com/office/drawing/2014/main" id="{D10877C9-E5B6-4343-94C8-A5AF5709CDDF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9446768" y="1840066"/>
                      <a:ext cx="695799" cy="10358"/>
                    </a:xfrm>
                    <a:custGeom>
                      <a:avLst/>
                      <a:gdLst>
                        <a:gd name="connsiteX0" fmla="*/ 0 w 695799"/>
                        <a:gd name="connsiteY0" fmla="*/ 0 h 10358"/>
                        <a:gd name="connsiteX1" fmla="*/ 695799 w 695799"/>
                        <a:gd name="connsiteY1" fmla="*/ 0 h 10358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95799" h="10358">
                          <a:moveTo>
                            <a:pt x="0" y="0"/>
                          </a:moveTo>
                          <a:lnTo>
                            <a:pt x="695799" y="0"/>
                          </a:lnTo>
                        </a:path>
                      </a:pathLst>
                    </a:custGeom>
                    <a:ln w="10355" cap="flat">
                      <a:solidFill>
                        <a:srgbClr val="263238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ru-RU"/>
                    </a:p>
                  </p:txBody>
                </p:sp>
                <p:sp>
                  <p:nvSpPr>
                    <p:cNvPr id="1630" name="Полилиния: фигура 1629">
                      <a:extLst>
                        <a:ext uri="{FF2B5EF4-FFF2-40B4-BE49-F238E27FC236}">
                          <a16:creationId xmlns:a16="http://schemas.microsoft.com/office/drawing/2014/main" id="{337581CB-DEE1-47C2-9260-8E4DD77D6F00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8981245" y="1840066"/>
                      <a:ext cx="425435" cy="10358"/>
                    </a:xfrm>
                    <a:custGeom>
                      <a:avLst/>
                      <a:gdLst>
                        <a:gd name="connsiteX0" fmla="*/ 0 w 425435"/>
                        <a:gd name="connsiteY0" fmla="*/ 0 h 10358"/>
                        <a:gd name="connsiteX1" fmla="*/ 425435 w 425435"/>
                        <a:gd name="connsiteY1" fmla="*/ 0 h 10358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425435" h="10358">
                          <a:moveTo>
                            <a:pt x="0" y="0"/>
                          </a:moveTo>
                          <a:lnTo>
                            <a:pt x="425435" y="0"/>
                          </a:lnTo>
                        </a:path>
                      </a:pathLst>
                    </a:custGeom>
                    <a:ln w="10355" cap="flat">
                      <a:solidFill>
                        <a:srgbClr val="263238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ru-RU"/>
                    </a:p>
                  </p:txBody>
                </p:sp>
                <p:sp>
                  <p:nvSpPr>
                    <p:cNvPr id="1631" name="Полилиния: фигура 1630">
                      <a:extLst>
                        <a:ext uri="{FF2B5EF4-FFF2-40B4-BE49-F238E27FC236}">
                          <a16:creationId xmlns:a16="http://schemas.microsoft.com/office/drawing/2014/main" id="{4E6DE58D-5D9E-4DBC-BE8B-5438161B8869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8635883" y="1840066"/>
                      <a:ext cx="305273" cy="10358"/>
                    </a:xfrm>
                    <a:custGeom>
                      <a:avLst/>
                      <a:gdLst>
                        <a:gd name="connsiteX0" fmla="*/ 0 w 305273"/>
                        <a:gd name="connsiteY0" fmla="*/ 0 h 10358"/>
                        <a:gd name="connsiteX1" fmla="*/ 305273 w 305273"/>
                        <a:gd name="connsiteY1" fmla="*/ 0 h 10358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305273" h="10358">
                          <a:moveTo>
                            <a:pt x="0" y="0"/>
                          </a:moveTo>
                          <a:lnTo>
                            <a:pt x="305273" y="0"/>
                          </a:lnTo>
                        </a:path>
                      </a:pathLst>
                    </a:custGeom>
                    <a:ln w="10355" cap="flat">
                      <a:solidFill>
                        <a:srgbClr val="263238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ru-RU"/>
                    </a:p>
                  </p:txBody>
                </p:sp>
                <p:sp>
                  <p:nvSpPr>
                    <p:cNvPr id="1632" name="Полилиния: фигура 1631">
                      <a:extLst>
                        <a:ext uri="{FF2B5EF4-FFF2-40B4-BE49-F238E27FC236}">
                          <a16:creationId xmlns:a16="http://schemas.microsoft.com/office/drawing/2014/main" id="{8F9D3666-F563-4416-9D1D-63AA715F7A4A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0132519" y="1955255"/>
                      <a:ext cx="510584" cy="10358"/>
                    </a:xfrm>
                    <a:custGeom>
                      <a:avLst/>
                      <a:gdLst>
                        <a:gd name="connsiteX0" fmla="*/ 0 w 510584"/>
                        <a:gd name="connsiteY0" fmla="*/ 0 h 10358"/>
                        <a:gd name="connsiteX1" fmla="*/ 510584 w 510584"/>
                        <a:gd name="connsiteY1" fmla="*/ 0 h 10358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510584" h="10358">
                          <a:moveTo>
                            <a:pt x="0" y="0"/>
                          </a:moveTo>
                          <a:lnTo>
                            <a:pt x="510584" y="0"/>
                          </a:lnTo>
                        </a:path>
                      </a:pathLst>
                    </a:custGeom>
                    <a:ln w="10355" cap="flat">
                      <a:solidFill>
                        <a:srgbClr val="263238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ru-RU"/>
                    </a:p>
                  </p:txBody>
                </p:sp>
                <p:sp>
                  <p:nvSpPr>
                    <p:cNvPr id="1633" name="Полилиния: фигура 1632">
                      <a:extLst>
                        <a:ext uri="{FF2B5EF4-FFF2-40B4-BE49-F238E27FC236}">
                          <a16:creationId xmlns:a16="http://schemas.microsoft.com/office/drawing/2014/main" id="{ABD074D8-31AC-4BB5-B0A2-FD362E46D704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8976272" y="1955255"/>
                      <a:ext cx="1106214" cy="10358"/>
                    </a:xfrm>
                    <a:custGeom>
                      <a:avLst/>
                      <a:gdLst>
                        <a:gd name="connsiteX0" fmla="*/ 0 w 1106214"/>
                        <a:gd name="connsiteY0" fmla="*/ 0 h 10358"/>
                        <a:gd name="connsiteX1" fmla="*/ 1106214 w 1106214"/>
                        <a:gd name="connsiteY1" fmla="*/ 0 h 10358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1106214" h="10358">
                          <a:moveTo>
                            <a:pt x="0" y="0"/>
                          </a:moveTo>
                          <a:lnTo>
                            <a:pt x="1106214" y="0"/>
                          </a:lnTo>
                        </a:path>
                      </a:pathLst>
                    </a:custGeom>
                    <a:ln w="10355" cap="flat">
                      <a:solidFill>
                        <a:srgbClr val="263238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ru-RU"/>
                    </a:p>
                  </p:txBody>
                </p:sp>
                <p:sp>
                  <p:nvSpPr>
                    <p:cNvPr id="1634" name="Полилиния: фигура 1633">
                      <a:extLst>
                        <a:ext uri="{FF2B5EF4-FFF2-40B4-BE49-F238E27FC236}">
                          <a16:creationId xmlns:a16="http://schemas.microsoft.com/office/drawing/2014/main" id="{F9598CE6-11FE-49A5-93FC-6F19FAFD5E2D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8610815" y="1955255"/>
                      <a:ext cx="320397" cy="10358"/>
                    </a:xfrm>
                    <a:custGeom>
                      <a:avLst/>
                      <a:gdLst>
                        <a:gd name="connsiteX0" fmla="*/ 0 w 320397"/>
                        <a:gd name="connsiteY0" fmla="*/ 0 h 10358"/>
                        <a:gd name="connsiteX1" fmla="*/ 320397 w 320397"/>
                        <a:gd name="connsiteY1" fmla="*/ 0 h 10358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320397" h="10358">
                          <a:moveTo>
                            <a:pt x="0" y="0"/>
                          </a:moveTo>
                          <a:lnTo>
                            <a:pt x="320397" y="0"/>
                          </a:lnTo>
                        </a:path>
                      </a:pathLst>
                    </a:custGeom>
                    <a:ln w="10355" cap="flat">
                      <a:solidFill>
                        <a:srgbClr val="263238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ru-RU"/>
                    </a:p>
                  </p:txBody>
                </p:sp>
                <p:sp>
                  <p:nvSpPr>
                    <p:cNvPr id="1635" name="Полилиния: фигура 1634">
                      <a:extLst>
                        <a:ext uri="{FF2B5EF4-FFF2-40B4-BE49-F238E27FC236}">
                          <a16:creationId xmlns:a16="http://schemas.microsoft.com/office/drawing/2014/main" id="{9A268BF6-EFF8-480C-BDF1-E78365C30EE3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0027378" y="2070341"/>
                      <a:ext cx="590657" cy="10358"/>
                    </a:xfrm>
                    <a:custGeom>
                      <a:avLst/>
                      <a:gdLst>
                        <a:gd name="connsiteX0" fmla="*/ 0 w 590657"/>
                        <a:gd name="connsiteY0" fmla="*/ 0 h 10358"/>
                        <a:gd name="connsiteX1" fmla="*/ 590658 w 590657"/>
                        <a:gd name="connsiteY1" fmla="*/ 0 h 10358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590657" h="10358">
                          <a:moveTo>
                            <a:pt x="0" y="0"/>
                          </a:moveTo>
                          <a:lnTo>
                            <a:pt x="590658" y="0"/>
                          </a:lnTo>
                        </a:path>
                      </a:pathLst>
                    </a:custGeom>
                    <a:ln w="10355" cap="flat">
                      <a:solidFill>
                        <a:srgbClr val="263238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ru-RU"/>
                    </a:p>
                  </p:txBody>
                </p:sp>
                <p:sp>
                  <p:nvSpPr>
                    <p:cNvPr id="1636" name="Полилиния: фигура 1635">
                      <a:extLst>
                        <a:ext uri="{FF2B5EF4-FFF2-40B4-BE49-F238E27FC236}">
                          <a16:creationId xmlns:a16="http://schemas.microsoft.com/office/drawing/2014/main" id="{C916322D-14B3-466A-A103-3A3A440FA12D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9141391" y="2070341"/>
                      <a:ext cx="846001" cy="10358"/>
                    </a:xfrm>
                    <a:custGeom>
                      <a:avLst/>
                      <a:gdLst>
                        <a:gd name="connsiteX0" fmla="*/ 0 w 846001"/>
                        <a:gd name="connsiteY0" fmla="*/ 0 h 10358"/>
                        <a:gd name="connsiteX1" fmla="*/ 846002 w 846001"/>
                        <a:gd name="connsiteY1" fmla="*/ 0 h 10358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846001" h="10358">
                          <a:moveTo>
                            <a:pt x="0" y="0"/>
                          </a:moveTo>
                          <a:lnTo>
                            <a:pt x="846002" y="0"/>
                          </a:lnTo>
                        </a:path>
                      </a:pathLst>
                    </a:custGeom>
                    <a:ln w="10355" cap="flat">
                      <a:solidFill>
                        <a:srgbClr val="263238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ru-RU"/>
                    </a:p>
                  </p:txBody>
                </p:sp>
                <p:sp>
                  <p:nvSpPr>
                    <p:cNvPr id="1637" name="Полилиния: фигура 1636">
                      <a:extLst>
                        <a:ext uri="{FF2B5EF4-FFF2-40B4-BE49-F238E27FC236}">
                          <a16:creationId xmlns:a16="http://schemas.microsoft.com/office/drawing/2014/main" id="{2956870B-25DD-4602-B0C5-49187B9F0591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8585850" y="2070341"/>
                      <a:ext cx="515556" cy="10358"/>
                    </a:xfrm>
                    <a:custGeom>
                      <a:avLst/>
                      <a:gdLst>
                        <a:gd name="connsiteX0" fmla="*/ 0 w 515556"/>
                        <a:gd name="connsiteY0" fmla="*/ 0 h 10358"/>
                        <a:gd name="connsiteX1" fmla="*/ 515557 w 515556"/>
                        <a:gd name="connsiteY1" fmla="*/ 0 h 10358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515556" h="10358">
                          <a:moveTo>
                            <a:pt x="0" y="0"/>
                          </a:moveTo>
                          <a:lnTo>
                            <a:pt x="515557" y="0"/>
                          </a:lnTo>
                        </a:path>
                      </a:pathLst>
                    </a:custGeom>
                    <a:ln w="10355" cap="flat">
                      <a:solidFill>
                        <a:srgbClr val="263238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ru-RU"/>
                    </a:p>
                  </p:txBody>
                </p:sp>
                <p:sp>
                  <p:nvSpPr>
                    <p:cNvPr id="1638" name="Полилиния: фигура 1637">
                      <a:extLst>
                        <a:ext uri="{FF2B5EF4-FFF2-40B4-BE49-F238E27FC236}">
                          <a16:creationId xmlns:a16="http://schemas.microsoft.com/office/drawing/2014/main" id="{2571871D-89AA-4CC6-BB43-7B70C761FB54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0222641" y="2185427"/>
                      <a:ext cx="370429" cy="10358"/>
                    </a:xfrm>
                    <a:custGeom>
                      <a:avLst/>
                      <a:gdLst>
                        <a:gd name="connsiteX0" fmla="*/ 0 w 370429"/>
                        <a:gd name="connsiteY0" fmla="*/ 0 h 10358"/>
                        <a:gd name="connsiteX1" fmla="*/ 370430 w 370429"/>
                        <a:gd name="connsiteY1" fmla="*/ 0 h 10358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370429" h="10358">
                          <a:moveTo>
                            <a:pt x="0" y="0"/>
                          </a:moveTo>
                          <a:lnTo>
                            <a:pt x="370430" y="0"/>
                          </a:lnTo>
                        </a:path>
                      </a:pathLst>
                    </a:custGeom>
                    <a:ln w="10355" cap="flat">
                      <a:solidFill>
                        <a:srgbClr val="263238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ru-RU"/>
                    </a:p>
                  </p:txBody>
                </p:sp>
                <p:sp>
                  <p:nvSpPr>
                    <p:cNvPr id="1639" name="Полилиния: фигура 1638">
                      <a:extLst>
                        <a:ext uri="{FF2B5EF4-FFF2-40B4-BE49-F238E27FC236}">
                          <a16:creationId xmlns:a16="http://schemas.microsoft.com/office/drawing/2014/main" id="{8CE51ED8-D1D0-4821-8D37-3F20F87EE157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9656948" y="2185427"/>
                      <a:ext cx="515660" cy="10358"/>
                    </a:xfrm>
                    <a:custGeom>
                      <a:avLst/>
                      <a:gdLst>
                        <a:gd name="connsiteX0" fmla="*/ 0 w 515660"/>
                        <a:gd name="connsiteY0" fmla="*/ 0 h 10358"/>
                        <a:gd name="connsiteX1" fmla="*/ 515660 w 515660"/>
                        <a:gd name="connsiteY1" fmla="*/ 0 h 10358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515660" h="10358">
                          <a:moveTo>
                            <a:pt x="0" y="0"/>
                          </a:moveTo>
                          <a:lnTo>
                            <a:pt x="515660" y="0"/>
                          </a:lnTo>
                        </a:path>
                      </a:pathLst>
                    </a:custGeom>
                    <a:ln w="10355" cap="flat">
                      <a:solidFill>
                        <a:srgbClr val="263238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ru-RU"/>
                    </a:p>
                  </p:txBody>
                </p:sp>
                <p:sp>
                  <p:nvSpPr>
                    <p:cNvPr id="1640" name="Полилиния: фигура 1639">
                      <a:extLst>
                        <a:ext uri="{FF2B5EF4-FFF2-40B4-BE49-F238E27FC236}">
                          <a16:creationId xmlns:a16="http://schemas.microsoft.com/office/drawing/2014/main" id="{DC8CE0C1-5B8D-4F37-A436-E99604222C77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9111351" y="2185427"/>
                      <a:ext cx="495564" cy="10358"/>
                    </a:xfrm>
                    <a:custGeom>
                      <a:avLst/>
                      <a:gdLst>
                        <a:gd name="connsiteX0" fmla="*/ 0 w 495564"/>
                        <a:gd name="connsiteY0" fmla="*/ 0 h 10358"/>
                        <a:gd name="connsiteX1" fmla="*/ 495564 w 495564"/>
                        <a:gd name="connsiteY1" fmla="*/ 0 h 10358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495564" h="10358">
                          <a:moveTo>
                            <a:pt x="0" y="0"/>
                          </a:moveTo>
                          <a:lnTo>
                            <a:pt x="495564" y="0"/>
                          </a:lnTo>
                        </a:path>
                      </a:pathLst>
                    </a:custGeom>
                    <a:ln w="10355" cap="flat">
                      <a:solidFill>
                        <a:srgbClr val="263238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ru-RU"/>
                    </a:p>
                  </p:txBody>
                </p:sp>
                <p:sp>
                  <p:nvSpPr>
                    <p:cNvPr id="1641" name="Полилиния: фигура 1640">
                      <a:extLst>
                        <a:ext uri="{FF2B5EF4-FFF2-40B4-BE49-F238E27FC236}">
                          <a16:creationId xmlns:a16="http://schemas.microsoft.com/office/drawing/2014/main" id="{F24CE5BB-41EF-4223-BB92-FF8F306D8454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8700936" y="2185427"/>
                      <a:ext cx="365457" cy="10358"/>
                    </a:xfrm>
                    <a:custGeom>
                      <a:avLst/>
                      <a:gdLst>
                        <a:gd name="connsiteX0" fmla="*/ 0 w 365457"/>
                        <a:gd name="connsiteY0" fmla="*/ 0 h 10358"/>
                        <a:gd name="connsiteX1" fmla="*/ 365458 w 365457"/>
                        <a:gd name="connsiteY1" fmla="*/ 0 h 10358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365457" h="10358">
                          <a:moveTo>
                            <a:pt x="0" y="0"/>
                          </a:moveTo>
                          <a:lnTo>
                            <a:pt x="365458" y="0"/>
                          </a:lnTo>
                        </a:path>
                      </a:pathLst>
                    </a:custGeom>
                    <a:ln w="10355" cap="flat">
                      <a:solidFill>
                        <a:srgbClr val="263238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ru-RU"/>
                    </a:p>
                  </p:txBody>
                </p:sp>
                <p:sp>
                  <p:nvSpPr>
                    <p:cNvPr id="1642" name="Полилиния: фигура 1641">
                      <a:extLst>
                        <a:ext uri="{FF2B5EF4-FFF2-40B4-BE49-F238E27FC236}">
                          <a16:creationId xmlns:a16="http://schemas.microsoft.com/office/drawing/2014/main" id="{1C5D71DA-FD48-4E2F-8905-6EF6B67ADC32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8560782" y="2185427"/>
                      <a:ext cx="95093" cy="10358"/>
                    </a:xfrm>
                    <a:custGeom>
                      <a:avLst/>
                      <a:gdLst>
                        <a:gd name="connsiteX0" fmla="*/ 0 w 95093"/>
                        <a:gd name="connsiteY0" fmla="*/ 0 h 10358"/>
                        <a:gd name="connsiteX1" fmla="*/ 95094 w 95093"/>
                        <a:gd name="connsiteY1" fmla="*/ 0 h 10358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093" h="10358">
                          <a:moveTo>
                            <a:pt x="0" y="0"/>
                          </a:moveTo>
                          <a:lnTo>
                            <a:pt x="95094" y="0"/>
                          </a:lnTo>
                        </a:path>
                      </a:pathLst>
                    </a:custGeom>
                    <a:ln w="10355" cap="flat">
                      <a:solidFill>
                        <a:srgbClr val="263238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ru-RU"/>
                    </a:p>
                  </p:txBody>
                </p:sp>
                <p:sp>
                  <p:nvSpPr>
                    <p:cNvPr id="1643" name="Полилиния: фигура 1642">
                      <a:extLst>
                        <a:ext uri="{FF2B5EF4-FFF2-40B4-BE49-F238E27FC236}">
                          <a16:creationId xmlns:a16="http://schemas.microsoft.com/office/drawing/2014/main" id="{4CAA909C-19F8-4D02-B277-D3DE78283D5A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0482957" y="2300617"/>
                      <a:ext cx="85045" cy="10358"/>
                    </a:xfrm>
                    <a:custGeom>
                      <a:avLst/>
                      <a:gdLst>
                        <a:gd name="connsiteX0" fmla="*/ 0 w 85045"/>
                        <a:gd name="connsiteY0" fmla="*/ 0 h 10358"/>
                        <a:gd name="connsiteX1" fmla="*/ 85045 w 85045"/>
                        <a:gd name="connsiteY1" fmla="*/ 0 h 10358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85045" h="10358">
                          <a:moveTo>
                            <a:pt x="0" y="0"/>
                          </a:moveTo>
                          <a:lnTo>
                            <a:pt x="85045" y="0"/>
                          </a:lnTo>
                        </a:path>
                      </a:pathLst>
                    </a:custGeom>
                    <a:ln w="10355" cap="flat">
                      <a:solidFill>
                        <a:srgbClr val="263238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ru-RU"/>
                    </a:p>
                  </p:txBody>
                </p:sp>
                <p:sp>
                  <p:nvSpPr>
                    <p:cNvPr id="1644" name="Полилиния: фигура 1643">
                      <a:extLst>
                        <a:ext uri="{FF2B5EF4-FFF2-40B4-BE49-F238E27FC236}">
                          <a16:creationId xmlns:a16="http://schemas.microsoft.com/office/drawing/2014/main" id="{46D7E267-6A22-4889-94B7-26A7F7595CF3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9636955" y="2300617"/>
                      <a:ext cx="780844" cy="10358"/>
                    </a:xfrm>
                    <a:custGeom>
                      <a:avLst/>
                      <a:gdLst>
                        <a:gd name="connsiteX0" fmla="*/ 0 w 780844"/>
                        <a:gd name="connsiteY0" fmla="*/ 0 h 10358"/>
                        <a:gd name="connsiteX1" fmla="*/ 780845 w 780844"/>
                        <a:gd name="connsiteY1" fmla="*/ 0 h 10358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780844" h="10358">
                          <a:moveTo>
                            <a:pt x="0" y="0"/>
                          </a:moveTo>
                          <a:lnTo>
                            <a:pt x="780845" y="0"/>
                          </a:lnTo>
                        </a:path>
                      </a:pathLst>
                    </a:custGeom>
                    <a:ln w="10355" cap="flat">
                      <a:solidFill>
                        <a:srgbClr val="263238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ru-RU"/>
                    </a:p>
                  </p:txBody>
                </p:sp>
                <p:sp>
                  <p:nvSpPr>
                    <p:cNvPr id="1645" name="Полилиния: фигура 1644">
                      <a:extLst>
                        <a:ext uri="{FF2B5EF4-FFF2-40B4-BE49-F238E27FC236}">
                          <a16:creationId xmlns:a16="http://schemas.microsoft.com/office/drawing/2014/main" id="{EC5F5E27-0D22-4127-BE7B-6D1ADEB42E7C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9041325" y="2300617"/>
                      <a:ext cx="545596" cy="10358"/>
                    </a:xfrm>
                    <a:custGeom>
                      <a:avLst/>
                      <a:gdLst>
                        <a:gd name="connsiteX0" fmla="*/ 0 w 545596"/>
                        <a:gd name="connsiteY0" fmla="*/ 0 h 10358"/>
                        <a:gd name="connsiteX1" fmla="*/ 545597 w 545596"/>
                        <a:gd name="connsiteY1" fmla="*/ 0 h 10358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545596" h="10358">
                          <a:moveTo>
                            <a:pt x="0" y="0"/>
                          </a:moveTo>
                          <a:lnTo>
                            <a:pt x="545597" y="0"/>
                          </a:lnTo>
                        </a:path>
                      </a:pathLst>
                    </a:custGeom>
                    <a:ln w="10355" cap="flat">
                      <a:solidFill>
                        <a:srgbClr val="263238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ru-RU"/>
                    </a:p>
                  </p:txBody>
                </p:sp>
                <p:sp>
                  <p:nvSpPr>
                    <p:cNvPr id="1646" name="Полилиния: фигура 1645">
                      <a:extLst>
                        <a:ext uri="{FF2B5EF4-FFF2-40B4-BE49-F238E27FC236}">
                          <a16:creationId xmlns:a16="http://schemas.microsoft.com/office/drawing/2014/main" id="{AF57CD6E-2C3B-4B70-9A7B-E6A443C66127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8535713" y="2300617"/>
                      <a:ext cx="450503" cy="10358"/>
                    </a:xfrm>
                    <a:custGeom>
                      <a:avLst/>
                      <a:gdLst>
                        <a:gd name="connsiteX0" fmla="*/ 0 w 450503"/>
                        <a:gd name="connsiteY0" fmla="*/ 0 h 10358"/>
                        <a:gd name="connsiteX1" fmla="*/ 450503 w 450503"/>
                        <a:gd name="connsiteY1" fmla="*/ 0 h 10358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450503" h="10358">
                          <a:moveTo>
                            <a:pt x="0" y="0"/>
                          </a:moveTo>
                          <a:lnTo>
                            <a:pt x="450503" y="0"/>
                          </a:lnTo>
                        </a:path>
                      </a:pathLst>
                    </a:custGeom>
                    <a:ln w="10355" cap="flat">
                      <a:solidFill>
                        <a:srgbClr val="263238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ru-RU"/>
                    </a:p>
                  </p:txBody>
                </p:sp>
                <p:sp>
                  <p:nvSpPr>
                    <p:cNvPr id="1647" name="Полилиния: фигура 1646">
                      <a:extLst>
                        <a:ext uri="{FF2B5EF4-FFF2-40B4-BE49-F238E27FC236}">
                          <a16:creationId xmlns:a16="http://schemas.microsoft.com/office/drawing/2014/main" id="{A6E21F26-D4EB-4201-8C1F-34669F4A00EA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0372843" y="2415703"/>
                      <a:ext cx="170091" cy="10358"/>
                    </a:xfrm>
                    <a:custGeom>
                      <a:avLst/>
                      <a:gdLst>
                        <a:gd name="connsiteX0" fmla="*/ 0 w 170091"/>
                        <a:gd name="connsiteY0" fmla="*/ 0 h 10358"/>
                        <a:gd name="connsiteX1" fmla="*/ 170091 w 170091"/>
                        <a:gd name="connsiteY1" fmla="*/ 0 h 10358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170091" h="10358">
                          <a:moveTo>
                            <a:pt x="0" y="0"/>
                          </a:moveTo>
                          <a:lnTo>
                            <a:pt x="170091" y="0"/>
                          </a:lnTo>
                        </a:path>
                      </a:pathLst>
                    </a:custGeom>
                    <a:ln w="10355" cap="flat">
                      <a:solidFill>
                        <a:srgbClr val="263238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ru-RU"/>
                    </a:p>
                  </p:txBody>
                </p:sp>
                <p:sp>
                  <p:nvSpPr>
                    <p:cNvPr id="1648" name="Полилиния: фигура 1647">
                      <a:extLst>
                        <a:ext uri="{FF2B5EF4-FFF2-40B4-BE49-F238E27FC236}">
                          <a16:creationId xmlns:a16="http://schemas.microsoft.com/office/drawing/2014/main" id="{04C69D1E-FE38-481F-8AB1-3D571B267B47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9877279" y="2415703"/>
                      <a:ext cx="450503" cy="10358"/>
                    </a:xfrm>
                    <a:custGeom>
                      <a:avLst/>
                      <a:gdLst>
                        <a:gd name="connsiteX0" fmla="*/ 0 w 450503"/>
                        <a:gd name="connsiteY0" fmla="*/ 0 h 10358"/>
                        <a:gd name="connsiteX1" fmla="*/ 450503 w 450503"/>
                        <a:gd name="connsiteY1" fmla="*/ 0 h 10358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450503" h="10358">
                          <a:moveTo>
                            <a:pt x="0" y="0"/>
                          </a:moveTo>
                          <a:lnTo>
                            <a:pt x="450503" y="0"/>
                          </a:lnTo>
                        </a:path>
                      </a:pathLst>
                    </a:custGeom>
                    <a:ln w="10355" cap="flat">
                      <a:solidFill>
                        <a:srgbClr val="263238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ru-RU"/>
                    </a:p>
                  </p:txBody>
                </p:sp>
                <p:sp>
                  <p:nvSpPr>
                    <p:cNvPr id="1649" name="Полилиния: фигура 1648">
                      <a:extLst>
                        <a:ext uri="{FF2B5EF4-FFF2-40B4-BE49-F238E27FC236}">
                          <a16:creationId xmlns:a16="http://schemas.microsoft.com/office/drawing/2014/main" id="{797F2907-6CF3-437B-B4D7-099E4BF03E15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9727077" y="2415703"/>
                      <a:ext cx="100065" cy="10358"/>
                    </a:xfrm>
                    <a:custGeom>
                      <a:avLst/>
                      <a:gdLst>
                        <a:gd name="connsiteX0" fmla="*/ 0 w 100065"/>
                        <a:gd name="connsiteY0" fmla="*/ 0 h 10358"/>
                        <a:gd name="connsiteX1" fmla="*/ 100066 w 100065"/>
                        <a:gd name="connsiteY1" fmla="*/ 0 h 10358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100065" h="10358">
                          <a:moveTo>
                            <a:pt x="0" y="0"/>
                          </a:moveTo>
                          <a:lnTo>
                            <a:pt x="100066" y="0"/>
                          </a:lnTo>
                        </a:path>
                      </a:pathLst>
                    </a:custGeom>
                    <a:ln w="10355" cap="flat">
                      <a:solidFill>
                        <a:srgbClr val="263238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ru-RU"/>
                    </a:p>
                  </p:txBody>
                </p:sp>
                <p:sp>
                  <p:nvSpPr>
                    <p:cNvPr id="1650" name="Полилиния: фигура 1649">
                      <a:extLst>
                        <a:ext uri="{FF2B5EF4-FFF2-40B4-BE49-F238E27FC236}">
                          <a16:creationId xmlns:a16="http://schemas.microsoft.com/office/drawing/2014/main" id="{9925C88B-C189-438B-9E86-62E288BC07BA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9006313" y="2415703"/>
                      <a:ext cx="695695" cy="10358"/>
                    </a:xfrm>
                    <a:custGeom>
                      <a:avLst/>
                      <a:gdLst>
                        <a:gd name="connsiteX0" fmla="*/ 0 w 695695"/>
                        <a:gd name="connsiteY0" fmla="*/ 0 h 10358"/>
                        <a:gd name="connsiteX1" fmla="*/ 695696 w 695695"/>
                        <a:gd name="connsiteY1" fmla="*/ 0 h 10358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95695" h="10358">
                          <a:moveTo>
                            <a:pt x="0" y="0"/>
                          </a:moveTo>
                          <a:lnTo>
                            <a:pt x="695696" y="0"/>
                          </a:lnTo>
                        </a:path>
                      </a:pathLst>
                    </a:custGeom>
                    <a:ln w="10355" cap="flat">
                      <a:solidFill>
                        <a:srgbClr val="263238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ru-RU"/>
                    </a:p>
                  </p:txBody>
                </p:sp>
                <p:sp>
                  <p:nvSpPr>
                    <p:cNvPr id="1651" name="Полилиния: фигура 1650">
                      <a:extLst>
                        <a:ext uri="{FF2B5EF4-FFF2-40B4-BE49-F238E27FC236}">
                          <a16:creationId xmlns:a16="http://schemas.microsoft.com/office/drawing/2014/main" id="{0CCE08BD-0C2A-474A-8767-26B60A7B72E3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8510749" y="2415703"/>
                      <a:ext cx="455475" cy="10358"/>
                    </a:xfrm>
                    <a:custGeom>
                      <a:avLst/>
                      <a:gdLst>
                        <a:gd name="connsiteX0" fmla="*/ 0 w 455475"/>
                        <a:gd name="connsiteY0" fmla="*/ 0 h 10358"/>
                        <a:gd name="connsiteX1" fmla="*/ 455475 w 455475"/>
                        <a:gd name="connsiteY1" fmla="*/ 0 h 10358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455475" h="10358">
                          <a:moveTo>
                            <a:pt x="0" y="0"/>
                          </a:moveTo>
                          <a:lnTo>
                            <a:pt x="455475" y="0"/>
                          </a:lnTo>
                        </a:path>
                      </a:pathLst>
                    </a:custGeom>
                    <a:ln w="10355" cap="flat">
                      <a:solidFill>
                        <a:srgbClr val="263238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ru-RU"/>
                    </a:p>
                  </p:txBody>
                </p:sp>
                <p:sp>
                  <p:nvSpPr>
                    <p:cNvPr id="1652" name="Полилиния: фигура 1651">
                      <a:extLst>
                        <a:ext uri="{FF2B5EF4-FFF2-40B4-BE49-F238E27FC236}">
                          <a16:creationId xmlns:a16="http://schemas.microsoft.com/office/drawing/2014/main" id="{29C4ACE3-9CCB-42AB-A82E-11361A2E9569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8485681" y="2530893"/>
                      <a:ext cx="2032289" cy="10358"/>
                    </a:xfrm>
                    <a:custGeom>
                      <a:avLst/>
                      <a:gdLst>
                        <a:gd name="connsiteX0" fmla="*/ 0 w 2032289"/>
                        <a:gd name="connsiteY0" fmla="*/ 0 h 10358"/>
                        <a:gd name="connsiteX1" fmla="*/ 2032289 w 2032289"/>
                        <a:gd name="connsiteY1" fmla="*/ 0 h 10358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2032289" h="10358">
                          <a:moveTo>
                            <a:pt x="0" y="0"/>
                          </a:moveTo>
                          <a:lnTo>
                            <a:pt x="2032289" y="0"/>
                          </a:lnTo>
                        </a:path>
                      </a:pathLst>
                    </a:custGeom>
                    <a:ln w="10355" cap="flat">
                      <a:solidFill>
                        <a:srgbClr val="263238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ru-RU"/>
                    </a:p>
                  </p:txBody>
                </p:sp>
                <p:sp>
                  <p:nvSpPr>
                    <p:cNvPr id="1653" name="Полилиния: фигура 1652">
                      <a:extLst>
                        <a:ext uri="{FF2B5EF4-FFF2-40B4-BE49-F238E27FC236}">
                          <a16:creationId xmlns:a16="http://schemas.microsoft.com/office/drawing/2014/main" id="{0C850BCC-2D65-467A-80EC-E58477641B73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0387760" y="2645979"/>
                      <a:ext cx="105141" cy="10358"/>
                    </a:xfrm>
                    <a:custGeom>
                      <a:avLst/>
                      <a:gdLst>
                        <a:gd name="connsiteX0" fmla="*/ 0 w 105141"/>
                        <a:gd name="connsiteY0" fmla="*/ 0 h 10358"/>
                        <a:gd name="connsiteX1" fmla="*/ 105142 w 105141"/>
                        <a:gd name="connsiteY1" fmla="*/ 0 h 10358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105141" h="10358">
                          <a:moveTo>
                            <a:pt x="0" y="0"/>
                          </a:moveTo>
                          <a:lnTo>
                            <a:pt x="105142" y="0"/>
                          </a:lnTo>
                        </a:path>
                      </a:pathLst>
                    </a:custGeom>
                    <a:ln w="10355" cap="flat">
                      <a:solidFill>
                        <a:srgbClr val="263238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ru-RU"/>
                    </a:p>
                  </p:txBody>
                </p:sp>
                <p:sp>
                  <p:nvSpPr>
                    <p:cNvPr id="1654" name="Полилиния: фигура 1653">
                      <a:extLst>
                        <a:ext uri="{FF2B5EF4-FFF2-40B4-BE49-F238E27FC236}">
                          <a16:creationId xmlns:a16="http://schemas.microsoft.com/office/drawing/2014/main" id="{E77624D3-4C67-4C69-AC18-FFC6DB0050A8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9927312" y="2645979"/>
                      <a:ext cx="395394" cy="10358"/>
                    </a:xfrm>
                    <a:custGeom>
                      <a:avLst/>
                      <a:gdLst>
                        <a:gd name="connsiteX0" fmla="*/ 0 w 395394"/>
                        <a:gd name="connsiteY0" fmla="*/ 0 h 10358"/>
                        <a:gd name="connsiteX1" fmla="*/ 395395 w 395394"/>
                        <a:gd name="connsiteY1" fmla="*/ 0 h 10358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395394" h="10358">
                          <a:moveTo>
                            <a:pt x="0" y="0"/>
                          </a:moveTo>
                          <a:lnTo>
                            <a:pt x="395395" y="0"/>
                          </a:lnTo>
                        </a:path>
                      </a:pathLst>
                    </a:custGeom>
                    <a:ln w="10355" cap="flat">
                      <a:solidFill>
                        <a:srgbClr val="263238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ru-RU"/>
                    </a:p>
                  </p:txBody>
                </p:sp>
                <p:sp>
                  <p:nvSpPr>
                    <p:cNvPr id="1655" name="Полилиния: фигура 1654">
                      <a:extLst>
                        <a:ext uri="{FF2B5EF4-FFF2-40B4-BE49-F238E27FC236}">
                          <a16:creationId xmlns:a16="http://schemas.microsoft.com/office/drawing/2014/main" id="{9E13BB9B-11B3-4B56-920E-5396934C6E47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9266525" y="2645979"/>
                      <a:ext cx="590657" cy="10358"/>
                    </a:xfrm>
                    <a:custGeom>
                      <a:avLst/>
                      <a:gdLst>
                        <a:gd name="connsiteX0" fmla="*/ 0 w 590657"/>
                        <a:gd name="connsiteY0" fmla="*/ 0 h 10358"/>
                        <a:gd name="connsiteX1" fmla="*/ 590658 w 590657"/>
                        <a:gd name="connsiteY1" fmla="*/ 0 h 10358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590657" h="10358">
                          <a:moveTo>
                            <a:pt x="0" y="0"/>
                          </a:moveTo>
                          <a:lnTo>
                            <a:pt x="590658" y="0"/>
                          </a:lnTo>
                        </a:path>
                      </a:pathLst>
                    </a:custGeom>
                    <a:ln w="10355" cap="flat">
                      <a:solidFill>
                        <a:srgbClr val="263238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ru-RU"/>
                    </a:p>
                  </p:txBody>
                </p:sp>
                <p:sp>
                  <p:nvSpPr>
                    <p:cNvPr id="1656" name="Полилиния: фигура 1655">
                      <a:extLst>
                        <a:ext uri="{FF2B5EF4-FFF2-40B4-BE49-F238E27FC236}">
                          <a16:creationId xmlns:a16="http://schemas.microsoft.com/office/drawing/2014/main" id="{169DF62C-AEF1-4480-8ADE-1BC49A1E2467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9121399" y="2645979"/>
                      <a:ext cx="100065" cy="10358"/>
                    </a:xfrm>
                    <a:custGeom>
                      <a:avLst/>
                      <a:gdLst>
                        <a:gd name="connsiteX0" fmla="*/ 0 w 100065"/>
                        <a:gd name="connsiteY0" fmla="*/ 0 h 10358"/>
                        <a:gd name="connsiteX1" fmla="*/ 100066 w 100065"/>
                        <a:gd name="connsiteY1" fmla="*/ 0 h 10358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100065" h="10358">
                          <a:moveTo>
                            <a:pt x="0" y="0"/>
                          </a:moveTo>
                          <a:lnTo>
                            <a:pt x="100066" y="0"/>
                          </a:lnTo>
                        </a:path>
                      </a:pathLst>
                    </a:custGeom>
                    <a:ln w="10355" cap="flat">
                      <a:solidFill>
                        <a:srgbClr val="263238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ru-RU"/>
                    </a:p>
                  </p:txBody>
                </p:sp>
                <p:sp>
                  <p:nvSpPr>
                    <p:cNvPr id="1657" name="Полилиния: фигура 1656">
                      <a:extLst>
                        <a:ext uri="{FF2B5EF4-FFF2-40B4-BE49-F238E27FC236}">
                          <a16:creationId xmlns:a16="http://schemas.microsoft.com/office/drawing/2014/main" id="{765472F9-417F-401F-98B3-4CAAF5589D33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8660847" y="2645979"/>
                      <a:ext cx="405546" cy="10358"/>
                    </a:xfrm>
                    <a:custGeom>
                      <a:avLst/>
                      <a:gdLst>
                        <a:gd name="connsiteX0" fmla="*/ 0 w 405546"/>
                        <a:gd name="connsiteY0" fmla="*/ 0 h 10358"/>
                        <a:gd name="connsiteX1" fmla="*/ 405546 w 405546"/>
                        <a:gd name="connsiteY1" fmla="*/ 0 h 10358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405546" h="10358">
                          <a:moveTo>
                            <a:pt x="0" y="0"/>
                          </a:moveTo>
                          <a:lnTo>
                            <a:pt x="405546" y="0"/>
                          </a:lnTo>
                        </a:path>
                      </a:pathLst>
                    </a:custGeom>
                    <a:ln w="10355" cap="flat">
                      <a:solidFill>
                        <a:srgbClr val="263238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ru-RU"/>
                    </a:p>
                  </p:txBody>
                </p:sp>
                <p:sp>
                  <p:nvSpPr>
                    <p:cNvPr id="1658" name="Полилиния: фигура 1657">
                      <a:extLst>
                        <a:ext uri="{FF2B5EF4-FFF2-40B4-BE49-F238E27FC236}">
                          <a16:creationId xmlns:a16="http://schemas.microsoft.com/office/drawing/2014/main" id="{7B6F3786-4375-476B-B486-D1DF98076D39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8460716" y="2645979"/>
                      <a:ext cx="140154" cy="10358"/>
                    </a:xfrm>
                    <a:custGeom>
                      <a:avLst/>
                      <a:gdLst>
                        <a:gd name="connsiteX0" fmla="*/ 0 w 140154"/>
                        <a:gd name="connsiteY0" fmla="*/ 0 h 10358"/>
                        <a:gd name="connsiteX1" fmla="*/ 140154 w 140154"/>
                        <a:gd name="connsiteY1" fmla="*/ 0 h 10358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140154" h="10358">
                          <a:moveTo>
                            <a:pt x="0" y="0"/>
                          </a:moveTo>
                          <a:lnTo>
                            <a:pt x="140154" y="0"/>
                          </a:lnTo>
                        </a:path>
                      </a:pathLst>
                    </a:custGeom>
                    <a:ln w="10355" cap="flat">
                      <a:solidFill>
                        <a:srgbClr val="263238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ru-RU"/>
                    </a:p>
                  </p:txBody>
                </p:sp>
                <p:sp>
                  <p:nvSpPr>
                    <p:cNvPr id="1659" name="Полилиния: фигура 1658">
                      <a:extLst>
                        <a:ext uri="{FF2B5EF4-FFF2-40B4-BE49-F238E27FC236}">
                          <a16:creationId xmlns:a16="http://schemas.microsoft.com/office/drawing/2014/main" id="{DFB9B775-D0C7-4455-ACE9-037248F2AA44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9957352" y="2761065"/>
                      <a:ext cx="510584" cy="10358"/>
                    </a:xfrm>
                    <a:custGeom>
                      <a:avLst/>
                      <a:gdLst>
                        <a:gd name="connsiteX0" fmla="*/ 0 w 510584"/>
                        <a:gd name="connsiteY0" fmla="*/ 0 h 10358"/>
                        <a:gd name="connsiteX1" fmla="*/ 510584 w 510584"/>
                        <a:gd name="connsiteY1" fmla="*/ 0 h 10358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510584" h="10358">
                          <a:moveTo>
                            <a:pt x="0" y="0"/>
                          </a:moveTo>
                          <a:lnTo>
                            <a:pt x="510584" y="0"/>
                          </a:lnTo>
                        </a:path>
                      </a:pathLst>
                    </a:custGeom>
                    <a:ln w="10355" cap="flat">
                      <a:solidFill>
                        <a:srgbClr val="263238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ru-RU"/>
                    </a:p>
                  </p:txBody>
                </p:sp>
                <p:sp>
                  <p:nvSpPr>
                    <p:cNvPr id="1660" name="Полилиния: фигура 1659">
                      <a:extLst>
                        <a:ext uri="{FF2B5EF4-FFF2-40B4-BE49-F238E27FC236}">
                          <a16:creationId xmlns:a16="http://schemas.microsoft.com/office/drawing/2014/main" id="{9E387927-519E-44A7-975F-8842629953E0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9416728" y="2761065"/>
                      <a:ext cx="475571" cy="10358"/>
                    </a:xfrm>
                    <a:custGeom>
                      <a:avLst/>
                      <a:gdLst>
                        <a:gd name="connsiteX0" fmla="*/ 0 w 475571"/>
                        <a:gd name="connsiteY0" fmla="*/ 0 h 10358"/>
                        <a:gd name="connsiteX1" fmla="*/ 475572 w 475571"/>
                        <a:gd name="connsiteY1" fmla="*/ 0 h 10358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475571" h="10358">
                          <a:moveTo>
                            <a:pt x="0" y="0"/>
                          </a:moveTo>
                          <a:lnTo>
                            <a:pt x="475572" y="0"/>
                          </a:lnTo>
                        </a:path>
                      </a:pathLst>
                    </a:custGeom>
                    <a:ln w="10355" cap="flat">
                      <a:solidFill>
                        <a:srgbClr val="263238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ru-RU"/>
                    </a:p>
                  </p:txBody>
                </p:sp>
                <p:sp>
                  <p:nvSpPr>
                    <p:cNvPr id="1661" name="Полилиния: фигура 1660">
                      <a:extLst>
                        <a:ext uri="{FF2B5EF4-FFF2-40B4-BE49-F238E27FC236}">
                          <a16:creationId xmlns:a16="http://schemas.microsoft.com/office/drawing/2014/main" id="{9F5C5962-2D2A-46FC-AEAC-11D61AE47EB6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9001237" y="2761065"/>
                      <a:ext cx="365457" cy="10358"/>
                    </a:xfrm>
                    <a:custGeom>
                      <a:avLst/>
                      <a:gdLst>
                        <a:gd name="connsiteX0" fmla="*/ 0 w 365457"/>
                        <a:gd name="connsiteY0" fmla="*/ 0 h 10358"/>
                        <a:gd name="connsiteX1" fmla="*/ 365458 w 365457"/>
                        <a:gd name="connsiteY1" fmla="*/ 0 h 10358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365457" h="10358">
                          <a:moveTo>
                            <a:pt x="0" y="0"/>
                          </a:moveTo>
                          <a:lnTo>
                            <a:pt x="365458" y="0"/>
                          </a:lnTo>
                        </a:path>
                      </a:pathLst>
                    </a:custGeom>
                    <a:ln w="10355" cap="flat">
                      <a:solidFill>
                        <a:srgbClr val="263238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ru-RU"/>
                    </a:p>
                  </p:txBody>
                </p:sp>
                <p:sp>
                  <p:nvSpPr>
                    <p:cNvPr id="1662" name="Полилиния: фигура 1661">
                      <a:extLst>
                        <a:ext uri="{FF2B5EF4-FFF2-40B4-BE49-F238E27FC236}">
                          <a16:creationId xmlns:a16="http://schemas.microsoft.com/office/drawing/2014/main" id="{06946A6D-84E2-4B88-81A8-6995B7CF5E1B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8435648" y="2761065"/>
                      <a:ext cx="515556" cy="10358"/>
                    </a:xfrm>
                    <a:custGeom>
                      <a:avLst/>
                      <a:gdLst>
                        <a:gd name="connsiteX0" fmla="*/ 0 w 515556"/>
                        <a:gd name="connsiteY0" fmla="*/ 0 h 10358"/>
                        <a:gd name="connsiteX1" fmla="*/ 515557 w 515556"/>
                        <a:gd name="connsiteY1" fmla="*/ 0 h 10358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515556" h="10358">
                          <a:moveTo>
                            <a:pt x="0" y="0"/>
                          </a:moveTo>
                          <a:lnTo>
                            <a:pt x="515557" y="0"/>
                          </a:lnTo>
                        </a:path>
                      </a:pathLst>
                    </a:custGeom>
                    <a:ln w="10355" cap="flat">
                      <a:solidFill>
                        <a:srgbClr val="263238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ru-RU"/>
                    </a:p>
                  </p:txBody>
                </p:sp>
                <p:sp>
                  <p:nvSpPr>
                    <p:cNvPr id="1663" name="Полилиния: фигура 1662">
                      <a:extLst>
                        <a:ext uri="{FF2B5EF4-FFF2-40B4-BE49-F238E27FC236}">
                          <a16:creationId xmlns:a16="http://schemas.microsoft.com/office/drawing/2014/main" id="{4E9F4393-4DAE-4835-A651-FC229CD41A37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0282722" y="2876254"/>
                      <a:ext cx="160146" cy="10358"/>
                    </a:xfrm>
                    <a:custGeom>
                      <a:avLst/>
                      <a:gdLst>
                        <a:gd name="connsiteX0" fmla="*/ 0 w 160146"/>
                        <a:gd name="connsiteY0" fmla="*/ 0 h 10358"/>
                        <a:gd name="connsiteX1" fmla="*/ 160147 w 160146"/>
                        <a:gd name="connsiteY1" fmla="*/ 0 h 10358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160146" h="10358">
                          <a:moveTo>
                            <a:pt x="0" y="0"/>
                          </a:moveTo>
                          <a:lnTo>
                            <a:pt x="160147" y="0"/>
                          </a:lnTo>
                        </a:path>
                      </a:pathLst>
                    </a:custGeom>
                    <a:ln w="10355" cap="flat">
                      <a:solidFill>
                        <a:srgbClr val="263238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ru-RU"/>
                    </a:p>
                  </p:txBody>
                </p:sp>
                <p:sp>
                  <p:nvSpPr>
                    <p:cNvPr id="1664" name="Полилиния: фигура 1663">
                      <a:extLst>
                        <a:ext uri="{FF2B5EF4-FFF2-40B4-BE49-F238E27FC236}">
                          <a16:creationId xmlns:a16="http://schemas.microsoft.com/office/drawing/2014/main" id="{1AF3C5F6-4E2F-4EAF-A750-EA5F131B1733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9752145" y="2876254"/>
                      <a:ext cx="475468" cy="10358"/>
                    </a:xfrm>
                    <a:custGeom>
                      <a:avLst/>
                      <a:gdLst>
                        <a:gd name="connsiteX0" fmla="*/ 0 w 475468"/>
                        <a:gd name="connsiteY0" fmla="*/ 0 h 10358"/>
                        <a:gd name="connsiteX1" fmla="*/ 475468 w 475468"/>
                        <a:gd name="connsiteY1" fmla="*/ 0 h 10358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475468" h="10358">
                          <a:moveTo>
                            <a:pt x="0" y="0"/>
                          </a:moveTo>
                          <a:lnTo>
                            <a:pt x="475468" y="0"/>
                          </a:lnTo>
                        </a:path>
                      </a:pathLst>
                    </a:custGeom>
                    <a:ln w="10355" cap="flat">
                      <a:solidFill>
                        <a:srgbClr val="263238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ru-RU"/>
                    </a:p>
                  </p:txBody>
                </p:sp>
                <p:sp>
                  <p:nvSpPr>
                    <p:cNvPr id="1665" name="Полилиния: фигура 1664">
                      <a:extLst>
                        <a:ext uri="{FF2B5EF4-FFF2-40B4-BE49-F238E27FC236}">
                          <a16:creationId xmlns:a16="http://schemas.microsoft.com/office/drawing/2014/main" id="{45308D21-F6DB-4EB1-B860-2A3672FADA86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9411755" y="2876254"/>
                      <a:ext cx="305273" cy="10358"/>
                    </a:xfrm>
                    <a:custGeom>
                      <a:avLst/>
                      <a:gdLst>
                        <a:gd name="connsiteX0" fmla="*/ 0 w 305273"/>
                        <a:gd name="connsiteY0" fmla="*/ 0 h 10358"/>
                        <a:gd name="connsiteX1" fmla="*/ 305273 w 305273"/>
                        <a:gd name="connsiteY1" fmla="*/ 0 h 10358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305273" h="10358">
                          <a:moveTo>
                            <a:pt x="0" y="0"/>
                          </a:moveTo>
                          <a:lnTo>
                            <a:pt x="305273" y="0"/>
                          </a:lnTo>
                        </a:path>
                      </a:pathLst>
                    </a:custGeom>
                    <a:ln w="10355" cap="flat">
                      <a:solidFill>
                        <a:srgbClr val="263238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ru-RU"/>
                    </a:p>
                  </p:txBody>
                </p:sp>
                <p:sp>
                  <p:nvSpPr>
                    <p:cNvPr id="1666" name="Полилиния: фигура 1665">
                      <a:extLst>
                        <a:ext uri="{FF2B5EF4-FFF2-40B4-BE49-F238E27FC236}">
                          <a16:creationId xmlns:a16="http://schemas.microsoft.com/office/drawing/2014/main" id="{A09EC2CA-9FC1-489A-865C-8150B9D2CEB4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9136419" y="2876254"/>
                      <a:ext cx="225199" cy="10358"/>
                    </a:xfrm>
                    <a:custGeom>
                      <a:avLst/>
                      <a:gdLst>
                        <a:gd name="connsiteX0" fmla="*/ 0 w 225199"/>
                        <a:gd name="connsiteY0" fmla="*/ 0 h 10358"/>
                        <a:gd name="connsiteX1" fmla="*/ 225200 w 225199"/>
                        <a:gd name="connsiteY1" fmla="*/ 0 h 10358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225199" h="10358">
                          <a:moveTo>
                            <a:pt x="0" y="0"/>
                          </a:moveTo>
                          <a:lnTo>
                            <a:pt x="225200" y="0"/>
                          </a:lnTo>
                        </a:path>
                      </a:pathLst>
                    </a:custGeom>
                    <a:ln w="10355" cap="flat">
                      <a:solidFill>
                        <a:srgbClr val="263238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ru-RU"/>
                    </a:p>
                  </p:txBody>
                </p:sp>
                <p:sp>
                  <p:nvSpPr>
                    <p:cNvPr id="1667" name="Полилиния: фигура 1666">
                      <a:extLst>
                        <a:ext uri="{FF2B5EF4-FFF2-40B4-BE49-F238E27FC236}">
                          <a16:creationId xmlns:a16="http://schemas.microsoft.com/office/drawing/2014/main" id="{2ABB7520-BF87-40D2-9C85-852BCE244F04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8876103" y="2876254"/>
                      <a:ext cx="220227" cy="10358"/>
                    </a:xfrm>
                    <a:custGeom>
                      <a:avLst/>
                      <a:gdLst>
                        <a:gd name="connsiteX0" fmla="*/ 0 w 220227"/>
                        <a:gd name="connsiteY0" fmla="*/ 0 h 10358"/>
                        <a:gd name="connsiteX1" fmla="*/ 220228 w 220227"/>
                        <a:gd name="connsiteY1" fmla="*/ 0 h 10358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220227" h="10358">
                          <a:moveTo>
                            <a:pt x="0" y="0"/>
                          </a:moveTo>
                          <a:lnTo>
                            <a:pt x="220228" y="0"/>
                          </a:lnTo>
                        </a:path>
                      </a:pathLst>
                    </a:custGeom>
                    <a:ln w="10355" cap="flat">
                      <a:solidFill>
                        <a:srgbClr val="263238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ru-RU"/>
                    </a:p>
                  </p:txBody>
                </p:sp>
                <p:sp>
                  <p:nvSpPr>
                    <p:cNvPr id="1668" name="Полилиния: фигура 1667">
                      <a:extLst>
                        <a:ext uri="{FF2B5EF4-FFF2-40B4-BE49-F238E27FC236}">
                          <a16:creationId xmlns:a16="http://schemas.microsoft.com/office/drawing/2014/main" id="{F18FE1CF-E87A-4975-B076-AAC52A5074B1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8545761" y="2876254"/>
                      <a:ext cx="275336" cy="10358"/>
                    </a:xfrm>
                    <a:custGeom>
                      <a:avLst/>
                      <a:gdLst>
                        <a:gd name="connsiteX0" fmla="*/ 0 w 275336"/>
                        <a:gd name="connsiteY0" fmla="*/ 0 h 10358"/>
                        <a:gd name="connsiteX1" fmla="*/ 275336 w 275336"/>
                        <a:gd name="connsiteY1" fmla="*/ 0 h 10358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275336" h="10358">
                          <a:moveTo>
                            <a:pt x="0" y="0"/>
                          </a:moveTo>
                          <a:lnTo>
                            <a:pt x="275336" y="0"/>
                          </a:lnTo>
                        </a:path>
                      </a:pathLst>
                    </a:custGeom>
                    <a:ln w="10355" cap="flat">
                      <a:solidFill>
                        <a:srgbClr val="263238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ru-RU"/>
                    </a:p>
                  </p:txBody>
                </p:sp>
                <p:sp>
                  <p:nvSpPr>
                    <p:cNvPr id="1669" name="Полилиния: фигура 1668">
                      <a:extLst>
                        <a:ext uri="{FF2B5EF4-FFF2-40B4-BE49-F238E27FC236}">
                          <a16:creationId xmlns:a16="http://schemas.microsoft.com/office/drawing/2014/main" id="{A8BA03AC-2D15-4B1A-8F35-331C51993EF5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8410579" y="2876254"/>
                      <a:ext cx="90121" cy="10358"/>
                    </a:xfrm>
                    <a:custGeom>
                      <a:avLst/>
                      <a:gdLst>
                        <a:gd name="connsiteX0" fmla="*/ 0 w 90121"/>
                        <a:gd name="connsiteY0" fmla="*/ 0 h 10358"/>
                        <a:gd name="connsiteX1" fmla="*/ 90121 w 90121"/>
                        <a:gd name="connsiteY1" fmla="*/ 0 h 10358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0121" h="10358">
                          <a:moveTo>
                            <a:pt x="0" y="0"/>
                          </a:moveTo>
                          <a:lnTo>
                            <a:pt x="90121" y="0"/>
                          </a:lnTo>
                        </a:path>
                      </a:pathLst>
                    </a:custGeom>
                    <a:ln w="10355" cap="flat">
                      <a:solidFill>
                        <a:srgbClr val="263238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ru-RU"/>
                    </a:p>
                  </p:txBody>
                </p:sp>
                <p:sp>
                  <p:nvSpPr>
                    <p:cNvPr id="1670" name="Полилиния: фигура 1669">
                      <a:extLst>
                        <a:ext uri="{FF2B5EF4-FFF2-40B4-BE49-F238E27FC236}">
                          <a16:creationId xmlns:a16="http://schemas.microsoft.com/office/drawing/2014/main" id="{F3448FA3-BCF8-4442-A10C-75FF7F71C2C6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0147540" y="2991341"/>
                      <a:ext cx="270260" cy="10358"/>
                    </a:xfrm>
                    <a:custGeom>
                      <a:avLst/>
                      <a:gdLst>
                        <a:gd name="connsiteX0" fmla="*/ 0 w 270260"/>
                        <a:gd name="connsiteY0" fmla="*/ 0 h 10358"/>
                        <a:gd name="connsiteX1" fmla="*/ 270260 w 270260"/>
                        <a:gd name="connsiteY1" fmla="*/ 0 h 10358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270260" h="10358">
                          <a:moveTo>
                            <a:pt x="0" y="0"/>
                          </a:moveTo>
                          <a:lnTo>
                            <a:pt x="270260" y="0"/>
                          </a:lnTo>
                        </a:path>
                      </a:pathLst>
                    </a:custGeom>
                    <a:ln w="10355" cap="flat">
                      <a:solidFill>
                        <a:srgbClr val="263238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ru-RU"/>
                    </a:p>
                  </p:txBody>
                </p:sp>
                <p:sp>
                  <p:nvSpPr>
                    <p:cNvPr id="1671" name="Полилиния: фигура 1670">
                      <a:extLst>
                        <a:ext uri="{FF2B5EF4-FFF2-40B4-BE49-F238E27FC236}">
                          <a16:creationId xmlns:a16="http://schemas.microsoft.com/office/drawing/2014/main" id="{95FF5DA7-75F0-441A-A717-0156C4F1ED21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9671968" y="2991341"/>
                      <a:ext cx="415490" cy="10358"/>
                    </a:xfrm>
                    <a:custGeom>
                      <a:avLst/>
                      <a:gdLst>
                        <a:gd name="connsiteX0" fmla="*/ 0 w 415490"/>
                        <a:gd name="connsiteY0" fmla="*/ 0 h 10358"/>
                        <a:gd name="connsiteX1" fmla="*/ 415491 w 415490"/>
                        <a:gd name="connsiteY1" fmla="*/ 0 h 10358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415490" h="10358">
                          <a:moveTo>
                            <a:pt x="0" y="0"/>
                          </a:moveTo>
                          <a:lnTo>
                            <a:pt x="415491" y="0"/>
                          </a:lnTo>
                        </a:path>
                      </a:pathLst>
                    </a:custGeom>
                    <a:ln w="10355" cap="flat">
                      <a:solidFill>
                        <a:srgbClr val="263238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ru-RU"/>
                    </a:p>
                  </p:txBody>
                </p:sp>
                <p:sp>
                  <p:nvSpPr>
                    <p:cNvPr id="1672" name="Полилиния: фигура 1671">
                      <a:extLst>
                        <a:ext uri="{FF2B5EF4-FFF2-40B4-BE49-F238E27FC236}">
                          <a16:creationId xmlns:a16="http://schemas.microsoft.com/office/drawing/2014/main" id="{D97A8901-3C27-47FF-9C90-5B0D78D65472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9226540" y="2991341"/>
                      <a:ext cx="385450" cy="10358"/>
                    </a:xfrm>
                    <a:custGeom>
                      <a:avLst/>
                      <a:gdLst>
                        <a:gd name="connsiteX0" fmla="*/ 0 w 385450"/>
                        <a:gd name="connsiteY0" fmla="*/ 0 h 10358"/>
                        <a:gd name="connsiteX1" fmla="*/ 385450 w 385450"/>
                        <a:gd name="connsiteY1" fmla="*/ 0 h 10358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385450" h="10358">
                          <a:moveTo>
                            <a:pt x="0" y="0"/>
                          </a:moveTo>
                          <a:lnTo>
                            <a:pt x="385450" y="0"/>
                          </a:lnTo>
                        </a:path>
                      </a:pathLst>
                    </a:custGeom>
                    <a:ln w="10355" cap="flat">
                      <a:solidFill>
                        <a:srgbClr val="263238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ru-RU"/>
                    </a:p>
                  </p:txBody>
                </p:sp>
                <p:sp>
                  <p:nvSpPr>
                    <p:cNvPr id="1673" name="Полилиния: фигура 1672">
                      <a:extLst>
                        <a:ext uri="{FF2B5EF4-FFF2-40B4-BE49-F238E27FC236}">
                          <a16:creationId xmlns:a16="http://schemas.microsoft.com/office/drawing/2014/main" id="{48AEB6FD-54E9-4598-AD3E-5C96804E2A36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8705908" y="2991341"/>
                      <a:ext cx="460551" cy="10358"/>
                    </a:xfrm>
                    <a:custGeom>
                      <a:avLst/>
                      <a:gdLst>
                        <a:gd name="connsiteX0" fmla="*/ 0 w 460551"/>
                        <a:gd name="connsiteY0" fmla="*/ 0 h 10358"/>
                        <a:gd name="connsiteX1" fmla="*/ 460551 w 460551"/>
                        <a:gd name="connsiteY1" fmla="*/ 0 h 10358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460551" h="10358">
                          <a:moveTo>
                            <a:pt x="0" y="0"/>
                          </a:moveTo>
                          <a:lnTo>
                            <a:pt x="460551" y="0"/>
                          </a:lnTo>
                        </a:path>
                      </a:pathLst>
                    </a:custGeom>
                    <a:ln w="10355" cap="flat">
                      <a:solidFill>
                        <a:srgbClr val="263238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ru-RU"/>
                    </a:p>
                  </p:txBody>
                </p:sp>
                <p:sp>
                  <p:nvSpPr>
                    <p:cNvPr id="1674" name="Полилиния: фигура 1673">
                      <a:extLst>
                        <a:ext uri="{FF2B5EF4-FFF2-40B4-BE49-F238E27FC236}">
                          <a16:creationId xmlns:a16="http://schemas.microsoft.com/office/drawing/2014/main" id="{519D91FC-9A3E-4246-BBE0-24E2EC8ADFC0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8385615" y="2991341"/>
                      <a:ext cx="270260" cy="10358"/>
                    </a:xfrm>
                    <a:custGeom>
                      <a:avLst/>
                      <a:gdLst>
                        <a:gd name="connsiteX0" fmla="*/ 0 w 270260"/>
                        <a:gd name="connsiteY0" fmla="*/ 0 h 10358"/>
                        <a:gd name="connsiteX1" fmla="*/ 270261 w 270260"/>
                        <a:gd name="connsiteY1" fmla="*/ 0 h 10358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270260" h="10358">
                          <a:moveTo>
                            <a:pt x="0" y="0"/>
                          </a:moveTo>
                          <a:lnTo>
                            <a:pt x="270261" y="0"/>
                          </a:lnTo>
                        </a:path>
                      </a:pathLst>
                    </a:custGeom>
                    <a:ln w="10355" cap="flat">
                      <a:solidFill>
                        <a:srgbClr val="263238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ru-RU"/>
                    </a:p>
                  </p:txBody>
                </p:sp>
                <p:sp>
                  <p:nvSpPr>
                    <p:cNvPr id="1675" name="Полилиния: фигура 1674">
                      <a:extLst>
                        <a:ext uri="{FF2B5EF4-FFF2-40B4-BE49-F238E27FC236}">
                          <a16:creationId xmlns:a16="http://schemas.microsoft.com/office/drawing/2014/main" id="{55F893B8-590A-4E6B-8192-F1FF3CD570F2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0132519" y="3106530"/>
                      <a:ext cx="260316" cy="10358"/>
                    </a:xfrm>
                    <a:custGeom>
                      <a:avLst/>
                      <a:gdLst>
                        <a:gd name="connsiteX0" fmla="*/ 0 w 260316"/>
                        <a:gd name="connsiteY0" fmla="*/ 0 h 10358"/>
                        <a:gd name="connsiteX1" fmla="*/ 260316 w 260316"/>
                        <a:gd name="connsiteY1" fmla="*/ 0 h 10358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260316" h="10358">
                          <a:moveTo>
                            <a:pt x="0" y="0"/>
                          </a:moveTo>
                          <a:lnTo>
                            <a:pt x="260316" y="0"/>
                          </a:lnTo>
                        </a:path>
                      </a:pathLst>
                    </a:custGeom>
                    <a:ln w="10355" cap="flat">
                      <a:solidFill>
                        <a:srgbClr val="263238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ru-RU"/>
                    </a:p>
                  </p:txBody>
                </p:sp>
                <p:sp>
                  <p:nvSpPr>
                    <p:cNvPr id="1676" name="Полилиния: фигура 1675">
                      <a:extLst>
                        <a:ext uri="{FF2B5EF4-FFF2-40B4-BE49-F238E27FC236}">
                          <a16:creationId xmlns:a16="http://schemas.microsoft.com/office/drawing/2014/main" id="{70F55E58-15B0-4875-8E8C-B4DA12289B3D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9682016" y="3106530"/>
                      <a:ext cx="400470" cy="10358"/>
                    </a:xfrm>
                    <a:custGeom>
                      <a:avLst/>
                      <a:gdLst>
                        <a:gd name="connsiteX0" fmla="*/ 0 w 400470"/>
                        <a:gd name="connsiteY0" fmla="*/ 0 h 10358"/>
                        <a:gd name="connsiteX1" fmla="*/ 400470 w 400470"/>
                        <a:gd name="connsiteY1" fmla="*/ 0 h 10358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400470" h="10358">
                          <a:moveTo>
                            <a:pt x="0" y="0"/>
                          </a:moveTo>
                          <a:lnTo>
                            <a:pt x="400470" y="0"/>
                          </a:lnTo>
                        </a:path>
                      </a:pathLst>
                    </a:custGeom>
                    <a:ln w="10355" cap="flat">
                      <a:solidFill>
                        <a:srgbClr val="263238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ru-RU"/>
                    </a:p>
                  </p:txBody>
                </p:sp>
                <p:sp>
                  <p:nvSpPr>
                    <p:cNvPr id="1677" name="Полилиния: фигура 1676">
                      <a:extLst>
                        <a:ext uri="{FF2B5EF4-FFF2-40B4-BE49-F238E27FC236}">
                          <a16:creationId xmlns:a16="http://schemas.microsoft.com/office/drawing/2014/main" id="{34AD1DDD-344A-4E95-9AD0-D754B706E3B6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9216492" y="3106530"/>
                      <a:ext cx="395498" cy="10358"/>
                    </a:xfrm>
                    <a:custGeom>
                      <a:avLst/>
                      <a:gdLst>
                        <a:gd name="connsiteX0" fmla="*/ 0 w 395498"/>
                        <a:gd name="connsiteY0" fmla="*/ 0 h 10358"/>
                        <a:gd name="connsiteX1" fmla="*/ 395498 w 395498"/>
                        <a:gd name="connsiteY1" fmla="*/ 0 h 10358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395498" h="10358">
                          <a:moveTo>
                            <a:pt x="0" y="0"/>
                          </a:moveTo>
                          <a:lnTo>
                            <a:pt x="395498" y="0"/>
                          </a:lnTo>
                        </a:path>
                      </a:pathLst>
                    </a:custGeom>
                    <a:ln w="10355" cap="flat">
                      <a:solidFill>
                        <a:srgbClr val="263238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ru-RU"/>
                    </a:p>
                  </p:txBody>
                </p:sp>
                <p:sp>
                  <p:nvSpPr>
                    <p:cNvPr id="1678" name="Полилиния: фигура 1677">
                      <a:extLst>
                        <a:ext uri="{FF2B5EF4-FFF2-40B4-BE49-F238E27FC236}">
                          <a16:creationId xmlns:a16="http://schemas.microsoft.com/office/drawing/2014/main" id="{7BCA78FA-F0CC-4816-BEFF-FAD54D784CEA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8896199" y="3106530"/>
                      <a:ext cx="275232" cy="10358"/>
                    </a:xfrm>
                    <a:custGeom>
                      <a:avLst/>
                      <a:gdLst>
                        <a:gd name="connsiteX0" fmla="*/ 0 w 275232"/>
                        <a:gd name="connsiteY0" fmla="*/ 0 h 10358"/>
                        <a:gd name="connsiteX1" fmla="*/ 275233 w 275232"/>
                        <a:gd name="connsiteY1" fmla="*/ 0 h 10358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275232" h="10358">
                          <a:moveTo>
                            <a:pt x="0" y="0"/>
                          </a:moveTo>
                          <a:lnTo>
                            <a:pt x="275233" y="0"/>
                          </a:lnTo>
                        </a:path>
                      </a:pathLst>
                    </a:custGeom>
                    <a:ln w="10355" cap="flat">
                      <a:solidFill>
                        <a:srgbClr val="263238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ru-RU"/>
                    </a:p>
                  </p:txBody>
                </p:sp>
                <p:sp>
                  <p:nvSpPr>
                    <p:cNvPr id="1679" name="Полилиния: фигура 1678">
                      <a:extLst>
                        <a:ext uri="{FF2B5EF4-FFF2-40B4-BE49-F238E27FC236}">
                          <a16:creationId xmlns:a16="http://schemas.microsoft.com/office/drawing/2014/main" id="{E4DDFB90-279E-47B2-B93B-DB0F8B34E60A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8565754" y="3106530"/>
                      <a:ext cx="280308" cy="10358"/>
                    </a:xfrm>
                    <a:custGeom>
                      <a:avLst/>
                      <a:gdLst>
                        <a:gd name="connsiteX0" fmla="*/ 0 w 280308"/>
                        <a:gd name="connsiteY0" fmla="*/ 0 h 10358"/>
                        <a:gd name="connsiteX1" fmla="*/ 280309 w 280308"/>
                        <a:gd name="connsiteY1" fmla="*/ 0 h 10358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280308" h="10358">
                          <a:moveTo>
                            <a:pt x="0" y="0"/>
                          </a:moveTo>
                          <a:lnTo>
                            <a:pt x="280309" y="0"/>
                          </a:lnTo>
                        </a:path>
                      </a:pathLst>
                    </a:custGeom>
                    <a:ln w="10355" cap="flat">
                      <a:solidFill>
                        <a:srgbClr val="263238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ru-RU"/>
                    </a:p>
                  </p:txBody>
                </p:sp>
                <p:sp>
                  <p:nvSpPr>
                    <p:cNvPr id="1680" name="Полилиния: фигура 1679">
                      <a:extLst>
                        <a:ext uri="{FF2B5EF4-FFF2-40B4-BE49-F238E27FC236}">
                          <a16:creationId xmlns:a16="http://schemas.microsoft.com/office/drawing/2014/main" id="{EF83E32D-561A-4B76-8D24-0AE9ABF201A6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8360546" y="3106530"/>
                      <a:ext cx="175166" cy="10358"/>
                    </a:xfrm>
                    <a:custGeom>
                      <a:avLst/>
                      <a:gdLst>
                        <a:gd name="connsiteX0" fmla="*/ 0 w 175166"/>
                        <a:gd name="connsiteY0" fmla="*/ 0 h 10358"/>
                        <a:gd name="connsiteX1" fmla="*/ 175167 w 175166"/>
                        <a:gd name="connsiteY1" fmla="*/ 0 h 10358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175166" h="10358">
                          <a:moveTo>
                            <a:pt x="0" y="0"/>
                          </a:moveTo>
                          <a:lnTo>
                            <a:pt x="175167" y="0"/>
                          </a:lnTo>
                        </a:path>
                      </a:pathLst>
                    </a:custGeom>
                    <a:ln w="10355" cap="flat">
                      <a:solidFill>
                        <a:srgbClr val="263238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ru-RU"/>
                    </a:p>
                  </p:txBody>
                </p:sp>
              </p:grpSp>
              <p:sp>
                <p:nvSpPr>
                  <p:cNvPr id="1681" name="Полилиния: фигура 1680">
                    <a:extLst>
                      <a:ext uri="{FF2B5EF4-FFF2-40B4-BE49-F238E27FC236}">
                        <a16:creationId xmlns:a16="http://schemas.microsoft.com/office/drawing/2014/main" id="{028D26DB-0A12-40CD-9A45-3670B1C5C015}"/>
                      </a:ext>
                    </a:extLst>
                  </p:cNvPr>
                  <p:cNvSpPr/>
                  <p:nvPr/>
                </p:nvSpPr>
                <p:spPr>
                  <a:xfrm>
                    <a:off x="10217669" y="3221616"/>
                    <a:ext cx="150098" cy="10358"/>
                  </a:xfrm>
                  <a:custGeom>
                    <a:avLst/>
                    <a:gdLst>
                      <a:gd name="connsiteX0" fmla="*/ 0 w 150098"/>
                      <a:gd name="connsiteY0" fmla="*/ 0 h 10358"/>
                      <a:gd name="connsiteX1" fmla="*/ 150099 w 150098"/>
                      <a:gd name="connsiteY1" fmla="*/ 0 h 1035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50098" h="10358">
                        <a:moveTo>
                          <a:pt x="0" y="0"/>
                        </a:moveTo>
                        <a:lnTo>
                          <a:pt x="150099" y="0"/>
                        </a:lnTo>
                      </a:path>
                    </a:pathLst>
                  </a:custGeom>
                  <a:ln w="10355" cap="flat">
                    <a:solidFill>
                      <a:srgbClr val="263238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ru-RU"/>
                  </a:p>
                </p:txBody>
              </p:sp>
            </p:grpSp>
            <p:sp>
              <p:nvSpPr>
                <p:cNvPr id="1682" name="Полилиния: фигура 1681">
                  <a:extLst>
                    <a:ext uri="{FF2B5EF4-FFF2-40B4-BE49-F238E27FC236}">
                      <a16:creationId xmlns:a16="http://schemas.microsoft.com/office/drawing/2014/main" id="{F822A604-41E8-40A1-A9A8-6FF55C6445C0}"/>
                    </a:ext>
                  </a:extLst>
                </p:cNvPr>
                <p:cNvSpPr/>
                <p:nvPr/>
              </p:nvSpPr>
              <p:spPr>
                <a:xfrm>
                  <a:off x="9707084" y="3221616"/>
                  <a:ext cx="460447" cy="10358"/>
                </a:xfrm>
                <a:custGeom>
                  <a:avLst/>
                  <a:gdLst>
                    <a:gd name="connsiteX0" fmla="*/ 0 w 460447"/>
                    <a:gd name="connsiteY0" fmla="*/ 0 h 10358"/>
                    <a:gd name="connsiteX1" fmla="*/ 460448 w 460447"/>
                    <a:gd name="connsiteY1" fmla="*/ 0 h 1035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60447" h="10358">
                      <a:moveTo>
                        <a:pt x="0" y="0"/>
                      </a:moveTo>
                      <a:lnTo>
                        <a:pt x="460448" y="0"/>
                      </a:lnTo>
                    </a:path>
                  </a:pathLst>
                </a:custGeom>
                <a:ln w="10355" cap="flat">
                  <a:solidFill>
                    <a:srgbClr val="263238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1683" name="Полилиния: фигура 1682">
                  <a:extLst>
                    <a:ext uri="{FF2B5EF4-FFF2-40B4-BE49-F238E27FC236}">
                      <a16:creationId xmlns:a16="http://schemas.microsoft.com/office/drawing/2014/main" id="{2DC3C756-7125-4484-9E8C-7AFBCF54F04F}"/>
                    </a:ext>
                  </a:extLst>
                </p:cNvPr>
                <p:cNvSpPr/>
                <p:nvPr/>
              </p:nvSpPr>
              <p:spPr>
                <a:xfrm>
                  <a:off x="9301642" y="3221616"/>
                  <a:ext cx="345361" cy="10358"/>
                </a:xfrm>
                <a:custGeom>
                  <a:avLst/>
                  <a:gdLst>
                    <a:gd name="connsiteX0" fmla="*/ 0 w 345361"/>
                    <a:gd name="connsiteY0" fmla="*/ 0 h 10358"/>
                    <a:gd name="connsiteX1" fmla="*/ 345362 w 345361"/>
                    <a:gd name="connsiteY1" fmla="*/ 0 h 1035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345361" h="10358">
                      <a:moveTo>
                        <a:pt x="0" y="0"/>
                      </a:moveTo>
                      <a:lnTo>
                        <a:pt x="345362" y="0"/>
                      </a:lnTo>
                    </a:path>
                  </a:pathLst>
                </a:custGeom>
                <a:ln w="10355" cap="flat">
                  <a:solidFill>
                    <a:srgbClr val="263238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1684" name="Полилиния: фигура 1683">
                  <a:extLst>
                    <a:ext uri="{FF2B5EF4-FFF2-40B4-BE49-F238E27FC236}">
                      <a16:creationId xmlns:a16="http://schemas.microsoft.com/office/drawing/2014/main" id="{39C82235-C052-4FF9-9FA4-81FFCCFD8F17}"/>
                    </a:ext>
                  </a:extLst>
                </p:cNvPr>
                <p:cNvSpPr/>
                <p:nvPr/>
              </p:nvSpPr>
              <p:spPr>
                <a:xfrm>
                  <a:off x="9036353" y="3221616"/>
                  <a:ext cx="210179" cy="10358"/>
                </a:xfrm>
                <a:custGeom>
                  <a:avLst/>
                  <a:gdLst>
                    <a:gd name="connsiteX0" fmla="*/ 0 w 210179"/>
                    <a:gd name="connsiteY0" fmla="*/ 0 h 10358"/>
                    <a:gd name="connsiteX1" fmla="*/ 210180 w 210179"/>
                    <a:gd name="connsiteY1" fmla="*/ 0 h 1035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10179" h="10358">
                      <a:moveTo>
                        <a:pt x="0" y="0"/>
                      </a:moveTo>
                      <a:lnTo>
                        <a:pt x="210180" y="0"/>
                      </a:lnTo>
                    </a:path>
                  </a:pathLst>
                </a:custGeom>
                <a:ln w="10355" cap="flat">
                  <a:solidFill>
                    <a:srgbClr val="263238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1685" name="Полилиния: фигура 1684">
                  <a:extLst>
                    <a:ext uri="{FF2B5EF4-FFF2-40B4-BE49-F238E27FC236}">
                      <a16:creationId xmlns:a16="http://schemas.microsoft.com/office/drawing/2014/main" id="{8F712C1A-DC97-4707-BF3D-EDD6694C02D9}"/>
                    </a:ext>
                  </a:extLst>
                </p:cNvPr>
                <p:cNvSpPr/>
                <p:nvPr/>
              </p:nvSpPr>
              <p:spPr>
                <a:xfrm>
                  <a:off x="8610815" y="3221616"/>
                  <a:ext cx="350437" cy="10358"/>
                </a:xfrm>
                <a:custGeom>
                  <a:avLst/>
                  <a:gdLst>
                    <a:gd name="connsiteX0" fmla="*/ 0 w 350437"/>
                    <a:gd name="connsiteY0" fmla="*/ 0 h 10358"/>
                    <a:gd name="connsiteX1" fmla="*/ 350438 w 350437"/>
                    <a:gd name="connsiteY1" fmla="*/ 0 h 1035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350437" h="10358">
                      <a:moveTo>
                        <a:pt x="0" y="0"/>
                      </a:moveTo>
                      <a:lnTo>
                        <a:pt x="350438" y="0"/>
                      </a:lnTo>
                    </a:path>
                  </a:pathLst>
                </a:custGeom>
                <a:ln w="10355" cap="flat">
                  <a:solidFill>
                    <a:srgbClr val="263238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1686" name="Полилиния: фигура 1685">
                  <a:extLst>
                    <a:ext uri="{FF2B5EF4-FFF2-40B4-BE49-F238E27FC236}">
                      <a16:creationId xmlns:a16="http://schemas.microsoft.com/office/drawing/2014/main" id="{189C71C0-EBC7-4A0A-A8D9-F43E291627CF}"/>
                    </a:ext>
                  </a:extLst>
                </p:cNvPr>
                <p:cNvSpPr/>
                <p:nvPr/>
              </p:nvSpPr>
              <p:spPr>
                <a:xfrm>
                  <a:off x="8335582" y="3221616"/>
                  <a:ext cx="240220" cy="10358"/>
                </a:xfrm>
                <a:custGeom>
                  <a:avLst/>
                  <a:gdLst>
                    <a:gd name="connsiteX0" fmla="*/ 0 w 240220"/>
                    <a:gd name="connsiteY0" fmla="*/ 0 h 10358"/>
                    <a:gd name="connsiteX1" fmla="*/ 240220 w 240220"/>
                    <a:gd name="connsiteY1" fmla="*/ 0 h 1035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40220" h="10358">
                      <a:moveTo>
                        <a:pt x="0" y="0"/>
                      </a:moveTo>
                      <a:lnTo>
                        <a:pt x="240220" y="0"/>
                      </a:lnTo>
                    </a:path>
                  </a:pathLst>
                </a:custGeom>
                <a:ln w="10355" cap="flat">
                  <a:solidFill>
                    <a:srgbClr val="263238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</p:grpSp>
          <p:sp>
            <p:nvSpPr>
              <p:cNvPr id="1687" name="Полилиния: фигура 1686">
                <a:extLst>
                  <a:ext uri="{FF2B5EF4-FFF2-40B4-BE49-F238E27FC236}">
                    <a16:creationId xmlns:a16="http://schemas.microsoft.com/office/drawing/2014/main" id="{B32DEDB4-C460-42F2-B4DF-1D9BFBF64780}"/>
                  </a:ext>
                </a:extLst>
              </p:cNvPr>
              <p:cNvSpPr/>
              <p:nvPr/>
            </p:nvSpPr>
            <p:spPr>
              <a:xfrm>
                <a:off x="7189383" y="3306765"/>
                <a:ext cx="2713378" cy="978490"/>
              </a:xfrm>
              <a:custGeom>
                <a:avLst/>
                <a:gdLst>
                  <a:gd name="connsiteX0" fmla="*/ 2713379 w 2713378"/>
                  <a:gd name="connsiteY0" fmla="*/ 104 h 978490"/>
                  <a:gd name="connsiteX1" fmla="*/ 2713379 w 2713378"/>
                  <a:gd name="connsiteY1" fmla="*/ 829 h 978490"/>
                  <a:gd name="connsiteX2" fmla="*/ 2602022 w 2713378"/>
                  <a:gd name="connsiteY2" fmla="*/ 38327 h 978490"/>
                  <a:gd name="connsiteX3" fmla="*/ 2533654 w 2713378"/>
                  <a:gd name="connsiteY3" fmla="*/ 102966 h 978490"/>
                  <a:gd name="connsiteX4" fmla="*/ 2494498 w 2713378"/>
                  <a:gd name="connsiteY4" fmla="*/ 188633 h 978490"/>
                  <a:gd name="connsiteX5" fmla="*/ 2304104 w 2713378"/>
                  <a:gd name="connsiteY5" fmla="*/ 978491 h 978490"/>
                  <a:gd name="connsiteX6" fmla="*/ 0 w 2713378"/>
                  <a:gd name="connsiteY6" fmla="*/ 978491 h 978490"/>
                  <a:gd name="connsiteX7" fmla="*/ 190394 w 2713378"/>
                  <a:gd name="connsiteY7" fmla="*/ 188633 h 978490"/>
                  <a:gd name="connsiteX8" fmla="*/ 297918 w 2713378"/>
                  <a:gd name="connsiteY8" fmla="*/ 38327 h 978490"/>
                  <a:gd name="connsiteX9" fmla="*/ 425332 w 2713378"/>
                  <a:gd name="connsiteY9" fmla="*/ 0 h 978490"/>
                  <a:gd name="connsiteX10" fmla="*/ 2713275 w 2713378"/>
                  <a:gd name="connsiteY10" fmla="*/ 0 h 9784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2713378" h="978490">
                    <a:moveTo>
                      <a:pt x="2713379" y="104"/>
                    </a:moveTo>
                    <a:lnTo>
                      <a:pt x="2713379" y="829"/>
                    </a:lnTo>
                    <a:cubicBezTo>
                      <a:pt x="2675155" y="4040"/>
                      <a:pt x="2637035" y="16160"/>
                      <a:pt x="2602022" y="38327"/>
                    </a:cubicBezTo>
                    <a:cubicBezTo>
                      <a:pt x="2574986" y="55420"/>
                      <a:pt x="2551886" y="77587"/>
                      <a:pt x="2533654" y="102966"/>
                    </a:cubicBezTo>
                    <a:cubicBezTo>
                      <a:pt x="2515423" y="128553"/>
                      <a:pt x="2502060" y="157557"/>
                      <a:pt x="2494498" y="188633"/>
                    </a:cubicBezTo>
                    <a:lnTo>
                      <a:pt x="2304104" y="978491"/>
                    </a:lnTo>
                    <a:lnTo>
                      <a:pt x="0" y="978491"/>
                    </a:lnTo>
                    <a:lnTo>
                      <a:pt x="190394" y="188633"/>
                    </a:lnTo>
                    <a:cubicBezTo>
                      <a:pt x="205415" y="126481"/>
                      <a:pt x="243949" y="72615"/>
                      <a:pt x="297918" y="38327"/>
                    </a:cubicBezTo>
                    <a:cubicBezTo>
                      <a:pt x="337800" y="13052"/>
                      <a:pt x="381825" y="725"/>
                      <a:pt x="425332" y="0"/>
                    </a:cubicBezTo>
                    <a:lnTo>
                      <a:pt x="2713275" y="0"/>
                    </a:lnTo>
                    <a:close/>
                  </a:path>
                </a:pathLst>
              </a:custGeom>
              <a:solidFill>
                <a:srgbClr val="FFFFFF"/>
              </a:solidFill>
              <a:ln w="10355" cap="rnd">
                <a:solidFill>
                  <a:srgbClr val="263238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688" name="Полилиния: фигура 1687">
                <a:extLst>
                  <a:ext uri="{FF2B5EF4-FFF2-40B4-BE49-F238E27FC236}">
                    <a16:creationId xmlns:a16="http://schemas.microsoft.com/office/drawing/2014/main" id="{FEB62A7D-E78E-48EA-B811-7B40EF851ADF}"/>
                  </a:ext>
                </a:extLst>
              </p:cNvPr>
              <p:cNvSpPr/>
              <p:nvPr/>
            </p:nvSpPr>
            <p:spPr>
              <a:xfrm>
                <a:off x="9668135" y="3306869"/>
                <a:ext cx="588482" cy="253582"/>
              </a:xfrm>
              <a:custGeom>
                <a:avLst/>
                <a:gdLst>
                  <a:gd name="connsiteX0" fmla="*/ 588482 w 588482"/>
                  <a:gd name="connsiteY0" fmla="*/ 253479 h 253582"/>
                  <a:gd name="connsiteX1" fmla="*/ 0 w 588482"/>
                  <a:gd name="connsiteY1" fmla="*/ 253479 h 253582"/>
                  <a:gd name="connsiteX2" fmla="*/ 15642 w 588482"/>
                  <a:gd name="connsiteY2" fmla="*/ 188633 h 253582"/>
                  <a:gd name="connsiteX3" fmla="*/ 54798 w 588482"/>
                  <a:gd name="connsiteY3" fmla="*/ 102966 h 253582"/>
                  <a:gd name="connsiteX4" fmla="*/ 123166 w 588482"/>
                  <a:gd name="connsiteY4" fmla="*/ 38327 h 253582"/>
                  <a:gd name="connsiteX5" fmla="*/ 234523 w 588482"/>
                  <a:gd name="connsiteY5" fmla="*/ 829 h 253582"/>
                  <a:gd name="connsiteX6" fmla="*/ 254722 w 588482"/>
                  <a:gd name="connsiteY6" fmla="*/ 0 h 253582"/>
                  <a:gd name="connsiteX7" fmla="*/ 479922 w 588482"/>
                  <a:gd name="connsiteY7" fmla="*/ 145748 h 253582"/>
                  <a:gd name="connsiteX8" fmla="*/ 588482 w 588482"/>
                  <a:gd name="connsiteY8" fmla="*/ 253583 h 2535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588482" h="253582">
                    <a:moveTo>
                      <a:pt x="588482" y="253479"/>
                    </a:moveTo>
                    <a:lnTo>
                      <a:pt x="0" y="253479"/>
                    </a:lnTo>
                    <a:lnTo>
                      <a:pt x="15642" y="188633"/>
                    </a:lnTo>
                    <a:cubicBezTo>
                      <a:pt x="23100" y="157557"/>
                      <a:pt x="36463" y="128552"/>
                      <a:pt x="54798" y="102966"/>
                    </a:cubicBezTo>
                    <a:cubicBezTo>
                      <a:pt x="73030" y="77484"/>
                      <a:pt x="96129" y="55419"/>
                      <a:pt x="123166" y="38327"/>
                    </a:cubicBezTo>
                    <a:cubicBezTo>
                      <a:pt x="158178" y="16160"/>
                      <a:pt x="196299" y="3936"/>
                      <a:pt x="234523" y="829"/>
                    </a:cubicBezTo>
                    <a:cubicBezTo>
                      <a:pt x="241256" y="311"/>
                      <a:pt x="247989" y="0"/>
                      <a:pt x="254722" y="0"/>
                    </a:cubicBezTo>
                    <a:cubicBezTo>
                      <a:pt x="348159" y="0"/>
                      <a:pt x="443770" y="50965"/>
                      <a:pt x="479922" y="145748"/>
                    </a:cubicBezTo>
                    <a:cubicBezTo>
                      <a:pt x="505509" y="212666"/>
                      <a:pt x="545493" y="245503"/>
                      <a:pt x="588482" y="253583"/>
                    </a:cubicBezTo>
                    <a:close/>
                  </a:path>
                </a:pathLst>
              </a:custGeom>
              <a:solidFill>
                <a:srgbClr val="263238"/>
              </a:solidFill>
              <a:ln w="10355" cap="rnd">
                <a:solidFill>
                  <a:srgbClr val="263238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grpSp>
            <p:nvGrpSpPr>
              <p:cNvPr id="1689" name="Рисунок 1613">
                <a:extLst>
                  <a:ext uri="{FF2B5EF4-FFF2-40B4-BE49-F238E27FC236}">
                    <a16:creationId xmlns:a16="http://schemas.microsoft.com/office/drawing/2014/main" id="{27EF9208-9FFB-42A3-9B09-1055A96DBB1C}"/>
                  </a:ext>
                </a:extLst>
              </p:cNvPr>
              <p:cNvGrpSpPr/>
              <p:nvPr/>
            </p:nvGrpSpPr>
            <p:grpSpPr>
              <a:xfrm>
                <a:off x="9135072" y="3333698"/>
                <a:ext cx="400988" cy="318221"/>
                <a:chOff x="9135072" y="3333698"/>
                <a:chExt cx="400988" cy="318221"/>
              </a:xfrm>
            </p:grpSpPr>
            <p:sp>
              <p:nvSpPr>
                <p:cNvPr id="1690" name="Полилиния: фигура 1689">
                  <a:extLst>
                    <a:ext uri="{FF2B5EF4-FFF2-40B4-BE49-F238E27FC236}">
                      <a16:creationId xmlns:a16="http://schemas.microsoft.com/office/drawing/2014/main" id="{0712F43B-1EB6-43FF-AA6E-45F67E4F8D09}"/>
                    </a:ext>
                  </a:extLst>
                </p:cNvPr>
                <p:cNvSpPr/>
                <p:nvPr/>
              </p:nvSpPr>
              <p:spPr>
                <a:xfrm>
                  <a:off x="9135072" y="3333698"/>
                  <a:ext cx="400988" cy="318221"/>
                </a:xfrm>
                <a:custGeom>
                  <a:avLst/>
                  <a:gdLst>
                    <a:gd name="connsiteX0" fmla="*/ 400988 w 400988"/>
                    <a:gd name="connsiteY0" fmla="*/ 159111 h 318221"/>
                    <a:gd name="connsiteX1" fmla="*/ 380892 w 400988"/>
                    <a:gd name="connsiteY1" fmla="*/ 179725 h 318221"/>
                    <a:gd name="connsiteX2" fmla="*/ 392080 w 400988"/>
                    <a:gd name="connsiteY2" fmla="*/ 206243 h 318221"/>
                    <a:gd name="connsiteX3" fmla="*/ 365976 w 400988"/>
                    <a:gd name="connsiteY3" fmla="*/ 218363 h 318221"/>
                    <a:gd name="connsiteX4" fmla="*/ 367633 w 400988"/>
                    <a:gd name="connsiteY4" fmla="*/ 247057 h 318221"/>
                    <a:gd name="connsiteX5" fmla="*/ 339043 w 400988"/>
                    <a:gd name="connsiteY5" fmla="*/ 250682 h 318221"/>
                    <a:gd name="connsiteX6" fmla="*/ 332724 w 400988"/>
                    <a:gd name="connsiteY6" fmla="*/ 278755 h 318221"/>
                    <a:gd name="connsiteX7" fmla="*/ 304134 w 400988"/>
                    <a:gd name="connsiteY7" fmla="*/ 275026 h 318221"/>
                    <a:gd name="connsiteX8" fmla="*/ 291496 w 400988"/>
                    <a:gd name="connsiteY8" fmla="*/ 300923 h 318221"/>
                    <a:gd name="connsiteX9" fmla="*/ 264356 w 400988"/>
                    <a:gd name="connsiteY9" fmla="*/ 291185 h 318221"/>
                    <a:gd name="connsiteX10" fmla="*/ 246746 w 400988"/>
                    <a:gd name="connsiteY10" fmla="*/ 313975 h 318221"/>
                    <a:gd name="connsiteX11" fmla="*/ 221989 w 400988"/>
                    <a:gd name="connsiteY11" fmla="*/ 299161 h 318221"/>
                    <a:gd name="connsiteX12" fmla="*/ 200442 w 400988"/>
                    <a:gd name="connsiteY12" fmla="*/ 318222 h 318221"/>
                    <a:gd name="connsiteX13" fmla="*/ 178896 w 400988"/>
                    <a:gd name="connsiteY13" fmla="*/ 299161 h 318221"/>
                    <a:gd name="connsiteX14" fmla="*/ 154139 w 400988"/>
                    <a:gd name="connsiteY14" fmla="*/ 313975 h 318221"/>
                    <a:gd name="connsiteX15" fmla="*/ 136529 w 400988"/>
                    <a:gd name="connsiteY15" fmla="*/ 291185 h 318221"/>
                    <a:gd name="connsiteX16" fmla="*/ 109389 w 400988"/>
                    <a:gd name="connsiteY16" fmla="*/ 300923 h 318221"/>
                    <a:gd name="connsiteX17" fmla="*/ 96751 w 400988"/>
                    <a:gd name="connsiteY17" fmla="*/ 275026 h 318221"/>
                    <a:gd name="connsiteX18" fmla="*/ 68161 w 400988"/>
                    <a:gd name="connsiteY18" fmla="*/ 278755 h 318221"/>
                    <a:gd name="connsiteX19" fmla="*/ 61842 w 400988"/>
                    <a:gd name="connsiteY19" fmla="*/ 250682 h 318221"/>
                    <a:gd name="connsiteX20" fmla="*/ 33252 w 400988"/>
                    <a:gd name="connsiteY20" fmla="*/ 247057 h 318221"/>
                    <a:gd name="connsiteX21" fmla="*/ 35013 w 400988"/>
                    <a:gd name="connsiteY21" fmla="*/ 218363 h 318221"/>
                    <a:gd name="connsiteX22" fmla="*/ 8908 w 400988"/>
                    <a:gd name="connsiteY22" fmla="*/ 206243 h 318221"/>
                    <a:gd name="connsiteX23" fmla="*/ 20096 w 400988"/>
                    <a:gd name="connsiteY23" fmla="*/ 179725 h 318221"/>
                    <a:gd name="connsiteX24" fmla="*/ 0 w 400988"/>
                    <a:gd name="connsiteY24" fmla="*/ 159111 h 318221"/>
                    <a:gd name="connsiteX25" fmla="*/ 20096 w 400988"/>
                    <a:gd name="connsiteY25" fmla="*/ 138497 h 318221"/>
                    <a:gd name="connsiteX26" fmla="*/ 8908 w 400988"/>
                    <a:gd name="connsiteY26" fmla="*/ 111978 h 318221"/>
                    <a:gd name="connsiteX27" fmla="*/ 35013 w 400988"/>
                    <a:gd name="connsiteY27" fmla="*/ 99859 h 318221"/>
                    <a:gd name="connsiteX28" fmla="*/ 33355 w 400988"/>
                    <a:gd name="connsiteY28" fmla="*/ 71165 h 318221"/>
                    <a:gd name="connsiteX29" fmla="*/ 61945 w 400988"/>
                    <a:gd name="connsiteY29" fmla="*/ 67539 h 318221"/>
                    <a:gd name="connsiteX30" fmla="*/ 68264 w 400988"/>
                    <a:gd name="connsiteY30" fmla="*/ 39467 h 318221"/>
                    <a:gd name="connsiteX31" fmla="*/ 96855 w 400988"/>
                    <a:gd name="connsiteY31" fmla="*/ 43196 h 318221"/>
                    <a:gd name="connsiteX32" fmla="*/ 109492 w 400988"/>
                    <a:gd name="connsiteY32" fmla="*/ 17299 h 318221"/>
                    <a:gd name="connsiteX33" fmla="*/ 136632 w 400988"/>
                    <a:gd name="connsiteY33" fmla="*/ 27036 h 318221"/>
                    <a:gd name="connsiteX34" fmla="*/ 154242 w 400988"/>
                    <a:gd name="connsiteY34" fmla="*/ 4247 h 318221"/>
                    <a:gd name="connsiteX35" fmla="*/ 179000 w 400988"/>
                    <a:gd name="connsiteY35" fmla="*/ 19060 h 318221"/>
                    <a:gd name="connsiteX36" fmla="*/ 200546 w 400988"/>
                    <a:gd name="connsiteY36" fmla="*/ 0 h 318221"/>
                    <a:gd name="connsiteX37" fmla="*/ 222092 w 400988"/>
                    <a:gd name="connsiteY37" fmla="*/ 19060 h 318221"/>
                    <a:gd name="connsiteX38" fmla="*/ 246850 w 400988"/>
                    <a:gd name="connsiteY38" fmla="*/ 4247 h 318221"/>
                    <a:gd name="connsiteX39" fmla="*/ 264460 w 400988"/>
                    <a:gd name="connsiteY39" fmla="*/ 27036 h 318221"/>
                    <a:gd name="connsiteX40" fmla="*/ 291600 w 400988"/>
                    <a:gd name="connsiteY40" fmla="*/ 17299 h 318221"/>
                    <a:gd name="connsiteX41" fmla="*/ 304237 w 400988"/>
                    <a:gd name="connsiteY41" fmla="*/ 43196 h 318221"/>
                    <a:gd name="connsiteX42" fmla="*/ 332828 w 400988"/>
                    <a:gd name="connsiteY42" fmla="*/ 39467 h 318221"/>
                    <a:gd name="connsiteX43" fmla="*/ 339146 w 400988"/>
                    <a:gd name="connsiteY43" fmla="*/ 67539 h 318221"/>
                    <a:gd name="connsiteX44" fmla="*/ 367737 w 400988"/>
                    <a:gd name="connsiteY44" fmla="*/ 71165 h 318221"/>
                    <a:gd name="connsiteX45" fmla="*/ 365976 w 400988"/>
                    <a:gd name="connsiteY45" fmla="*/ 99859 h 318221"/>
                    <a:gd name="connsiteX46" fmla="*/ 392080 w 400988"/>
                    <a:gd name="connsiteY46" fmla="*/ 111978 h 318221"/>
                    <a:gd name="connsiteX47" fmla="*/ 380892 w 400988"/>
                    <a:gd name="connsiteY47" fmla="*/ 138497 h 318221"/>
                    <a:gd name="connsiteX48" fmla="*/ 400988 w 400988"/>
                    <a:gd name="connsiteY48" fmla="*/ 159111 h 31822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</a:cxnLst>
                  <a:rect l="l" t="t" r="r" b="b"/>
                  <a:pathLst>
                    <a:path w="400988" h="318221">
                      <a:moveTo>
                        <a:pt x="400988" y="159111"/>
                      </a:moveTo>
                      <a:cubicBezTo>
                        <a:pt x="400988" y="166673"/>
                        <a:pt x="382343" y="172474"/>
                        <a:pt x="380892" y="179725"/>
                      </a:cubicBezTo>
                      <a:cubicBezTo>
                        <a:pt x="379546" y="187080"/>
                        <a:pt x="394773" y="199303"/>
                        <a:pt x="392080" y="206243"/>
                      </a:cubicBezTo>
                      <a:cubicBezTo>
                        <a:pt x="389387" y="213184"/>
                        <a:pt x="369912" y="211941"/>
                        <a:pt x="365976" y="218363"/>
                      </a:cubicBezTo>
                      <a:cubicBezTo>
                        <a:pt x="362143" y="224682"/>
                        <a:pt x="372502" y="241256"/>
                        <a:pt x="367633" y="247057"/>
                      </a:cubicBezTo>
                      <a:cubicBezTo>
                        <a:pt x="362868" y="252754"/>
                        <a:pt x="344637" y="245607"/>
                        <a:pt x="339043" y="250682"/>
                      </a:cubicBezTo>
                      <a:cubicBezTo>
                        <a:pt x="333553" y="255655"/>
                        <a:pt x="339043" y="274404"/>
                        <a:pt x="332724" y="278755"/>
                      </a:cubicBezTo>
                      <a:cubicBezTo>
                        <a:pt x="326716" y="283002"/>
                        <a:pt x="310867" y="271504"/>
                        <a:pt x="304134" y="275026"/>
                      </a:cubicBezTo>
                      <a:cubicBezTo>
                        <a:pt x="297608" y="278548"/>
                        <a:pt x="298540" y="298126"/>
                        <a:pt x="291496" y="300923"/>
                      </a:cubicBezTo>
                      <a:cubicBezTo>
                        <a:pt x="284659" y="303719"/>
                        <a:pt x="271607" y="289010"/>
                        <a:pt x="264356" y="291185"/>
                      </a:cubicBezTo>
                      <a:cubicBezTo>
                        <a:pt x="257312" y="293257"/>
                        <a:pt x="254205" y="312628"/>
                        <a:pt x="246746" y="313975"/>
                      </a:cubicBezTo>
                      <a:cubicBezTo>
                        <a:pt x="239495" y="315321"/>
                        <a:pt x="229551" y="298436"/>
                        <a:pt x="221989" y="299161"/>
                      </a:cubicBezTo>
                      <a:cubicBezTo>
                        <a:pt x="214634" y="299783"/>
                        <a:pt x="208004" y="318222"/>
                        <a:pt x="200442" y="318222"/>
                      </a:cubicBezTo>
                      <a:cubicBezTo>
                        <a:pt x="192880" y="318222"/>
                        <a:pt x="186251" y="299783"/>
                        <a:pt x="178896" y="299161"/>
                      </a:cubicBezTo>
                      <a:cubicBezTo>
                        <a:pt x="171334" y="298436"/>
                        <a:pt x="161390" y="315321"/>
                        <a:pt x="154139" y="313975"/>
                      </a:cubicBezTo>
                      <a:cubicBezTo>
                        <a:pt x="146680" y="312628"/>
                        <a:pt x="143573" y="293257"/>
                        <a:pt x="136529" y="291185"/>
                      </a:cubicBezTo>
                      <a:cubicBezTo>
                        <a:pt x="129277" y="289114"/>
                        <a:pt x="116226" y="303719"/>
                        <a:pt x="109389" y="300923"/>
                      </a:cubicBezTo>
                      <a:cubicBezTo>
                        <a:pt x="102345" y="298022"/>
                        <a:pt x="103277" y="278548"/>
                        <a:pt x="96751" y="275026"/>
                      </a:cubicBezTo>
                      <a:cubicBezTo>
                        <a:pt x="90018" y="271400"/>
                        <a:pt x="74169" y="282898"/>
                        <a:pt x="68161" y="278755"/>
                      </a:cubicBezTo>
                      <a:cubicBezTo>
                        <a:pt x="61945" y="274404"/>
                        <a:pt x="67332" y="255551"/>
                        <a:pt x="61842" y="250682"/>
                      </a:cubicBezTo>
                      <a:cubicBezTo>
                        <a:pt x="56248" y="245607"/>
                        <a:pt x="38017" y="252754"/>
                        <a:pt x="33252" y="247057"/>
                      </a:cubicBezTo>
                      <a:cubicBezTo>
                        <a:pt x="28383" y="241256"/>
                        <a:pt x="38742" y="224682"/>
                        <a:pt x="35013" y="218363"/>
                      </a:cubicBezTo>
                      <a:cubicBezTo>
                        <a:pt x="31180" y="211941"/>
                        <a:pt x="11602" y="213080"/>
                        <a:pt x="8908" y="206243"/>
                      </a:cubicBezTo>
                      <a:cubicBezTo>
                        <a:pt x="6215" y="199303"/>
                        <a:pt x="21443" y="187080"/>
                        <a:pt x="20096" y="179725"/>
                      </a:cubicBezTo>
                      <a:cubicBezTo>
                        <a:pt x="18749" y="172474"/>
                        <a:pt x="0" y="166673"/>
                        <a:pt x="0" y="159111"/>
                      </a:cubicBezTo>
                      <a:cubicBezTo>
                        <a:pt x="0" y="151549"/>
                        <a:pt x="18646" y="145748"/>
                        <a:pt x="20096" y="138497"/>
                      </a:cubicBezTo>
                      <a:cubicBezTo>
                        <a:pt x="21443" y="131142"/>
                        <a:pt x="6215" y="118919"/>
                        <a:pt x="8908" y="111978"/>
                      </a:cubicBezTo>
                      <a:cubicBezTo>
                        <a:pt x="11602" y="105038"/>
                        <a:pt x="31076" y="106281"/>
                        <a:pt x="35013" y="99859"/>
                      </a:cubicBezTo>
                      <a:cubicBezTo>
                        <a:pt x="38845" y="93540"/>
                        <a:pt x="28487" y="76966"/>
                        <a:pt x="33355" y="71165"/>
                      </a:cubicBezTo>
                      <a:cubicBezTo>
                        <a:pt x="38120" y="65467"/>
                        <a:pt x="56352" y="72615"/>
                        <a:pt x="61945" y="67539"/>
                      </a:cubicBezTo>
                      <a:cubicBezTo>
                        <a:pt x="67436" y="62567"/>
                        <a:pt x="61945" y="43818"/>
                        <a:pt x="68264" y="39467"/>
                      </a:cubicBezTo>
                      <a:cubicBezTo>
                        <a:pt x="74272" y="35220"/>
                        <a:pt x="90121" y="46718"/>
                        <a:pt x="96855" y="43196"/>
                      </a:cubicBezTo>
                      <a:cubicBezTo>
                        <a:pt x="103380" y="39674"/>
                        <a:pt x="102448" y="20096"/>
                        <a:pt x="109492" y="17299"/>
                      </a:cubicBezTo>
                      <a:cubicBezTo>
                        <a:pt x="116329" y="14502"/>
                        <a:pt x="129381" y="29212"/>
                        <a:pt x="136632" y="27036"/>
                      </a:cubicBezTo>
                      <a:cubicBezTo>
                        <a:pt x="143676" y="24965"/>
                        <a:pt x="146784" y="5594"/>
                        <a:pt x="154242" y="4247"/>
                      </a:cubicBezTo>
                      <a:cubicBezTo>
                        <a:pt x="161493" y="2900"/>
                        <a:pt x="171438" y="19785"/>
                        <a:pt x="179000" y="19060"/>
                      </a:cubicBezTo>
                      <a:cubicBezTo>
                        <a:pt x="186354" y="18335"/>
                        <a:pt x="192984" y="0"/>
                        <a:pt x="200546" y="0"/>
                      </a:cubicBezTo>
                      <a:cubicBezTo>
                        <a:pt x="208108" y="0"/>
                        <a:pt x="214737" y="18439"/>
                        <a:pt x="222092" y="19060"/>
                      </a:cubicBezTo>
                      <a:cubicBezTo>
                        <a:pt x="229654" y="19785"/>
                        <a:pt x="239599" y="2900"/>
                        <a:pt x="246850" y="4247"/>
                      </a:cubicBezTo>
                      <a:cubicBezTo>
                        <a:pt x="254308" y="5594"/>
                        <a:pt x="257416" y="24965"/>
                        <a:pt x="264460" y="27036"/>
                      </a:cubicBezTo>
                      <a:cubicBezTo>
                        <a:pt x="271711" y="29108"/>
                        <a:pt x="284763" y="14502"/>
                        <a:pt x="291600" y="17299"/>
                      </a:cubicBezTo>
                      <a:cubicBezTo>
                        <a:pt x="298644" y="20200"/>
                        <a:pt x="297711" y="39674"/>
                        <a:pt x="304237" y="43196"/>
                      </a:cubicBezTo>
                      <a:cubicBezTo>
                        <a:pt x="310970" y="46822"/>
                        <a:pt x="326819" y="35323"/>
                        <a:pt x="332828" y="39467"/>
                      </a:cubicBezTo>
                      <a:cubicBezTo>
                        <a:pt x="339043" y="43818"/>
                        <a:pt x="333656" y="62671"/>
                        <a:pt x="339146" y="67539"/>
                      </a:cubicBezTo>
                      <a:cubicBezTo>
                        <a:pt x="344740" y="72615"/>
                        <a:pt x="362972" y="65467"/>
                        <a:pt x="367737" y="71165"/>
                      </a:cubicBezTo>
                      <a:cubicBezTo>
                        <a:pt x="372605" y="76966"/>
                        <a:pt x="362247" y="93540"/>
                        <a:pt x="365976" y="99859"/>
                      </a:cubicBezTo>
                      <a:cubicBezTo>
                        <a:pt x="369808" y="106281"/>
                        <a:pt x="389387" y="105142"/>
                        <a:pt x="392080" y="111978"/>
                      </a:cubicBezTo>
                      <a:cubicBezTo>
                        <a:pt x="394773" y="118919"/>
                        <a:pt x="379546" y="131142"/>
                        <a:pt x="380892" y="138497"/>
                      </a:cubicBezTo>
                      <a:cubicBezTo>
                        <a:pt x="382239" y="145748"/>
                        <a:pt x="400988" y="151549"/>
                        <a:pt x="400988" y="159111"/>
                      </a:cubicBezTo>
                      <a:close/>
                    </a:path>
                  </a:pathLst>
                </a:custGeom>
                <a:solidFill>
                  <a:srgbClr val="21A038"/>
                </a:solidFill>
                <a:ln w="10355" cap="flat">
                  <a:solidFill>
                    <a:srgbClr val="000000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1691" name="Полилиния: фигура 1690">
                  <a:extLst>
                    <a:ext uri="{FF2B5EF4-FFF2-40B4-BE49-F238E27FC236}">
                      <a16:creationId xmlns:a16="http://schemas.microsoft.com/office/drawing/2014/main" id="{85D36696-DC3D-470E-918C-95B7C10972D7}"/>
                    </a:ext>
                  </a:extLst>
                </p:cNvPr>
                <p:cNvSpPr/>
                <p:nvPr/>
              </p:nvSpPr>
              <p:spPr>
                <a:xfrm>
                  <a:off x="9183448" y="3373476"/>
                  <a:ext cx="304340" cy="238666"/>
                </a:xfrm>
                <a:custGeom>
                  <a:avLst/>
                  <a:gdLst>
                    <a:gd name="connsiteX0" fmla="*/ 304341 w 304340"/>
                    <a:gd name="connsiteY0" fmla="*/ 119333 h 238666"/>
                    <a:gd name="connsiteX1" fmla="*/ 152170 w 304340"/>
                    <a:gd name="connsiteY1" fmla="*/ 238666 h 238666"/>
                    <a:gd name="connsiteX2" fmla="*/ 0 w 304340"/>
                    <a:gd name="connsiteY2" fmla="*/ 119333 h 238666"/>
                    <a:gd name="connsiteX3" fmla="*/ 152170 w 304340"/>
                    <a:gd name="connsiteY3" fmla="*/ 0 h 238666"/>
                    <a:gd name="connsiteX4" fmla="*/ 304341 w 304340"/>
                    <a:gd name="connsiteY4" fmla="*/ 119333 h 23866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04340" h="238666">
                      <a:moveTo>
                        <a:pt x="304341" y="119333"/>
                      </a:moveTo>
                      <a:cubicBezTo>
                        <a:pt x="304341" y="185239"/>
                        <a:pt x="236212" y="238666"/>
                        <a:pt x="152170" y="238666"/>
                      </a:cubicBezTo>
                      <a:cubicBezTo>
                        <a:pt x="68129" y="238666"/>
                        <a:pt x="0" y="185239"/>
                        <a:pt x="0" y="119333"/>
                      </a:cubicBezTo>
                      <a:cubicBezTo>
                        <a:pt x="0" y="53427"/>
                        <a:pt x="68129" y="0"/>
                        <a:pt x="152170" y="0"/>
                      </a:cubicBezTo>
                      <a:cubicBezTo>
                        <a:pt x="236212" y="0"/>
                        <a:pt x="304341" y="53427"/>
                        <a:pt x="304341" y="119333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1035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1692" name="Полилиния: фигура 1691">
                  <a:extLst>
                    <a:ext uri="{FF2B5EF4-FFF2-40B4-BE49-F238E27FC236}">
                      <a16:creationId xmlns:a16="http://schemas.microsoft.com/office/drawing/2014/main" id="{3742610A-4EA5-4A68-9BB7-25406451A209}"/>
                    </a:ext>
                  </a:extLst>
                </p:cNvPr>
                <p:cNvSpPr/>
                <p:nvPr/>
              </p:nvSpPr>
              <p:spPr>
                <a:xfrm>
                  <a:off x="9212453" y="3396162"/>
                  <a:ext cx="246331" cy="193294"/>
                </a:xfrm>
                <a:custGeom>
                  <a:avLst/>
                  <a:gdLst>
                    <a:gd name="connsiteX0" fmla="*/ 246332 w 246331"/>
                    <a:gd name="connsiteY0" fmla="*/ 96647 h 193294"/>
                    <a:gd name="connsiteX1" fmla="*/ 123166 w 246331"/>
                    <a:gd name="connsiteY1" fmla="*/ 193295 h 193294"/>
                    <a:gd name="connsiteX2" fmla="*/ 0 w 246331"/>
                    <a:gd name="connsiteY2" fmla="*/ 96647 h 193294"/>
                    <a:gd name="connsiteX3" fmla="*/ 123166 w 246331"/>
                    <a:gd name="connsiteY3" fmla="*/ 0 h 193294"/>
                    <a:gd name="connsiteX4" fmla="*/ 246332 w 246331"/>
                    <a:gd name="connsiteY4" fmla="*/ 96647 h 19329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246331" h="193294">
                      <a:moveTo>
                        <a:pt x="246332" y="96647"/>
                      </a:moveTo>
                      <a:cubicBezTo>
                        <a:pt x="246332" y="150024"/>
                        <a:pt x="191189" y="193295"/>
                        <a:pt x="123166" y="193295"/>
                      </a:cubicBezTo>
                      <a:cubicBezTo>
                        <a:pt x="55143" y="193295"/>
                        <a:pt x="0" y="150024"/>
                        <a:pt x="0" y="96647"/>
                      </a:cubicBezTo>
                      <a:cubicBezTo>
                        <a:pt x="0" y="43271"/>
                        <a:pt x="55143" y="0"/>
                        <a:pt x="123166" y="0"/>
                      </a:cubicBezTo>
                      <a:cubicBezTo>
                        <a:pt x="191189" y="0"/>
                        <a:pt x="246332" y="43271"/>
                        <a:pt x="246332" y="96647"/>
                      </a:cubicBezTo>
                      <a:close/>
                    </a:path>
                  </a:pathLst>
                </a:custGeom>
                <a:solidFill>
                  <a:srgbClr val="21A038"/>
                </a:solidFill>
                <a:ln w="10355" cap="flat">
                  <a:solidFill>
                    <a:srgbClr val="000000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</p:grpSp>
          <p:sp>
            <p:nvSpPr>
              <p:cNvPr id="1693" name="Полилиния: фигура 1692">
                <a:extLst>
                  <a:ext uri="{FF2B5EF4-FFF2-40B4-BE49-F238E27FC236}">
                    <a16:creationId xmlns:a16="http://schemas.microsoft.com/office/drawing/2014/main" id="{D2716B28-026F-440D-8D7D-BDD8A69F6ACE}"/>
                  </a:ext>
                </a:extLst>
              </p:cNvPr>
              <p:cNvSpPr/>
              <p:nvPr/>
            </p:nvSpPr>
            <p:spPr>
              <a:xfrm>
                <a:off x="8421974" y="4074351"/>
                <a:ext cx="1000450" cy="10358"/>
              </a:xfrm>
              <a:custGeom>
                <a:avLst/>
                <a:gdLst>
                  <a:gd name="connsiteX0" fmla="*/ 1000451 w 1000450"/>
                  <a:gd name="connsiteY0" fmla="*/ 0 h 10358"/>
                  <a:gd name="connsiteX1" fmla="*/ 0 w 1000450"/>
                  <a:gd name="connsiteY1" fmla="*/ 0 h 103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000450" h="10358">
                    <a:moveTo>
                      <a:pt x="1000451" y="0"/>
                    </a:moveTo>
                    <a:lnTo>
                      <a:pt x="0" y="0"/>
                    </a:lnTo>
                  </a:path>
                </a:pathLst>
              </a:custGeom>
              <a:ln w="10355" cap="rnd">
                <a:solidFill>
                  <a:srgbClr val="263238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694" name="Полилиния: фигура 1693">
                <a:extLst>
                  <a:ext uri="{FF2B5EF4-FFF2-40B4-BE49-F238E27FC236}">
                    <a16:creationId xmlns:a16="http://schemas.microsoft.com/office/drawing/2014/main" id="{201F0312-683B-46F9-840E-7808D0777B4A}"/>
                  </a:ext>
                </a:extLst>
              </p:cNvPr>
              <p:cNvSpPr/>
              <p:nvPr/>
            </p:nvSpPr>
            <p:spPr>
              <a:xfrm>
                <a:off x="7386925" y="4074351"/>
                <a:ext cx="716827" cy="10358"/>
              </a:xfrm>
              <a:custGeom>
                <a:avLst/>
                <a:gdLst>
                  <a:gd name="connsiteX0" fmla="*/ 716828 w 716827"/>
                  <a:gd name="connsiteY0" fmla="*/ 0 h 10358"/>
                  <a:gd name="connsiteX1" fmla="*/ 0 w 716827"/>
                  <a:gd name="connsiteY1" fmla="*/ 0 h 103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716827" h="10358">
                    <a:moveTo>
                      <a:pt x="716828" y="0"/>
                    </a:moveTo>
                    <a:lnTo>
                      <a:pt x="0" y="0"/>
                    </a:lnTo>
                  </a:path>
                </a:pathLst>
              </a:custGeom>
              <a:ln w="10355" cap="rnd">
                <a:solidFill>
                  <a:srgbClr val="263238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695" name="Полилиния: фигура 1694">
                <a:extLst>
                  <a:ext uri="{FF2B5EF4-FFF2-40B4-BE49-F238E27FC236}">
                    <a16:creationId xmlns:a16="http://schemas.microsoft.com/office/drawing/2014/main" id="{5B7BA1A7-68FC-4385-BE0F-A4C8D144C96C}"/>
                  </a:ext>
                </a:extLst>
              </p:cNvPr>
              <p:cNvSpPr/>
              <p:nvPr/>
            </p:nvSpPr>
            <p:spPr>
              <a:xfrm>
                <a:off x="8638991" y="3531062"/>
                <a:ext cx="714652" cy="522156"/>
              </a:xfrm>
              <a:custGeom>
                <a:avLst/>
                <a:gdLst>
                  <a:gd name="connsiteX0" fmla="*/ 0 w 714652"/>
                  <a:gd name="connsiteY0" fmla="*/ 522157 h 522156"/>
                  <a:gd name="connsiteX1" fmla="*/ 242603 w 714652"/>
                  <a:gd name="connsiteY1" fmla="*/ 107909 h 522156"/>
                  <a:gd name="connsiteX2" fmla="*/ 111150 w 714652"/>
                  <a:gd name="connsiteY2" fmla="*/ 241537 h 522156"/>
                  <a:gd name="connsiteX3" fmla="*/ 111150 w 714652"/>
                  <a:gd name="connsiteY3" fmla="*/ 485072 h 522156"/>
                  <a:gd name="connsiteX4" fmla="*/ 219813 w 714652"/>
                  <a:gd name="connsiteY4" fmla="*/ 358385 h 522156"/>
                  <a:gd name="connsiteX5" fmla="*/ 238252 w 714652"/>
                  <a:gd name="connsiteY5" fmla="*/ 326272 h 522156"/>
                  <a:gd name="connsiteX6" fmla="*/ 174753 w 714652"/>
                  <a:gd name="connsiteY6" fmla="*/ 395054 h 522156"/>
                  <a:gd name="connsiteX7" fmla="*/ 280619 w 714652"/>
                  <a:gd name="connsiteY7" fmla="*/ 315706 h 522156"/>
                  <a:gd name="connsiteX8" fmla="*/ 317704 w 714652"/>
                  <a:gd name="connsiteY8" fmla="*/ 363357 h 522156"/>
                  <a:gd name="connsiteX9" fmla="*/ 270053 w 714652"/>
                  <a:gd name="connsiteY9" fmla="*/ 379205 h 522156"/>
                  <a:gd name="connsiteX10" fmla="*/ 397052 w 714652"/>
                  <a:gd name="connsiteY10" fmla="*/ 236254 h 522156"/>
                  <a:gd name="connsiteX11" fmla="*/ 338836 w 714652"/>
                  <a:gd name="connsiteY11" fmla="*/ 442705 h 522156"/>
                  <a:gd name="connsiteX12" fmla="*/ 455268 w 714652"/>
                  <a:gd name="connsiteY12" fmla="*/ 331555 h 522156"/>
                  <a:gd name="connsiteX13" fmla="*/ 471117 w 714652"/>
                  <a:gd name="connsiteY13" fmla="*/ 416290 h 522156"/>
                  <a:gd name="connsiteX14" fmla="*/ 714652 w 714652"/>
                  <a:gd name="connsiteY14" fmla="*/ 352791 h 5221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714652" h="522156">
                    <a:moveTo>
                      <a:pt x="0" y="522157"/>
                    </a:moveTo>
                    <a:cubicBezTo>
                      <a:pt x="0" y="522157"/>
                      <a:pt x="188841" y="313116"/>
                      <a:pt x="242603" y="107909"/>
                    </a:cubicBezTo>
                    <a:cubicBezTo>
                      <a:pt x="296365" y="-97195"/>
                      <a:pt x="164083" y="13955"/>
                      <a:pt x="111150" y="241537"/>
                    </a:cubicBezTo>
                    <a:cubicBezTo>
                      <a:pt x="58216" y="469120"/>
                      <a:pt x="58216" y="527336"/>
                      <a:pt x="111150" y="485072"/>
                    </a:cubicBezTo>
                    <a:cubicBezTo>
                      <a:pt x="152378" y="452131"/>
                      <a:pt x="193605" y="399923"/>
                      <a:pt x="219813" y="358385"/>
                    </a:cubicBezTo>
                    <a:cubicBezTo>
                      <a:pt x="227272" y="346575"/>
                      <a:pt x="233487" y="335595"/>
                      <a:pt x="238252" y="326272"/>
                    </a:cubicBezTo>
                    <a:cubicBezTo>
                      <a:pt x="259384" y="283905"/>
                      <a:pt x="190601" y="310423"/>
                      <a:pt x="174753" y="395054"/>
                    </a:cubicBezTo>
                    <a:cubicBezTo>
                      <a:pt x="158904" y="479789"/>
                      <a:pt x="254101" y="357970"/>
                      <a:pt x="280619" y="315706"/>
                    </a:cubicBezTo>
                    <a:cubicBezTo>
                      <a:pt x="307138" y="273442"/>
                      <a:pt x="359967" y="252207"/>
                      <a:pt x="317704" y="363357"/>
                    </a:cubicBezTo>
                    <a:cubicBezTo>
                      <a:pt x="275440" y="474506"/>
                      <a:pt x="211837" y="453374"/>
                      <a:pt x="270053" y="379205"/>
                    </a:cubicBezTo>
                    <a:cubicBezTo>
                      <a:pt x="328270" y="305140"/>
                      <a:pt x="391769" y="151623"/>
                      <a:pt x="397052" y="236254"/>
                    </a:cubicBezTo>
                    <a:cubicBezTo>
                      <a:pt x="402335" y="320989"/>
                      <a:pt x="381203" y="416186"/>
                      <a:pt x="338836" y="442705"/>
                    </a:cubicBezTo>
                    <a:cubicBezTo>
                      <a:pt x="296468" y="469223"/>
                      <a:pt x="418184" y="320989"/>
                      <a:pt x="455268" y="331555"/>
                    </a:cubicBezTo>
                    <a:cubicBezTo>
                      <a:pt x="492353" y="342121"/>
                      <a:pt x="508202" y="384489"/>
                      <a:pt x="471117" y="416290"/>
                    </a:cubicBezTo>
                    <a:cubicBezTo>
                      <a:pt x="434033" y="448091"/>
                      <a:pt x="434033" y="342225"/>
                      <a:pt x="714652" y="352791"/>
                    </a:cubicBezTo>
                  </a:path>
                </a:pathLst>
              </a:custGeom>
              <a:noFill/>
              <a:ln w="10355" cap="rnd">
                <a:solidFill>
                  <a:srgbClr val="263238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</p:grpSp>
        <p:grpSp>
          <p:nvGrpSpPr>
            <p:cNvPr id="1696" name="Рисунок 1613">
              <a:extLst>
                <a:ext uri="{FF2B5EF4-FFF2-40B4-BE49-F238E27FC236}">
                  <a16:creationId xmlns:a16="http://schemas.microsoft.com/office/drawing/2014/main" id="{27EF9208-9FFB-42A3-9B09-1055A96DBB1C}"/>
                </a:ext>
              </a:extLst>
            </p:cNvPr>
            <p:cNvGrpSpPr/>
            <p:nvPr/>
          </p:nvGrpSpPr>
          <p:grpSpPr>
            <a:xfrm>
              <a:off x="9123669" y="1336940"/>
              <a:ext cx="1208878" cy="152688"/>
              <a:chOff x="9123669" y="1336940"/>
              <a:chExt cx="1208878" cy="152688"/>
            </a:xfrm>
            <a:solidFill>
              <a:srgbClr val="000000"/>
            </a:solidFill>
          </p:grpSpPr>
          <p:sp>
            <p:nvSpPr>
              <p:cNvPr id="1697" name="Полилиния: фигура 1696">
                <a:extLst>
                  <a:ext uri="{FF2B5EF4-FFF2-40B4-BE49-F238E27FC236}">
                    <a16:creationId xmlns:a16="http://schemas.microsoft.com/office/drawing/2014/main" id="{272283FE-191F-42CA-A297-6910D9ACC6E2}"/>
                  </a:ext>
                </a:extLst>
              </p:cNvPr>
              <p:cNvSpPr/>
              <p:nvPr/>
            </p:nvSpPr>
            <p:spPr>
              <a:xfrm>
                <a:off x="9123669" y="1337043"/>
                <a:ext cx="132660" cy="152584"/>
              </a:xfrm>
              <a:custGeom>
                <a:avLst/>
                <a:gdLst>
                  <a:gd name="connsiteX0" fmla="*/ 123382 w 132660"/>
                  <a:gd name="connsiteY0" fmla="*/ 104727 h 152584"/>
                  <a:gd name="connsiteX1" fmla="*/ 123382 w 132660"/>
                  <a:gd name="connsiteY1" fmla="*/ 105349 h 152584"/>
                  <a:gd name="connsiteX2" fmla="*/ 102043 w 132660"/>
                  <a:gd name="connsiteY2" fmla="*/ 139740 h 152584"/>
                  <a:gd name="connsiteX3" fmla="*/ 55842 w 132660"/>
                  <a:gd name="connsiteY3" fmla="*/ 152585 h 152584"/>
                  <a:gd name="connsiteX4" fmla="*/ 12232 w 132660"/>
                  <a:gd name="connsiteY4" fmla="*/ 135079 h 152584"/>
                  <a:gd name="connsiteX5" fmla="*/ 734 w 132660"/>
                  <a:gd name="connsiteY5" fmla="*/ 89189 h 152584"/>
                  <a:gd name="connsiteX6" fmla="*/ 3841 w 132660"/>
                  <a:gd name="connsiteY6" fmla="*/ 65053 h 152584"/>
                  <a:gd name="connsiteX7" fmla="*/ 27770 w 132660"/>
                  <a:gd name="connsiteY7" fmla="*/ 18335 h 152584"/>
                  <a:gd name="connsiteX8" fmla="*/ 77078 w 132660"/>
                  <a:gd name="connsiteY8" fmla="*/ 0 h 152584"/>
                  <a:gd name="connsiteX9" fmla="*/ 120585 w 132660"/>
                  <a:gd name="connsiteY9" fmla="*/ 12948 h 152584"/>
                  <a:gd name="connsiteX10" fmla="*/ 131876 w 132660"/>
                  <a:gd name="connsiteY10" fmla="*/ 48376 h 152584"/>
                  <a:gd name="connsiteX11" fmla="*/ 131565 w 132660"/>
                  <a:gd name="connsiteY11" fmla="*/ 48997 h 152584"/>
                  <a:gd name="connsiteX12" fmla="*/ 118306 w 132660"/>
                  <a:gd name="connsiteY12" fmla="*/ 48997 h 152584"/>
                  <a:gd name="connsiteX13" fmla="*/ 109604 w 132660"/>
                  <a:gd name="connsiteY13" fmla="*/ 20718 h 152584"/>
                  <a:gd name="connsiteX14" fmla="*/ 75627 w 132660"/>
                  <a:gd name="connsiteY14" fmla="*/ 10462 h 152584"/>
                  <a:gd name="connsiteX15" fmla="*/ 36989 w 132660"/>
                  <a:gd name="connsiteY15" fmla="*/ 25793 h 152584"/>
                  <a:gd name="connsiteX16" fmla="*/ 18033 w 132660"/>
                  <a:gd name="connsiteY16" fmla="*/ 64742 h 152584"/>
                  <a:gd name="connsiteX17" fmla="*/ 14821 w 132660"/>
                  <a:gd name="connsiteY17" fmla="*/ 89086 h 152584"/>
                  <a:gd name="connsiteX18" fmla="*/ 23316 w 132660"/>
                  <a:gd name="connsiteY18" fmla="*/ 127620 h 152584"/>
                  <a:gd name="connsiteX19" fmla="*/ 57293 w 132660"/>
                  <a:gd name="connsiteY19" fmla="*/ 142433 h 152584"/>
                  <a:gd name="connsiteX20" fmla="*/ 93445 w 132660"/>
                  <a:gd name="connsiteY20" fmla="*/ 132800 h 152584"/>
                  <a:gd name="connsiteX21" fmla="*/ 110122 w 132660"/>
                  <a:gd name="connsiteY21" fmla="*/ 104727 h 152584"/>
                  <a:gd name="connsiteX22" fmla="*/ 123278 w 132660"/>
                  <a:gd name="connsiteY22" fmla="*/ 104727 h 1525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132660" h="152584">
                    <a:moveTo>
                      <a:pt x="123382" y="104727"/>
                    </a:moveTo>
                    <a:lnTo>
                      <a:pt x="123382" y="105349"/>
                    </a:lnTo>
                    <a:cubicBezTo>
                      <a:pt x="121724" y="119748"/>
                      <a:pt x="114577" y="131246"/>
                      <a:pt x="102043" y="139740"/>
                    </a:cubicBezTo>
                    <a:cubicBezTo>
                      <a:pt x="89509" y="148234"/>
                      <a:pt x="74177" y="152585"/>
                      <a:pt x="55842" y="152585"/>
                    </a:cubicBezTo>
                    <a:cubicBezTo>
                      <a:pt x="37507" y="152585"/>
                      <a:pt x="22280" y="146784"/>
                      <a:pt x="12232" y="135079"/>
                    </a:cubicBezTo>
                    <a:cubicBezTo>
                      <a:pt x="2080" y="123373"/>
                      <a:pt x="-1753" y="108042"/>
                      <a:pt x="734" y="89189"/>
                    </a:cubicBezTo>
                    <a:lnTo>
                      <a:pt x="3841" y="65053"/>
                    </a:lnTo>
                    <a:cubicBezTo>
                      <a:pt x="6328" y="46097"/>
                      <a:pt x="14304" y="30455"/>
                      <a:pt x="27770" y="18335"/>
                    </a:cubicBezTo>
                    <a:cubicBezTo>
                      <a:pt x="41237" y="6112"/>
                      <a:pt x="57707" y="0"/>
                      <a:pt x="77078" y="0"/>
                    </a:cubicBezTo>
                    <a:cubicBezTo>
                      <a:pt x="96449" y="0"/>
                      <a:pt x="110433" y="4351"/>
                      <a:pt x="120585" y="12948"/>
                    </a:cubicBezTo>
                    <a:cubicBezTo>
                      <a:pt x="130633" y="21546"/>
                      <a:pt x="134466" y="33355"/>
                      <a:pt x="131876" y="48376"/>
                    </a:cubicBezTo>
                    <a:lnTo>
                      <a:pt x="131565" y="48997"/>
                    </a:lnTo>
                    <a:lnTo>
                      <a:pt x="118306" y="48997"/>
                    </a:lnTo>
                    <a:cubicBezTo>
                      <a:pt x="120067" y="36981"/>
                      <a:pt x="117166" y="27554"/>
                      <a:pt x="109604" y="20718"/>
                    </a:cubicBezTo>
                    <a:cubicBezTo>
                      <a:pt x="102043" y="13881"/>
                      <a:pt x="90752" y="10462"/>
                      <a:pt x="75627" y="10462"/>
                    </a:cubicBezTo>
                    <a:cubicBezTo>
                      <a:pt x="60504" y="10462"/>
                      <a:pt x="47555" y="15538"/>
                      <a:pt x="36989" y="25793"/>
                    </a:cubicBezTo>
                    <a:cubicBezTo>
                      <a:pt x="26423" y="36049"/>
                      <a:pt x="20105" y="48997"/>
                      <a:pt x="18033" y="64742"/>
                    </a:cubicBezTo>
                    <a:lnTo>
                      <a:pt x="14821" y="89086"/>
                    </a:lnTo>
                    <a:cubicBezTo>
                      <a:pt x="12750" y="104934"/>
                      <a:pt x="15547" y="117676"/>
                      <a:pt x="23316" y="127620"/>
                    </a:cubicBezTo>
                    <a:cubicBezTo>
                      <a:pt x="31085" y="137461"/>
                      <a:pt x="42376" y="142433"/>
                      <a:pt x="57293" y="142433"/>
                    </a:cubicBezTo>
                    <a:cubicBezTo>
                      <a:pt x="72209" y="142433"/>
                      <a:pt x="84122" y="139222"/>
                      <a:pt x="93445" y="132800"/>
                    </a:cubicBezTo>
                    <a:cubicBezTo>
                      <a:pt x="102768" y="126377"/>
                      <a:pt x="108361" y="117054"/>
                      <a:pt x="110122" y="104727"/>
                    </a:cubicBezTo>
                    <a:lnTo>
                      <a:pt x="123278" y="104727"/>
                    </a:lnTo>
                    <a:close/>
                  </a:path>
                </a:pathLst>
              </a:custGeom>
              <a:solidFill>
                <a:schemeClr val="bg2"/>
              </a:solidFill>
              <a:ln w="1035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698" name="Полилиния: фигура 1697">
                <a:extLst>
                  <a:ext uri="{FF2B5EF4-FFF2-40B4-BE49-F238E27FC236}">
                    <a16:creationId xmlns:a16="http://schemas.microsoft.com/office/drawing/2014/main" id="{C7AC7133-C203-4A23-B440-35E49D13077A}"/>
                  </a:ext>
                </a:extLst>
              </p:cNvPr>
              <p:cNvSpPr/>
              <p:nvPr/>
            </p:nvSpPr>
            <p:spPr>
              <a:xfrm>
                <a:off x="9277629" y="1336940"/>
                <a:ext cx="139418" cy="152481"/>
              </a:xfrm>
              <a:custGeom>
                <a:avLst/>
                <a:gdLst>
                  <a:gd name="connsiteX0" fmla="*/ 134333 w 139418"/>
                  <a:gd name="connsiteY0" fmla="*/ 89189 h 152481"/>
                  <a:gd name="connsiteX1" fmla="*/ 108436 w 139418"/>
                  <a:gd name="connsiteY1" fmla="*/ 135079 h 152481"/>
                  <a:gd name="connsiteX2" fmla="*/ 57057 w 139418"/>
                  <a:gd name="connsiteY2" fmla="*/ 152481 h 152481"/>
                  <a:gd name="connsiteX3" fmla="*/ 11893 w 139418"/>
                  <a:gd name="connsiteY3" fmla="*/ 135079 h 152481"/>
                  <a:gd name="connsiteX4" fmla="*/ 913 w 139418"/>
                  <a:gd name="connsiteY4" fmla="*/ 89086 h 152481"/>
                  <a:gd name="connsiteX5" fmla="*/ 4538 w 139418"/>
                  <a:gd name="connsiteY5" fmla="*/ 64950 h 152481"/>
                  <a:gd name="connsiteX6" fmla="*/ 29710 w 139418"/>
                  <a:gd name="connsiteY6" fmla="*/ 18128 h 152481"/>
                  <a:gd name="connsiteX7" fmla="*/ 81193 w 139418"/>
                  <a:gd name="connsiteY7" fmla="*/ 0 h 152481"/>
                  <a:gd name="connsiteX8" fmla="*/ 127704 w 139418"/>
                  <a:gd name="connsiteY8" fmla="*/ 18128 h 152481"/>
                  <a:gd name="connsiteX9" fmla="*/ 138270 w 139418"/>
                  <a:gd name="connsiteY9" fmla="*/ 64950 h 152481"/>
                  <a:gd name="connsiteX10" fmla="*/ 134230 w 139418"/>
                  <a:gd name="connsiteY10" fmla="*/ 89086 h 152481"/>
                  <a:gd name="connsiteX11" fmla="*/ 124389 w 139418"/>
                  <a:gd name="connsiteY11" fmla="*/ 64846 h 152481"/>
                  <a:gd name="connsiteX12" fmla="*/ 116724 w 139418"/>
                  <a:gd name="connsiteY12" fmla="*/ 25897 h 152481"/>
                  <a:gd name="connsiteX13" fmla="*/ 79639 w 139418"/>
                  <a:gd name="connsiteY13" fmla="*/ 10980 h 152481"/>
                  <a:gd name="connsiteX14" fmla="*/ 38722 w 139418"/>
                  <a:gd name="connsiteY14" fmla="*/ 25897 h 152481"/>
                  <a:gd name="connsiteX15" fmla="*/ 18937 w 139418"/>
                  <a:gd name="connsiteY15" fmla="*/ 64950 h 152481"/>
                  <a:gd name="connsiteX16" fmla="*/ 15207 w 139418"/>
                  <a:gd name="connsiteY16" fmla="*/ 89293 h 152481"/>
                  <a:gd name="connsiteX17" fmla="*/ 22976 w 139418"/>
                  <a:gd name="connsiteY17" fmla="*/ 127827 h 152481"/>
                  <a:gd name="connsiteX18" fmla="*/ 58818 w 139418"/>
                  <a:gd name="connsiteY18" fmla="*/ 142226 h 152481"/>
                  <a:gd name="connsiteX19" fmla="*/ 100046 w 139418"/>
                  <a:gd name="connsiteY19" fmla="*/ 127827 h 152481"/>
                  <a:gd name="connsiteX20" fmla="*/ 120349 w 139418"/>
                  <a:gd name="connsiteY20" fmla="*/ 89293 h 152481"/>
                  <a:gd name="connsiteX21" fmla="*/ 124389 w 139418"/>
                  <a:gd name="connsiteY21" fmla="*/ 64950 h 1524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139418" h="152481">
                    <a:moveTo>
                      <a:pt x="134333" y="89189"/>
                    </a:moveTo>
                    <a:cubicBezTo>
                      <a:pt x="131122" y="108146"/>
                      <a:pt x="122525" y="123477"/>
                      <a:pt x="108436" y="135079"/>
                    </a:cubicBezTo>
                    <a:cubicBezTo>
                      <a:pt x="94452" y="146680"/>
                      <a:pt x="77360" y="152481"/>
                      <a:pt x="57057" y="152481"/>
                    </a:cubicBezTo>
                    <a:cubicBezTo>
                      <a:pt x="36754" y="152481"/>
                      <a:pt x="22044" y="146680"/>
                      <a:pt x="11893" y="135079"/>
                    </a:cubicBezTo>
                    <a:cubicBezTo>
                      <a:pt x="1741" y="123477"/>
                      <a:pt x="-1885" y="108146"/>
                      <a:pt x="913" y="89086"/>
                    </a:cubicBezTo>
                    <a:lnTo>
                      <a:pt x="4538" y="64950"/>
                    </a:lnTo>
                    <a:cubicBezTo>
                      <a:pt x="7438" y="45786"/>
                      <a:pt x="15829" y="30144"/>
                      <a:pt x="29710" y="18128"/>
                    </a:cubicBezTo>
                    <a:cubicBezTo>
                      <a:pt x="43694" y="6008"/>
                      <a:pt x="60786" y="0"/>
                      <a:pt x="81193" y="0"/>
                    </a:cubicBezTo>
                    <a:cubicBezTo>
                      <a:pt x="101600" y="0"/>
                      <a:pt x="117345" y="6112"/>
                      <a:pt x="127704" y="18128"/>
                    </a:cubicBezTo>
                    <a:cubicBezTo>
                      <a:pt x="137959" y="30144"/>
                      <a:pt x="141481" y="45786"/>
                      <a:pt x="138270" y="64950"/>
                    </a:cubicBezTo>
                    <a:lnTo>
                      <a:pt x="134230" y="89086"/>
                    </a:lnTo>
                    <a:close/>
                    <a:moveTo>
                      <a:pt x="124389" y="64846"/>
                    </a:moveTo>
                    <a:cubicBezTo>
                      <a:pt x="127082" y="48790"/>
                      <a:pt x="124493" y="35738"/>
                      <a:pt x="116724" y="25897"/>
                    </a:cubicBezTo>
                    <a:cubicBezTo>
                      <a:pt x="108851" y="15953"/>
                      <a:pt x="96524" y="10980"/>
                      <a:pt x="79639" y="10980"/>
                    </a:cubicBezTo>
                    <a:cubicBezTo>
                      <a:pt x="62754" y="10980"/>
                      <a:pt x="49495" y="15953"/>
                      <a:pt x="38722" y="25897"/>
                    </a:cubicBezTo>
                    <a:cubicBezTo>
                      <a:pt x="27949" y="35841"/>
                      <a:pt x="21423" y="48790"/>
                      <a:pt x="18937" y="64950"/>
                    </a:cubicBezTo>
                    <a:lnTo>
                      <a:pt x="15207" y="89293"/>
                    </a:lnTo>
                    <a:cubicBezTo>
                      <a:pt x="12721" y="105349"/>
                      <a:pt x="15311" y="118194"/>
                      <a:pt x="22976" y="127827"/>
                    </a:cubicBezTo>
                    <a:cubicBezTo>
                      <a:pt x="30642" y="137461"/>
                      <a:pt x="42555" y="142226"/>
                      <a:pt x="58818" y="142226"/>
                    </a:cubicBezTo>
                    <a:cubicBezTo>
                      <a:pt x="75081" y="142226"/>
                      <a:pt x="89169" y="137461"/>
                      <a:pt x="100046" y="127827"/>
                    </a:cubicBezTo>
                    <a:cubicBezTo>
                      <a:pt x="110923" y="118194"/>
                      <a:pt x="117656" y="105349"/>
                      <a:pt x="120349" y="89293"/>
                    </a:cubicBezTo>
                    <a:lnTo>
                      <a:pt x="124389" y="64950"/>
                    </a:lnTo>
                    <a:close/>
                  </a:path>
                </a:pathLst>
              </a:custGeom>
              <a:solidFill>
                <a:schemeClr val="bg2"/>
              </a:solidFill>
              <a:ln w="1035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699" name="Полилиния: фигура 1698">
                <a:extLst>
                  <a:ext uri="{FF2B5EF4-FFF2-40B4-BE49-F238E27FC236}">
                    <a16:creationId xmlns:a16="http://schemas.microsoft.com/office/drawing/2014/main" id="{5D4A30D4-E7FC-4501-A254-84CB49B6A2C1}"/>
                  </a:ext>
                </a:extLst>
              </p:cNvPr>
              <p:cNvSpPr/>
              <p:nvPr/>
            </p:nvSpPr>
            <p:spPr>
              <a:xfrm>
                <a:off x="9437031" y="1339322"/>
                <a:ext cx="130002" cy="148026"/>
              </a:xfrm>
              <a:custGeom>
                <a:avLst/>
                <a:gdLst>
                  <a:gd name="connsiteX0" fmla="*/ 128035 w 130002"/>
                  <a:gd name="connsiteY0" fmla="*/ 10566 h 148026"/>
                  <a:gd name="connsiteX1" fmla="*/ 38120 w 130002"/>
                  <a:gd name="connsiteY1" fmla="*/ 10566 h 148026"/>
                  <a:gd name="connsiteX2" fmla="*/ 13984 w 130002"/>
                  <a:gd name="connsiteY2" fmla="*/ 148027 h 148026"/>
                  <a:gd name="connsiteX3" fmla="*/ 0 w 130002"/>
                  <a:gd name="connsiteY3" fmla="*/ 148027 h 148026"/>
                  <a:gd name="connsiteX4" fmla="*/ 25690 w 130002"/>
                  <a:gd name="connsiteY4" fmla="*/ 0 h 148026"/>
                  <a:gd name="connsiteX5" fmla="*/ 130003 w 130002"/>
                  <a:gd name="connsiteY5" fmla="*/ 0 h 148026"/>
                  <a:gd name="connsiteX6" fmla="*/ 128035 w 130002"/>
                  <a:gd name="connsiteY6" fmla="*/ 10566 h 1480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30002" h="148026">
                    <a:moveTo>
                      <a:pt x="128035" y="10566"/>
                    </a:moveTo>
                    <a:lnTo>
                      <a:pt x="38120" y="10566"/>
                    </a:lnTo>
                    <a:cubicBezTo>
                      <a:pt x="38120" y="10566"/>
                      <a:pt x="13984" y="148027"/>
                      <a:pt x="13984" y="148027"/>
                    </a:cubicBezTo>
                    <a:lnTo>
                      <a:pt x="0" y="148027"/>
                    </a:lnTo>
                    <a:cubicBezTo>
                      <a:pt x="0" y="148027"/>
                      <a:pt x="25690" y="0"/>
                      <a:pt x="25690" y="0"/>
                    </a:cubicBezTo>
                    <a:lnTo>
                      <a:pt x="130003" y="0"/>
                    </a:lnTo>
                    <a:cubicBezTo>
                      <a:pt x="130003" y="0"/>
                      <a:pt x="128035" y="10566"/>
                      <a:pt x="128035" y="10566"/>
                    </a:cubicBezTo>
                    <a:close/>
                  </a:path>
                </a:pathLst>
              </a:custGeom>
              <a:solidFill>
                <a:schemeClr val="bg2"/>
              </a:solidFill>
              <a:ln w="1035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700" name="Полилиния: фигура 1699">
                <a:extLst>
                  <a:ext uri="{FF2B5EF4-FFF2-40B4-BE49-F238E27FC236}">
                    <a16:creationId xmlns:a16="http://schemas.microsoft.com/office/drawing/2014/main" id="{28CF7B2A-1E94-4583-8269-B22C13F54B1A}"/>
                  </a:ext>
                </a:extLst>
              </p:cNvPr>
              <p:cNvSpPr/>
              <p:nvPr/>
            </p:nvSpPr>
            <p:spPr>
              <a:xfrm>
                <a:off x="9539169" y="1339322"/>
                <a:ext cx="171437" cy="147923"/>
              </a:xfrm>
              <a:custGeom>
                <a:avLst/>
                <a:gdLst>
                  <a:gd name="connsiteX0" fmla="*/ 171334 w 171437"/>
                  <a:gd name="connsiteY0" fmla="*/ 0 h 147923"/>
                  <a:gd name="connsiteX1" fmla="*/ 140879 w 171437"/>
                  <a:gd name="connsiteY1" fmla="*/ 147820 h 147923"/>
                  <a:gd name="connsiteX2" fmla="*/ 126895 w 171437"/>
                  <a:gd name="connsiteY2" fmla="*/ 147820 h 147923"/>
                  <a:gd name="connsiteX3" fmla="*/ 154967 w 171437"/>
                  <a:gd name="connsiteY3" fmla="*/ 10566 h 147923"/>
                  <a:gd name="connsiteX4" fmla="*/ 80695 w 171437"/>
                  <a:gd name="connsiteY4" fmla="*/ 10566 h 147923"/>
                  <a:gd name="connsiteX5" fmla="*/ 67332 w 171437"/>
                  <a:gd name="connsiteY5" fmla="*/ 67643 h 147923"/>
                  <a:gd name="connsiteX6" fmla="*/ 43610 w 171437"/>
                  <a:gd name="connsiteY6" fmla="*/ 129899 h 147923"/>
                  <a:gd name="connsiteX7" fmla="*/ 4765 w 171437"/>
                  <a:gd name="connsiteY7" fmla="*/ 147923 h 147923"/>
                  <a:gd name="connsiteX8" fmla="*/ 0 w 171437"/>
                  <a:gd name="connsiteY8" fmla="*/ 147923 h 147923"/>
                  <a:gd name="connsiteX9" fmla="*/ 1865 w 171437"/>
                  <a:gd name="connsiteY9" fmla="*/ 137875 h 147923"/>
                  <a:gd name="connsiteX10" fmla="*/ 6215 w 171437"/>
                  <a:gd name="connsiteY10" fmla="*/ 137875 h 147923"/>
                  <a:gd name="connsiteX11" fmla="*/ 33769 w 171437"/>
                  <a:gd name="connsiteY11" fmla="*/ 123062 h 147923"/>
                  <a:gd name="connsiteX12" fmla="*/ 53244 w 171437"/>
                  <a:gd name="connsiteY12" fmla="*/ 67746 h 147923"/>
                  <a:gd name="connsiteX13" fmla="*/ 68989 w 171437"/>
                  <a:gd name="connsiteY13" fmla="*/ 104 h 147923"/>
                  <a:gd name="connsiteX14" fmla="*/ 171438 w 171437"/>
                  <a:gd name="connsiteY14" fmla="*/ 104 h 1479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171437" h="147923">
                    <a:moveTo>
                      <a:pt x="171334" y="0"/>
                    </a:moveTo>
                    <a:lnTo>
                      <a:pt x="140879" y="147820"/>
                    </a:lnTo>
                    <a:lnTo>
                      <a:pt x="126895" y="147820"/>
                    </a:lnTo>
                    <a:cubicBezTo>
                      <a:pt x="126895" y="147820"/>
                      <a:pt x="154967" y="10566"/>
                      <a:pt x="154967" y="10566"/>
                    </a:cubicBezTo>
                    <a:lnTo>
                      <a:pt x="80695" y="10566"/>
                    </a:lnTo>
                    <a:cubicBezTo>
                      <a:pt x="80695" y="10566"/>
                      <a:pt x="67332" y="67643"/>
                      <a:pt x="67332" y="67643"/>
                    </a:cubicBezTo>
                    <a:cubicBezTo>
                      <a:pt x="60495" y="97062"/>
                      <a:pt x="52622" y="117779"/>
                      <a:pt x="43610" y="129899"/>
                    </a:cubicBezTo>
                    <a:cubicBezTo>
                      <a:pt x="34598" y="142019"/>
                      <a:pt x="21650" y="147923"/>
                      <a:pt x="4765" y="147923"/>
                    </a:cubicBezTo>
                    <a:lnTo>
                      <a:pt x="0" y="147923"/>
                    </a:lnTo>
                    <a:cubicBezTo>
                      <a:pt x="0" y="147923"/>
                      <a:pt x="1865" y="137875"/>
                      <a:pt x="1865" y="137875"/>
                    </a:cubicBezTo>
                    <a:lnTo>
                      <a:pt x="6215" y="137875"/>
                    </a:lnTo>
                    <a:cubicBezTo>
                      <a:pt x="17817" y="137875"/>
                      <a:pt x="27036" y="132903"/>
                      <a:pt x="33769" y="123062"/>
                    </a:cubicBezTo>
                    <a:cubicBezTo>
                      <a:pt x="40503" y="113221"/>
                      <a:pt x="47029" y="94783"/>
                      <a:pt x="53244" y="67746"/>
                    </a:cubicBezTo>
                    <a:lnTo>
                      <a:pt x="68989" y="104"/>
                    </a:lnTo>
                    <a:lnTo>
                      <a:pt x="171438" y="104"/>
                    </a:lnTo>
                    <a:close/>
                  </a:path>
                </a:pathLst>
              </a:custGeom>
              <a:solidFill>
                <a:schemeClr val="bg2"/>
              </a:solidFill>
              <a:ln w="1035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701" name="Полилиния: фигура 1700">
                <a:extLst>
                  <a:ext uri="{FF2B5EF4-FFF2-40B4-BE49-F238E27FC236}">
                    <a16:creationId xmlns:a16="http://schemas.microsoft.com/office/drawing/2014/main" id="{F1E080E3-2211-42C7-84BB-3F590855700C}"/>
                  </a:ext>
                </a:extLst>
              </p:cNvPr>
              <p:cNvSpPr/>
              <p:nvPr/>
            </p:nvSpPr>
            <p:spPr>
              <a:xfrm>
                <a:off x="9707913" y="1339426"/>
                <a:ext cx="137150" cy="147716"/>
              </a:xfrm>
              <a:custGeom>
                <a:avLst/>
                <a:gdLst>
                  <a:gd name="connsiteX0" fmla="*/ 114879 w 137150"/>
                  <a:gd name="connsiteY0" fmla="*/ 107006 h 147716"/>
                  <a:gd name="connsiteX1" fmla="*/ 40192 w 137150"/>
                  <a:gd name="connsiteY1" fmla="*/ 107006 h 147716"/>
                  <a:gd name="connsiteX2" fmla="*/ 14399 w 137150"/>
                  <a:gd name="connsiteY2" fmla="*/ 147716 h 147716"/>
                  <a:gd name="connsiteX3" fmla="*/ 0 w 137150"/>
                  <a:gd name="connsiteY3" fmla="*/ 147716 h 147716"/>
                  <a:gd name="connsiteX4" fmla="*/ 94576 w 137150"/>
                  <a:gd name="connsiteY4" fmla="*/ 0 h 147716"/>
                  <a:gd name="connsiteX5" fmla="*/ 107939 w 137150"/>
                  <a:gd name="connsiteY5" fmla="*/ 0 h 147716"/>
                  <a:gd name="connsiteX6" fmla="*/ 137150 w 137150"/>
                  <a:gd name="connsiteY6" fmla="*/ 147613 h 147716"/>
                  <a:gd name="connsiteX7" fmla="*/ 122752 w 137150"/>
                  <a:gd name="connsiteY7" fmla="*/ 147613 h 147716"/>
                  <a:gd name="connsiteX8" fmla="*/ 114983 w 137150"/>
                  <a:gd name="connsiteY8" fmla="*/ 107006 h 147716"/>
                  <a:gd name="connsiteX9" fmla="*/ 46925 w 137150"/>
                  <a:gd name="connsiteY9" fmla="*/ 96233 h 147716"/>
                  <a:gd name="connsiteX10" fmla="*/ 112704 w 137150"/>
                  <a:gd name="connsiteY10" fmla="*/ 96233 h 147716"/>
                  <a:gd name="connsiteX11" fmla="*/ 97683 w 137150"/>
                  <a:gd name="connsiteY11" fmla="*/ 17506 h 147716"/>
                  <a:gd name="connsiteX12" fmla="*/ 96958 w 137150"/>
                  <a:gd name="connsiteY12" fmla="*/ 17506 h 147716"/>
                  <a:gd name="connsiteX13" fmla="*/ 46925 w 137150"/>
                  <a:gd name="connsiteY13" fmla="*/ 96233 h 1477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37150" h="147716">
                    <a:moveTo>
                      <a:pt x="114879" y="107006"/>
                    </a:moveTo>
                    <a:lnTo>
                      <a:pt x="40192" y="107006"/>
                    </a:lnTo>
                    <a:cubicBezTo>
                      <a:pt x="40192" y="107006"/>
                      <a:pt x="14399" y="147716"/>
                      <a:pt x="14399" y="147716"/>
                    </a:cubicBezTo>
                    <a:lnTo>
                      <a:pt x="0" y="147716"/>
                    </a:lnTo>
                    <a:cubicBezTo>
                      <a:pt x="0" y="147716"/>
                      <a:pt x="94576" y="0"/>
                      <a:pt x="94576" y="0"/>
                    </a:cubicBezTo>
                    <a:lnTo>
                      <a:pt x="107939" y="0"/>
                    </a:lnTo>
                    <a:cubicBezTo>
                      <a:pt x="107939" y="0"/>
                      <a:pt x="137150" y="147613"/>
                      <a:pt x="137150" y="147613"/>
                    </a:cubicBezTo>
                    <a:lnTo>
                      <a:pt x="122752" y="147613"/>
                    </a:lnTo>
                    <a:cubicBezTo>
                      <a:pt x="122752" y="147613"/>
                      <a:pt x="114983" y="107006"/>
                      <a:pt x="114983" y="107006"/>
                    </a:cubicBezTo>
                    <a:close/>
                    <a:moveTo>
                      <a:pt x="46925" y="96233"/>
                    </a:moveTo>
                    <a:lnTo>
                      <a:pt x="112704" y="96233"/>
                    </a:lnTo>
                    <a:cubicBezTo>
                      <a:pt x="112704" y="96233"/>
                      <a:pt x="97683" y="17506"/>
                      <a:pt x="97683" y="17506"/>
                    </a:cubicBezTo>
                    <a:lnTo>
                      <a:pt x="96958" y="17506"/>
                    </a:lnTo>
                    <a:cubicBezTo>
                      <a:pt x="96958" y="17506"/>
                      <a:pt x="46925" y="96233"/>
                      <a:pt x="46925" y="96233"/>
                    </a:cubicBezTo>
                    <a:close/>
                  </a:path>
                </a:pathLst>
              </a:custGeom>
              <a:solidFill>
                <a:schemeClr val="bg2"/>
              </a:solidFill>
              <a:ln w="1035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702" name="Полилиния: фигура 1701">
                <a:extLst>
                  <a:ext uri="{FF2B5EF4-FFF2-40B4-BE49-F238E27FC236}">
                    <a16:creationId xmlns:a16="http://schemas.microsoft.com/office/drawing/2014/main" id="{AD00D970-A3D5-44D1-AF3F-3066FACFCB19}"/>
                  </a:ext>
                </a:extLst>
              </p:cNvPr>
              <p:cNvSpPr/>
              <p:nvPr/>
            </p:nvSpPr>
            <p:spPr>
              <a:xfrm>
                <a:off x="9875620" y="1337147"/>
                <a:ext cx="137919" cy="151859"/>
              </a:xfrm>
              <a:custGeom>
                <a:avLst/>
                <a:gdLst>
                  <a:gd name="connsiteX0" fmla="*/ 121924 w 137919"/>
                  <a:gd name="connsiteY0" fmla="*/ 104313 h 151859"/>
                  <a:gd name="connsiteX1" fmla="*/ 121924 w 137919"/>
                  <a:gd name="connsiteY1" fmla="*/ 104934 h 151859"/>
                  <a:gd name="connsiteX2" fmla="*/ 97270 w 137919"/>
                  <a:gd name="connsiteY2" fmla="*/ 139118 h 151859"/>
                  <a:gd name="connsiteX3" fmla="*/ 50345 w 137919"/>
                  <a:gd name="connsiteY3" fmla="*/ 151860 h 151859"/>
                  <a:gd name="connsiteX4" fmla="*/ 8910 w 137919"/>
                  <a:gd name="connsiteY4" fmla="*/ 134457 h 151859"/>
                  <a:gd name="connsiteX5" fmla="*/ 2073 w 137919"/>
                  <a:gd name="connsiteY5" fmla="*/ 88775 h 151859"/>
                  <a:gd name="connsiteX6" fmla="*/ 7667 w 137919"/>
                  <a:gd name="connsiteY6" fmla="*/ 64742 h 151859"/>
                  <a:gd name="connsiteX7" fmla="*/ 36050 w 137919"/>
                  <a:gd name="connsiteY7" fmla="*/ 18231 h 151859"/>
                  <a:gd name="connsiteX8" fmla="*/ 86704 w 137919"/>
                  <a:gd name="connsiteY8" fmla="*/ 0 h 151859"/>
                  <a:gd name="connsiteX9" fmla="*/ 128450 w 137919"/>
                  <a:gd name="connsiteY9" fmla="*/ 12948 h 151859"/>
                  <a:gd name="connsiteX10" fmla="*/ 136116 w 137919"/>
                  <a:gd name="connsiteY10" fmla="*/ 48272 h 151859"/>
                  <a:gd name="connsiteX11" fmla="*/ 135701 w 137919"/>
                  <a:gd name="connsiteY11" fmla="*/ 48893 h 151859"/>
                  <a:gd name="connsiteX12" fmla="*/ 122546 w 137919"/>
                  <a:gd name="connsiteY12" fmla="*/ 48893 h 151859"/>
                  <a:gd name="connsiteX13" fmla="*/ 116745 w 137919"/>
                  <a:gd name="connsiteY13" fmla="*/ 20821 h 151859"/>
                  <a:gd name="connsiteX14" fmla="*/ 84218 w 137919"/>
                  <a:gd name="connsiteY14" fmla="*/ 10670 h 151859"/>
                  <a:gd name="connsiteX15" fmla="*/ 44440 w 137919"/>
                  <a:gd name="connsiteY15" fmla="*/ 25897 h 151859"/>
                  <a:gd name="connsiteX16" fmla="*/ 21755 w 137919"/>
                  <a:gd name="connsiteY16" fmla="*/ 64639 h 151859"/>
                  <a:gd name="connsiteX17" fmla="*/ 16161 w 137919"/>
                  <a:gd name="connsiteY17" fmla="*/ 88878 h 151859"/>
                  <a:gd name="connsiteX18" fmla="*/ 20719 w 137919"/>
                  <a:gd name="connsiteY18" fmla="*/ 127206 h 151859"/>
                  <a:gd name="connsiteX19" fmla="*/ 52935 w 137919"/>
                  <a:gd name="connsiteY19" fmla="*/ 141915 h 151859"/>
                  <a:gd name="connsiteX20" fmla="*/ 89708 w 137919"/>
                  <a:gd name="connsiteY20" fmla="*/ 132282 h 151859"/>
                  <a:gd name="connsiteX21" fmla="*/ 109079 w 137919"/>
                  <a:gd name="connsiteY21" fmla="*/ 104313 h 151859"/>
                  <a:gd name="connsiteX22" fmla="*/ 122131 w 137919"/>
                  <a:gd name="connsiteY22" fmla="*/ 104313 h 1518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137919" h="151859">
                    <a:moveTo>
                      <a:pt x="121924" y="104313"/>
                    </a:moveTo>
                    <a:lnTo>
                      <a:pt x="121924" y="104934"/>
                    </a:lnTo>
                    <a:cubicBezTo>
                      <a:pt x="118816" y="119230"/>
                      <a:pt x="110529" y="130624"/>
                      <a:pt x="97270" y="139118"/>
                    </a:cubicBezTo>
                    <a:cubicBezTo>
                      <a:pt x="84011" y="147613"/>
                      <a:pt x="68369" y="151860"/>
                      <a:pt x="50345" y="151860"/>
                    </a:cubicBezTo>
                    <a:cubicBezTo>
                      <a:pt x="32320" y="151860"/>
                      <a:pt x="17715" y="146059"/>
                      <a:pt x="8910" y="134457"/>
                    </a:cubicBezTo>
                    <a:cubicBezTo>
                      <a:pt x="105" y="122752"/>
                      <a:pt x="-2174" y="107524"/>
                      <a:pt x="2073" y="88775"/>
                    </a:cubicBezTo>
                    <a:lnTo>
                      <a:pt x="7667" y="64742"/>
                    </a:lnTo>
                    <a:cubicBezTo>
                      <a:pt x="12017" y="45889"/>
                      <a:pt x="21444" y="30351"/>
                      <a:pt x="36050" y="18231"/>
                    </a:cubicBezTo>
                    <a:cubicBezTo>
                      <a:pt x="50656" y="6112"/>
                      <a:pt x="67541" y="0"/>
                      <a:pt x="86704" y="0"/>
                    </a:cubicBezTo>
                    <a:cubicBezTo>
                      <a:pt x="105868" y="0"/>
                      <a:pt x="119334" y="4351"/>
                      <a:pt x="128450" y="12948"/>
                    </a:cubicBezTo>
                    <a:cubicBezTo>
                      <a:pt x="137566" y="21546"/>
                      <a:pt x="140052" y="33252"/>
                      <a:pt x="136116" y="48272"/>
                    </a:cubicBezTo>
                    <a:lnTo>
                      <a:pt x="135701" y="48893"/>
                    </a:lnTo>
                    <a:lnTo>
                      <a:pt x="122546" y="48893"/>
                    </a:lnTo>
                    <a:cubicBezTo>
                      <a:pt x="125446" y="36877"/>
                      <a:pt x="123581" y="27554"/>
                      <a:pt x="116745" y="20821"/>
                    </a:cubicBezTo>
                    <a:cubicBezTo>
                      <a:pt x="109908" y="14088"/>
                      <a:pt x="99031" y="10670"/>
                      <a:pt x="84218" y="10670"/>
                    </a:cubicBezTo>
                    <a:cubicBezTo>
                      <a:pt x="69405" y="10670"/>
                      <a:pt x="55835" y="15745"/>
                      <a:pt x="44440" y="25897"/>
                    </a:cubicBezTo>
                    <a:cubicBezTo>
                      <a:pt x="33046" y="36049"/>
                      <a:pt x="25484" y="48893"/>
                      <a:pt x="21755" y="64639"/>
                    </a:cubicBezTo>
                    <a:lnTo>
                      <a:pt x="16161" y="88878"/>
                    </a:lnTo>
                    <a:cubicBezTo>
                      <a:pt x="12535" y="104624"/>
                      <a:pt x="13986" y="117365"/>
                      <a:pt x="20719" y="127206"/>
                    </a:cubicBezTo>
                    <a:cubicBezTo>
                      <a:pt x="27348" y="137047"/>
                      <a:pt x="38121" y="141915"/>
                      <a:pt x="52935" y="141915"/>
                    </a:cubicBezTo>
                    <a:cubicBezTo>
                      <a:pt x="67748" y="141915"/>
                      <a:pt x="79867" y="138704"/>
                      <a:pt x="89708" y="132282"/>
                    </a:cubicBezTo>
                    <a:cubicBezTo>
                      <a:pt x="99653" y="125859"/>
                      <a:pt x="106075" y="116536"/>
                      <a:pt x="109079" y="104313"/>
                    </a:cubicBezTo>
                    <a:lnTo>
                      <a:pt x="122131" y="104313"/>
                    </a:lnTo>
                    <a:close/>
                  </a:path>
                </a:pathLst>
              </a:custGeom>
              <a:solidFill>
                <a:schemeClr val="bg2"/>
              </a:solidFill>
              <a:ln w="1035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703" name="Полилиния: фигура 1702">
                <a:extLst>
                  <a:ext uri="{FF2B5EF4-FFF2-40B4-BE49-F238E27FC236}">
                    <a16:creationId xmlns:a16="http://schemas.microsoft.com/office/drawing/2014/main" id="{9DFCB38E-E825-4FAE-8054-8242C7082B75}"/>
                  </a:ext>
                </a:extLst>
              </p:cNvPr>
              <p:cNvSpPr/>
              <p:nvPr/>
            </p:nvSpPr>
            <p:spPr>
              <a:xfrm>
                <a:off x="10022302" y="1339426"/>
                <a:ext cx="163979" cy="147405"/>
              </a:xfrm>
              <a:custGeom>
                <a:avLst/>
                <a:gdLst>
                  <a:gd name="connsiteX0" fmla="*/ 149892 w 163979"/>
                  <a:gd name="connsiteY0" fmla="*/ 104 h 147405"/>
                  <a:gd name="connsiteX1" fmla="*/ 163979 w 163979"/>
                  <a:gd name="connsiteY1" fmla="*/ 104 h 147405"/>
                  <a:gd name="connsiteX2" fmla="*/ 124305 w 163979"/>
                  <a:gd name="connsiteY2" fmla="*/ 147405 h 147405"/>
                  <a:gd name="connsiteX3" fmla="*/ 110528 w 163979"/>
                  <a:gd name="connsiteY3" fmla="*/ 147405 h 147405"/>
                  <a:gd name="connsiteX4" fmla="*/ 144091 w 163979"/>
                  <a:gd name="connsiteY4" fmla="*/ 21753 h 147405"/>
                  <a:gd name="connsiteX5" fmla="*/ 143365 w 163979"/>
                  <a:gd name="connsiteY5" fmla="*/ 21753 h 147405"/>
                  <a:gd name="connsiteX6" fmla="*/ 13881 w 163979"/>
                  <a:gd name="connsiteY6" fmla="*/ 147405 h 147405"/>
                  <a:gd name="connsiteX7" fmla="*/ 0 w 163979"/>
                  <a:gd name="connsiteY7" fmla="*/ 147405 h 147405"/>
                  <a:gd name="connsiteX8" fmla="*/ 37188 w 163979"/>
                  <a:gd name="connsiteY8" fmla="*/ 0 h 147405"/>
                  <a:gd name="connsiteX9" fmla="*/ 51379 w 163979"/>
                  <a:gd name="connsiteY9" fmla="*/ 0 h 147405"/>
                  <a:gd name="connsiteX10" fmla="*/ 19267 w 163979"/>
                  <a:gd name="connsiteY10" fmla="*/ 126274 h 147405"/>
                  <a:gd name="connsiteX11" fmla="*/ 19889 w 163979"/>
                  <a:gd name="connsiteY11" fmla="*/ 126274 h 147405"/>
                  <a:gd name="connsiteX12" fmla="*/ 149788 w 163979"/>
                  <a:gd name="connsiteY12" fmla="*/ 104 h 1474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63979" h="147405">
                    <a:moveTo>
                      <a:pt x="149892" y="104"/>
                    </a:moveTo>
                    <a:lnTo>
                      <a:pt x="163979" y="104"/>
                    </a:lnTo>
                    <a:cubicBezTo>
                      <a:pt x="163979" y="104"/>
                      <a:pt x="124305" y="147405"/>
                      <a:pt x="124305" y="147405"/>
                    </a:cubicBezTo>
                    <a:lnTo>
                      <a:pt x="110528" y="147405"/>
                    </a:lnTo>
                    <a:cubicBezTo>
                      <a:pt x="110528" y="147405"/>
                      <a:pt x="144091" y="21753"/>
                      <a:pt x="144091" y="21753"/>
                    </a:cubicBezTo>
                    <a:lnTo>
                      <a:pt x="143365" y="21753"/>
                    </a:lnTo>
                    <a:cubicBezTo>
                      <a:pt x="143365" y="21753"/>
                      <a:pt x="13881" y="147405"/>
                      <a:pt x="13881" y="147405"/>
                    </a:cubicBezTo>
                    <a:lnTo>
                      <a:pt x="0" y="147405"/>
                    </a:lnTo>
                    <a:cubicBezTo>
                      <a:pt x="0" y="147405"/>
                      <a:pt x="37188" y="0"/>
                      <a:pt x="37188" y="0"/>
                    </a:cubicBezTo>
                    <a:lnTo>
                      <a:pt x="51379" y="0"/>
                    </a:lnTo>
                    <a:cubicBezTo>
                      <a:pt x="51379" y="0"/>
                      <a:pt x="19267" y="126274"/>
                      <a:pt x="19267" y="126274"/>
                    </a:cubicBezTo>
                    <a:lnTo>
                      <a:pt x="19889" y="126274"/>
                    </a:lnTo>
                    <a:cubicBezTo>
                      <a:pt x="19889" y="126274"/>
                      <a:pt x="149788" y="104"/>
                      <a:pt x="149788" y="104"/>
                    </a:cubicBezTo>
                    <a:close/>
                  </a:path>
                </a:pathLst>
              </a:custGeom>
              <a:solidFill>
                <a:schemeClr val="bg2"/>
              </a:solidFill>
              <a:ln w="1035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704" name="Полилиния: фигура 1703">
                <a:extLst>
                  <a:ext uri="{FF2B5EF4-FFF2-40B4-BE49-F238E27FC236}">
                    <a16:creationId xmlns:a16="http://schemas.microsoft.com/office/drawing/2014/main" id="{68A3BED4-6359-4F5D-BFE3-900E79CD6252}"/>
                  </a:ext>
                </a:extLst>
              </p:cNvPr>
              <p:cNvSpPr/>
              <p:nvPr/>
            </p:nvSpPr>
            <p:spPr>
              <a:xfrm>
                <a:off x="10189493" y="1339529"/>
                <a:ext cx="143054" cy="147198"/>
              </a:xfrm>
              <a:custGeom>
                <a:avLst/>
                <a:gdLst>
                  <a:gd name="connsiteX0" fmla="*/ 109492 w 143054"/>
                  <a:gd name="connsiteY0" fmla="*/ 76655 h 147198"/>
                  <a:gd name="connsiteX1" fmla="*/ 33355 w 143054"/>
                  <a:gd name="connsiteY1" fmla="*/ 76655 h 147198"/>
                  <a:gd name="connsiteX2" fmla="*/ 16574 w 143054"/>
                  <a:gd name="connsiteY2" fmla="*/ 137254 h 147198"/>
                  <a:gd name="connsiteX3" fmla="*/ 104002 w 143054"/>
                  <a:gd name="connsiteY3" fmla="*/ 137254 h 147198"/>
                  <a:gd name="connsiteX4" fmla="*/ 101101 w 143054"/>
                  <a:gd name="connsiteY4" fmla="*/ 147198 h 147198"/>
                  <a:gd name="connsiteX5" fmla="*/ 0 w 143054"/>
                  <a:gd name="connsiteY5" fmla="*/ 147198 h 147198"/>
                  <a:gd name="connsiteX6" fmla="*/ 40503 w 143054"/>
                  <a:gd name="connsiteY6" fmla="*/ 0 h 147198"/>
                  <a:gd name="connsiteX7" fmla="*/ 143055 w 143054"/>
                  <a:gd name="connsiteY7" fmla="*/ 0 h 147198"/>
                  <a:gd name="connsiteX8" fmla="*/ 140051 w 143054"/>
                  <a:gd name="connsiteY8" fmla="*/ 10566 h 147198"/>
                  <a:gd name="connsiteX9" fmla="*/ 51794 w 143054"/>
                  <a:gd name="connsiteY9" fmla="*/ 10566 h 147198"/>
                  <a:gd name="connsiteX10" fmla="*/ 36359 w 143054"/>
                  <a:gd name="connsiteY10" fmla="*/ 66400 h 147198"/>
                  <a:gd name="connsiteX11" fmla="*/ 112600 w 143054"/>
                  <a:gd name="connsiteY11" fmla="*/ 66400 h 147198"/>
                  <a:gd name="connsiteX12" fmla="*/ 109596 w 143054"/>
                  <a:gd name="connsiteY12" fmla="*/ 76655 h 1471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43054" h="147198">
                    <a:moveTo>
                      <a:pt x="109492" y="76655"/>
                    </a:moveTo>
                    <a:lnTo>
                      <a:pt x="33355" y="76655"/>
                    </a:lnTo>
                    <a:cubicBezTo>
                      <a:pt x="33355" y="76655"/>
                      <a:pt x="16574" y="137254"/>
                      <a:pt x="16574" y="137254"/>
                    </a:cubicBezTo>
                    <a:lnTo>
                      <a:pt x="104002" y="137254"/>
                    </a:lnTo>
                    <a:cubicBezTo>
                      <a:pt x="104002" y="137254"/>
                      <a:pt x="101101" y="147198"/>
                      <a:pt x="101101" y="147198"/>
                    </a:cubicBezTo>
                    <a:lnTo>
                      <a:pt x="0" y="147198"/>
                    </a:lnTo>
                    <a:cubicBezTo>
                      <a:pt x="0" y="147198"/>
                      <a:pt x="40503" y="0"/>
                      <a:pt x="40503" y="0"/>
                    </a:cubicBezTo>
                    <a:lnTo>
                      <a:pt x="143055" y="0"/>
                    </a:lnTo>
                    <a:cubicBezTo>
                      <a:pt x="143055" y="0"/>
                      <a:pt x="140051" y="10566"/>
                      <a:pt x="140051" y="10566"/>
                    </a:cubicBezTo>
                    <a:lnTo>
                      <a:pt x="51794" y="10566"/>
                    </a:lnTo>
                    <a:cubicBezTo>
                      <a:pt x="51794" y="10566"/>
                      <a:pt x="36359" y="66400"/>
                      <a:pt x="36359" y="66400"/>
                    </a:cubicBezTo>
                    <a:lnTo>
                      <a:pt x="112600" y="66400"/>
                    </a:lnTo>
                    <a:cubicBezTo>
                      <a:pt x="112600" y="66400"/>
                      <a:pt x="109596" y="76655"/>
                      <a:pt x="109596" y="76655"/>
                    </a:cubicBezTo>
                    <a:close/>
                  </a:path>
                </a:pathLst>
              </a:custGeom>
              <a:solidFill>
                <a:schemeClr val="bg2"/>
              </a:solidFill>
              <a:ln w="1035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</p:grpSp>
      </p:grpSp>
      <p:grpSp>
        <p:nvGrpSpPr>
          <p:cNvPr id="1705" name="Рисунок 1613">
            <a:extLst>
              <a:ext uri="{FF2B5EF4-FFF2-40B4-BE49-F238E27FC236}">
                <a16:creationId xmlns:a16="http://schemas.microsoft.com/office/drawing/2014/main" id="{27EF9208-9FFB-42A3-9B09-1055A96DBB1C}"/>
              </a:ext>
            </a:extLst>
          </p:cNvPr>
          <p:cNvGrpSpPr/>
          <p:nvPr/>
        </p:nvGrpSpPr>
        <p:grpSpPr>
          <a:xfrm>
            <a:off x="7042172" y="2508428"/>
            <a:ext cx="2424286" cy="3183757"/>
            <a:chOff x="7042172" y="2508428"/>
            <a:chExt cx="2424286" cy="3183757"/>
          </a:xfrm>
        </p:grpSpPr>
        <p:grpSp>
          <p:nvGrpSpPr>
            <p:cNvPr id="1706" name="Рисунок 1613">
              <a:extLst>
                <a:ext uri="{FF2B5EF4-FFF2-40B4-BE49-F238E27FC236}">
                  <a16:creationId xmlns:a16="http://schemas.microsoft.com/office/drawing/2014/main" id="{27EF9208-9FFB-42A3-9B09-1055A96DBB1C}"/>
                </a:ext>
              </a:extLst>
            </p:cNvPr>
            <p:cNvGrpSpPr/>
            <p:nvPr/>
          </p:nvGrpSpPr>
          <p:grpSpPr>
            <a:xfrm>
              <a:off x="7069077" y="2508428"/>
              <a:ext cx="2397381" cy="1394615"/>
              <a:chOff x="7069077" y="2508428"/>
              <a:chExt cx="2397381" cy="1394615"/>
            </a:xfrm>
          </p:grpSpPr>
          <p:sp>
            <p:nvSpPr>
              <p:cNvPr id="1707" name="Полилиния: фигура 1706">
                <a:extLst>
                  <a:ext uri="{FF2B5EF4-FFF2-40B4-BE49-F238E27FC236}">
                    <a16:creationId xmlns:a16="http://schemas.microsoft.com/office/drawing/2014/main" id="{8E8D3022-DD0F-4295-91ED-E0B16D685E56}"/>
                  </a:ext>
                </a:extLst>
              </p:cNvPr>
              <p:cNvSpPr/>
              <p:nvPr/>
            </p:nvSpPr>
            <p:spPr>
              <a:xfrm>
                <a:off x="9257720" y="3761101"/>
                <a:ext cx="208737" cy="141942"/>
              </a:xfrm>
              <a:custGeom>
                <a:avLst/>
                <a:gdLst>
                  <a:gd name="connsiteX0" fmla="*/ 49929 w 208737"/>
                  <a:gd name="connsiteY0" fmla="*/ 0 h 141942"/>
                  <a:gd name="connsiteX1" fmla="*/ 205104 w 208737"/>
                  <a:gd name="connsiteY1" fmla="*/ 124720 h 141942"/>
                  <a:gd name="connsiteX2" fmla="*/ 196610 w 208737"/>
                  <a:gd name="connsiteY2" fmla="*/ 141605 h 141942"/>
                  <a:gd name="connsiteX3" fmla="*/ 0 w 208737"/>
                  <a:gd name="connsiteY3" fmla="*/ 90536 h 141942"/>
                  <a:gd name="connsiteX4" fmla="*/ 49929 w 208737"/>
                  <a:gd name="connsiteY4" fmla="*/ 104 h 1419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08737" h="141942">
                    <a:moveTo>
                      <a:pt x="49929" y="0"/>
                    </a:moveTo>
                    <a:lnTo>
                      <a:pt x="205104" y="124720"/>
                    </a:lnTo>
                    <a:cubicBezTo>
                      <a:pt x="213184" y="131246"/>
                      <a:pt x="206658" y="144194"/>
                      <a:pt x="196610" y="141605"/>
                    </a:cubicBezTo>
                    <a:lnTo>
                      <a:pt x="0" y="90536"/>
                    </a:lnTo>
                    <a:lnTo>
                      <a:pt x="49929" y="104"/>
                    </a:lnTo>
                    <a:close/>
                  </a:path>
                </a:pathLst>
              </a:custGeom>
              <a:solidFill>
                <a:srgbClr val="FFFFFF"/>
              </a:solidFill>
              <a:ln w="10355" cap="rnd">
                <a:solidFill>
                  <a:srgbClr val="263238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grpSp>
            <p:nvGrpSpPr>
              <p:cNvPr id="1708" name="Рисунок 1613">
                <a:extLst>
                  <a:ext uri="{FF2B5EF4-FFF2-40B4-BE49-F238E27FC236}">
                    <a16:creationId xmlns:a16="http://schemas.microsoft.com/office/drawing/2014/main" id="{27EF9208-9FFB-42A3-9B09-1055A96DBB1C}"/>
                  </a:ext>
                </a:extLst>
              </p:cNvPr>
              <p:cNvGrpSpPr/>
              <p:nvPr/>
            </p:nvGrpSpPr>
            <p:grpSpPr>
              <a:xfrm>
                <a:off x="7069077" y="2508428"/>
                <a:ext cx="2246724" cy="1356325"/>
                <a:chOff x="7069077" y="2508428"/>
                <a:chExt cx="2246724" cy="1356325"/>
              </a:xfrm>
            </p:grpSpPr>
            <p:sp>
              <p:nvSpPr>
                <p:cNvPr id="1709" name="Полилиния: фигура 1708">
                  <a:extLst>
                    <a:ext uri="{FF2B5EF4-FFF2-40B4-BE49-F238E27FC236}">
                      <a16:creationId xmlns:a16="http://schemas.microsoft.com/office/drawing/2014/main" id="{98C65DAE-CA4E-43F8-A5F6-320148F77830}"/>
                    </a:ext>
                  </a:extLst>
                </p:cNvPr>
                <p:cNvSpPr/>
                <p:nvPr/>
              </p:nvSpPr>
              <p:spPr>
                <a:xfrm>
                  <a:off x="8273015" y="3175209"/>
                  <a:ext cx="1042786" cy="689544"/>
                </a:xfrm>
                <a:custGeom>
                  <a:avLst/>
                  <a:gdLst>
                    <a:gd name="connsiteX0" fmla="*/ 1009360 w 1042786"/>
                    <a:gd name="connsiteY0" fmla="*/ 537517 h 689544"/>
                    <a:gd name="connsiteX1" fmla="*/ 101516 w 1042786"/>
                    <a:gd name="connsiteY1" fmla="*/ 0 h 689544"/>
                    <a:gd name="connsiteX2" fmla="*/ 0 w 1042786"/>
                    <a:gd name="connsiteY2" fmla="*/ 172577 h 689544"/>
                    <a:gd name="connsiteX3" fmla="*/ 939956 w 1042786"/>
                    <a:gd name="connsiteY3" fmla="*/ 681815 h 689544"/>
                    <a:gd name="connsiteX4" fmla="*/ 947414 w 1042786"/>
                    <a:gd name="connsiteY4" fmla="*/ 685855 h 689544"/>
                    <a:gd name="connsiteX5" fmla="*/ 1034842 w 1042786"/>
                    <a:gd name="connsiteY5" fmla="*/ 635304 h 689544"/>
                    <a:gd name="connsiteX6" fmla="*/ 1009360 w 1042786"/>
                    <a:gd name="connsiteY6" fmla="*/ 537517 h 68954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042786" h="689544">
                      <a:moveTo>
                        <a:pt x="1009360" y="537517"/>
                      </a:moveTo>
                      <a:lnTo>
                        <a:pt x="101516" y="0"/>
                      </a:lnTo>
                      <a:lnTo>
                        <a:pt x="0" y="172577"/>
                      </a:lnTo>
                      <a:lnTo>
                        <a:pt x="939956" y="681815"/>
                      </a:lnTo>
                      <a:cubicBezTo>
                        <a:pt x="942338" y="683369"/>
                        <a:pt x="944824" y="684716"/>
                        <a:pt x="947414" y="685855"/>
                      </a:cubicBezTo>
                      <a:cubicBezTo>
                        <a:pt x="978594" y="698907"/>
                        <a:pt x="1017750" y="676221"/>
                        <a:pt x="1034842" y="635304"/>
                      </a:cubicBezTo>
                      <a:cubicBezTo>
                        <a:pt x="1051934" y="594387"/>
                        <a:pt x="1040539" y="550569"/>
                        <a:pt x="1009360" y="537517"/>
                      </a:cubicBezTo>
                      <a:close/>
                    </a:path>
                  </a:pathLst>
                </a:custGeom>
                <a:solidFill>
                  <a:srgbClr val="8C8C8C"/>
                </a:solidFill>
                <a:ln w="10355" cap="rnd">
                  <a:solidFill>
                    <a:srgbClr val="263238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1710" name="Полилиния: фигура 1709">
                  <a:extLst>
                    <a:ext uri="{FF2B5EF4-FFF2-40B4-BE49-F238E27FC236}">
                      <a16:creationId xmlns:a16="http://schemas.microsoft.com/office/drawing/2014/main" id="{F3A4371B-BCA7-4E67-A15A-45199478E907}"/>
                    </a:ext>
                  </a:extLst>
                </p:cNvPr>
                <p:cNvSpPr/>
                <p:nvPr/>
              </p:nvSpPr>
              <p:spPr>
                <a:xfrm>
                  <a:off x="7234133" y="2518566"/>
                  <a:ext cx="1176793" cy="850881"/>
                </a:xfrm>
                <a:custGeom>
                  <a:avLst/>
                  <a:gdLst>
                    <a:gd name="connsiteX0" fmla="*/ 1164430 w 1176793"/>
                    <a:gd name="connsiteY0" fmla="*/ 766757 h 850881"/>
                    <a:gd name="connsiteX1" fmla="*/ 1028834 w 1176793"/>
                    <a:gd name="connsiteY1" fmla="*/ 845173 h 850881"/>
                    <a:gd name="connsiteX2" fmla="*/ 1015678 w 1176793"/>
                    <a:gd name="connsiteY2" fmla="*/ 837922 h 850881"/>
                    <a:gd name="connsiteX3" fmla="*/ 85149 w 1176793"/>
                    <a:gd name="connsiteY3" fmla="*/ 319361 h 850881"/>
                    <a:gd name="connsiteX4" fmla="*/ 9219 w 1176793"/>
                    <a:gd name="connsiteY4" fmla="*/ 277097 h 850881"/>
                    <a:gd name="connsiteX5" fmla="*/ 0 w 1176793"/>
                    <a:gd name="connsiteY5" fmla="*/ 271918 h 850881"/>
                    <a:gd name="connsiteX6" fmla="*/ 2382 w 1176793"/>
                    <a:gd name="connsiteY6" fmla="*/ 266324 h 850881"/>
                    <a:gd name="connsiteX7" fmla="*/ 109078 w 1176793"/>
                    <a:gd name="connsiteY7" fmla="*/ 10877 h 850881"/>
                    <a:gd name="connsiteX8" fmla="*/ 113636 w 1176793"/>
                    <a:gd name="connsiteY8" fmla="*/ 0 h 850881"/>
                    <a:gd name="connsiteX9" fmla="*/ 125859 w 1176793"/>
                    <a:gd name="connsiteY9" fmla="*/ 7355 h 850881"/>
                    <a:gd name="connsiteX10" fmla="*/ 232140 w 1176793"/>
                    <a:gd name="connsiteY10" fmla="*/ 72097 h 850881"/>
                    <a:gd name="connsiteX11" fmla="*/ 1124860 w 1176793"/>
                    <a:gd name="connsiteY11" fmla="*/ 615208 h 850881"/>
                    <a:gd name="connsiteX12" fmla="*/ 1164430 w 1176793"/>
                    <a:gd name="connsiteY12" fmla="*/ 766861 h 85088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</a:cxnLst>
                  <a:rect l="l" t="t" r="r" b="b"/>
                  <a:pathLst>
                    <a:path w="1176793" h="850881">
                      <a:moveTo>
                        <a:pt x="1164430" y="766757"/>
                      </a:moveTo>
                      <a:cubicBezTo>
                        <a:pt x="1137912" y="830256"/>
                        <a:pt x="1077210" y="865373"/>
                        <a:pt x="1028834" y="845173"/>
                      </a:cubicBezTo>
                      <a:cubicBezTo>
                        <a:pt x="1024173" y="843205"/>
                        <a:pt x="1019718" y="840719"/>
                        <a:pt x="1015678" y="837922"/>
                      </a:cubicBezTo>
                      <a:lnTo>
                        <a:pt x="85149" y="319361"/>
                      </a:lnTo>
                      <a:lnTo>
                        <a:pt x="9219" y="277097"/>
                      </a:lnTo>
                      <a:lnTo>
                        <a:pt x="0" y="271918"/>
                      </a:lnTo>
                      <a:lnTo>
                        <a:pt x="2382" y="266324"/>
                      </a:lnTo>
                      <a:lnTo>
                        <a:pt x="109078" y="10877"/>
                      </a:lnTo>
                      <a:lnTo>
                        <a:pt x="113636" y="0"/>
                      </a:lnTo>
                      <a:lnTo>
                        <a:pt x="125859" y="7355"/>
                      </a:lnTo>
                      <a:lnTo>
                        <a:pt x="232140" y="72097"/>
                      </a:lnTo>
                      <a:lnTo>
                        <a:pt x="1124860" y="615208"/>
                      </a:lnTo>
                      <a:cubicBezTo>
                        <a:pt x="1173236" y="635408"/>
                        <a:pt x="1191053" y="703258"/>
                        <a:pt x="1164430" y="766861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10355" cap="rnd">
                  <a:solidFill>
                    <a:srgbClr val="263238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1711" name="Полилиния: фигура 1710">
                  <a:extLst>
                    <a:ext uri="{FF2B5EF4-FFF2-40B4-BE49-F238E27FC236}">
                      <a16:creationId xmlns:a16="http://schemas.microsoft.com/office/drawing/2014/main" id="{C523CB02-0F29-45C9-B91E-3B1CD8CA157D}"/>
                    </a:ext>
                  </a:extLst>
                </p:cNvPr>
                <p:cNvSpPr/>
                <p:nvPr/>
              </p:nvSpPr>
              <p:spPr>
                <a:xfrm>
                  <a:off x="7234133" y="2518566"/>
                  <a:ext cx="1138903" cy="829190"/>
                </a:xfrm>
                <a:custGeom>
                  <a:avLst/>
                  <a:gdLst>
                    <a:gd name="connsiteX0" fmla="*/ 1115951 w 1138903"/>
                    <a:gd name="connsiteY0" fmla="*/ 609718 h 829190"/>
                    <a:gd name="connsiteX1" fmla="*/ 232140 w 1138903"/>
                    <a:gd name="connsiteY1" fmla="*/ 72097 h 829190"/>
                    <a:gd name="connsiteX2" fmla="*/ 125859 w 1138903"/>
                    <a:gd name="connsiteY2" fmla="*/ 7355 h 829190"/>
                    <a:gd name="connsiteX3" fmla="*/ 113636 w 1138903"/>
                    <a:gd name="connsiteY3" fmla="*/ 0 h 829190"/>
                    <a:gd name="connsiteX4" fmla="*/ 109078 w 1138903"/>
                    <a:gd name="connsiteY4" fmla="*/ 10877 h 829190"/>
                    <a:gd name="connsiteX5" fmla="*/ 2382 w 1138903"/>
                    <a:gd name="connsiteY5" fmla="*/ 266324 h 829190"/>
                    <a:gd name="connsiteX6" fmla="*/ 0 w 1138903"/>
                    <a:gd name="connsiteY6" fmla="*/ 271918 h 829190"/>
                    <a:gd name="connsiteX7" fmla="*/ 9219 w 1138903"/>
                    <a:gd name="connsiteY7" fmla="*/ 277097 h 829190"/>
                    <a:gd name="connsiteX8" fmla="*/ 85149 w 1138903"/>
                    <a:gd name="connsiteY8" fmla="*/ 319361 h 829190"/>
                    <a:gd name="connsiteX9" fmla="*/ 994339 w 1138903"/>
                    <a:gd name="connsiteY9" fmla="*/ 826009 h 829190"/>
                    <a:gd name="connsiteX10" fmla="*/ 1126207 w 1138903"/>
                    <a:gd name="connsiteY10" fmla="*/ 742621 h 829190"/>
                    <a:gd name="connsiteX11" fmla="*/ 1115951 w 1138903"/>
                    <a:gd name="connsiteY11" fmla="*/ 609718 h 8291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</a:cxnLst>
                  <a:rect l="l" t="t" r="r" b="b"/>
                  <a:pathLst>
                    <a:path w="1138903" h="829190">
                      <a:moveTo>
                        <a:pt x="1115951" y="609718"/>
                      </a:moveTo>
                      <a:lnTo>
                        <a:pt x="232140" y="72097"/>
                      </a:lnTo>
                      <a:lnTo>
                        <a:pt x="125859" y="7355"/>
                      </a:lnTo>
                      <a:lnTo>
                        <a:pt x="113636" y="0"/>
                      </a:lnTo>
                      <a:lnTo>
                        <a:pt x="109078" y="10877"/>
                      </a:lnTo>
                      <a:lnTo>
                        <a:pt x="2382" y="266324"/>
                      </a:lnTo>
                      <a:lnTo>
                        <a:pt x="0" y="271918"/>
                      </a:lnTo>
                      <a:lnTo>
                        <a:pt x="9219" y="277097"/>
                      </a:lnTo>
                      <a:lnTo>
                        <a:pt x="85149" y="319361"/>
                      </a:lnTo>
                      <a:lnTo>
                        <a:pt x="994339" y="826009"/>
                      </a:lnTo>
                      <a:cubicBezTo>
                        <a:pt x="1042715" y="840408"/>
                        <a:pt x="1100413" y="804774"/>
                        <a:pt x="1126207" y="742621"/>
                      </a:cubicBezTo>
                      <a:cubicBezTo>
                        <a:pt x="1146924" y="693106"/>
                        <a:pt x="1141434" y="641105"/>
                        <a:pt x="1115951" y="609718"/>
                      </a:cubicBezTo>
                      <a:close/>
                    </a:path>
                  </a:pathLst>
                </a:custGeom>
                <a:solidFill>
                  <a:srgbClr val="8C8C8C"/>
                </a:solidFill>
                <a:ln w="10355" cap="rnd">
                  <a:solidFill>
                    <a:srgbClr val="263238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1712" name="Полилиния: фигура 1711">
                  <a:extLst>
                    <a:ext uri="{FF2B5EF4-FFF2-40B4-BE49-F238E27FC236}">
                      <a16:creationId xmlns:a16="http://schemas.microsoft.com/office/drawing/2014/main" id="{CE59E2FD-4BEF-41A2-AEE2-314973C61D03}"/>
                    </a:ext>
                  </a:extLst>
                </p:cNvPr>
                <p:cNvSpPr/>
                <p:nvPr/>
              </p:nvSpPr>
              <p:spPr>
                <a:xfrm>
                  <a:off x="7218862" y="2525921"/>
                  <a:ext cx="259081" cy="312100"/>
                </a:xfrm>
                <a:custGeom>
                  <a:avLst/>
                  <a:gdLst>
                    <a:gd name="connsiteX0" fmla="*/ 100317 w 259081"/>
                    <a:gd name="connsiteY0" fmla="*/ 312006 h 312100"/>
                    <a:gd name="connsiteX1" fmla="*/ 243061 w 259081"/>
                    <a:gd name="connsiteY1" fmla="*/ 203032 h 312100"/>
                    <a:gd name="connsiteX2" fmla="*/ 247411 w 259081"/>
                    <a:gd name="connsiteY2" fmla="*/ 64742 h 312100"/>
                    <a:gd name="connsiteX3" fmla="*/ 141130 w 259081"/>
                    <a:gd name="connsiteY3" fmla="*/ 0 h 312100"/>
                    <a:gd name="connsiteX4" fmla="*/ 124246 w 259081"/>
                    <a:gd name="connsiteY4" fmla="*/ 3418 h 312100"/>
                    <a:gd name="connsiteX5" fmla="*/ 15996 w 259081"/>
                    <a:gd name="connsiteY5" fmla="*/ 108146 h 312100"/>
                    <a:gd name="connsiteX6" fmla="*/ 17550 w 259081"/>
                    <a:gd name="connsiteY6" fmla="*/ 258866 h 312100"/>
                    <a:gd name="connsiteX7" fmla="*/ 24490 w 259081"/>
                    <a:gd name="connsiteY7" fmla="*/ 269639 h 3121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259081" h="312100">
                      <a:moveTo>
                        <a:pt x="100317" y="312006"/>
                      </a:moveTo>
                      <a:cubicBezTo>
                        <a:pt x="155425" y="314389"/>
                        <a:pt x="214470" y="271400"/>
                        <a:pt x="243061" y="203032"/>
                      </a:cubicBezTo>
                      <a:cubicBezTo>
                        <a:pt x="263468" y="154139"/>
                        <a:pt x="263778" y="103484"/>
                        <a:pt x="247411" y="64742"/>
                      </a:cubicBezTo>
                      <a:lnTo>
                        <a:pt x="141130" y="0"/>
                      </a:lnTo>
                      <a:cubicBezTo>
                        <a:pt x="135537" y="725"/>
                        <a:pt x="129943" y="1865"/>
                        <a:pt x="124246" y="3418"/>
                      </a:cubicBezTo>
                      <a:cubicBezTo>
                        <a:pt x="80428" y="15745"/>
                        <a:pt x="38578" y="53969"/>
                        <a:pt x="15996" y="108146"/>
                      </a:cubicBezTo>
                      <a:cubicBezTo>
                        <a:pt x="-6689" y="162426"/>
                        <a:pt x="-4411" y="219088"/>
                        <a:pt x="17550" y="258866"/>
                      </a:cubicBezTo>
                      <a:cubicBezTo>
                        <a:pt x="19725" y="262595"/>
                        <a:pt x="21901" y="266221"/>
                        <a:pt x="24490" y="269639"/>
                      </a:cubicBezTo>
                    </a:path>
                  </a:pathLst>
                </a:custGeom>
                <a:solidFill>
                  <a:srgbClr val="FFFFFF"/>
                </a:solidFill>
                <a:ln w="10355" cap="rnd">
                  <a:solidFill>
                    <a:srgbClr val="263238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1713" name="Полилиния: фигура 1712">
                  <a:extLst>
                    <a:ext uri="{FF2B5EF4-FFF2-40B4-BE49-F238E27FC236}">
                      <a16:creationId xmlns:a16="http://schemas.microsoft.com/office/drawing/2014/main" id="{B4D54435-AB2A-4012-8A59-F781B375BA30}"/>
                    </a:ext>
                  </a:extLst>
                </p:cNvPr>
                <p:cNvSpPr/>
                <p:nvPr/>
              </p:nvSpPr>
              <p:spPr>
                <a:xfrm>
                  <a:off x="7360613" y="2681406"/>
                  <a:ext cx="740904" cy="486737"/>
                </a:xfrm>
                <a:custGeom>
                  <a:avLst/>
                  <a:gdLst>
                    <a:gd name="connsiteX0" fmla="*/ 41332 w 740904"/>
                    <a:gd name="connsiteY0" fmla="*/ 0 h 486737"/>
                    <a:gd name="connsiteX1" fmla="*/ 731641 w 740904"/>
                    <a:gd name="connsiteY1" fmla="*/ 449260 h 486737"/>
                    <a:gd name="connsiteX2" fmla="*/ 738581 w 740904"/>
                    <a:gd name="connsiteY2" fmla="*/ 475779 h 486737"/>
                    <a:gd name="connsiteX3" fmla="*/ 738581 w 740904"/>
                    <a:gd name="connsiteY3" fmla="*/ 475779 h 486737"/>
                    <a:gd name="connsiteX4" fmla="*/ 710094 w 740904"/>
                    <a:gd name="connsiteY4" fmla="*/ 483859 h 486737"/>
                    <a:gd name="connsiteX5" fmla="*/ 0 w 740904"/>
                    <a:gd name="connsiteY5" fmla="*/ 64121 h 486737"/>
                    <a:gd name="connsiteX6" fmla="*/ 41228 w 740904"/>
                    <a:gd name="connsiteY6" fmla="*/ 0 h 48673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40904" h="486737">
                      <a:moveTo>
                        <a:pt x="41332" y="0"/>
                      </a:moveTo>
                      <a:lnTo>
                        <a:pt x="731641" y="449260"/>
                      </a:lnTo>
                      <a:cubicBezTo>
                        <a:pt x="740446" y="454958"/>
                        <a:pt x="743450" y="466456"/>
                        <a:pt x="738581" y="475779"/>
                      </a:cubicBezTo>
                      <a:lnTo>
                        <a:pt x="738581" y="475779"/>
                      </a:lnTo>
                      <a:cubicBezTo>
                        <a:pt x="733194" y="486138"/>
                        <a:pt x="720142" y="489867"/>
                        <a:pt x="710094" y="483859"/>
                      </a:cubicBezTo>
                      <a:lnTo>
                        <a:pt x="0" y="64121"/>
                      </a:lnTo>
                      <a:lnTo>
                        <a:pt x="41228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10355" cap="rnd">
                  <a:solidFill>
                    <a:srgbClr val="263238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1714" name="Полилиния: фигура 1713">
                  <a:extLst>
                    <a:ext uri="{FF2B5EF4-FFF2-40B4-BE49-F238E27FC236}">
                      <a16:creationId xmlns:a16="http://schemas.microsoft.com/office/drawing/2014/main" id="{A5D55E78-3482-42C1-8BCD-5EEE2A2DD752}"/>
                    </a:ext>
                  </a:extLst>
                </p:cNvPr>
                <p:cNvSpPr/>
                <p:nvPr/>
              </p:nvSpPr>
              <p:spPr>
                <a:xfrm>
                  <a:off x="7172641" y="2511694"/>
                  <a:ext cx="236411" cy="285558"/>
                </a:xfrm>
                <a:custGeom>
                  <a:avLst/>
                  <a:gdLst>
                    <a:gd name="connsiteX0" fmla="*/ 221846 w 236411"/>
                    <a:gd name="connsiteY0" fmla="*/ 186079 h 285558"/>
                    <a:gd name="connsiteX1" fmla="*/ 61388 w 236411"/>
                    <a:gd name="connsiteY1" fmla="*/ 278790 h 285558"/>
                    <a:gd name="connsiteX2" fmla="*/ 14566 w 236411"/>
                    <a:gd name="connsiteY2" fmla="*/ 99480 h 285558"/>
                    <a:gd name="connsiteX3" fmla="*/ 175024 w 236411"/>
                    <a:gd name="connsiteY3" fmla="*/ 6769 h 285558"/>
                    <a:gd name="connsiteX4" fmla="*/ 221846 w 236411"/>
                    <a:gd name="connsiteY4" fmla="*/ 186079 h 28555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236411" h="285558">
                      <a:moveTo>
                        <a:pt x="221846" y="186079"/>
                      </a:moveTo>
                      <a:cubicBezTo>
                        <a:pt x="190459" y="261180"/>
                        <a:pt x="118672" y="302719"/>
                        <a:pt x="61388" y="278790"/>
                      </a:cubicBezTo>
                      <a:cubicBezTo>
                        <a:pt x="4208" y="254861"/>
                        <a:pt x="-16821" y="174581"/>
                        <a:pt x="14566" y="99480"/>
                      </a:cubicBezTo>
                      <a:cubicBezTo>
                        <a:pt x="45954" y="24379"/>
                        <a:pt x="117740" y="-17160"/>
                        <a:pt x="175024" y="6769"/>
                      </a:cubicBezTo>
                      <a:cubicBezTo>
                        <a:pt x="232204" y="30697"/>
                        <a:pt x="253233" y="110978"/>
                        <a:pt x="221846" y="186079"/>
                      </a:cubicBezTo>
                      <a:close/>
                    </a:path>
                  </a:pathLst>
                </a:custGeom>
                <a:solidFill>
                  <a:srgbClr val="8C8C8C"/>
                </a:solidFill>
                <a:ln w="10355" cap="rnd">
                  <a:solidFill>
                    <a:srgbClr val="263238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1715" name="Полилиния: фигура 1714">
                  <a:extLst>
                    <a:ext uri="{FF2B5EF4-FFF2-40B4-BE49-F238E27FC236}">
                      <a16:creationId xmlns:a16="http://schemas.microsoft.com/office/drawing/2014/main" id="{D92E56D7-CF85-4095-834B-DEA61864A50F}"/>
                    </a:ext>
                  </a:extLst>
                </p:cNvPr>
                <p:cNvSpPr/>
                <p:nvPr/>
              </p:nvSpPr>
              <p:spPr>
                <a:xfrm>
                  <a:off x="7069077" y="2508428"/>
                  <a:ext cx="314419" cy="258045"/>
                </a:xfrm>
                <a:custGeom>
                  <a:avLst/>
                  <a:gdLst>
                    <a:gd name="connsiteX0" fmla="*/ 303035 w 314419"/>
                    <a:gd name="connsiteY0" fmla="*/ 180021 h 258045"/>
                    <a:gd name="connsiteX1" fmla="*/ 177176 w 314419"/>
                    <a:gd name="connsiteY1" fmla="*/ 252740 h 258045"/>
                    <a:gd name="connsiteX2" fmla="*/ 2630 w 314419"/>
                    <a:gd name="connsiteY2" fmla="*/ 27229 h 258045"/>
                    <a:gd name="connsiteX3" fmla="*/ 266261 w 314419"/>
                    <a:gd name="connsiteY3" fmla="*/ 39349 h 258045"/>
                    <a:gd name="connsiteX4" fmla="*/ 303035 w 314419"/>
                    <a:gd name="connsiteY4" fmla="*/ 180021 h 25804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14419" h="258045">
                      <a:moveTo>
                        <a:pt x="303035" y="180021"/>
                      </a:moveTo>
                      <a:cubicBezTo>
                        <a:pt x="278381" y="238963"/>
                        <a:pt x="222133" y="271490"/>
                        <a:pt x="177176" y="252740"/>
                      </a:cubicBezTo>
                      <a:cubicBezTo>
                        <a:pt x="132322" y="233991"/>
                        <a:pt x="-21920" y="86171"/>
                        <a:pt x="2630" y="27229"/>
                      </a:cubicBezTo>
                      <a:cubicBezTo>
                        <a:pt x="27284" y="-31712"/>
                        <a:pt x="221408" y="20600"/>
                        <a:pt x="266261" y="39349"/>
                      </a:cubicBezTo>
                      <a:cubicBezTo>
                        <a:pt x="311115" y="58099"/>
                        <a:pt x="327585" y="121080"/>
                        <a:pt x="303035" y="180021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10355" cap="rnd">
                  <a:solidFill>
                    <a:srgbClr val="263238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</p:grpSp>
        </p:grpSp>
        <p:sp>
          <p:nvSpPr>
            <p:cNvPr id="1716" name="Полилиния: фигура 1715">
              <a:extLst>
                <a:ext uri="{FF2B5EF4-FFF2-40B4-BE49-F238E27FC236}">
                  <a16:creationId xmlns:a16="http://schemas.microsoft.com/office/drawing/2014/main" id="{9E0EB44E-DCF4-4574-90C0-24CD6D9083A2}"/>
                </a:ext>
              </a:extLst>
            </p:cNvPr>
            <p:cNvSpPr/>
            <p:nvPr/>
          </p:nvSpPr>
          <p:spPr>
            <a:xfrm>
              <a:off x="8817578" y="3638879"/>
              <a:ext cx="268323" cy="160445"/>
            </a:xfrm>
            <a:custGeom>
              <a:avLst/>
              <a:gdLst>
                <a:gd name="connsiteX0" fmla="*/ 8078 w 268323"/>
                <a:gd name="connsiteY0" fmla="*/ 26196 h 160445"/>
                <a:gd name="connsiteX1" fmla="*/ 64015 w 268323"/>
                <a:gd name="connsiteY1" fmla="*/ 92 h 160445"/>
                <a:gd name="connsiteX2" fmla="*/ 99442 w 268323"/>
                <a:gd name="connsiteY2" fmla="*/ 11280 h 160445"/>
                <a:gd name="connsiteX3" fmla="*/ 147922 w 268323"/>
                <a:gd name="connsiteY3" fmla="*/ 44842 h 160445"/>
                <a:gd name="connsiteX4" fmla="*/ 213182 w 268323"/>
                <a:gd name="connsiteY4" fmla="*/ 57894 h 160445"/>
                <a:gd name="connsiteX5" fmla="*/ 170297 w 268323"/>
                <a:gd name="connsiteY5" fmla="*/ 78404 h 160445"/>
                <a:gd name="connsiteX6" fmla="*/ 129276 w 268323"/>
                <a:gd name="connsiteY6" fmla="*/ 78404 h 160445"/>
                <a:gd name="connsiteX7" fmla="*/ 192671 w 268323"/>
                <a:gd name="connsiteY7" fmla="*/ 111967 h 160445"/>
                <a:gd name="connsiteX8" fmla="*/ 267255 w 268323"/>
                <a:gd name="connsiteY8" fmla="*/ 147394 h 160445"/>
                <a:gd name="connsiteX9" fmla="*/ 164599 w 268323"/>
                <a:gd name="connsiteY9" fmla="*/ 156717 h 160445"/>
                <a:gd name="connsiteX10" fmla="*/ 114256 w 268323"/>
                <a:gd name="connsiteY10" fmla="*/ 160446 h 160445"/>
                <a:gd name="connsiteX11" fmla="*/ 50860 w 268323"/>
                <a:gd name="connsiteY11" fmla="*/ 102644 h 160445"/>
                <a:gd name="connsiteX12" fmla="*/ 6110 w 268323"/>
                <a:gd name="connsiteY12" fmla="*/ 54165 h 160445"/>
                <a:gd name="connsiteX13" fmla="*/ 7974 w 268323"/>
                <a:gd name="connsiteY13" fmla="*/ 26196 h 1604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68323" h="160445">
                  <a:moveTo>
                    <a:pt x="8078" y="26196"/>
                  </a:moveTo>
                  <a:lnTo>
                    <a:pt x="64015" y="92"/>
                  </a:lnTo>
                  <a:cubicBezTo>
                    <a:pt x="64015" y="92"/>
                    <a:pt x="82661" y="-1773"/>
                    <a:pt x="99442" y="11280"/>
                  </a:cubicBezTo>
                  <a:cubicBezTo>
                    <a:pt x="116224" y="24332"/>
                    <a:pt x="147922" y="44842"/>
                    <a:pt x="147922" y="44842"/>
                  </a:cubicBezTo>
                  <a:cubicBezTo>
                    <a:pt x="147922" y="44842"/>
                    <a:pt x="211317" y="48571"/>
                    <a:pt x="213182" y="57894"/>
                  </a:cubicBezTo>
                  <a:cubicBezTo>
                    <a:pt x="215046" y="67217"/>
                    <a:pt x="175890" y="78404"/>
                    <a:pt x="170297" y="78404"/>
                  </a:cubicBezTo>
                  <a:lnTo>
                    <a:pt x="129276" y="78404"/>
                  </a:lnTo>
                  <a:cubicBezTo>
                    <a:pt x="129276" y="78404"/>
                    <a:pt x="187078" y="108238"/>
                    <a:pt x="192671" y="111967"/>
                  </a:cubicBezTo>
                  <a:cubicBezTo>
                    <a:pt x="198265" y="115696"/>
                    <a:pt x="278442" y="139935"/>
                    <a:pt x="267255" y="147394"/>
                  </a:cubicBezTo>
                  <a:cubicBezTo>
                    <a:pt x="256067" y="154852"/>
                    <a:pt x="181484" y="152988"/>
                    <a:pt x="164599" y="156717"/>
                  </a:cubicBezTo>
                  <a:cubicBezTo>
                    <a:pt x="147818" y="160446"/>
                    <a:pt x="114256" y="160446"/>
                    <a:pt x="114256" y="160446"/>
                  </a:cubicBezTo>
                  <a:lnTo>
                    <a:pt x="50860" y="102644"/>
                  </a:lnTo>
                  <a:lnTo>
                    <a:pt x="6110" y="54165"/>
                  </a:lnTo>
                  <a:cubicBezTo>
                    <a:pt x="6110" y="54165"/>
                    <a:pt x="-8807" y="37384"/>
                    <a:pt x="7974" y="26196"/>
                  </a:cubicBezTo>
                  <a:close/>
                </a:path>
              </a:pathLst>
            </a:custGeom>
            <a:solidFill>
              <a:srgbClr val="FFFFFF"/>
            </a:solidFill>
            <a:ln w="10355" cap="rnd">
              <a:solidFill>
                <a:srgbClr val="263238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717" name="Полилиния: фигура 1716">
              <a:extLst>
                <a:ext uri="{FF2B5EF4-FFF2-40B4-BE49-F238E27FC236}">
                  <a16:creationId xmlns:a16="http://schemas.microsoft.com/office/drawing/2014/main" id="{A169E21A-B175-4B24-B2F4-9E742569951C}"/>
                </a:ext>
              </a:extLst>
            </p:cNvPr>
            <p:cNvSpPr/>
            <p:nvPr/>
          </p:nvSpPr>
          <p:spPr>
            <a:xfrm>
              <a:off x="7223654" y="2780623"/>
              <a:ext cx="195383" cy="231773"/>
            </a:xfrm>
            <a:custGeom>
              <a:avLst/>
              <a:gdLst>
                <a:gd name="connsiteX0" fmla="*/ 195383 w 195383"/>
                <a:gd name="connsiteY0" fmla="*/ 214758 h 231773"/>
                <a:gd name="connsiteX1" fmla="*/ 191654 w 195383"/>
                <a:gd name="connsiteY1" fmla="*/ 140175 h 231773"/>
                <a:gd name="connsiteX2" fmla="*/ 173008 w 195383"/>
                <a:gd name="connsiteY2" fmla="*/ 65592 h 231773"/>
                <a:gd name="connsiteX3" fmla="*/ 92831 w 195383"/>
                <a:gd name="connsiteY3" fmla="*/ 24571 h 231773"/>
                <a:gd name="connsiteX4" fmla="*/ 62998 w 195383"/>
                <a:gd name="connsiteY4" fmla="*/ 43217 h 231773"/>
                <a:gd name="connsiteX5" fmla="*/ 113342 w 195383"/>
                <a:gd name="connsiteY5" fmla="*/ 80508 h 231773"/>
                <a:gd name="connsiteX6" fmla="*/ 102154 w 195383"/>
                <a:gd name="connsiteY6" fmla="*/ 97289 h 231773"/>
                <a:gd name="connsiteX7" fmla="*/ 61134 w 195383"/>
                <a:gd name="connsiteY7" fmla="*/ 61862 h 231773"/>
                <a:gd name="connsiteX8" fmla="*/ 7061 w 195383"/>
                <a:gd name="connsiteY8" fmla="*/ 331 h 231773"/>
                <a:gd name="connsiteX9" fmla="*/ 7061 w 195383"/>
                <a:gd name="connsiteY9" fmla="*/ 28300 h 231773"/>
                <a:gd name="connsiteX10" fmla="*/ 31300 w 195383"/>
                <a:gd name="connsiteY10" fmla="*/ 142143 h 231773"/>
                <a:gd name="connsiteX11" fmla="*/ 113342 w 195383"/>
                <a:gd name="connsiteY11" fmla="*/ 179434 h 231773"/>
                <a:gd name="connsiteX12" fmla="*/ 118936 w 195383"/>
                <a:gd name="connsiteY12" fmla="*/ 226049 h 231773"/>
                <a:gd name="connsiteX13" fmla="*/ 184196 w 195383"/>
                <a:gd name="connsiteY13" fmla="*/ 231643 h 231773"/>
                <a:gd name="connsiteX14" fmla="*/ 195383 w 195383"/>
                <a:gd name="connsiteY14" fmla="*/ 214861 h 2317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95383" h="231773">
                  <a:moveTo>
                    <a:pt x="195383" y="214758"/>
                  </a:moveTo>
                  <a:cubicBezTo>
                    <a:pt x="195383" y="214758"/>
                    <a:pt x="191654" y="164414"/>
                    <a:pt x="191654" y="140175"/>
                  </a:cubicBezTo>
                  <a:cubicBezTo>
                    <a:pt x="191654" y="115935"/>
                    <a:pt x="178602" y="69321"/>
                    <a:pt x="173008" y="65592"/>
                  </a:cubicBezTo>
                  <a:cubicBezTo>
                    <a:pt x="167415" y="61862"/>
                    <a:pt x="109613" y="39487"/>
                    <a:pt x="92831" y="24571"/>
                  </a:cubicBezTo>
                  <a:cubicBezTo>
                    <a:pt x="76050" y="9654"/>
                    <a:pt x="55540" y="30164"/>
                    <a:pt x="62998" y="43217"/>
                  </a:cubicBezTo>
                  <a:cubicBezTo>
                    <a:pt x="70457" y="56269"/>
                    <a:pt x="113342" y="80508"/>
                    <a:pt x="113342" y="80508"/>
                  </a:cubicBezTo>
                  <a:lnTo>
                    <a:pt x="102154" y="97289"/>
                  </a:lnTo>
                  <a:lnTo>
                    <a:pt x="61134" y="61862"/>
                  </a:lnTo>
                  <a:cubicBezTo>
                    <a:pt x="61134" y="61862"/>
                    <a:pt x="18248" y="-5263"/>
                    <a:pt x="7061" y="331"/>
                  </a:cubicBezTo>
                  <a:cubicBezTo>
                    <a:pt x="-4127" y="5925"/>
                    <a:pt x="-398" y="15248"/>
                    <a:pt x="7061" y="28300"/>
                  </a:cubicBezTo>
                  <a:cubicBezTo>
                    <a:pt x="14519" y="41352"/>
                    <a:pt x="10790" y="125258"/>
                    <a:pt x="31300" y="142143"/>
                  </a:cubicBezTo>
                  <a:cubicBezTo>
                    <a:pt x="51811" y="158924"/>
                    <a:pt x="113342" y="179434"/>
                    <a:pt x="113342" y="179434"/>
                  </a:cubicBezTo>
                  <a:lnTo>
                    <a:pt x="118936" y="226049"/>
                  </a:lnTo>
                  <a:cubicBezTo>
                    <a:pt x="118936" y="226049"/>
                    <a:pt x="176738" y="229778"/>
                    <a:pt x="184196" y="231643"/>
                  </a:cubicBezTo>
                  <a:cubicBezTo>
                    <a:pt x="191654" y="233507"/>
                    <a:pt x="195383" y="214861"/>
                    <a:pt x="195383" y="214861"/>
                  </a:cubicBezTo>
                  <a:close/>
                </a:path>
              </a:pathLst>
            </a:custGeom>
            <a:solidFill>
              <a:srgbClr val="FFFFFF"/>
            </a:solidFill>
            <a:ln w="10355" cap="rnd">
              <a:solidFill>
                <a:srgbClr val="263238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718" name="Полилиния: фигура 1717">
              <a:extLst>
                <a:ext uri="{FF2B5EF4-FFF2-40B4-BE49-F238E27FC236}">
                  <a16:creationId xmlns:a16="http://schemas.microsoft.com/office/drawing/2014/main" id="{90828A6D-0B12-4618-A07A-0885F6CB6BC6}"/>
                </a:ext>
              </a:extLst>
            </p:cNvPr>
            <p:cNvSpPr/>
            <p:nvPr/>
          </p:nvSpPr>
          <p:spPr>
            <a:xfrm>
              <a:off x="7295767" y="2989087"/>
              <a:ext cx="132788" cy="77146"/>
            </a:xfrm>
            <a:custGeom>
              <a:avLst/>
              <a:gdLst>
                <a:gd name="connsiteX0" fmla="*/ 104 w 132788"/>
                <a:gd name="connsiteY0" fmla="*/ 77147 h 77146"/>
                <a:gd name="connsiteX1" fmla="*/ 7562 w 132788"/>
                <a:gd name="connsiteY1" fmla="*/ 26803 h 77146"/>
                <a:gd name="connsiteX2" fmla="*/ 48583 w 132788"/>
                <a:gd name="connsiteY2" fmla="*/ 2564 h 77146"/>
                <a:gd name="connsiteX3" fmla="*/ 123166 w 132788"/>
                <a:gd name="connsiteY3" fmla="*/ 6293 h 77146"/>
                <a:gd name="connsiteX4" fmla="*/ 132489 w 132788"/>
                <a:gd name="connsiteY4" fmla="*/ 19345 h 77146"/>
                <a:gd name="connsiteX5" fmla="*/ 126895 w 132788"/>
                <a:gd name="connsiteY5" fmla="*/ 73418 h 77146"/>
                <a:gd name="connsiteX6" fmla="*/ 0 w 132788"/>
                <a:gd name="connsiteY6" fmla="*/ 77147 h 771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32788" h="77146">
                  <a:moveTo>
                    <a:pt x="104" y="77147"/>
                  </a:moveTo>
                  <a:lnTo>
                    <a:pt x="7562" y="26803"/>
                  </a:lnTo>
                  <a:cubicBezTo>
                    <a:pt x="7562" y="26803"/>
                    <a:pt x="5697" y="10022"/>
                    <a:pt x="48583" y="2564"/>
                  </a:cubicBezTo>
                  <a:cubicBezTo>
                    <a:pt x="91468" y="-4895"/>
                    <a:pt x="123166" y="6293"/>
                    <a:pt x="123166" y="6293"/>
                  </a:cubicBezTo>
                  <a:cubicBezTo>
                    <a:pt x="123166" y="6293"/>
                    <a:pt x="130624" y="8158"/>
                    <a:pt x="132489" y="19345"/>
                  </a:cubicBezTo>
                  <a:cubicBezTo>
                    <a:pt x="134353" y="30532"/>
                    <a:pt x="126895" y="73418"/>
                    <a:pt x="126895" y="73418"/>
                  </a:cubicBezTo>
                  <a:cubicBezTo>
                    <a:pt x="126895" y="73418"/>
                    <a:pt x="59770" y="47314"/>
                    <a:pt x="0" y="77147"/>
                  </a:cubicBezTo>
                  <a:close/>
                </a:path>
              </a:pathLst>
            </a:custGeom>
            <a:solidFill>
              <a:srgbClr val="FFFFFF"/>
            </a:solidFill>
            <a:ln w="10355" cap="rnd">
              <a:solidFill>
                <a:srgbClr val="263238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ru-RU"/>
            </a:p>
          </p:txBody>
        </p:sp>
        <p:grpSp>
          <p:nvGrpSpPr>
            <p:cNvPr id="1719" name="Рисунок 1613">
              <a:extLst>
                <a:ext uri="{FF2B5EF4-FFF2-40B4-BE49-F238E27FC236}">
                  <a16:creationId xmlns:a16="http://schemas.microsoft.com/office/drawing/2014/main" id="{27EF9208-9FFB-42A3-9B09-1055A96DBB1C}"/>
                </a:ext>
              </a:extLst>
            </p:cNvPr>
            <p:cNvGrpSpPr/>
            <p:nvPr/>
          </p:nvGrpSpPr>
          <p:grpSpPr>
            <a:xfrm>
              <a:off x="8044189" y="5505002"/>
              <a:ext cx="408311" cy="187183"/>
              <a:chOff x="8044189" y="5505002"/>
              <a:chExt cx="408311" cy="187183"/>
            </a:xfrm>
          </p:grpSpPr>
          <p:sp>
            <p:nvSpPr>
              <p:cNvPr id="1720" name="Полилиния: фигура 1719">
                <a:extLst>
                  <a:ext uri="{FF2B5EF4-FFF2-40B4-BE49-F238E27FC236}">
                    <a16:creationId xmlns:a16="http://schemas.microsoft.com/office/drawing/2014/main" id="{FDF228FD-049E-48F2-82A7-134AF6A13EC8}"/>
                  </a:ext>
                </a:extLst>
              </p:cNvPr>
              <p:cNvSpPr/>
              <p:nvPr/>
            </p:nvSpPr>
            <p:spPr>
              <a:xfrm>
                <a:off x="8044189" y="5505002"/>
                <a:ext cx="408311" cy="187183"/>
              </a:xfrm>
              <a:custGeom>
                <a:avLst/>
                <a:gdLst>
                  <a:gd name="connsiteX0" fmla="*/ 0 w 408311"/>
                  <a:gd name="connsiteY0" fmla="*/ 37395 h 187183"/>
                  <a:gd name="connsiteX1" fmla="*/ 0 w 408311"/>
                  <a:gd name="connsiteY1" fmla="*/ 171541 h 187183"/>
                  <a:gd name="connsiteX2" fmla="*/ 121612 w 408311"/>
                  <a:gd name="connsiteY2" fmla="*/ 187183 h 187183"/>
                  <a:gd name="connsiteX3" fmla="*/ 358724 w 408311"/>
                  <a:gd name="connsiteY3" fmla="*/ 140361 h 187183"/>
                  <a:gd name="connsiteX4" fmla="*/ 402439 w 408311"/>
                  <a:gd name="connsiteY4" fmla="*/ 74894 h 187183"/>
                  <a:gd name="connsiteX5" fmla="*/ 293257 w 408311"/>
                  <a:gd name="connsiteY5" fmla="*/ 53037 h 187183"/>
                  <a:gd name="connsiteX6" fmla="*/ 212148 w 408311"/>
                  <a:gd name="connsiteY6" fmla="*/ 0 h 187183"/>
                  <a:gd name="connsiteX7" fmla="*/ 0 w 408311"/>
                  <a:gd name="connsiteY7" fmla="*/ 37395 h 1871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08311" h="187183">
                    <a:moveTo>
                      <a:pt x="0" y="37395"/>
                    </a:moveTo>
                    <a:lnTo>
                      <a:pt x="0" y="171541"/>
                    </a:lnTo>
                    <a:cubicBezTo>
                      <a:pt x="0" y="171541"/>
                      <a:pt x="31180" y="187183"/>
                      <a:pt x="121612" y="187183"/>
                    </a:cubicBezTo>
                    <a:cubicBezTo>
                      <a:pt x="212044" y="187183"/>
                      <a:pt x="315010" y="159111"/>
                      <a:pt x="358724" y="140361"/>
                    </a:cubicBezTo>
                    <a:cubicBezTo>
                      <a:pt x="402439" y="121612"/>
                      <a:pt x="417977" y="81109"/>
                      <a:pt x="402439" y="74894"/>
                    </a:cubicBezTo>
                    <a:cubicBezTo>
                      <a:pt x="386900" y="68679"/>
                      <a:pt x="308899" y="65571"/>
                      <a:pt x="293257" y="53037"/>
                    </a:cubicBezTo>
                    <a:cubicBezTo>
                      <a:pt x="277615" y="40606"/>
                      <a:pt x="212148" y="0"/>
                      <a:pt x="212148" y="0"/>
                    </a:cubicBezTo>
                    <a:cubicBezTo>
                      <a:pt x="212148" y="0"/>
                      <a:pt x="56145" y="46822"/>
                      <a:pt x="0" y="37395"/>
                    </a:cubicBezTo>
                    <a:close/>
                  </a:path>
                </a:pathLst>
              </a:custGeom>
              <a:solidFill>
                <a:srgbClr val="21A038"/>
              </a:solidFill>
              <a:ln w="10355" cap="flat">
                <a:solidFill>
                  <a:srgbClr val="000000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721" name="Полилиния: фигура 1720">
                <a:extLst>
                  <a:ext uri="{FF2B5EF4-FFF2-40B4-BE49-F238E27FC236}">
                    <a16:creationId xmlns:a16="http://schemas.microsoft.com/office/drawing/2014/main" id="{E9BC0195-F743-402B-9473-CF792D7DDF5A}"/>
                  </a:ext>
                </a:extLst>
              </p:cNvPr>
              <p:cNvSpPr/>
              <p:nvPr/>
            </p:nvSpPr>
            <p:spPr>
              <a:xfrm>
                <a:off x="8044189" y="5592120"/>
                <a:ext cx="408135" cy="99962"/>
              </a:xfrm>
              <a:custGeom>
                <a:avLst/>
                <a:gdLst>
                  <a:gd name="connsiteX0" fmla="*/ 408136 w 408135"/>
                  <a:gd name="connsiteY0" fmla="*/ 0 h 99962"/>
                  <a:gd name="connsiteX1" fmla="*/ 201167 w 408135"/>
                  <a:gd name="connsiteY1" fmla="*/ 60495 h 99962"/>
                  <a:gd name="connsiteX2" fmla="*/ 0 w 408135"/>
                  <a:gd name="connsiteY2" fmla="*/ 55420 h 99962"/>
                  <a:gd name="connsiteX3" fmla="*/ 0 w 408135"/>
                  <a:gd name="connsiteY3" fmla="*/ 84320 h 99962"/>
                  <a:gd name="connsiteX4" fmla="*/ 121612 w 408135"/>
                  <a:gd name="connsiteY4" fmla="*/ 99962 h 99962"/>
                  <a:gd name="connsiteX5" fmla="*/ 358724 w 408135"/>
                  <a:gd name="connsiteY5" fmla="*/ 53141 h 99962"/>
                  <a:gd name="connsiteX6" fmla="*/ 408136 w 408135"/>
                  <a:gd name="connsiteY6" fmla="*/ 0 h 999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08135" h="99962">
                    <a:moveTo>
                      <a:pt x="408136" y="0"/>
                    </a:moveTo>
                    <a:cubicBezTo>
                      <a:pt x="367012" y="19475"/>
                      <a:pt x="293671" y="48479"/>
                      <a:pt x="201167" y="60495"/>
                    </a:cubicBezTo>
                    <a:cubicBezTo>
                      <a:pt x="93436" y="74376"/>
                      <a:pt x="27036" y="62463"/>
                      <a:pt x="0" y="55420"/>
                    </a:cubicBezTo>
                    <a:lnTo>
                      <a:pt x="0" y="84320"/>
                    </a:lnTo>
                    <a:cubicBezTo>
                      <a:pt x="0" y="84320"/>
                      <a:pt x="31180" y="99962"/>
                      <a:pt x="121612" y="99962"/>
                    </a:cubicBezTo>
                    <a:cubicBezTo>
                      <a:pt x="212044" y="99962"/>
                      <a:pt x="315010" y="71890"/>
                      <a:pt x="358724" y="53141"/>
                    </a:cubicBezTo>
                    <a:cubicBezTo>
                      <a:pt x="390008" y="39778"/>
                      <a:pt x="406789" y="15124"/>
                      <a:pt x="408136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 w="10355" cap="rnd">
                <a:solidFill>
                  <a:srgbClr val="263238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</p:grpSp>
        <p:sp>
          <p:nvSpPr>
            <p:cNvPr id="1722" name="Полилиния: фигура 1721">
              <a:extLst>
                <a:ext uri="{FF2B5EF4-FFF2-40B4-BE49-F238E27FC236}">
                  <a16:creationId xmlns:a16="http://schemas.microsoft.com/office/drawing/2014/main" id="{236AFB9F-5F6A-480D-AEC9-8520DC705787}"/>
                </a:ext>
              </a:extLst>
            </p:cNvPr>
            <p:cNvSpPr/>
            <p:nvPr/>
          </p:nvSpPr>
          <p:spPr>
            <a:xfrm>
              <a:off x="7083516" y="4194306"/>
              <a:ext cx="1258630" cy="1363526"/>
            </a:xfrm>
            <a:custGeom>
              <a:avLst/>
              <a:gdLst>
                <a:gd name="connsiteX0" fmla="*/ 1007495 w 1258630"/>
                <a:gd name="connsiteY0" fmla="*/ 59667 h 1363526"/>
                <a:gd name="connsiteX1" fmla="*/ 1023137 w 1258630"/>
                <a:gd name="connsiteY1" fmla="*/ 103380 h 1363526"/>
                <a:gd name="connsiteX2" fmla="*/ 1135426 w 1258630"/>
                <a:gd name="connsiteY2" fmla="*/ 318636 h 1363526"/>
                <a:gd name="connsiteX3" fmla="*/ 1247715 w 1258630"/>
                <a:gd name="connsiteY3" fmla="*/ 621216 h 1363526"/>
                <a:gd name="connsiteX4" fmla="*/ 1250823 w 1258630"/>
                <a:gd name="connsiteY4" fmla="*/ 693002 h 1363526"/>
                <a:gd name="connsiteX5" fmla="*/ 1166606 w 1258630"/>
                <a:gd name="connsiteY5" fmla="*/ 1223268 h 1363526"/>
                <a:gd name="connsiteX6" fmla="*/ 1169713 w 1258630"/>
                <a:gd name="connsiteY6" fmla="*/ 1251341 h 1363526"/>
                <a:gd name="connsiteX7" fmla="*/ 1182144 w 1258630"/>
                <a:gd name="connsiteY7" fmla="*/ 1316808 h 1363526"/>
                <a:gd name="connsiteX8" fmla="*/ 1107250 w 1258630"/>
                <a:gd name="connsiteY8" fmla="*/ 1354203 h 1363526"/>
                <a:gd name="connsiteX9" fmla="*/ 960673 w 1258630"/>
                <a:gd name="connsiteY9" fmla="*/ 1363526 h 1363526"/>
                <a:gd name="connsiteX10" fmla="*/ 951350 w 1258630"/>
                <a:gd name="connsiteY10" fmla="*/ 1294848 h 1363526"/>
                <a:gd name="connsiteX11" fmla="*/ 963781 w 1258630"/>
                <a:gd name="connsiteY11" fmla="*/ 1226169 h 1363526"/>
                <a:gd name="connsiteX12" fmla="*/ 988746 w 1258630"/>
                <a:gd name="connsiteY12" fmla="*/ 995375 h 1363526"/>
                <a:gd name="connsiteX13" fmla="*/ 1004387 w 1258630"/>
                <a:gd name="connsiteY13" fmla="*/ 723975 h 1363526"/>
                <a:gd name="connsiteX14" fmla="*/ 1010603 w 1258630"/>
                <a:gd name="connsiteY14" fmla="*/ 661615 h 1363526"/>
                <a:gd name="connsiteX15" fmla="*/ 991853 w 1258630"/>
                <a:gd name="connsiteY15" fmla="*/ 627328 h 1363526"/>
                <a:gd name="connsiteX16" fmla="*/ 991853 w 1258630"/>
                <a:gd name="connsiteY16" fmla="*/ 602363 h 1363526"/>
                <a:gd name="connsiteX17" fmla="*/ 782813 w 1258630"/>
                <a:gd name="connsiteY17" fmla="*/ 390215 h 1363526"/>
                <a:gd name="connsiteX18" fmla="*/ 664309 w 1258630"/>
                <a:gd name="connsiteY18" fmla="*/ 259177 h 1363526"/>
                <a:gd name="connsiteX19" fmla="*/ 576984 w 1258630"/>
                <a:gd name="connsiteY19" fmla="*/ 630435 h 1363526"/>
                <a:gd name="connsiteX20" fmla="*/ 536481 w 1258630"/>
                <a:gd name="connsiteY20" fmla="*/ 742724 h 1363526"/>
                <a:gd name="connsiteX21" fmla="*/ 349298 w 1258630"/>
                <a:gd name="connsiteY21" fmla="*/ 998483 h 1363526"/>
                <a:gd name="connsiteX22" fmla="*/ 230794 w 1258630"/>
                <a:gd name="connsiteY22" fmla="*/ 1188774 h 1363526"/>
                <a:gd name="connsiteX23" fmla="*/ 233901 w 1258630"/>
                <a:gd name="connsiteY23" fmla="*/ 1241811 h 1363526"/>
                <a:gd name="connsiteX24" fmla="*/ 202721 w 1258630"/>
                <a:gd name="connsiteY24" fmla="*/ 1301063 h 1363526"/>
                <a:gd name="connsiteX25" fmla="*/ 190291 w 1258630"/>
                <a:gd name="connsiteY25" fmla="*/ 1313493 h 1363526"/>
                <a:gd name="connsiteX26" fmla="*/ 87325 w 1258630"/>
                <a:gd name="connsiteY26" fmla="*/ 1232384 h 1363526"/>
                <a:gd name="connsiteX27" fmla="*/ 0 w 1258630"/>
                <a:gd name="connsiteY27" fmla="*/ 1235492 h 1363526"/>
                <a:gd name="connsiteX28" fmla="*/ 46822 w 1258630"/>
                <a:gd name="connsiteY28" fmla="*/ 1110669 h 1363526"/>
                <a:gd name="connsiteX29" fmla="*/ 168434 w 1258630"/>
                <a:gd name="connsiteY29" fmla="*/ 823627 h 1363526"/>
                <a:gd name="connsiteX30" fmla="*/ 255758 w 1258630"/>
                <a:gd name="connsiteY30" fmla="*/ 658300 h 1363526"/>
                <a:gd name="connsiteX31" fmla="*/ 349298 w 1258630"/>
                <a:gd name="connsiteY31" fmla="*/ 583407 h 1363526"/>
                <a:gd name="connsiteX32" fmla="*/ 343083 w 1258630"/>
                <a:gd name="connsiteY32" fmla="*/ 234005 h 1363526"/>
                <a:gd name="connsiteX33" fmla="*/ 336868 w 1258630"/>
                <a:gd name="connsiteY33" fmla="*/ 137254 h 1363526"/>
                <a:gd name="connsiteX34" fmla="*/ 327545 w 1258630"/>
                <a:gd name="connsiteY34" fmla="*/ 62360 h 1363526"/>
                <a:gd name="connsiteX35" fmla="*/ 327545 w 1258630"/>
                <a:gd name="connsiteY35" fmla="*/ 0 h 1363526"/>
                <a:gd name="connsiteX36" fmla="*/ 751840 w 1258630"/>
                <a:gd name="connsiteY36" fmla="*/ 59252 h 1363526"/>
                <a:gd name="connsiteX37" fmla="*/ 976419 w 1258630"/>
                <a:gd name="connsiteY37" fmla="*/ 15538 h 1363526"/>
                <a:gd name="connsiteX38" fmla="*/ 1007599 w 1258630"/>
                <a:gd name="connsiteY38" fmla="*/ 59252 h 13635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1258630" h="1363526">
                  <a:moveTo>
                    <a:pt x="1007495" y="59667"/>
                  </a:moveTo>
                  <a:lnTo>
                    <a:pt x="1023137" y="103380"/>
                  </a:lnTo>
                  <a:cubicBezTo>
                    <a:pt x="1023137" y="103380"/>
                    <a:pt x="1088604" y="228204"/>
                    <a:pt x="1135426" y="318636"/>
                  </a:cubicBezTo>
                  <a:cubicBezTo>
                    <a:pt x="1182248" y="409068"/>
                    <a:pt x="1232177" y="602467"/>
                    <a:pt x="1247715" y="621216"/>
                  </a:cubicBezTo>
                  <a:cubicBezTo>
                    <a:pt x="1263357" y="639965"/>
                    <a:pt x="1260146" y="664930"/>
                    <a:pt x="1250823" y="693002"/>
                  </a:cubicBezTo>
                  <a:cubicBezTo>
                    <a:pt x="1241500" y="721075"/>
                    <a:pt x="1166606" y="1210838"/>
                    <a:pt x="1166606" y="1223268"/>
                  </a:cubicBezTo>
                  <a:cubicBezTo>
                    <a:pt x="1166606" y="1235699"/>
                    <a:pt x="1160391" y="1235699"/>
                    <a:pt x="1169713" y="1251341"/>
                  </a:cubicBezTo>
                  <a:cubicBezTo>
                    <a:pt x="1179036" y="1266983"/>
                    <a:pt x="1182144" y="1316808"/>
                    <a:pt x="1182144" y="1316808"/>
                  </a:cubicBezTo>
                  <a:cubicBezTo>
                    <a:pt x="1182144" y="1316808"/>
                    <a:pt x="1157179" y="1344880"/>
                    <a:pt x="1107250" y="1354203"/>
                  </a:cubicBezTo>
                  <a:cubicBezTo>
                    <a:pt x="1057321" y="1363526"/>
                    <a:pt x="960673" y="1363526"/>
                    <a:pt x="960673" y="1363526"/>
                  </a:cubicBezTo>
                  <a:cubicBezTo>
                    <a:pt x="960673" y="1363526"/>
                    <a:pt x="948243" y="1304274"/>
                    <a:pt x="951350" y="1294848"/>
                  </a:cubicBezTo>
                  <a:cubicBezTo>
                    <a:pt x="954458" y="1285525"/>
                    <a:pt x="963781" y="1226169"/>
                    <a:pt x="963781" y="1226169"/>
                  </a:cubicBezTo>
                  <a:cubicBezTo>
                    <a:pt x="963781" y="1226169"/>
                    <a:pt x="994961" y="1073273"/>
                    <a:pt x="988746" y="995375"/>
                  </a:cubicBezTo>
                  <a:cubicBezTo>
                    <a:pt x="982530" y="917374"/>
                    <a:pt x="998068" y="742724"/>
                    <a:pt x="1004387" y="723975"/>
                  </a:cubicBezTo>
                  <a:cubicBezTo>
                    <a:pt x="1010706" y="705226"/>
                    <a:pt x="1010603" y="661615"/>
                    <a:pt x="1010603" y="661615"/>
                  </a:cubicBezTo>
                  <a:lnTo>
                    <a:pt x="991853" y="627328"/>
                  </a:lnTo>
                  <a:lnTo>
                    <a:pt x="991853" y="602363"/>
                  </a:lnTo>
                  <a:cubicBezTo>
                    <a:pt x="991853" y="602363"/>
                    <a:pt x="842169" y="449467"/>
                    <a:pt x="782813" y="390215"/>
                  </a:cubicBezTo>
                  <a:cubicBezTo>
                    <a:pt x="723561" y="330963"/>
                    <a:pt x="664309" y="259177"/>
                    <a:pt x="664309" y="259177"/>
                  </a:cubicBezTo>
                  <a:cubicBezTo>
                    <a:pt x="664309" y="259177"/>
                    <a:pt x="595630" y="564864"/>
                    <a:pt x="576984" y="630435"/>
                  </a:cubicBezTo>
                  <a:cubicBezTo>
                    <a:pt x="558235" y="695903"/>
                    <a:pt x="548912" y="723975"/>
                    <a:pt x="536481" y="742724"/>
                  </a:cubicBezTo>
                  <a:cubicBezTo>
                    <a:pt x="524051" y="761474"/>
                    <a:pt x="396120" y="929908"/>
                    <a:pt x="349298" y="998483"/>
                  </a:cubicBezTo>
                  <a:cubicBezTo>
                    <a:pt x="302476" y="1067058"/>
                    <a:pt x="230794" y="1188774"/>
                    <a:pt x="230794" y="1188774"/>
                  </a:cubicBezTo>
                  <a:cubicBezTo>
                    <a:pt x="230794" y="1188774"/>
                    <a:pt x="230794" y="1229276"/>
                    <a:pt x="233901" y="1241811"/>
                  </a:cubicBezTo>
                  <a:cubicBezTo>
                    <a:pt x="237009" y="1254241"/>
                    <a:pt x="202721" y="1301063"/>
                    <a:pt x="202721" y="1301063"/>
                  </a:cubicBezTo>
                  <a:lnTo>
                    <a:pt x="190291" y="1313493"/>
                  </a:lnTo>
                  <a:cubicBezTo>
                    <a:pt x="190291" y="1313493"/>
                    <a:pt x="115397" y="1238600"/>
                    <a:pt x="87325" y="1232384"/>
                  </a:cubicBezTo>
                  <a:cubicBezTo>
                    <a:pt x="59252" y="1226169"/>
                    <a:pt x="0" y="1235492"/>
                    <a:pt x="0" y="1235492"/>
                  </a:cubicBezTo>
                  <a:cubicBezTo>
                    <a:pt x="0" y="1235492"/>
                    <a:pt x="37395" y="1132525"/>
                    <a:pt x="46822" y="1110669"/>
                  </a:cubicBezTo>
                  <a:cubicBezTo>
                    <a:pt x="56145" y="1088811"/>
                    <a:pt x="143573" y="867341"/>
                    <a:pt x="168434" y="823627"/>
                  </a:cubicBezTo>
                  <a:cubicBezTo>
                    <a:pt x="193398" y="779913"/>
                    <a:pt x="212148" y="692588"/>
                    <a:pt x="255758" y="658300"/>
                  </a:cubicBezTo>
                  <a:cubicBezTo>
                    <a:pt x="299472" y="624013"/>
                    <a:pt x="349298" y="583407"/>
                    <a:pt x="349298" y="583407"/>
                  </a:cubicBezTo>
                  <a:lnTo>
                    <a:pt x="343083" y="234005"/>
                  </a:lnTo>
                  <a:lnTo>
                    <a:pt x="336868" y="137254"/>
                  </a:lnTo>
                  <a:cubicBezTo>
                    <a:pt x="336868" y="137254"/>
                    <a:pt x="327545" y="102966"/>
                    <a:pt x="327545" y="62360"/>
                  </a:cubicBezTo>
                  <a:lnTo>
                    <a:pt x="327545" y="0"/>
                  </a:lnTo>
                  <a:cubicBezTo>
                    <a:pt x="327545" y="0"/>
                    <a:pt x="611375" y="65468"/>
                    <a:pt x="751840" y="59252"/>
                  </a:cubicBezTo>
                  <a:cubicBezTo>
                    <a:pt x="892202" y="53037"/>
                    <a:pt x="976419" y="15538"/>
                    <a:pt x="976419" y="15538"/>
                  </a:cubicBezTo>
                  <a:lnTo>
                    <a:pt x="1007599" y="59252"/>
                  </a:lnTo>
                  <a:close/>
                </a:path>
              </a:pathLst>
            </a:custGeom>
            <a:solidFill>
              <a:srgbClr val="263238"/>
            </a:solidFill>
            <a:ln w="10355" cap="rnd">
              <a:solidFill>
                <a:srgbClr val="263238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ru-RU"/>
            </a:p>
          </p:txBody>
        </p:sp>
        <p:grpSp>
          <p:nvGrpSpPr>
            <p:cNvPr id="1723" name="Рисунок 1613">
              <a:extLst>
                <a:ext uri="{FF2B5EF4-FFF2-40B4-BE49-F238E27FC236}">
                  <a16:creationId xmlns:a16="http://schemas.microsoft.com/office/drawing/2014/main" id="{27EF9208-9FFB-42A3-9B09-1055A96DBB1C}"/>
                </a:ext>
              </a:extLst>
            </p:cNvPr>
            <p:cNvGrpSpPr/>
            <p:nvPr/>
          </p:nvGrpSpPr>
          <p:grpSpPr>
            <a:xfrm>
              <a:off x="7234393" y="3037828"/>
              <a:ext cx="1640694" cy="1327116"/>
              <a:chOff x="7234393" y="3037828"/>
              <a:chExt cx="1640694" cy="1327116"/>
            </a:xfrm>
          </p:grpSpPr>
          <p:sp>
            <p:nvSpPr>
              <p:cNvPr id="1724" name="Полилиния: фигура 1723">
                <a:extLst>
                  <a:ext uri="{FF2B5EF4-FFF2-40B4-BE49-F238E27FC236}">
                    <a16:creationId xmlns:a16="http://schemas.microsoft.com/office/drawing/2014/main" id="{F1C56642-69F9-4BD4-96F6-1E83947B1BB7}"/>
                  </a:ext>
                </a:extLst>
              </p:cNvPr>
              <p:cNvSpPr/>
              <p:nvPr/>
            </p:nvSpPr>
            <p:spPr>
              <a:xfrm>
                <a:off x="7234393" y="3037828"/>
                <a:ext cx="1640694" cy="1327116"/>
              </a:xfrm>
              <a:custGeom>
                <a:avLst/>
                <a:gdLst>
                  <a:gd name="connsiteX0" fmla="*/ 934620 w 1640694"/>
                  <a:gd name="connsiteY0" fmla="*/ 241072 h 1327116"/>
                  <a:gd name="connsiteX1" fmla="*/ 686527 w 1640694"/>
                  <a:gd name="connsiteY1" fmla="*/ 170218 h 1327116"/>
                  <a:gd name="connsiteX2" fmla="*/ 462674 w 1640694"/>
                  <a:gd name="connsiteY2" fmla="*/ 175812 h 1327116"/>
                  <a:gd name="connsiteX3" fmla="*/ 317133 w 1640694"/>
                  <a:gd name="connsiteY3" fmla="*/ 207509 h 1327116"/>
                  <a:gd name="connsiteX4" fmla="*/ 182779 w 1640694"/>
                  <a:gd name="connsiteY4" fmla="*/ 252259 h 1327116"/>
                  <a:gd name="connsiteX5" fmla="*/ 193967 w 1640694"/>
                  <a:gd name="connsiteY5" fmla="*/ 7896 h 1327116"/>
                  <a:gd name="connsiteX6" fmla="*/ 110061 w 1640694"/>
                  <a:gd name="connsiteY6" fmla="*/ 2302 h 1327116"/>
                  <a:gd name="connsiteX7" fmla="*/ 48530 w 1640694"/>
                  <a:gd name="connsiteY7" fmla="*/ 35864 h 1327116"/>
                  <a:gd name="connsiteX8" fmla="*/ 51 w 1640694"/>
                  <a:gd name="connsiteY8" fmla="*/ 397800 h 1327116"/>
                  <a:gd name="connsiteX9" fmla="*/ 41071 w 1640694"/>
                  <a:gd name="connsiteY9" fmla="*/ 433227 h 1327116"/>
                  <a:gd name="connsiteX10" fmla="*/ 345205 w 1640694"/>
                  <a:gd name="connsiteY10" fmla="*/ 427633 h 1327116"/>
                  <a:gd name="connsiteX11" fmla="*/ 322830 w 1640694"/>
                  <a:gd name="connsiteY11" fmla="*/ 767194 h 1327116"/>
                  <a:gd name="connsiteX12" fmla="*/ 95248 w 1640694"/>
                  <a:gd name="connsiteY12" fmla="*/ 1162693 h 1327116"/>
                  <a:gd name="connsiteX13" fmla="*/ 283674 w 1640694"/>
                  <a:gd name="connsiteY13" fmla="*/ 1285858 h 1327116"/>
                  <a:gd name="connsiteX14" fmla="*/ 770640 w 1640694"/>
                  <a:gd name="connsiteY14" fmla="*/ 1308233 h 1327116"/>
                  <a:gd name="connsiteX15" fmla="*/ 964246 w 1640694"/>
                  <a:gd name="connsiteY15" fmla="*/ 1192629 h 1327116"/>
                  <a:gd name="connsiteX16" fmla="*/ 964660 w 1640694"/>
                  <a:gd name="connsiteY16" fmla="*/ 1084380 h 1327116"/>
                  <a:gd name="connsiteX17" fmla="*/ 925504 w 1640694"/>
                  <a:gd name="connsiteY17" fmla="*/ 778382 h 1327116"/>
                  <a:gd name="connsiteX18" fmla="*/ 973983 w 1640694"/>
                  <a:gd name="connsiteY18" fmla="*/ 589956 h 1327116"/>
                  <a:gd name="connsiteX19" fmla="*/ 1375075 w 1640694"/>
                  <a:gd name="connsiteY19" fmla="*/ 832455 h 1327116"/>
                  <a:gd name="connsiteX20" fmla="*/ 1630626 w 1640694"/>
                  <a:gd name="connsiteY20" fmla="*/ 713018 h 1327116"/>
                  <a:gd name="connsiteX21" fmla="*/ 1628762 w 1640694"/>
                  <a:gd name="connsiteY21" fmla="*/ 655216 h 1327116"/>
                  <a:gd name="connsiteX22" fmla="*/ 1556043 w 1640694"/>
                  <a:gd name="connsiteY22" fmla="*/ 616060 h 1327116"/>
                  <a:gd name="connsiteX23" fmla="*/ 1391856 w 1640694"/>
                  <a:gd name="connsiteY23" fmla="*/ 629112 h 1327116"/>
                  <a:gd name="connsiteX24" fmla="*/ 1194107 w 1640694"/>
                  <a:gd name="connsiteY24" fmla="*/ 450008 h 1327116"/>
                  <a:gd name="connsiteX25" fmla="*/ 1145628 w 1640694"/>
                  <a:gd name="connsiteY25" fmla="*/ 341759 h 1327116"/>
                  <a:gd name="connsiteX26" fmla="*/ 934827 w 1640694"/>
                  <a:gd name="connsiteY26" fmla="*/ 240968 h 13271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1640694" h="1327116">
                    <a:moveTo>
                      <a:pt x="934620" y="241072"/>
                    </a:moveTo>
                    <a:cubicBezTo>
                      <a:pt x="934620" y="241072"/>
                      <a:pt x="772298" y="170218"/>
                      <a:pt x="686527" y="170218"/>
                    </a:cubicBezTo>
                    <a:cubicBezTo>
                      <a:pt x="600756" y="170218"/>
                      <a:pt x="554038" y="172082"/>
                      <a:pt x="462674" y="175812"/>
                    </a:cubicBezTo>
                    <a:cubicBezTo>
                      <a:pt x="371309" y="179541"/>
                      <a:pt x="317133" y="207509"/>
                      <a:pt x="317133" y="207509"/>
                    </a:cubicBezTo>
                    <a:lnTo>
                      <a:pt x="182779" y="252259"/>
                    </a:lnTo>
                    <a:lnTo>
                      <a:pt x="193967" y="7896"/>
                    </a:lnTo>
                    <a:cubicBezTo>
                      <a:pt x="193967" y="7896"/>
                      <a:pt x="149217" y="-5156"/>
                      <a:pt x="110061" y="2302"/>
                    </a:cubicBezTo>
                    <a:cubicBezTo>
                      <a:pt x="70905" y="9760"/>
                      <a:pt x="48530" y="35864"/>
                      <a:pt x="48530" y="35864"/>
                    </a:cubicBezTo>
                    <a:cubicBezTo>
                      <a:pt x="48530" y="35864"/>
                      <a:pt x="-1814" y="367967"/>
                      <a:pt x="51" y="397800"/>
                    </a:cubicBezTo>
                    <a:cubicBezTo>
                      <a:pt x="1915" y="427633"/>
                      <a:pt x="41071" y="433227"/>
                      <a:pt x="41071" y="433227"/>
                    </a:cubicBezTo>
                    <a:lnTo>
                      <a:pt x="345205" y="427633"/>
                    </a:lnTo>
                    <a:lnTo>
                      <a:pt x="322830" y="767194"/>
                    </a:lnTo>
                    <a:lnTo>
                      <a:pt x="95248" y="1162693"/>
                    </a:lnTo>
                    <a:cubicBezTo>
                      <a:pt x="95248" y="1162693"/>
                      <a:pt x="97112" y="1224224"/>
                      <a:pt x="283674" y="1285858"/>
                    </a:cubicBezTo>
                    <a:cubicBezTo>
                      <a:pt x="470236" y="1347390"/>
                      <a:pt x="699683" y="1326879"/>
                      <a:pt x="770640" y="1308233"/>
                    </a:cubicBezTo>
                    <a:cubicBezTo>
                      <a:pt x="841494" y="1289588"/>
                      <a:pt x="954923" y="1205682"/>
                      <a:pt x="964246" y="1192629"/>
                    </a:cubicBezTo>
                    <a:cubicBezTo>
                      <a:pt x="973569" y="1179577"/>
                      <a:pt x="964660" y="1112349"/>
                      <a:pt x="964660" y="1084380"/>
                    </a:cubicBezTo>
                    <a:cubicBezTo>
                      <a:pt x="964660" y="1056412"/>
                      <a:pt x="918046" y="791434"/>
                      <a:pt x="925504" y="778382"/>
                    </a:cubicBezTo>
                    <a:cubicBezTo>
                      <a:pt x="932962" y="765330"/>
                      <a:pt x="973983" y="589956"/>
                      <a:pt x="973983" y="589956"/>
                    </a:cubicBezTo>
                    <a:cubicBezTo>
                      <a:pt x="973983" y="589956"/>
                      <a:pt x="1352700" y="836184"/>
                      <a:pt x="1375075" y="832455"/>
                    </a:cubicBezTo>
                    <a:cubicBezTo>
                      <a:pt x="1397450" y="828725"/>
                      <a:pt x="1625032" y="716747"/>
                      <a:pt x="1630626" y="713018"/>
                    </a:cubicBezTo>
                    <a:cubicBezTo>
                      <a:pt x="1636220" y="709289"/>
                      <a:pt x="1651136" y="688778"/>
                      <a:pt x="1628762" y="655216"/>
                    </a:cubicBezTo>
                    <a:cubicBezTo>
                      <a:pt x="1606387" y="621653"/>
                      <a:pt x="1567230" y="616060"/>
                      <a:pt x="1556043" y="616060"/>
                    </a:cubicBezTo>
                    <a:cubicBezTo>
                      <a:pt x="1544855" y="616060"/>
                      <a:pt x="1391856" y="629112"/>
                      <a:pt x="1391856" y="629112"/>
                    </a:cubicBezTo>
                    <a:cubicBezTo>
                      <a:pt x="1391856" y="629112"/>
                      <a:pt x="1199701" y="459331"/>
                      <a:pt x="1194107" y="450008"/>
                    </a:cubicBezTo>
                    <a:cubicBezTo>
                      <a:pt x="1188513" y="440686"/>
                      <a:pt x="1158680" y="362373"/>
                      <a:pt x="1145628" y="341759"/>
                    </a:cubicBezTo>
                    <a:cubicBezTo>
                      <a:pt x="1132576" y="321249"/>
                      <a:pt x="934827" y="240968"/>
                      <a:pt x="934827" y="240968"/>
                    </a:cubicBezTo>
                    <a:close/>
                  </a:path>
                </a:pathLst>
              </a:custGeom>
              <a:solidFill>
                <a:srgbClr val="21A038"/>
              </a:solidFill>
              <a:ln w="10355" cap="flat">
                <a:solidFill>
                  <a:srgbClr val="000000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725" name="Полилиния: фигура 1724">
                <a:extLst>
                  <a:ext uri="{FF2B5EF4-FFF2-40B4-BE49-F238E27FC236}">
                    <a16:creationId xmlns:a16="http://schemas.microsoft.com/office/drawing/2014/main" id="{4CB618F6-7C9A-49AA-9031-D998EBC152A4}"/>
                  </a:ext>
                </a:extLst>
              </p:cNvPr>
              <p:cNvSpPr/>
              <p:nvPr/>
            </p:nvSpPr>
            <p:spPr>
              <a:xfrm>
                <a:off x="8626042" y="3666940"/>
                <a:ext cx="73443" cy="56351"/>
              </a:xfrm>
              <a:custGeom>
                <a:avLst/>
                <a:gdLst>
                  <a:gd name="connsiteX0" fmla="*/ 0 w 73443"/>
                  <a:gd name="connsiteY0" fmla="*/ 0 h 56351"/>
                  <a:gd name="connsiteX1" fmla="*/ 73444 w 73443"/>
                  <a:gd name="connsiteY1" fmla="*/ 56352 h 563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73443" h="56351">
                    <a:moveTo>
                      <a:pt x="0" y="0"/>
                    </a:moveTo>
                    <a:cubicBezTo>
                      <a:pt x="0" y="0"/>
                      <a:pt x="61220" y="34909"/>
                      <a:pt x="73444" y="56352"/>
                    </a:cubicBezTo>
                  </a:path>
                </a:pathLst>
              </a:custGeom>
              <a:solidFill>
                <a:srgbClr val="21A038"/>
              </a:solidFill>
              <a:ln w="10355" cap="flat">
                <a:solidFill>
                  <a:srgbClr val="000000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726" name="Полилиния: фигура 1725">
                <a:extLst>
                  <a:ext uri="{FF2B5EF4-FFF2-40B4-BE49-F238E27FC236}">
                    <a16:creationId xmlns:a16="http://schemas.microsoft.com/office/drawing/2014/main" id="{B73DC0A5-70C7-4921-BA1F-0EF5A7FB3E20}"/>
                  </a:ext>
                </a:extLst>
              </p:cNvPr>
              <p:cNvSpPr/>
              <p:nvPr/>
            </p:nvSpPr>
            <p:spPr>
              <a:xfrm>
                <a:off x="8265764" y="3379691"/>
                <a:ext cx="114050" cy="65571"/>
              </a:xfrm>
              <a:custGeom>
                <a:avLst/>
                <a:gdLst>
                  <a:gd name="connsiteX0" fmla="*/ 114050 w 114050"/>
                  <a:gd name="connsiteY0" fmla="*/ 0 h 65571"/>
                  <a:gd name="connsiteX1" fmla="*/ 0 w 114050"/>
                  <a:gd name="connsiteY1" fmla="*/ 65571 h 655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4050" h="65571">
                    <a:moveTo>
                      <a:pt x="114050" y="0"/>
                    </a:moveTo>
                    <a:cubicBezTo>
                      <a:pt x="114050" y="0"/>
                      <a:pt x="58009" y="4558"/>
                      <a:pt x="0" y="65571"/>
                    </a:cubicBezTo>
                  </a:path>
                </a:pathLst>
              </a:custGeom>
              <a:solidFill>
                <a:srgbClr val="21A038"/>
              </a:solidFill>
              <a:ln w="10355" cap="flat">
                <a:solidFill>
                  <a:srgbClr val="000000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727" name="Полилиния: фигура 1726">
                <a:extLst>
                  <a:ext uri="{FF2B5EF4-FFF2-40B4-BE49-F238E27FC236}">
                    <a16:creationId xmlns:a16="http://schemas.microsoft.com/office/drawing/2014/main" id="{0E8C2D6D-4E87-48CE-BCCD-5ADC2604A4D1}"/>
                  </a:ext>
                </a:extLst>
              </p:cNvPr>
              <p:cNvSpPr/>
              <p:nvPr/>
            </p:nvSpPr>
            <p:spPr>
              <a:xfrm>
                <a:off x="8189419" y="3405588"/>
                <a:ext cx="64120" cy="91675"/>
              </a:xfrm>
              <a:custGeom>
                <a:avLst/>
                <a:gdLst>
                  <a:gd name="connsiteX0" fmla="*/ 64121 w 64120"/>
                  <a:gd name="connsiteY0" fmla="*/ 0 h 91675"/>
                  <a:gd name="connsiteX1" fmla="*/ 0 w 64120"/>
                  <a:gd name="connsiteY1" fmla="*/ 91675 h 916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4120" h="91675">
                    <a:moveTo>
                      <a:pt x="64121" y="0"/>
                    </a:moveTo>
                    <a:cubicBezTo>
                      <a:pt x="64121" y="0"/>
                      <a:pt x="12223" y="24447"/>
                      <a:pt x="0" y="91675"/>
                    </a:cubicBezTo>
                  </a:path>
                </a:pathLst>
              </a:custGeom>
              <a:solidFill>
                <a:srgbClr val="21A038"/>
              </a:solidFill>
              <a:ln w="10355" cap="flat">
                <a:solidFill>
                  <a:srgbClr val="000000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728" name="Полилиния: фигура 1727">
                <a:extLst>
                  <a:ext uri="{FF2B5EF4-FFF2-40B4-BE49-F238E27FC236}">
                    <a16:creationId xmlns:a16="http://schemas.microsoft.com/office/drawing/2014/main" id="{DEF25C42-7DA5-4A9F-BEA9-BF242BFCF5A8}"/>
                  </a:ext>
                </a:extLst>
              </p:cNvPr>
              <p:cNvSpPr/>
              <p:nvPr/>
            </p:nvSpPr>
            <p:spPr>
              <a:xfrm>
                <a:off x="7573901" y="3325618"/>
                <a:ext cx="5593" cy="139843"/>
              </a:xfrm>
              <a:custGeom>
                <a:avLst/>
                <a:gdLst>
                  <a:gd name="connsiteX0" fmla="*/ 5594 w 5593"/>
                  <a:gd name="connsiteY0" fmla="*/ 139844 h 139843"/>
                  <a:gd name="connsiteX1" fmla="*/ 0 w 5593"/>
                  <a:gd name="connsiteY1" fmla="*/ 0 h 139843"/>
                  <a:gd name="connsiteX2" fmla="*/ 5594 w 5593"/>
                  <a:gd name="connsiteY2" fmla="*/ 139844 h 1398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5593" h="139843">
                    <a:moveTo>
                      <a:pt x="5594" y="139844"/>
                    </a:moveTo>
                    <a:lnTo>
                      <a:pt x="0" y="0"/>
                    </a:lnTo>
                    <a:lnTo>
                      <a:pt x="5594" y="139844"/>
                    </a:lnTo>
                  </a:path>
                </a:pathLst>
              </a:custGeom>
              <a:noFill/>
              <a:ln w="10355" cap="rnd">
                <a:solidFill>
                  <a:srgbClr val="263238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grpSp>
            <p:nvGrpSpPr>
              <p:cNvPr id="1729" name="Рисунок 1613">
                <a:extLst>
                  <a:ext uri="{FF2B5EF4-FFF2-40B4-BE49-F238E27FC236}">
                    <a16:creationId xmlns:a16="http://schemas.microsoft.com/office/drawing/2014/main" id="{27EF9208-9FFB-42A3-9B09-1055A96DBB1C}"/>
                  </a:ext>
                </a:extLst>
              </p:cNvPr>
              <p:cNvGrpSpPr/>
              <p:nvPr/>
            </p:nvGrpSpPr>
            <p:grpSpPr>
              <a:xfrm>
                <a:off x="7264173" y="3278739"/>
                <a:ext cx="944904" cy="963631"/>
                <a:chOff x="7264173" y="3278739"/>
                <a:chExt cx="944904" cy="963631"/>
              </a:xfrm>
            </p:grpSpPr>
            <p:sp>
              <p:nvSpPr>
                <p:cNvPr id="1730" name="Полилиния: фигура 1729">
                  <a:extLst>
                    <a:ext uri="{FF2B5EF4-FFF2-40B4-BE49-F238E27FC236}">
                      <a16:creationId xmlns:a16="http://schemas.microsoft.com/office/drawing/2014/main" id="{FAB37746-84BB-4FC5-BCB3-173E5119D22C}"/>
                    </a:ext>
                  </a:extLst>
                </p:cNvPr>
                <p:cNvSpPr/>
                <p:nvPr/>
              </p:nvSpPr>
              <p:spPr>
                <a:xfrm>
                  <a:off x="8064493" y="3627784"/>
                  <a:ext cx="143676" cy="59977"/>
                </a:xfrm>
                <a:custGeom>
                  <a:avLst/>
                  <a:gdLst>
                    <a:gd name="connsiteX0" fmla="*/ 55316 w 143676"/>
                    <a:gd name="connsiteY0" fmla="*/ 59977 h 59977"/>
                    <a:gd name="connsiteX1" fmla="*/ 143676 w 143676"/>
                    <a:gd name="connsiteY1" fmla="*/ 0 h 59977"/>
                    <a:gd name="connsiteX2" fmla="*/ 0 w 143676"/>
                    <a:gd name="connsiteY2" fmla="*/ 44750 h 5997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43676" h="59977">
                      <a:moveTo>
                        <a:pt x="55316" y="59977"/>
                      </a:moveTo>
                      <a:lnTo>
                        <a:pt x="143676" y="0"/>
                      </a:lnTo>
                      <a:lnTo>
                        <a:pt x="0" y="44750"/>
                      </a:lnTo>
                    </a:path>
                  </a:pathLst>
                </a:custGeom>
                <a:noFill/>
                <a:ln w="10355" cap="rnd">
                  <a:solidFill>
                    <a:srgbClr val="263238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1731" name="Полилиния: фигура 1730">
                  <a:extLst>
                    <a:ext uri="{FF2B5EF4-FFF2-40B4-BE49-F238E27FC236}">
                      <a16:creationId xmlns:a16="http://schemas.microsoft.com/office/drawing/2014/main" id="{C367D399-4445-4DB6-BD32-03B1615F233B}"/>
                    </a:ext>
                  </a:extLst>
                </p:cNvPr>
                <p:cNvSpPr/>
                <p:nvPr/>
              </p:nvSpPr>
              <p:spPr>
                <a:xfrm>
                  <a:off x="8057034" y="3709722"/>
                  <a:ext cx="30454" cy="20717"/>
                </a:xfrm>
                <a:custGeom>
                  <a:avLst/>
                  <a:gdLst>
                    <a:gd name="connsiteX0" fmla="*/ 0 w 30454"/>
                    <a:gd name="connsiteY0" fmla="*/ 20718 h 20717"/>
                    <a:gd name="connsiteX1" fmla="*/ 30455 w 30454"/>
                    <a:gd name="connsiteY1" fmla="*/ 0 h 2071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30454" h="20717">
                      <a:moveTo>
                        <a:pt x="0" y="20718"/>
                      </a:moveTo>
                      <a:lnTo>
                        <a:pt x="30455" y="0"/>
                      </a:lnTo>
                    </a:path>
                  </a:pathLst>
                </a:custGeom>
                <a:ln w="10355" cap="rnd">
                  <a:solidFill>
                    <a:srgbClr val="263238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1732" name="Полилиния: фигура 1731">
                  <a:extLst>
                    <a:ext uri="{FF2B5EF4-FFF2-40B4-BE49-F238E27FC236}">
                      <a16:creationId xmlns:a16="http://schemas.microsoft.com/office/drawing/2014/main" id="{A3FD4C35-E1C5-4E2F-A0E5-B18DD6FE6689}"/>
                    </a:ext>
                  </a:extLst>
                </p:cNvPr>
                <p:cNvSpPr/>
                <p:nvPr/>
              </p:nvSpPr>
              <p:spPr>
                <a:xfrm>
                  <a:off x="7842400" y="3300136"/>
                  <a:ext cx="205829" cy="115102"/>
                </a:xfrm>
                <a:custGeom>
                  <a:avLst/>
                  <a:gdLst>
                    <a:gd name="connsiteX0" fmla="*/ 205829 w 205829"/>
                    <a:gd name="connsiteY0" fmla="*/ 0 h 115102"/>
                    <a:gd name="connsiteX1" fmla="*/ 111978 w 205829"/>
                    <a:gd name="connsiteY1" fmla="*/ 55316 h 115102"/>
                    <a:gd name="connsiteX2" fmla="*/ 0 w 205829"/>
                    <a:gd name="connsiteY2" fmla="*/ 114983 h 11510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205829" h="115102">
                      <a:moveTo>
                        <a:pt x="205829" y="0"/>
                      </a:moveTo>
                      <a:cubicBezTo>
                        <a:pt x="176514" y="10773"/>
                        <a:pt x="142433" y="27969"/>
                        <a:pt x="111978" y="55316"/>
                      </a:cubicBezTo>
                      <a:cubicBezTo>
                        <a:pt x="39260" y="120576"/>
                        <a:pt x="0" y="114983"/>
                        <a:pt x="0" y="114983"/>
                      </a:cubicBezTo>
                    </a:path>
                  </a:pathLst>
                </a:custGeom>
                <a:noFill/>
                <a:ln w="10355" cap="rnd">
                  <a:solidFill>
                    <a:srgbClr val="263238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1733" name="Полилиния: фигура 1732">
                  <a:extLst>
                    <a:ext uri="{FF2B5EF4-FFF2-40B4-BE49-F238E27FC236}">
                      <a16:creationId xmlns:a16="http://schemas.microsoft.com/office/drawing/2014/main" id="{41DCB429-A5E2-4891-BC9F-09D0A7DEBB40}"/>
                    </a:ext>
                  </a:extLst>
                </p:cNvPr>
                <p:cNvSpPr/>
                <p:nvPr/>
              </p:nvSpPr>
              <p:spPr>
                <a:xfrm>
                  <a:off x="8087593" y="3282629"/>
                  <a:ext cx="32837" cy="5697"/>
                </a:xfrm>
                <a:custGeom>
                  <a:avLst/>
                  <a:gdLst>
                    <a:gd name="connsiteX0" fmla="*/ 32837 w 32837"/>
                    <a:gd name="connsiteY0" fmla="*/ 0 h 5697"/>
                    <a:gd name="connsiteX1" fmla="*/ 0 w 32837"/>
                    <a:gd name="connsiteY1" fmla="*/ 5697 h 569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32837" h="5697">
                      <a:moveTo>
                        <a:pt x="32837" y="0"/>
                      </a:moveTo>
                      <a:cubicBezTo>
                        <a:pt x="32837" y="0"/>
                        <a:pt x="19889" y="1036"/>
                        <a:pt x="0" y="5697"/>
                      </a:cubicBezTo>
                    </a:path>
                  </a:pathLst>
                </a:custGeom>
                <a:noFill/>
                <a:ln w="10355" cap="rnd">
                  <a:solidFill>
                    <a:srgbClr val="263238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1734" name="Полилиния: фигура 1733">
                  <a:extLst>
                    <a:ext uri="{FF2B5EF4-FFF2-40B4-BE49-F238E27FC236}">
                      <a16:creationId xmlns:a16="http://schemas.microsoft.com/office/drawing/2014/main" id="{41F78656-C87F-4B87-992A-6675093B09A7}"/>
                    </a:ext>
                  </a:extLst>
                </p:cNvPr>
                <p:cNvSpPr/>
                <p:nvPr/>
              </p:nvSpPr>
              <p:spPr>
                <a:xfrm>
                  <a:off x="7820025" y="3329348"/>
                  <a:ext cx="123166" cy="82041"/>
                </a:xfrm>
                <a:custGeom>
                  <a:avLst/>
                  <a:gdLst>
                    <a:gd name="connsiteX0" fmla="*/ 123166 w 123166"/>
                    <a:gd name="connsiteY0" fmla="*/ 0 h 82041"/>
                    <a:gd name="connsiteX1" fmla="*/ 0 w 123166"/>
                    <a:gd name="connsiteY1" fmla="*/ 82042 h 8204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23166" h="82041">
                      <a:moveTo>
                        <a:pt x="123166" y="0"/>
                      </a:moveTo>
                      <a:cubicBezTo>
                        <a:pt x="123166" y="0"/>
                        <a:pt x="63499" y="55937"/>
                        <a:pt x="0" y="82042"/>
                      </a:cubicBezTo>
                    </a:path>
                  </a:pathLst>
                </a:custGeom>
                <a:noFill/>
                <a:ln w="10355" cap="rnd">
                  <a:solidFill>
                    <a:srgbClr val="263238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1735" name="Полилиния: фигура 1734">
                  <a:extLst>
                    <a:ext uri="{FF2B5EF4-FFF2-40B4-BE49-F238E27FC236}">
                      <a16:creationId xmlns:a16="http://schemas.microsoft.com/office/drawing/2014/main" id="{ABA850C2-B137-4239-8B6A-4EB73B1D7AB5}"/>
                    </a:ext>
                  </a:extLst>
                </p:cNvPr>
                <p:cNvSpPr/>
                <p:nvPr/>
              </p:nvSpPr>
              <p:spPr>
                <a:xfrm>
                  <a:off x="7275304" y="3323857"/>
                  <a:ext cx="10933" cy="25896"/>
                </a:xfrm>
                <a:custGeom>
                  <a:avLst/>
                  <a:gdLst>
                    <a:gd name="connsiteX0" fmla="*/ 10933 w 10933"/>
                    <a:gd name="connsiteY0" fmla="*/ 0 h 25896"/>
                    <a:gd name="connsiteX1" fmla="*/ 57 w 10933"/>
                    <a:gd name="connsiteY1" fmla="*/ 25897 h 2589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0933" h="25896">
                      <a:moveTo>
                        <a:pt x="10933" y="0"/>
                      </a:moveTo>
                      <a:cubicBezTo>
                        <a:pt x="3993" y="9634"/>
                        <a:pt x="-565" y="18956"/>
                        <a:pt x="57" y="25897"/>
                      </a:cubicBezTo>
                    </a:path>
                  </a:pathLst>
                </a:custGeom>
                <a:noFill/>
                <a:ln w="10355" cap="rnd">
                  <a:solidFill>
                    <a:srgbClr val="263238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1736" name="Полилиния: фигура 1735">
                  <a:extLst>
                    <a:ext uri="{FF2B5EF4-FFF2-40B4-BE49-F238E27FC236}">
                      <a16:creationId xmlns:a16="http://schemas.microsoft.com/office/drawing/2014/main" id="{26A3B2A8-B606-46AE-9BE3-2F1D73B5F554}"/>
                    </a:ext>
                  </a:extLst>
                </p:cNvPr>
                <p:cNvSpPr/>
                <p:nvPr/>
              </p:nvSpPr>
              <p:spPr>
                <a:xfrm>
                  <a:off x="7309959" y="3278739"/>
                  <a:ext cx="107213" cy="19428"/>
                </a:xfrm>
                <a:custGeom>
                  <a:avLst/>
                  <a:gdLst>
                    <a:gd name="connsiteX0" fmla="*/ 107213 w 107213"/>
                    <a:gd name="connsiteY0" fmla="*/ 11349 h 19428"/>
                    <a:gd name="connsiteX1" fmla="*/ 81109 w 107213"/>
                    <a:gd name="connsiteY1" fmla="*/ 13213 h 19428"/>
                    <a:gd name="connsiteX2" fmla="*/ 30766 w 107213"/>
                    <a:gd name="connsiteY2" fmla="*/ 161 h 19428"/>
                    <a:gd name="connsiteX3" fmla="*/ 0 w 107213"/>
                    <a:gd name="connsiteY3" fmla="*/ 19429 h 1942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07213" h="19428">
                      <a:moveTo>
                        <a:pt x="107213" y="11349"/>
                      </a:moveTo>
                      <a:lnTo>
                        <a:pt x="81109" y="13213"/>
                      </a:lnTo>
                      <a:cubicBezTo>
                        <a:pt x="81109" y="13213"/>
                        <a:pt x="47547" y="-1703"/>
                        <a:pt x="30766" y="161"/>
                      </a:cubicBezTo>
                      <a:cubicBezTo>
                        <a:pt x="24032" y="886"/>
                        <a:pt x="12016" y="8759"/>
                        <a:pt x="0" y="19429"/>
                      </a:cubicBezTo>
                    </a:path>
                  </a:pathLst>
                </a:custGeom>
                <a:noFill/>
                <a:ln w="10355" cap="rnd">
                  <a:solidFill>
                    <a:srgbClr val="263238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1737" name="Полилиния: фигура 1736">
                  <a:extLst>
                    <a:ext uri="{FF2B5EF4-FFF2-40B4-BE49-F238E27FC236}">
                      <a16:creationId xmlns:a16="http://schemas.microsoft.com/office/drawing/2014/main" id="{D5F29A16-70AF-475E-B180-000A3EACC163}"/>
                    </a:ext>
                  </a:extLst>
                </p:cNvPr>
                <p:cNvSpPr/>
                <p:nvPr/>
              </p:nvSpPr>
              <p:spPr>
                <a:xfrm>
                  <a:off x="7264173" y="3282629"/>
                  <a:ext cx="39156" cy="42885"/>
                </a:xfrm>
                <a:custGeom>
                  <a:avLst/>
                  <a:gdLst>
                    <a:gd name="connsiteX0" fmla="*/ 39156 w 39156"/>
                    <a:gd name="connsiteY0" fmla="*/ 0 h 42885"/>
                    <a:gd name="connsiteX1" fmla="*/ 0 w 39156"/>
                    <a:gd name="connsiteY1" fmla="*/ 42885 h 4288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39156" h="42885">
                      <a:moveTo>
                        <a:pt x="39156" y="0"/>
                      </a:moveTo>
                      <a:cubicBezTo>
                        <a:pt x="39156" y="0"/>
                        <a:pt x="5594" y="13052"/>
                        <a:pt x="0" y="42885"/>
                      </a:cubicBezTo>
                    </a:path>
                  </a:pathLst>
                </a:custGeom>
                <a:noFill/>
                <a:ln w="10355" cap="rnd">
                  <a:solidFill>
                    <a:srgbClr val="263238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1738" name="Полилиния: фигура 1737">
                  <a:extLst>
                    <a:ext uri="{FF2B5EF4-FFF2-40B4-BE49-F238E27FC236}">
                      <a16:creationId xmlns:a16="http://schemas.microsoft.com/office/drawing/2014/main" id="{E0FCF082-1B4D-4B8E-BEC9-01E86DF24F62}"/>
                    </a:ext>
                  </a:extLst>
                </p:cNvPr>
                <p:cNvSpPr/>
                <p:nvPr/>
              </p:nvSpPr>
              <p:spPr>
                <a:xfrm>
                  <a:off x="8093808" y="3816210"/>
                  <a:ext cx="115270" cy="426160"/>
                </a:xfrm>
                <a:custGeom>
                  <a:avLst/>
                  <a:gdLst>
                    <a:gd name="connsiteX0" fmla="*/ 65882 w 115270"/>
                    <a:gd name="connsiteY0" fmla="*/ 0 h 426160"/>
                    <a:gd name="connsiteX1" fmla="*/ 27658 w 115270"/>
                    <a:gd name="connsiteY1" fmla="*/ 234523 h 426160"/>
                    <a:gd name="connsiteX2" fmla="*/ 0 w 115270"/>
                    <a:gd name="connsiteY2" fmla="*/ 426160 h 426160"/>
                    <a:gd name="connsiteX3" fmla="*/ 61220 w 115270"/>
                    <a:gd name="connsiteY3" fmla="*/ 410311 h 426160"/>
                    <a:gd name="connsiteX4" fmla="*/ 104727 w 115270"/>
                    <a:gd name="connsiteY4" fmla="*/ 414248 h 426160"/>
                    <a:gd name="connsiteX5" fmla="*/ 104727 w 115270"/>
                    <a:gd name="connsiteY5" fmla="*/ 258244 h 426160"/>
                    <a:gd name="connsiteX6" fmla="*/ 65882 w 115270"/>
                    <a:gd name="connsiteY6" fmla="*/ 104 h 42616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15270" h="426160">
                      <a:moveTo>
                        <a:pt x="65882" y="0"/>
                      </a:moveTo>
                      <a:cubicBezTo>
                        <a:pt x="65882" y="0"/>
                        <a:pt x="39467" y="179207"/>
                        <a:pt x="27658" y="234523"/>
                      </a:cubicBezTo>
                      <a:cubicBezTo>
                        <a:pt x="15849" y="289838"/>
                        <a:pt x="0" y="426160"/>
                        <a:pt x="0" y="426160"/>
                      </a:cubicBezTo>
                      <a:cubicBezTo>
                        <a:pt x="0" y="426160"/>
                        <a:pt x="29626" y="414351"/>
                        <a:pt x="61220" y="410311"/>
                      </a:cubicBezTo>
                      <a:cubicBezTo>
                        <a:pt x="92815" y="406375"/>
                        <a:pt x="104727" y="414248"/>
                        <a:pt x="104727" y="414248"/>
                      </a:cubicBezTo>
                      <a:cubicBezTo>
                        <a:pt x="104727" y="414248"/>
                        <a:pt x="128449" y="356964"/>
                        <a:pt x="104727" y="258244"/>
                      </a:cubicBezTo>
                      <a:cubicBezTo>
                        <a:pt x="81006" y="159525"/>
                        <a:pt x="65882" y="104"/>
                        <a:pt x="65882" y="104"/>
                      </a:cubicBezTo>
                      <a:close/>
                    </a:path>
                  </a:pathLst>
                </a:custGeom>
                <a:solidFill>
                  <a:srgbClr val="21A038"/>
                </a:solidFill>
                <a:ln w="10355" cap="flat">
                  <a:solidFill>
                    <a:srgbClr val="000000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</p:grpSp>
        </p:grpSp>
        <p:grpSp>
          <p:nvGrpSpPr>
            <p:cNvPr id="1739" name="Рисунок 1613">
              <a:extLst>
                <a:ext uri="{FF2B5EF4-FFF2-40B4-BE49-F238E27FC236}">
                  <a16:creationId xmlns:a16="http://schemas.microsoft.com/office/drawing/2014/main" id="{27EF9208-9FFB-42A3-9B09-1055A96DBB1C}"/>
                </a:ext>
              </a:extLst>
            </p:cNvPr>
            <p:cNvGrpSpPr/>
            <p:nvPr/>
          </p:nvGrpSpPr>
          <p:grpSpPr>
            <a:xfrm>
              <a:off x="7042172" y="5421046"/>
              <a:ext cx="334929" cy="238284"/>
              <a:chOff x="7042172" y="5421046"/>
              <a:chExt cx="334929" cy="238284"/>
            </a:xfrm>
          </p:grpSpPr>
          <p:sp>
            <p:nvSpPr>
              <p:cNvPr id="1740" name="Полилиния: фигура 1739">
                <a:extLst>
                  <a:ext uri="{FF2B5EF4-FFF2-40B4-BE49-F238E27FC236}">
                    <a16:creationId xmlns:a16="http://schemas.microsoft.com/office/drawing/2014/main" id="{FE96810E-C859-4164-8798-A16950FCA3CE}"/>
                  </a:ext>
                </a:extLst>
              </p:cNvPr>
              <p:cNvSpPr/>
              <p:nvPr/>
            </p:nvSpPr>
            <p:spPr>
              <a:xfrm>
                <a:off x="7042172" y="5421046"/>
                <a:ext cx="334929" cy="238084"/>
              </a:xfrm>
              <a:custGeom>
                <a:avLst/>
                <a:gdLst>
                  <a:gd name="connsiteX0" fmla="*/ 231532 w 334929"/>
                  <a:gd name="connsiteY0" fmla="*/ 86960 h 238084"/>
                  <a:gd name="connsiteX1" fmla="*/ 256496 w 334929"/>
                  <a:gd name="connsiteY1" fmla="*/ 152428 h 238084"/>
                  <a:gd name="connsiteX2" fmla="*/ 334498 w 334929"/>
                  <a:gd name="connsiteY2" fmla="*/ 186715 h 238084"/>
                  <a:gd name="connsiteX3" fmla="*/ 237747 w 334929"/>
                  <a:gd name="connsiteY3" fmla="*/ 236645 h 238084"/>
                  <a:gd name="connsiteX4" fmla="*/ 116135 w 334929"/>
                  <a:gd name="connsiteY4" fmla="*/ 221003 h 238084"/>
                  <a:gd name="connsiteX5" fmla="*/ 56883 w 334929"/>
                  <a:gd name="connsiteY5" fmla="*/ 174181 h 238084"/>
                  <a:gd name="connsiteX6" fmla="*/ 738 w 334929"/>
                  <a:gd name="connsiteY6" fmla="*/ 114929 h 238084"/>
                  <a:gd name="connsiteX7" fmla="*/ 41241 w 334929"/>
                  <a:gd name="connsiteY7" fmla="*/ 8855 h 238084"/>
                  <a:gd name="connsiteX8" fmla="*/ 169172 w 334929"/>
                  <a:gd name="connsiteY8" fmla="*/ 11963 h 238084"/>
                  <a:gd name="connsiteX9" fmla="*/ 231532 w 334929"/>
                  <a:gd name="connsiteY9" fmla="*/ 86857 h 2380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334929" h="238084">
                    <a:moveTo>
                      <a:pt x="231532" y="86960"/>
                    </a:moveTo>
                    <a:cubicBezTo>
                      <a:pt x="231532" y="86960"/>
                      <a:pt x="243962" y="146213"/>
                      <a:pt x="256496" y="152428"/>
                    </a:cubicBezTo>
                    <a:cubicBezTo>
                      <a:pt x="269030" y="158643"/>
                      <a:pt x="328283" y="171177"/>
                      <a:pt x="334498" y="186715"/>
                    </a:cubicBezTo>
                    <a:cubicBezTo>
                      <a:pt x="340713" y="202253"/>
                      <a:pt x="278353" y="230429"/>
                      <a:pt x="237747" y="236645"/>
                    </a:cubicBezTo>
                    <a:cubicBezTo>
                      <a:pt x="197140" y="242860"/>
                      <a:pt x="125458" y="227322"/>
                      <a:pt x="116135" y="221003"/>
                    </a:cubicBezTo>
                    <a:cubicBezTo>
                      <a:pt x="106812" y="214788"/>
                      <a:pt x="84955" y="183608"/>
                      <a:pt x="56883" y="174181"/>
                    </a:cubicBezTo>
                    <a:cubicBezTo>
                      <a:pt x="28810" y="164858"/>
                      <a:pt x="-5477" y="152324"/>
                      <a:pt x="738" y="114929"/>
                    </a:cubicBezTo>
                    <a:cubicBezTo>
                      <a:pt x="6953" y="77534"/>
                      <a:pt x="41241" y="8855"/>
                      <a:pt x="41241" y="8855"/>
                    </a:cubicBezTo>
                    <a:cubicBezTo>
                      <a:pt x="41241" y="8855"/>
                      <a:pt x="100493" y="-13002"/>
                      <a:pt x="169172" y="11963"/>
                    </a:cubicBezTo>
                    <a:cubicBezTo>
                      <a:pt x="237850" y="36927"/>
                      <a:pt x="231532" y="86857"/>
                      <a:pt x="231532" y="86857"/>
                    </a:cubicBezTo>
                    <a:close/>
                  </a:path>
                </a:pathLst>
              </a:custGeom>
              <a:solidFill>
                <a:srgbClr val="21A038"/>
              </a:solidFill>
              <a:ln w="10355" cap="flat">
                <a:solidFill>
                  <a:srgbClr val="000000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741" name="Полилиния: фигура 1740">
                <a:extLst>
                  <a:ext uri="{FF2B5EF4-FFF2-40B4-BE49-F238E27FC236}">
                    <a16:creationId xmlns:a16="http://schemas.microsoft.com/office/drawing/2014/main" id="{FDA8A725-C72D-4597-8D71-7861FDB6F14F}"/>
                  </a:ext>
                </a:extLst>
              </p:cNvPr>
              <p:cNvSpPr/>
              <p:nvPr/>
            </p:nvSpPr>
            <p:spPr>
              <a:xfrm>
                <a:off x="7042172" y="5499277"/>
                <a:ext cx="334928" cy="160053"/>
              </a:xfrm>
              <a:custGeom>
                <a:avLst/>
                <a:gdLst>
                  <a:gd name="connsiteX0" fmla="*/ 237747 w 334928"/>
                  <a:gd name="connsiteY0" fmla="*/ 158517 h 160053"/>
                  <a:gd name="connsiteX1" fmla="*/ 334498 w 334928"/>
                  <a:gd name="connsiteY1" fmla="*/ 108588 h 160053"/>
                  <a:gd name="connsiteX2" fmla="*/ 331805 w 334928"/>
                  <a:gd name="connsiteY2" fmla="*/ 104859 h 160053"/>
                  <a:gd name="connsiteX3" fmla="*/ 229874 w 334928"/>
                  <a:gd name="connsiteY3" fmla="*/ 101855 h 160053"/>
                  <a:gd name="connsiteX4" fmla="*/ 117585 w 334928"/>
                  <a:gd name="connsiteY4" fmla="*/ 8315 h 160053"/>
                  <a:gd name="connsiteX5" fmla="*/ 10372 w 334928"/>
                  <a:gd name="connsiteY5" fmla="*/ 2617 h 160053"/>
                  <a:gd name="connsiteX6" fmla="*/ 738 w 334928"/>
                  <a:gd name="connsiteY6" fmla="*/ 36905 h 160053"/>
                  <a:gd name="connsiteX7" fmla="*/ 56883 w 334928"/>
                  <a:gd name="connsiteY7" fmla="*/ 96158 h 160053"/>
                  <a:gd name="connsiteX8" fmla="*/ 116135 w 334928"/>
                  <a:gd name="connsiteY8" fmla="*/ 142979 h 160053"/>
                  <a:gd name="connsiteX9" fmla="*/ 237747 w 334928"/>
                  <a:gd name="connsiteY9" fmla="*/ 158621 h 1600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334928" h="160053">
                    <a:moveTo>
                      <a:pt x="237747" y="158517"/>
                    </a:moveTo>
                    <a:cubicBezTo>
                      <a:pt x="278250" y="152302"/>
                      <a:pt x="340713" y="124230"/>
                      <a:pt x="334498" y="108588"/>
                    </a:cubicBezTo>
                    <a:cubicBezTo>
                      <a:pt x="333980" y="107345"/>
                      <a:pt x="333048" y="106102"/>
                      <a:pt x="331805" y="104859"/>
                    </a:cubicBezTo>
                    <a:cubicBezTo>
                      <a:pt x="301453" y="115218"/>
                      <a:pt x="264162" y="120915"/>
                      <a:pt x="229874" y="101855"/>
                    </a:cubicBezTo>
                    <a:cubicBezTo>
                      <a:pt x="187714" y="78444"/>
                      <a:pt x="173730" y="26961"/>
                      <a:pt x="117585" y="8315"/>
                    </a:cubicBezTo>
                    <a:cubicBezTo>
                      <a:pt x="84955" y="-2562"/>
                      <a:pt x="41241" y="-801"/>
                      <a:pt x="10372" y="2617"/>
                    </a:cubicBezTo>
                    <a:cubicBezTo>
                      <a:pt x="5917" y="14944"/>
                      <a:pt x="2395" y="27064"/>
                      <a:pt x="738" y="36905"/>
                    </a:cubicBezTo>
                    <a:cubicBezTo>
                      <a:pt x="-5477" y="74300"/>
                      <a:pt x="28810" y="86834"/>
                      <a:pt x="56883" y="96158"/>
                    </a:cubicBezTo>
                    <a:cubicBezTo>
                      <a:pt x="84955" y="105480"/>
                      <a:pt x="106812" y="136660"/>
                      <a:pt x="116135" y="142979"/>
                    </a:cubicBezTo>
                    <a:cubicBezTo>
                      <a:pt x="125458" y="149194"/>
                      <a:pt x="197244" y="164836"/>
                      <a:pt x="237747" y="158621"/>
                    </a:cubicBezTo>
                    <a:close/>
                  </a:path>
                </a:pathLst>
              </a:custGeom>
              <a:solidFill>
                <a:srgbClr val="FFFFFF"/>
              </a:solidFill>
              <a:ln w="10355" cap="rnd">
                <a:solidFill>
                  <a:srgbClr val="263238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742" name="Полилиния: фигура 1741">
                <a:extLst>
                  <a:ext uri="{FF2B5EF4-FFF2-40B4-BE49-F238E27FC236}">
                    <a16:creationId xmlns:a16="http://schemas.microsoft.com/office/drawing/2014/main" id="{05263488-C506-4727-841A-2E3D2605229D}"/>
                  </a:ext>
                </a:extLst>
              </p:cNvPr>
              <p:cNvSpPr/>
              <p:nvPr/>
            </p:nvSpPr>
            <p:spPr>
              <a:xfrm>
                <a:off x="7044049" y="5536826"/>
                <a:ext cx="260212" cy="122504"/>
              </a:xfrm>
              <a:custGeom>
                <a:avLst/>
                <a:gdLst>
                  <a:gd name="connsiteX0" fmla="*/ 217120 w 260212"/>
                  <a:gd name="connsiteY0" fmla="*/ 99111 h 122504"/>
                  <a:gd name="connsiteX1" fmla="*/ 101723 w 260212"/>
                  <a:gd name="connsiteY1" fmla="*/ 11787 h 122504"/>
                  <a:gd name="connsiteX2" fmla="*/ 0 w 260212"/>
                  <a:gd name="connsiteY2" fmla="*/ 20281 h 122504"/>
                  <a:gd name="connsiteX3" fmla="*/ 54902 w 260212"/>
                  <a:gd name="connsiteY3" fmla="*/ 58609 h 122504"/>
                  <a:gd name="connsiteX4" fmla="*/ 114154 w 260212"/>
                  <a:gd name="connsiteY4" fmla="*/ 105430 h 122504"/>
                  <a:gd name="connsiteX5" fmla="*/ 235766 w 260212"/>
                  <a:gd name="connsiteY5" fmla="*/ 121072 h 122504"/>
                  <a:gd name="connsiteX6" fmla="*/ 260213 w 260212"/>
                  <a:gd name="connsiteY6" fmla="*/ 115478 h 122504"/>
                  <a:gd name="connsiteX7" fmla="*/ 217016 w 260212"/>
                  <a:gd name="connsiteY7" fmla="*/ 99215 h 1225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60212" h="122504">
                    <a:moveTo>
                      <a:pt x="217120" y="99111"/>
                    </a:moveTo>
                    <a:cubicBezTo>
                      <a:pt x="182832" y="83470"/>
                      <a:pt x="151653" y="42967"/>
                      <a:pt x="101723" y="11787"/>
                    </a:cubicBezTo>
                    <a:cubicBezTo>
                      <a:pt x="56041" y="-16700"/>
                      <a:pt x="7976" y="14687"/>
                      <a:pt x="0" y="20281"/>
                    </a:cubicBezTo>
                    <a:cubicBezTo>
                      <a:pt x="7148" y="41931"/>
                      <a:pt x="32941" y="51254"/>
                      <a:pt x="54902" y="58609"/>
                    </a:cubicBezTo>
                    <a:cubicBezTo>
                      <a:pt x="82974" y="67931"/>
                      <a:pt x="104831" y="99111"/>
                      <a:pt x="114154" y="105430"/>
                    </a:cubicBezTo>
                    <a:cubicBezTo>
                      <a:pt x="123477" y="111646"/>
                      <a:pt x="195263" y="127287"/>
                      <a:pt x="235766" y="121072"/>
                    </a:cubicBezTo>
                    <a:cubicBezTo>
                      <a:pt x="243328" y="119932"/>
                      <a:pt x="251718" y="117964"/>
                      <a:pt x="260213" y="115478"/>
                    </a:cubicBezTo>
                    <a:cubicBezTo>
                      <a:pt x="244467" y="110506"/>
                      <a:pt x="229033" y="104705"/>
                      <a:pt x="217016" y="99215"/>
                    </a:cubicBezTo>
                    <a:close/>
                  </a:path>
                </a:pathLst>
              </a:custGeom>
              <a:solidFill>
                <a:srgbClr val="263238"/>
              </a:solidFill>
              <a:ln w="10355" cap="rnd">
                <a:solidFill>
                  <a:srgbClr val="263238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</p:grpSp>
        <p:sp>
          <p:nvSpPr>
            <p:cNvPr id="1743" name="Полилиния: фигура 1742">
              <a:extLst>
                <a:ext uri="{FF2B5EF4-FFF2-40B4-BE49-F238E27FC236}">
                  <a16:creationId xmlns:a16="http://schemas.microsoft.com/office/drawing/2014/main" id="{11E5C145-1BF8-43DD-8178-926DE4FC5C01}"/>
                </a:ext>
              </a:extLst>
            </p:cNvPr>
            <p:cNvSpPr/>
            <p:nvPr/>
          </p:nvSpPr>
          <p:spPr>
            <a:xfrm>
              <a:off x="7945159" y="2988693"/>
              <a:ext cx="255551" cy="279019"/>
            </a:xfrm>
            <a:custGeom>
              <a:avLst/>
              <a:gdLst>
                <a:gd name="connsiteX0" fmla="*/ 255551 w 255551"/>
                <a:gd name="connsiteY0" fmla="*/ 239863 h 279019"/>
                <a:gd name="connsiteX1" fmla="*/ 199614 w 255551"/>
                <a:gd name="connsiteY1" fmla="*/ 279019 h 279019"/>
                <a:gd name="connsiteX2" fmla="*/ 76448 w 255551"/>
                <a:gd name="connsiteY2" fmla="*/ 221218 h 279019"/>
                <a:gd name="connsiteX3" fmla="*/ 0 w 255551"/>
                <a:gd name="connsiteY3" fmla="*/ 210030 h 279019"/>
                <a:gd name="connsiteX4" fmla="*/ 39156 w 255551"/>
                <a:gd name="connsiteY4" fmla="*/ 141041 h 279019"/>
                <a:gd name="connsiteX5" fmla="*/ 102552 w 255551"/>
                <a:gd name="connsiteY5" fmla="*/ 58999 h 279019"/>
                <a:gd name="connsiteX6" fmla="*/ 173406 w 255551"/>
                <a:gd name="connsiteY6" fmla="*/ 6791 h 279019"/>
                <a:gd name="connsiteX7" fmla="*/ 225614 w 255551"/>
                <a:gd name="connsiteY7" fmla="*/ 146738 h 279019"/>
                <a:gd name="connsiteX8" fmla="*/ 255448 w 255551"/>
                <a:gd name="connsiteY8" fmla="*/ 239967 h 2790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55551" h="279019">
                  <a:moveTo>
                    <a:pt x="255551" y="239863"/>
                  </a:moveTo>
                  <a:lnTo>
                    <a:pt x="199614" y="279019"/>
                  </a:lnTo>
                  <a:cubicBezTo>
                    <a:pt x="199614" y="279019"/>
                    <a:pt x="126895" y="230540"/>
                    <a:pt x="76448" y="221218"/>
                  </a:cubicBezTo>
                  <a:cubicBezTo>
                    <a:pt x="26104" y="211895"/>
                    <a:pt x="0" y="210030"/>
                    <a:pt x="0" y="210030"/>
                  </a:cubicBezTo>
                  <a:lnTo>
                    <a:pt x="39156" y="141041"/>
                  </a:lnTo>
                  <a:cubicBezTo>
                    <a:pt x="39156" y="141041"/>
                    <a:pt x="85771" y="109343"/>
                    <a:pt x="102552" y="58999"/>
                  </a:cubicBezTo>
                  <a:cubicBezTo>
                    <a:pt x="119333" y="8655"/>
                    <a:pt x="136114" y="-11855"/>
                    <a:pt x="173406" y="6791"/>
                  </a:cubicBezTo>
                  <a:cubicBezTo>
                    <a:pt x="210698" y="25436"/>
                    <a:pt x="225614" y="100020"/>
                    <a:pt x="225614" y="146738"/>
                  </a:cubicBezTo>
                  <a:cubicBezTo>
                    <a:pt x="225614" y="193456"/>
                    <a:pt x="255448" y="239967"/>
                    <a:pt x="255448" y="239967"/>
                  </a:cubicBezTo>
                  <a:close/>
                </a:path>
              </a:pathLst>
            </a:custGeom>
            <a:solidFill>
              <a:srgbClr val="FFFFFF"/>
            </a:solidFill>
            <a:ln w="10355" cap="rnd">
              <a:solidFill>
                <a:srgbClr val="263238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ru-RU"/>
            </a:p>
          </p:txBody>
        </p:sp>
        <p:grpSp>
          <p:nvGrpSpPr>
            <p:cNvPr id="1744" name="Рисунок 1613">
              <a:extLst>
                <a:ext uri="{FF2B5EF4-FFF2-40B4-BE49-F238E27FC236}">
                  <a16:creationId xmlns:a16="http://schemas.microsoft.com/office/drawing/2014/main" id="{27EF9208-9FFB-42A3-9B09-1055A96DBB1C}"/>
                </a:ext>
              </a:extLst>
            </p:cNvPr>
            <p:cNvGrpSpPr/>
            <p:nvPr/>
          </p:nvGrpSpPr>
          <p:grpSpPr>
            <a:xfrm>
              <a:off x="7890950" y="2762120"/>
              <a:ext cx="403610" cy="491753"/>
              <a:chOff x="7890950" y="2762120"/>
              <a:chExt cx="403610" cy="491753"/>
            </a:xfrm>
          </p:grpSpPr>
          <p:sp>
            <p:nvSpPr>
              <p:cNvPr id="1745" name="Полилиния: фигура 1744">
                <a:extLst>
                  <a:ext uri="{FF2B5EF4-FFF2-40B4-BE49-F238E27FC236}">
                    <a16:creationId xmlns:a16="http://schemas.microsoft.com/office/drawing/2014/main" id="{90004CE5-F2F4-4EAB-B0E5-83554F3DE248}"/>
                  </a:ext>
                </a:extLst>
              </p:cNvPr>
              <p:cNvSpPr/>
              <p:nvPr/>
            </p:nvSpPr>
            <p:spPr>
              <a:xfrm>
                <a:off x="7891158" y="2762120"/>
                <a:ext cx="403403" cy="491443"/>
              </a:xfrm>
              <a:custGeom>
                <a:avLst/>
                <a:gdLst>
                  <a:gd name="connsiteX0" fmla="*/ 341251 w 403403"/>
                  <a:gd name="connsiteY0" fmla="*/ 123147 h 491443"/>
                  <a:gd name="connsiteX1" fmla="*/ 376678 w 403403"/>
                  <a:gd name="connsiteY1" fmla="*/ 186543 h 491443"/>
                  <a:gd name="connsiteX2" fmla="*/ 363626 w 403403"/>
                  <a:gd name="connsiteY2" fmla="*/ 236886 h 491443"/>
                  <a:gd name="connsiteX3" fmla="*/ 402782 w 403403"/>
                  <a:gd name="connsiteY3" fmla="*/ 304011 h 491443"/>
                  <a:gd name="connsiteX4" fmla="*/ 380407 w 403403"/>
                  <a:gd name="connsiteY4" fmla="*/ 341303 h 491443"/>
                  <a:gd name="connsiteX5" fmla="*/ 393459 w 403403"/>
                  <a:gd name="connsiteY5" fmla="*/ 408428 h 491443"/>
                  <a:gd name="connsiteX6" fmla="*/ 399053 w 403403"/>
                  <a:gd name="connsiteY6" fmla="*/ 456907 h 491443"/>
                  <a:gd name="connsiteX7" fmla="*/ 337522 w 403403"/>
                  <a:gd name="connsiteY7" fmla="*/ 490469 h 491443"/>
                  <a:gd name="connsiteX8" fmla="*/ 259209 w 403403"/>
                  <a:gd name="connsiteY8" fmla="*/ 438261 h 491443"/>
                  <a:gd name="connsiteX9" fmla="*/ 246157 w 403403"/>
                  <a:gd name="connsiteY9" fmla="*/ 303908 h 491443"/>
                  <a:gd name="connsiteX10" fmla="*/ 201407 w 403403"/>
                  <a:gd name="connsiteY10" fmla="*/ 287126 h 491443"/>
                  <a:gd name="connsiteX11" fmla="*/ 207001 w 403403"/>
                  <a:gd name="connsiteY11" fmla="*/ 346793 h 491443"/>
                  <a:gd name="connsiteX12" fmla="*/ 233105 w 403403"/>
                  <a:gd name="connsiteY12" fmla="*/ 372897 h 491443"/>
                  <a:gd name="connsiteX13" fmla="*/ 192084 w 403403"/>
                  <a:gd name="connsiteY13" fmla="*/ 393407 h 491443"/>
                  <a:gd name="connsiteX14" fmla="*/ 113772 w 403403"/>
                  <a:gd name="connsiteY14" fmla="*/ 397137 h 491443"/>
                  <a:gd name="connsiteX15" fmla="*/ 72751 w 403403"/>
                  <a:gd name="connsiteY15" fmla="*/ 357980 h 491443"/>
                  <a:gd name="connsiteX16" fmla="*/ 46647 w 403403"/>
                  <a:gd name="connsiteY16" fmla="*/ 296449 h 491443"/>
                  <a:gd name="connsiteX17" fmla="*/ 33 w 403403"/>
                  <a:gd name="connsiteY17" fmla="*/ 165825 h 491443"/>
                  <a:gd name="connsiteX18" fmla="*/ 177271 w 403403"/>
                  <a:gd name="connsiteY18" fmla="*/ 5367 h 491443"/>
                  <a:gd name="connsiteX19" fmla="*/ 347052 w 403403"/>
                  <a:gd name="connsiteY19" fmla="*/ 31472 h 491443"/>
                  <a:gd name="connsiteX20" fmla="*/ 365698 w 403403"/>
                  <a:gd name="connsiteY20" fmla="*/ 25878 h 491443"/>
                  <a:gd name="connsiteX21" fmla="*/ 341458 w 403403"/>
                  <a:gd name="connsiteY21" fmla="*/ 122836 h 4914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403403" h="491443">
                    <a:moveTo>
                      <a:pt x="341251" y="123147"/>
                    </a:moveTo>
                    <a:cubicBezTo>
                      <a:pt x="341251" y="123147"/>
                      <a:pt x="372949" y="169761"/>
                      <a:pt x="376678" y="186543"/>
                    </a:cubicBezTo>
                    <a:cubicBezTo>
                      <a:pt x="380407" y="203324"/>
                      <a:pt x="363626" y="236886"/>
                      <a:pt x="363626" y="236886"/>
                    </a:cubicBezTo>
                    <a:cubicBezTo>
                      <a:pt x="363626" y="236886"/>
                      <a:pt x="400917" y="290959"/>
                      <a:pt x="402782" y="304011"/>
                    </a:cubicBezTo>
                    <a:cubicBezTo>
                      <a:pt x="404647" y="317063"/>
                      <a:pt x="380407" y="341303"/>
                      <a:pt x="380407" y="341303"/>
                    </a:cubicBezTo>
                    <a:cubicBezTo>
                      <a:pt x="380407" y="341303"/>
                      <a:pt x="386001" y="395376"/>
                      <a:pt x="393459" y="408428"/>
                    </a:cubicBezTo>
                    <a:cubicBezTo>
                      <a:pt x="400917" y="421480"/>
                      <a:pt x="408376" y="440126"/>
                      <a:pt x="399053" y="456907"/>
                    </a:cubicBezTo>
                    <a:cubicBezTo>
                      <a:pt x="389730" y="473688"/>
                      <a:pt x="376678" y="484875"/>
                      <a:pt x="337522" y="490469"/>
                    </a:cubicBezTo>
                    <a:cubicBezTo>
                      <a:pt x="298366" y="496063"/>
                      <a:pt x="266668" y="477417"/>
                      <a:pt x="259209" y="438261"/>
                    </a:cubicBezTo>
                    <a:cubicBezTo>
                      <a:pt x="251751" y="399105"/>
                      <a:pt x="251751" y="315095"/>
                      <a:pt x="246157" y="303908"/>
                    </a:cubicBezTo>
                    <a:cubicBezTo>
                      <a:pt x="240564" y="292720"/>
                      <a:pt x="214459" y="266616"/>
                      <a:pt x="201407" y="287126"/>
                    </a:cubicBezTo>
                    <a:cubicBezTo>
                      <a:pt x="188355" y="307637"/>
                      <a:pt x="197678" y="328147"/>
                      <a:pt x="207001" y="346793"/>
                    </a:cubicBezTo>
                    <a:cubicBezTo>
                      <a:pt x="216324" y="365439"/>
                      <a:pt x="233105" y="372897"/>
                      <a:pt x="233105" y="372897"/>
                    </a:cubicBezTo>
                    <a:cubicBezTo>
                      <a:pt x="233105" y="372897"/>
                      <a:pt x="210730" y="384084"/>
                      <a:pt x="192084" y="393407"/>
                    </a:cubicBezTo>
                    <a:cubicBezTo>
                      <a:pt x="173439" y="402730"/>
                      <a:pt x="139876" y="406459"/>
                      <a:pt x="113772" y="397137"/>
                    </a:cubicBezTo>
                    <a:cubicBezTo>
                      <a:pt x="87668" y="387814"/>
                      <a:pt x="74616" y="363574"/>
                      <a:pt x="72751" y="357980"/>
                    </a:cubicBezTo>
                    <a:cubicBezTo>
                      <a:pt x="70887" y="352387"/>
                      <a:pt x="52241" y="305772"/>
                      <a:pt x="46647" y="296449"/>
                    </a:cubicBezTo>
                    <a:cubicBezTo>
                      <a:pt x="41053" y="287126"/>
                      <a:pt x="1897" y="231189"/>
                      <a:pt x="33" y="165825"/>
                    </a:cubicBezTo>
                    <a:cubicBezTo>
                      <a:pt x="-1832" y="100565"/>
                      <a:pt x="76480" y="25878"/>
                      <a:pt x="177271" y="5367"/>
                    </a:cubicBezTo>
                    <a:cubicBezTo>
                      <a:pt x="278062" y="-15143"/>
                      <a:pt x="324677" y="29607"/>
                      <a:pt x="347052" y="31472"/>
                    </a:cubicBezTo>
                    <a:cubicBezTo>
                      <a:pt x="369427" y="33336"/>
                      <a:pt x="347052" y="12826"/>
                      <a:pt x="365698" y="25878"/>
                    </a:cubicBezTo>
                    <a:cubicBezTo>
                      <a:pt x="384343" y="38930"/>
                      <a:pt x="388072" y="111648"/>
                      <a:pt x="341458" y="122836"/>
                    </a:cubicBezTo>
                    <a:close/>
                  </a:path>
                </a:pathLst>
              </a:custGeom>
              <a:solidFill>
                <a:srgbClr val="FFFFFF"/>
              </a:solidFill>
              <a:ln w="10355" cap="rnd">
                <a:solidFill>
                  <a:srgbClr val="263238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746" name="Полилиния: фигура 1745">
                <a:extLst>
                  <a:ext uri="{FF2B5EF4-FFF2-40B4-BE49-F238E27FC236}">
                    <a16:creationId xmlns:a16="http://schemas.microsoft.com/office/drawing/2014/main" id="{A4D96495-C5D8-4092-8D4F-AC9AFFDFE6C4}"/>
                  </a:ext>
                </a:extLst>
              </p:cNvPr>
              <p:cNvSpPr/>
              <p:nvPr/>
            </p:nvSpPr>
            <p:spPr>
              <a:xfrm>
                <a:off x="7890950" y="2762431"/>
                <a:ext cx="403403" cy="491443"/>
              </a:xfrm>
              <a:custGeom>
                <a:avLst/>
                <a:gdLst>
                  <a:gd name="connsiteX0" fmla="*/ 380614 w 403403"/>
                  <a:gd name="connsiteY0" fmla="*/ 341096 h 491443"/>
                  <a:gd name="connsiteX1" fmla="*/ 385483 w 403403"/>
                  <a:gd name="connsiteY1" fmla="*/ 335813 h 491443"/>
                  <a:gd name="connsiteX2" fmla="*/ 341458 w 403403"/>
                  <a:gd name="connsiteY2" fmla="*/ 342960 h 491443"/>
                  <a:gd name="connsiteX3" fmla="*/ 302302 w 403403"/>
                  <a:gd name="connsiteY3" fmla="*/ 383981 h 491443"/>
                  <a:gd name="connsiteX4" fmla="*/ 276198 w 403403"/>
                  <a:gd name="connsiteY4" fmla="*/ 255221 h 491443"/>
                  <a:gd name="connsiteX5" fmla="*/ 289250 w 403403"/>
                  <a:gd name="connsiteY5" fmla="*/ 230982 h 491443"/>
                  <a:gd name="connsiteX6" fmla="*/ 315354 w 403403"/>
                  <a:gd name="connsiteY6" fmla="*/ 180638 h 491443"/>
                  <a:gd name="connsiteX7" fmla="*/ 298573 w 403403"/>
                  <a:gd name="connsiteY7" fmla="*/ 145211 h 491443"/>
                  <a:gd name="connsiteX8" fmla="*/ 341458 w 403403"/>
                  <a:gd name="connsiteY8" fmla="*/ 122836 h 491443"/>
                  <a:gd name="connsiteX9" fmla="*/ 365698 w 403403"/>
                  <a:gd name="connsiteY9" fmla="*/ 25878 h 491443"/>
                  <a:gd name="connsiteX10" fmla="*/ 347052 w 403403"/>
                  <a:gd name="connsiteY10" fmla="*/ 31472 h 491443"/>
                  <a:gd name="connsiteX11" fmla="*/ 177271 w 403403"/>
                  <a:gd name="connsiteY11" fmla="*/ 5367 h 491443"/>
                  <a:gd name="connsiteX12" fmla="*/ 33 w 403403"/>
                  <a:gd name="connsiteY12" fmla="*/ 165825 h 491443"/>
                  <a:gd name="connsiteX13" fmla="*/ 46647 w 403403"/>
                  <a:gd name="connsiteY13" fmla="*/ 296449 h 491443"/>
                  <a:gd name="connsiteX14" fmla="*/ 72751 w 403403"/>
                  <a:gd name="connsiteY14" fmla="*/ 357980 h 491443"/>
                  <a:gd name="connsiteX15" fmla="*/ 113772 w 403403"/>
                  <a:gd name="connsiteY15" fmla="*/ 397137 h 491443"/>
                  <a:gd name="connsiteX16" fmla="*/ 192084 w 403403"/>
                  <a:gd name="connsiteY16" fmla="*/ 393407 h 491443"/>
                  <a:gd name="connsiteX17" fmla="*/ 233105 w 403403"/>
                  <a:gd name="connsiteY17" fmla="*/ 372897 h 491443"/>
                  <a:gd name="connsiteX18" fmla="*/ 207001 w 403403"/>
                  <a:gd name="connsiteY18" fmla="*/ 346793 h 491443"/>
                  <a:gd name="connsiteX19" fmla="*/ 201407 w 403403"/>
                  <a:gd name="connsiteY19" fmla="*/ 287126 h 491443"/>
                  <a:gd name="connsiteX20" fmla="*/ 246157 w 403403"/>
                  <a:gd name="connsiteY20" fmla="*/ 303908 h 491443"/>
                  <a:gd name="connsiteX21" fmla="*/ 259209 w 403403"/>
                  <a:gd name="connsiteY21" fmla="*/ 438261 h 491443"/>
                  <a:gd name="connsiteX22" fmla="*/ 337522 w 403403"/>
                  <a:gd name="connsiteY22" fmla="*/ 490469 h 491443"/>
                  <a:gd name="connsiteX23" fmla="*/ 399053 w 403403"/>
                  <a:gd name="connsiteY23" fmla="*/ 456907 h 491443"/>
                  <a:gd name="connsiteX24" fmla="*/ 393459 w 403403"/>
                  <a:gd name="connsiteY24" fmla="*/ 408428 h 491443"/>
                  <a:gd name="connsiteX25" fmla="*/ 380407 w 403403"/>
                  <a:gd name="connsiteY25" fmla="*/ 341303 h 4914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</a:cxnLst>
                <a:rect l="l" t="t" r="r" b="b"/>
                <a:pathLst>
                  <a:path w="403403" h="491443">
                    <a:moveTo>
                      <a:pt x="380614" y="341096"/>
                    </a:moveTo>
                    <a:cubicBezTo>
                      <a:pt x="380614" y="341096"/>
                      <a:pt x="382686" y="339024"/>
                      <a:pt x="385483" y="335813"/>
                    </a:cubicBezTo>
                    <a:cubicBezTo>
                      <a:pt x="377921" y="336848"/>
                      <a:pt x="355235" y="339853"/>
                      <a:pt x="341458" y="342960"/>
                    </a:cubicBezTo>
                    <a:cubicBezTo>
                      <a:pt x="324677" y="346689"/>
                      <a:pt x="317218" y="397033"/>
                      <a:pt x="302302" y="383981"/>
                    </a:cubicBezTo>
                    <a:cubicBezTo>
                      <a:pt x="287385" y="370929"/>
                      <a:pt x="279927" y="260815"/>
                      <a:pt x="276198" y="255221"/>
                    </a:cubicBezTo>
                    <a:cubicBezTo>
                      <a:pt x="272469" y="249628"/>
                      <a:pt x="289250" y="230982"/>
                      <a:pt x="289250" y="230982"/>
                    </a:cubicBezTo>
                    <a:cubicBezTo>
                      <a:pt x="289250" y="230982"/>
                      <a:pt x="315354" y="195555"/>
                      <a:pt x="315354" y="180638"/>
                    </a:cubicBezTo>
                    <a:cubicBezTo>
                      <a:pt x="315354" y="165721"/>
                      <a:pt x="289250" y="148940"/>
                      <a:pt x="298573" y="145211"/>
                    </a:cubicBezTo>
                    <a:cubicBezTo>
                      <a:pt x="307896" y="141482"/>
                      <a:pt x="341458" y="122836"/>
                      <a:pt x="341458" y="122836"/>
                    </a:cubicBezTo>
                    <a:cubicBezTo>
                      <a:pt x="388073" y="111648"/>
                      <a:pt x="384343" y="38930"/>
                      <a:pt x="365698" y="25878"/>
                    </a:cubicBezTo>
                    <a:cubicBezTo>
                      <a:pt x="347052" y="12826"/>
                      <a:pt x="369427" y="33336"/>
                      <a:pt x="347052" y="31472"/>
                    </a:cubicBezTo>
                    <a:cubicBezTo>
                      <a:pt x="324677" y="29607"/>
                      <a:pt x="278062" y="-15143"/>
                      <a:pt x="177271" y="5367"/>
                    </a:cubicBezTo>
                    <a:cubicBezTo>
                      <a:pt x="76480" y="25878"/>
                      <a:pt x="-1832" y="100461"/>
                      <a:pt x="33" y="165825"/>
                    </a:cubicBezTo>
                    <a:cubicBezTo>
                      <a:pt x="1897" y="231085"/>
                      <a:pt x="41053" y="287126"/>
                      <a:pt x="46647" y="296449"/>
                    </a:cubicBezTo>
                    <a:cubicBezTo>
                      <a:pt x="52241" y="305772"/>
                      <a:pt x="70887" y="352387"/>
                      <a:pt x="72751" y="357980"/>
                    </a:cubicBezTo>
                    <a:cubicBezTo>
                      <a:pt x="74616" y="363574"/>
                      <a:pt x="87668" y="387814"/>
                      <a:pt x="113772" y="397137"/>
                    </a:cubicBezTo>
                    <a:cubicBezTo>
                      <a:pt x="139876" y="406459"/>
                      <a:pt x="173439" y="402730"/>
                      <a:pt x="192084" y="393407"/>
                    </a:cubicBezTo>
                    <a:cubicBezTo>
                      <a:pt x="210730" y="384084"/>
                      <a:pt x="233105" y="372897"/>
                      <a:pt x="233105" y="372897"/>
                    </a:cubicBezTo>
                    <a:cubicBezTo>
                      <a:pt x="233105" y="372897"/>
                      <a:pt x="216324" y="365439"/>
                      <a:pt x="207001" y="346793"/>
                    </a:cubicBezTo>
                    <a:cubicBezTo>
                      <a:pt x="197678" y="328147"/>
                      <a:pt x="188355" y="307637"/>
                      <a:pt x="201407" y="287126"/>
                    </a:cubicBezTo>
                    <a:cubicBezTo>
                      <a:pt x="214459" y="266616"/>
                      <a:pt x="240564" y="292720"/>
                      <a:pt x="246157" y="303908"/>
                    </a:cubicBezTo>
                    <a:cubicBezTo>
                      <a:pt x="251751" y="315095"/>
                      <a:pt x="251751" y="399001"/>
                      <a:pt x="259209" y="438261"/>
                    </a:cubicBezTo>
                    <a:cubicBezTo>
                      <a:pt x="266668" y="477417"/>
                      <a:pt x="298366" y="496063"/>
                      <a:pt x="337522" y="490469"/>
                    </a:cubicBezTo>
                    <a:cubicBezTo>
                      <a:pt x="376678" y="484876"/>
                      <a:pt x="389730" y="473688"/>
                      <a:pt x="399053" y="456907"/>
                    </a:cubicBezTo>
                    <a:cubicBezTo>
                      <a:pt x="408376" y="440126"/>
                      <a:pt x="400917" y="421480"/>
                      <a:pt x="393459" y="408428"/>
                    </a:cubicBezTo>
                    <a:cubicBezTo>
                      <a:pt x="386001" y="395376"/>
                      <a:pt x="380407" y="341303"/>
                      <a:pt x="380407" y="341303"/>
                    </a:cubicBezTo>
                    <a:close/>
                  </a:path>
                </a:pathLst>
              </a:custGeom>
              <a:solidFill>
                <a:srgbClr val="263238"/>
              </a:solidFill>
              <a:ln w="10355" cap="rnd">
                <a:solidFill>
                  <a:srgbClr val="263238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747" name="Полилиния: фигура 1746">
                <a:extLst>
                  <a:ext uri="{FF2B5EF4-FFF2-40B4-BE49-F238E27FC236}">
                    <a16:creationId xmlns:a16="http://schemas.microsoft.com/office/drawing/2014/main" id="{9C777BD9-131F-40E8-AEDE-3EDB5A15DE28}"/>
                  </a:ext>
                </a:extLst>
              </p:cNvPr>
              <p:cNvSpPr/>
              <p:nvPr/>
            </p:nvSpPr>
            <p:spPr>
              <a:xfrm>
                <a:off x="8238002" y="2965547"/>
                <a:ext cx="24239" cy="14916"/>
              </a:xfrm>
              <a:custGeom>
                <a:avLst/>
                <a:gdLst>
                  <a:gd name="connsiteX0" fmla="*/ 24240 w 24239"/>
                  <a:gd name="connsiteY0" fmla="*/ 0 h 14916"/>
                  <a:gd name="connsiteX1" fmla="*/ 0 w 24239"/>
                  <a:gd name="connsiteY1" fmla="*/ 14917 h 149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4239" h="14916">
                    <a:moveTo>
                      <a:pt x="24240" y="0"/>
                    </a:moveTo>
                    <a:cubicBezTo>
                      <a:pt x="24240" y="0"/>
                      <a:pt x="5594" y="0"/>
                      <a:pt x="0" y="14917"/>
                    </a:cubicBezTo>
                  </a:path>
                </a:pathLst>
              </a:custGeom>
              <a:noFill/>
              <a:ln w="10355" cap="rnd">
                <a:solidFill>
                  <a:srgbClr val="263238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748" name="Полилиния: фигура 1747">
                <a:extLst>
                  <a:ext uri="{FF2B5EF4-FFF2-40B4-BE49-F238E27FC236}">
                    <a16:creationId xmlns:a16="http://schemas.microsoft.com/office/drawing/2014/main" id="{DA6F6763-5262-40A9-B85E-34005E9E180F}"/>
                  </a:ext>
                </a:extLst>
              </p:cNvPr>
              <p:cNvSpPr/>
              <p:nvPr/>
            </p:nvSpPr>
            <p:spPr>
              <a:xfrm>
                <a:off x="8239867" y="2987922"/>
                <a:ext cx="14916" cy="41020"/>
              </a:xfrm>
              <a:custGeom>
                <a:avLst/>
                <a:gdLst>
                  <a:gd name="connsiteX0" fmla="*/ 14917 w 14916"/>
                  <a:gd name="connsiteY0" fmla="*/ 20510 h 41020"/>
                  <a:gd name="connsiteX1" fmla="*/ 7458 w 14916"/>
                  <a:gd name="connsiteY1" fmla="*/ 41021 h 41020"/>
                  <a:gd name="connsiteX2" fmla="*/ 0 w 14916"/>
                  <a:gd name="connsiteY2" fmla="*/ 20510 h 41020"/>
                  <a:gd name="connsiteX3" fmla="*/ 7458 w 14916"/>
                  <a:gd name="connsiteY3" fmla="*/ 0 h 41020"/>
                  <a:gd name="connsiteX4" fmla="*/ 14917 w 14916"/>
                  <a:gd name="connsiteY4" fmla="*/ 20510 h 410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4916" h="41020">
                    <a:moveTo>
                      <a:pt x="14917" y="20510"/>
                    </a:moveTo>
                    <a:cubicBezTo>
                      <a:pt x="14917" y="31838"/>
                      <a:pt x="11577" y="41021"/>
                      <a:pt x="7458" y="41021"/>
                    </a:cubicBezTo>
                    <a:cubicBezTo>
                      <a:pt x="3339" y="41021"/>
                      <a:pt x="0" y="31838"/>
                      <a:pt x="0" y="20510"/>
                    </a:cubicBezTo>
                    <a:cubicBezTo>
                      <a:pt x="0" y="9183"/>
                      <a:pt x="3339" y="0"/>
                      <a:pt x="7458" y="0"/>
                    </a:cubicBezTo>
                    <a:cubicBezTo>
                      <a:pt x="11577" y="0"/>
                      <a:pt x="14917" y="9183"/>
                      <a:pt x="14917" y="20510"/>
                    </a:cubicBezTo>
                    <a:close/>
                  </a:path>
                </a:pathLst>
              </a:custGeom>
              <a:solidFill>
                <a:srgbClr val="263238"/>
              </a:solidFill>
              <a:ln w="1035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749" name="Полилиния: фигура 1748">
                <a:extLst>
                  <a:ext uri="{FF2B5EF4-FFF2-40B4-BE49-F238E27FC236}">
                    <a16:creationId xmlns:a16="http://schemas.microsoft.com/office/drawing/2014/main" id="{CEE37D7E-CC47-408D-B046-44D7EA9ABC6D}"/>
                  </a:ext>
                </a:extLst>
              </p:cNvPr>
              <p:cNvSpPr/>
              <p:nvPr/>
            </p:nvSpPr>
            <p:spPr>
              <a:xfrm>
                <a:off x="8230544" y="3139057"/>
                <a:ext cx="44750" cy="13984"/>
              </a:xfrm>
              <a:custGeom>
                <a:avLst/>
                <a:gdLst>
                  <a:gd name="connsiteX0" fmla="*/ 44750 w 44750"/>
                  <a:gd name="connsiteY0" fmla="*/ 11188 h 13984"/>
                  <a:gd name="connsiteX1" fmla="*/ 0 w 44750"/>
                  <a:gd name="connsiteY1" fmla="*/ 0 h 139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4750" h="13984">
                    <a:moveTo>
                      <a:pt x="44750" y="11188"/>
                    </a:moveTo>
                    <a:cubicBezTo>
                      <a:pt x="44750" y="11188"/>
                      <a:pt x="13052" y="22375"/>
                      <a:pt x="0" y="0"/>
                    </a:cubicBezTo>
                  </a:path>
                </a:pathLst>
              </a:custGeom>
              <a:noFill/>
              <a:ln w="10355" cap="rnd">
                <a:solidFill>
                  <a:srgbClr val="FFFFFF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</p:grpSp>
        <p:sp>
          <p:nvSpPr>
            <p:cNvPr id="1750" name="Полилиния: фигура 1749">
              <a:extLst>
                <a:ext uri="{FF2B5EF4-FFF2-40B4-BE49-F238E27FC236}">
                  <a16:creationId xmlns:a16="http://schemas.microsoft.com/office/drawing/2014/main" id="{E5914E4F-6E4D-41FD-8F23-21025E0EAB6A}"/>
                </a:ext>
              </a:extLst>
            </p:cNvPr>
            <p:cNvSpPr/>
            <p:nvPr/>
          </p:nvSpPr>
          <p:spPr>
            <a:xfrm>
              <a:off x="7898441" y="3165057"/>
              <a:ext cx="276683" cy="116329"/>
            </a:xfrm>
            <a:custGeom>
              <a:avLst/>
              <a:gdLst>
                <a:gd name="connsiteX0" fmla="*/ 22375 w 276683"/>
                <a:gd name="connsiteY0" fmla="*/ 42989 h 116329"/>
                <a:gd name="connsiteX1" fmla="*/ 270468 w 276683"/>
                <a:gd name="connsiteY1" fmla="*/ 113843 h 116329"/>
                <a:gd name="connsiteX2" fmla="*/ 276683 w 276683"/>
                <a:gd name="connsiteY2" fmla="*/ 116329 h 116329"/>
                <a:gd name="connsiteX3" fmla="*/ 266739 w 276683"/>
                <a:gd name="connsiteY3" fmla="*/ 93229 h 116329"/>
                <a:gd name="connsiteX4" fmla="*/ 175374 w 276683"/>
                <a:gd name="connsiteY4" fmla="*/ 24240 h 116329"/>
                <a:gd name="connsiteX5" fmla="*/ 59667 w 276683"/>
                <a:gd name="connsiteY5" fmla="*/ 0 h 116329"/>
                <a:gd name="connsiteX6" fmla="*/ 0 w 276683"/>
                <a:gd name="connsiteY6" fmla="*/ 42989 h 116329"/>
                <a:gd name="connsiteX7" fmla="*/ 22375 w 276683"/>
                <a:gd name="connsiteY7" fmla="*/ 42989 h 1163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76683" h="116329">
                  <a:moveTo>
                    <a:pt x="22375" y="42989"/>
                  </a:moveTo>
                  <a:cubicBezTo>
                    <a:pt x="108146" y="42989"/>
                    <a:pt x="270468" y="113843"/>
                    <a:pt x="270468" y="113843"/>
                  </a:cubicBezTo>
                  <a:cubicBezTo>
                    <a:pt x="270468" y="113843"/>
                    <a:pt x="272747" y="114775"/>
                    <a:pt x="276683" y="116329"/>
                  </a:cubicBezTo>
                  <a:cubicBezTo>
                    <a:pt x="274715" y="109078"/>
                    <a:pt x="270779" y="95922"/>
                    <a:pt x="266739" y="93229"/>
                  </a:cubicBezTo>
                  <a:cubicBezTo>
                    <a:pt x="261145" y="89500"/>
                    <a:pt x="231312" y="46615"/>
                    <a:pt x="175374" y="24240"/>
                  </a:cubicBezTo>
                  <a:cubicBezTo>
                    <a:pt x="119437" y="1865"/>
                    <a:pt x="74583" y="0"/>
                    <a:pt x="59667" y="0"/>
                  </a:cubicBezTo>
                  <a:cubicBezTo>
                    <a:pt x="46511" y="0"/>
                    <a:pt x="8909" y="34598"/>
                    <a:pt x="0" y="42989"/>
                  </a:cubicBezTo>
                  <a:cubicBezTo>
                    <a:pt x="7148" y="42989"/>
                    <a:pt x="14606" y="42989"/>
                    <a:pt x="22375" y="42989"/>
                  </a:cubicBezTo>
                  <a:close/>
                </a:path>
              </a:pathLst>
            </a:custGeom>
            <a:solidFill>
              <a:srgbClr val="21A038"/>
            </a:solidFill>
            <a:ln w="10355" cap="flat">
              <a:solidFill>
                <a:srgbClr val="000000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pic>
        <p:nvPicPr>
          <p:cNvPr id="1615" name="Icon 1">
            <a:extLst>
              <a:ext uri="{FF2B5EF4-FFF2-40B4-BE49-F238E27FC236}">
                <a16:creationId xmlns:a16="http://schemas.microsoft.com/office/drawing/2014/main" id="{3B0406CC-CAF8-4C56-A010-BA23879C9302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7180620" y="1139121"/>
            <a:ext cx="628650" cy="628650"/>
          </a:xfrm>
          <a:prstGeom prst="rect">
            <a:avLst/>
          </a:prstGeom>
        </p:spPr>
      </p:pic>
      <p:pic>
        <p:nvPicPr>
          <p:cNvPr id="1752" name="Icon 3">
            <a:extLst>
              <a:ext uri="{FF2B5EF4-FFF2-40B4-BE49-F238E27FC236}">
                <a16:creationId xmlns:a16="http://schemas.microsoft.com/office/drawing/2014/main" id="{087D3592-D9BD-4961-B025-9910C2D1F36D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9624887" y="4451868"/>
            <a:ext cx="685800" cy="685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1283510"/>
      </p:ext>
    </p:extLst>
  </p:cSld>
  <p:clrMapOvr>
    <a:masterClrMapping/>
  </p:clrMapOvr>
  <p:transition spd="slow">
    <p:push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path" presetSubtype="0" repeatCount="indefinite" accel="50000" decel="50000" autoRev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3.54167E-6 2.96296E-6 L 0.01407 0.03495 " pathEditMode="relative" rAng="0" ptsTypes="AA">
                                      <p:cBhvr>
                                        <p:cTn id="6" dur="1250" fill="hold"/>
                                        <p:tgtEl>
                                          <p:spTgt spid="161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703" y="1736"/>
                                    </p:animMotion>
                                  </p:childTnLst>
                                </p:cTn>
                              </p:par>
                              <p:par>
                                <p:cTn id="7" presetID="42" presetClass="path" presetSubtype="0" repeatCount="indefinite" accel="50000" decel="50000" autoRev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-1.48148E-6 L -0.03529 0.00023 " pathEditMode="relative" rAng="0" ptsTypes="AA">
                                      <p:cBhvr>
                                        <p:cTn id="8" dur="1000" fill="hold"/>
                                        <p:tgtEl>
                                          <p:spTgt spid="175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771" y="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Rounded Rectangle">
            <a:extLst>
              <a:ext uri="{FF2B5EF4-FFF2-40B4-BE49-F238E27FC236}">
                <a16:creationId xmlns:a16="http://schemas.microsoft.com/office/drawing/2014/main" id="{4A1A861F-77ED-4663-9389-8E9FD44BABD1}"/>
              </a:ext>
            </a:extLst>
          </p:cNvPr>
          <p:cNvSpPr/>
          <p:nvPr/>
        </p:nvSpPr>
        <p:spPr>
          <a:xfrm>
            <a:off x="0" y="2579435"/>
            <a:ext cx="12192000" cy="1785141"/>
          </a:xfrm>
          <a:prstGeom prst="roundRect">
            <a:avLst>
              <a:gd name="adj" fmla="val 0"/>
            </a:avLst>
          </a:prstGeom>
          <a:solidFill>
            <a:schemeClr val="bg1">
              <a:alpha val="96000"/>
            </a:schemeClr>
          </a:solidFill>
          <a:ln w="12700" cap="flat">
            <a:noFill/>
            <a:prstDash val="solid"/>
            <a:miter/>
          </a:ln>
          <a:effectLst>
            <a:outerShdw blurRad="1003300" sx="102000" sy="102000" algn="ctr" rotWithShape="0">
              <a:schemeClr val="tx1">
                <a:alpha val="20000"/>
              </a:schemeClr>
            </a:outerShdw>
          </a:effectLst>
        </p:spPr>
        <p:txBody>
          <a:bodyPr lIns="0" tIns="0" rIns="0" bIns="0" anchor="ctr"/>
          <a:lstStyle/>
          <a:p>
            <a:pPr marL="0" marR="0" lvl="0" indent="0" algn="ctr" defTabSz="309563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" pitchFamily="2" charset="0"/>
              <a:ea typeface="Roboto" pitchFamily="2" charset="0"/>
              <a:cs typeface="Poppins Bold"/>
              <a:sym typeface="Poppins Bold"/>
            </a:endParaRPr>
          </a:p>
        </p:txBody>
      </p:sp>
      <p:sp>
        <p:nvSpPr>
          <p:cNvPr id="41" name="Заголовок">
            <a:extLst>
              <a:ext uri="{FF2B5EF4-FFF2-40B4-BE49-F238E27FC236}">
                <a16:creationId xmlns:a16="http://schemas.microsoft.com/office/drawing/2014/main" id="{C2DC1C9A-4F65-42B1-86E3-6E4D91075984}"/>
              </a:ext>
            </a:extLst>
          </p:cNvPr>
          <p:cNvSpPr txBox="1"/>
          <p:nvPr/>
        </p:nvSpPr>
        <p:spPr>
          <a:xfrm>
            <a:off x="507066" y="376044"/>
            <a:ext cx="8777917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4400" dirty="0">
                <a:solidFill>
                  <a:srgbClr val="0D0D0D">
                    <a:lumMod val="75000"/>
                    <a:lumOff val="25000"/>
                  </a:srgbClr>
                </a:solidFill>
                <a:latin typeface="SB Sans Text Medium" panose="020B0603040504020204" pitchFamily="34" charset="-52"/>
                <a:ea typeface="Roboto" pitchFamily="2" charset="0"/>
                <a:cs typeface="SB Sans Text Medium" panose="020B0603040504020204" pitchFamily="34" charset="-52"/>
              </a:rPr>
              <a:t>Актуальный план обмена</a:t>
            </a:r>
          </a:p>
        </p:txBody>
      </p:sp>
      <p:grpSp>
        <p:nvGrpSpPr>
          <p:cNvPr id="42" name="CDIConf_Black">
            <a:extLst>
              <a:ext uri="{FF2B5EF4-FFF2-40B4-BE49-F238E27FC236}">
                <a16:creationId xmlns:a16="http://schemas.microsoft.com/office/drawing/2014/main" id="{F3F1710A-CB9B-4080-B969-0477C48F22E5}"/>
              </a:ext>
            </a:extLst>
          </p:cNvPr>
          <p:cNvGrpSpPr/>
          <p:nvPr/>
        </p:nvGrpSpPr>
        <p:grpSpPr>
          <a:xfrm>
            <a:off x="9284984" y="6140223"/>
            <a:ext cx="2270483" cy="296171"/>
            <a:chOff x="7406975" y="5855999"/>
            <a:chExt cx="2270483" cy="296171"/>
          </a:xfrm>
        </p:grpSpPr>
        <p:sp>
          <p:nvSpPr>
            <p:cNvPr id="45" name="Полилиния: фигура 44">
              <a:extLst>
                <a:ext uri="{FF2B5EF4-FFF2-40B4-BE49-F238E27FC236}">
                  <a16:creationId xmlns:a16="http://schemas.microsoft.com/office/drawing/2014/main" id="{13A11B35-F320-4F31-908D-85B2D024FD4B}"/>
                </a:ext>
              </a:extLst>
            </p:cNvPr>
            <p:cNvSpPr/>
            <p:nvPr/>
          </p:nvSpPr>
          <p:spPr>
            <a:xfrm>
              <a:off x="7406975" y="5878280"/>
              <a:ext cx="1394458" cy="273890"/>
            </a:xfrm>
            <a:custGeom>
              <a:avLst/>
              <a:gdLst>
                <a:gd name="connsiteX0" fmla="*/ 157354 w 1394458"/>
                <a:gd name="connsiteY0" fmla="*/ 188093 h 273890"/>
                <a:gd name="connsiteX1" fmla="*/ 200773 w 1394458"/>
                <a:gd name="connsiteY1" fmla="*/ 188093 h 273890"/>
                <a:gd name="connsiteX2" fmla="*/ 186877 w 1394458"/>
                <a:gd name="connsiteY2" fmla="*/ 232383 h 273890"/>
                <a:gd name="connsiteX3" fmla="*/ 153706 w 1394458"/>
                <a:gd name="connsiteY3" fmla="*/ 262777 h 273890"/>
                <a:gd name="connsiteX4" fmla="*/ 101775 w 1394458"/>
                <a:gd name="connsiteY4" fmla="*/ 273891 h 273890"/>
                <a:gd name="connsiteX5" fmla="*/ 59572 w 1394458"/>
                <a:gd name="connsiteY5" fmla="*/ 265554 h 273890"/>
                <a:gd name="connsiteX6" fmla="*/ 27442 w 1394458"/>
                <a:gd name="connsiteY6" fmla="*/ 241585 h 273890"/>
                <a:gd name="connsiteX7" fmla="*/ 6950 w 1394458"/>
                <a:gd name="connsiteY7" fmla="*/ 203896 h 273890"/>
                <a:gd name="connsiteX8" fmla="*/ 0 w 1394458"/>
                <a:gd name="connsiteY8" fmla="*/ 154577 h 273890"/>
                <a:gd name="connsiteX9" fmla="*/ 0 w 1394458"/>
                <a:gd name="connsiteY9" fmla="*/ 133560 h 273890"/>
                <a:gd name="connsiteX10" fmla="*/ 7121 w 1394458"/>
                <a:gd name="connsiteY10" fmla="*/ 84236 h 273890"/>
                <a:gd name="connsiteX11" fmla="*/ 27962 w 1394458"/>
                <a:gd name="connsiteY11" fmla="*/ 46552 h 273890"/>
                <a:gd name="connsiteX12" fmla="*/ 60438 w 1394458"/>
                <a:gd name="connsiteY12" fmla="*/ 22408 h 273890"/>
                <a:gd name="connsiteX13" fmla="*/ 103336 w 1394458"/>
                <a:gd name="connsiteY13" fmla="*/ 14071 h 273890"/>
                <a:gd name="connsiteX14" fmla="*/ 154397 w 1394458"/>
                <a:gd name="connsiteY14" fmla="*/ 25185 h 273890"/>
                <a:gd name="connsiteX15" fmla="*/ 186702 w 1394458"/>
                <a:gd name="connsiteY15" fmla="*/ 55924 h 273890"/>
                <a:gd name="connsiteX16" fmla="*/ 200943 w 1394458"/>
                <a:gd name="connsiteY16" fmla="*/ 100905 h 273890"/>
                <a:gd name="connsiteX17" fmla="*/ 157524 w 1394458"/>
                <a:gd name="connsiteY17" fmla="*/ 100905 h 273890"/>
                <a:gd name="connsiteX18" fmla="*/ 149883 w 1394458"/>
                <a:gd name="connsiteY18" fmla="*/ 72943 h 273890"/>
                <a:gd name="connsiteX19" fmla="*/ 132865 w 1394458"/>
                <a:gd name="connsiteY19" fmla="*/ 55229 h 273890"/>
                <a:gd name="connsiteX20" fmla="*/ 103341 w 1394458"/>
                <a:gd name="connsiteY20" fmla="*/ 48974 h 273890"/>
                <a:gd name="connsiteX21" fmla="*/ 77291 w 1394458"/>
                <a:gd name="connsiteY21" fmla="*/ 54533 h 273890"/>
                <a:gd name="connsiteX22" fmla="*/ 58706 w 1394458"/>
                <a:gd name="connsiteY22" fmla="*/ 70861 h 273890"/>
                <a:gd name="connsiteX23" fmla="*/ 47417 w 1394458"/>
                <a:gd name="connsiteY23" fmla="*/ 97432 h 273890"/>
                <a:gd name="connsiteX24" fmla="*/ 43769 w 1394458"/>
                <a:gd name="connsiteY24" fmla="*/ 133210 h 273890"/>
                <a:gd name="connsiteX25" fmla="*/ 43769 w 1394458"/>
                <a:gd name="connsiteY25" fmla="*/ 154572 h 273890"/>
                <a:gd name="connsiteX26" fmla="*/ 47067 w 1394458"/>
                <a:gd name="connsiteY26" fmla="*/ 189304 h 273890"/>
                <a:gd name="connsiteX27" fmla="*/ 57490 w 1394458"/>
                <a:gd name="connsiteY27" fmla="*/ 215875 h 273890"/>
                <a:gd name="connsiteX28" fmla="*/ 75550 w 1394458"/>
                <a:gd name="connsiteY28" fmla="*/ 233069 h 273890"/>
                <a:gd name="connsiteX29" fmla="*/ 101775 w 1394458"/>
                <a:gd name="connsiteY29" fmla="*/ 239149 h 273890"/>
                <a:gd name="connsiteX30" fmla="*/ 131824 w 1394458"/>
                <a:gd name="connsiteY30" fmla="*/ 233244 h 273890"/>
                <a:gd name="connsiteX31" fmla="*/ 149363 w 1394458"/>
                <a:gd name="connsiteY31" fmla="*/ 216050 h 273890"/>
                <a:gd name="connsiteX32" fmla="*/ 157354 w 1394458"/>
                <a:gd name="connsiteY32" fmla="*/ 188088 h 273890"/>
                <a:gd name="connsiteX33" fmla="*/ 313837 w 1394458"/>
                <a:gd name="connsiteY33" fmla="*/ 270418 h 273890"/>
                <a:gd name="connsiteX34" fmla="*/ 259825 w 1394458"/>
                <a:gd name="connsiteY34" fmla="*/ 270418 h 273890"/>
                <a:gd name="connsiteX35" fmla="*/ 260170 w 1394458"/>
                <a:gd name="connsiteY35" fmla="*/ 235856 h 273890"/>
                <a:gd name="connsiteX36" fmla="*/ 313837 w 1394458"/>
                <a:gd name="connsiteY36" fmla="*/ 235856 h 273890"/>
                <a:gd name="connsiteX37" fmla="*/ 353088 w 1394458"/>
                <a:gd name="connsiteY37" fmla="*/ 225608 h 273890"/>
                <a:gd name="connsiteX38" fmla="*/ 377057 w 1394458"/>
                <a:gd name="connsiteY38" fmla="*/ 196255 h 273890"/>
                <a:gd name="connsiteX39" fmla="*/ 385218 w 1394458"/>
                <a:gd name="connsiteY39" fmla="*/ 150754 h 273890"/>
                <a:gd name="connsiteX40" fmla="*/ 385218 w 1394458"/>
                <a:gd name="connsiteY40" fmla="*/ 137033 h 273890"/>
                <a:gd name="connsiteX41" fmla="*/ 380530 w 1394458"/>
                <a:gd name="connsiteY41" fmla="*/ 100734 h 273890"/>
                <a:gd name="connsiteX42" fmla="*/ 366984 w 1394458"/>
                <a:gd name="connsiteY42" fmla="*/ 74163 h 273890"/>
                <a:gd name="connsiteX43" fmla="*/ 345102 w 1394458"/>
                <a:gd name="connsiteY43" fmla="*/ 57840 h 273890"/>
                <a:gd name="connsiteX44" fmla="*/ 315403 w 1394458"/>
                <a:gd name="connsiteY44" fmla="*/ 52281 h 273890"/>
                <a:gd name="connsiteX45" fmla="*/ 258784 w 1394458"/>
                <a:gd name="connsiteY45" fmla="*/ 52281 h 273890"/>
                <a:gd name="connsiteX46" fmla="*/ 258784 w 1394458"/>
                <a:gd name="connsiteY46" fmla="*/ 17544 h 273890"/>
                <a:gd name="connsiteX47" fmla="*/ 315403 w 1394458"/>
                <a:gd name="connsiteY47" fmla="*/ 17544 h 273890"/>
                <a:gd name="connsiteX48" fmla="*/ 361429 w 1394458"/>
                <a:gd name="connsiteY48" fmla="*/ 26055 h 273890"/>
                <a:gd name="connsiteX49" fmla="*/ 397383 w 1394458"/>
                <a:gd name="connsiteY49" fmla="*/ 50195 h 273890"/>
                <a:gd name="connsiteX50" fmla="*/ 420826 w 1394458"/>
                <a:gd name="connsiteY50" fmla="*/ 88054 h 273890"/>
                <a:gd name="connsiteX51" fmla="*/ 428988 w 1394458"/>
                <a:gd name="connsiteY51" fmla="*/ 137378 h 273890"/>
                <a:gd name="connsiteX52" fmla="*/ 428988 w 1394458"/>
                <a:gd name="connsiteY52" fmla="*/ 150754 h 273890"/>
                <a:gd name="connsiteX53" fmla="*/ 420826 w 1394458"/>
                <a:gd name="connsiteY53" fmla="*/ 200078 h 273890"/>
                <a:gd name="connsiteX54" fmla="*/ 397383 w 1394458"/>
                <a:gd name="connsiteY54" fmla="*/ 237938 h 273890"/>
                <a:gd name="connsiteX55" fmla="*/ 360909 w 1394458"/>
                <a:gd name="connsiteY55" fmla="*/ 262077 h 273890"/>
                <a:gd name="connsiteX56" fmla="*/ 313842 w 1394458"/>
                <a:gd name="connsiteY56" fmla="*/ 270413 h 273890"/>
                <a:gd name="connsiteX57" fmla="*/ 283964 w 1394458"/>
                <a:gd name="connsiteY57" fmla="*/ 17544 h 273890"/>
                <a:gd name="connsiteX58" fmla="*/ 283964 w 1394458"/>
                <a:gd name="connsiteY58" fmla="*/ 270418 h 273890"/>
                <a:gd name="connsiteX59" fmla="*/ 240369 w 1394458"/>
                <a:gd name="connsiteY59" fmla="*/ 270418 h 273890"/>
                <a:gd name="connsiteX60" fmla="*/ 240369 w 1394458"/>
                <a:gd name="connsiteY60" fmla="*/ 17544 h 273890"/>
                <a:gd name="connsiteX61" fmla="*/ 283964 w 1394458"/>
                <a:gd name="connsiteY61" fmla="*/ 17544 h 273890"/>
                <a:gd name="connsiteX62" fmla="*/ 519299 w 1394458"/>
                <a:gd name="connsiteY62" fmla="*/ 17544 h 273890"/>
                <a:gd name="connsiteX63" fmla="*/ 519299 w 1394458"/>
                <a:gd name="connsiteY63" fmla="*/ 270418 h 273890"/>
                <a:gd name="connsiteX64" fmla="*/ 475705 w 1394458"/>
                <a:gd name="connsiteY64" fmla="*/ 270418 h 273890"/>
                <a:gd name="connsiteX65" fmla="*/ 475705 w 1394458"/>
                <a:gd name="connsiteY65" fmla="*/ 17544 h 273890"/>
                <a:gd name="connsiteX66" fmla="*/ 519299 w 1394458"/>
                <a:gd name="connsiteY66" fmla="*/ 17544 h 273890"/>
                <a:gd name="connsiteX67" fmla="*/ 811424 w 1394458"/>
                <a:gd name="connsiteY67" fmla="*/ 188093 h 273890"/>
                <a:gd name="connsiteX68" fmla="*/ 854843 w 1394458"/>
                <a:gd name="connsiteY68" fmla="*/ 188093 h 273890"/>
                <a:gd name="connsiteX69" fmla="*/ 840947 w 1394458"/>
                <a:gd name="connsiteY69" fmla="*/ 232383 h 273890"/>
                <a:gd name="connsiteX70" fmla="*/ 807776 w 1394458"/>
                <a:gd name="connsiteY70" fmla="*/ 262777 h 273890"/>
                <a:gd name="connsiteX71" fmla="*/ 755845 w 1394458"/>
                <a:gd name="connsiteY71" fmla="*/ 273891 h 273890"/>
                <a:gd name="connsiteX72" fmla="*/ 713642 w 1394458"/>
                <a:gd name="connsiteY72" fmla="*/ 265554 h 273890"/>
                <a:gd name="connsiteX73" fmla="*/ 681512 w 1394458"/>
                <a:gd name="connsiteY73" fmla="*/ 241585 h 273890"/>
                <a:gd name="connsiteX74" fmla="*/ 661021 w 1394458"/>
                <a:gd name="connsiteY74" fmla="*/ 203896 h 273890"/>
                <a:gd name="connsiteX75" fmla="*/ 654075 w 1394458"/>
                <a:gd name="connsiteY75" fmla="*/ 154572 h 273890"/>
                <a:gd name="connsiteX76" fmla="*/ 654075 w 1394458"/>
                <a:gd name="connsiteY76" fmla="*/ 133555 h 273890"/>
                <a:gd name="connsiteX77" fmla="*/ 661196 w 1394458"/>
                <a:gd name="connsiteY77" fmla="*/ 84231 h 273890"/>
                <a:gd name="connsiteX78" fmla="*/ 682037 w 1394458"/>
                <a:gd name="connsiteY78" fmla="*/ 46547 h 273890"/>
                <a:gd name="connsiteX79" fmla="*/ 714513 w 1394458"/>
                <a:gd name="connsiteY79" fmla="*/ 22403 h 273890"/>
                <a:gd name="connsiteX80" fmla="*/ 757411 w 1394458"/>
                <a:gd name="connsiteY80" fmla="*/ 14066 h 273890"/>
                <a:gd name="connsiteX81" fmla="*/ 808472 w 1394458"/>
                <a:gd name="connsiteY81" fmla="*/ 25180 h 273890"/>
                <a:gd name="connsiteX82" fmla="*/ 840777 w 1394458"/>
                <a:gd name="connsiteY82" fmla="*/ 55919 h 273890"/>
                <a:gd name="connsiteX83" fmla="*/ 855018 w 1394458"/>
                <a:gd name="connsiteY83" fmla="*/ 100900 h 273890"/>
                <a:gd name="connsiteX84" fmla="*/ 811599 w 1394458"/>
                <a:gd name="connsiteY84" fmla="*/ 100900 h 273890"/>
                <a:gd name="connsiteX85" fmla="*/ 803958 w 1394458"/>
                <a:gd name="connsiteY85" fmla="*/ 72938 h 273890"/>
                <a:gd name="connsiteX86" fmla="*/ 786940 w 1394458"/>
                <a:gd name="connsiteY86" fmla="*/ 55224 h 273890"/>
                <a:gd name="connsiteX87" fmla="*/ 757416 w 1394458"/>
                <a:gd name="connsiteY87" fmla="*/ 48969 h 273890"/>
                <a:gd name="connsiteX88" fmla="*/ 731366 w 1394458"/>
                <a:gd name="connsiteY88" fmla="*/ 54528 h 273890"/>
                <a:gd name="connsiteX89" fmla="*/ 712781 w 1394458"/>
                <a:gd name="connsiteY89" fmla="*/ 70856 h 273890"/>
                <a:gd name="connsiteX90" fmla="*/ 701492 w 1394458"/>
                <a:gd name="connsiteY90" fmla="*/ 97427 h 273890"/>
                <a:gd name="connsiteX91" fmla="*/ 697844 w 1394458"/>
                <a:gd name="connsiteY91" fmla="*/ 133205 h 273890"/>
                <a:gd name="connsiteX92" fmla="*/ 697844 w 1394458"/>
                <a:gd name="connsiteY92" fmla="*/ 154567 h 273890"/>
                <a:gd name="connsiteX93" fmla="*/ 701142 w 1394458"/>
                <a:gd name="connsiteY93" fmla="*/ 189299 h 273890"/>
                <a:gd name="connsiteX94" fmla="*/ 711565 w 1394458"/>
                <a:gd name="connsiteY94" fmla="*/ 215870 h 273890"/>
                <a:gd name="connsiteX95" fmla="*/ 729629 w 1394458"/>
                <a:gd name="connsiteY95" fmla="*/ 233064 h 273890"/>
                <a:gd name="connsiteX96" fmla="*/ 755855 w 1394458"/>
                <a:gd name="connsiteY96" fmla="*/ 239144 h 273890"/>
                <a:gd name="connsiteX97" fmla="*/ 785904 w 1394458"/>
                <a:gd name="connsiteY97" fmla="*/ 233239 h 273890"/>
                <a:gd name="connsiteX98" fmla="*/ 803443 w 1394458"/>
                <a:gd name="connsiteY98" fmla="*/ 216046 h 273890"/>
                <a:gd name="connsiteX99" fmla="*/ 811434 w 1394458"/>
                <a:gd name="connsiteY99" fmla="*/ 188084 h 273890"/>
                <a:gd name="connsiteX100" fmla="*/ 882285 w 1394458"/>
                <a:gd name="connsiteY100" fmla="*/ 178541 h 273890"/>
                <a:gd name="connsiteX101" fmla="*/ 882285 w 1394458"/>
                <a:gd name="connsiteY101" fmla="*/ 174548 h 273890"/>
                <a:gd name="connsiteX102" fmla="*/ 888190 w 1394458"/>
                <a:gd name="connsiteY102" fmla="*/ 136858 h 273890"/>
                <a:gd name="connsiteX103" fmla="*/ 905208 w 1394458"/>
                <a:gd name="connsiteY103" fmla="*/ 106464 h 273890"/>
                <a:gd name="connsiteX104" fmla="*/ 932650 w 1394458"/>
                <a:gd name="connsiteY104" fmla="*/ 86318 h 273890"/>
                <a:gd name="connsiteX105" fmla="*/ 969469 w 1394458"/>
                <a:gd name="connsiteY105" fmla="*/ 79022 h 273890"/>
                <a:gd name="connsiteX106" fmla="*/ 1006288 w 1394458"/>
                <a:gd name="connsiteY106" fmla="*/ 86318 h 273890"/>
                <a:gd name="connsiteX107" fmla="*/ 1033899 w 1394458"/>
                <a:gd name="connsiteY107" fmla="*/ 106464 h 273890"/>
                <a:gd name="connsiteX108" fmla="*/ 1051093 w 1394458"/>
                <a:gd name="connsiteY108" fmla="*/ 136858 h 273890"/>
                <a:gd name="connsiteX109" fmla="*/ 1056998 w 1394458"/>
                <a:gd name="connsiteY109" fmla="*/ 174548 h 273890"/>
                <a:gd name="connsiteX110" fmla="*/ 1056998 w 1394458"/>
                <a:gd name="connsiteY110" fmla="*/ 178541 h 273890"/>
                <a:gd name="connsiteX111" fmla="*/ 1051093 w 1394458"/>
                <a:gd name="connsiteY111" fmla="*/ 216230 h 273890"/>
                <a:gd name="connsiteX112" fmla="*/ 1033899 w 1394458"/>
                <a:gd name="connsiteY112" fmla="*/ 246624 h 273890"/>
                <a:gd name="connsiteX113" fmla="*/ 1006458 w 1394458"/>
                <a:gd name="connsiteY113" fmla="*/ 266770 h 273890"/>
                <a:gd name="connsiteX114" fmla="*/ 969814 w 1394458"/>
                <a:gd name="connsiteY114" fmla="*/ 273891 h 273890"/>
                <a:gd name="connsiteX115" fmla="*/ 932820 w 1394458"/>
                <a:gd name="connsiteY115" fmla="*/ 266770 h 273890"/>
                <a:gd name="connsiteX116" fmla="*/ 905378 w 1394458"/>
                <a:gd name="connsiteY116" fmla="*/ 246624 h 273890"/>
                <a:gd name="connsiteX117" fmla="*/ 888185 w 1394458"/>
                <a:gd name="connsiteY117" fmla="*/ 216230 h 273890"/>
                <a:gd name="connsiteX118" fmla="*/ 882280 w 1394458"/>
                <a:gd name="connsiteY118" fmla="*/ 178541 h 273890"/>
                <a:gd name="connsiteX119" fmla="*/ 924143 w 1394458"/>
                <a:gd name="connsiteY119" fmla="*/ 174548 h 273890"/>
                <a:gd name="connsiteX120" fmla="*/ 924143 w 1394458"/>
                <a:gd name="connsiteY120" fmla="*/ 178541 h 273890"/>
                <a:gd name="connsiteX121" fmla="*/ 926750 w 1394458"/>
                <a:gd name="connsiteY121" fmla="*/ 202510 h 273890"/>
                <a:gd name="connsiteX122" fmla="*/ 934911 w 1394458"/>
                <a:gd name="connsiteY122" fmla="*/ 222310 h 273890"/>
                <a:gd name="connsiteX123" fmla="*/ 949152 w 1394458"/>
                <a:gd name="connsiteY123" fmla="*/ 235681 h 273890"/>
                <a:gd name="connsiteX124" fmla="*/ 969819 w 1394458"/>
                <a:gd name="connsiteY124" fmla="*/ 240545 h 273890"/>
                <a:gd name="connsiteX125" fmla="*/ 989965 w 1394458"/>
                <a:gd name="connsiteY125" fmla="*/ 235681 h 273890"/>
                <a:gd name="connsiteX126" fmla="*/ 1004206 w 1394458"/>
                <a:gd name="connsiteY126" fmla="*/ 222310 h 273890"/>
                <a:gd name="connsiteX127" fmla="*/ 1012367 w 1394458"/>
                <a:gd name="connsiteY127" fmla="*/ 202510 h 273890"/>
                <a:gd name="connsiteX128" fmla="*/ 1015145 w 1394458"/>
                <a:gd name="connsiteY128" fmla="*/ 178541 h 273890"/>
                <a:gd name="connsiteX129" fmla="*/ 1015145 w 1394458"/>
                <a:gd name="connsiteY129" fmla="*/ 174548 h 273890"/>
                <a:gd name="connsiteX130" fmla="*/ 1012367 w 1394458"/>
                <a:gd name="connsiteY130" fmla="*/ 150929 h 273890"/>
                <a:gd name="connsiteX131" fmla="*/ 1004031 w 1394458"/>
                <a:gd name="connsiteY131" fmla="*/ 130958 h 273890"/>
                <a:gd name="connsiteX132" fmla="*/ 989790 w 1394458"/>
                <a:gd name="connsiteY132" fmla="*/ 117412 h 273890"/>
                <a:gd name="connsiteX133" fmla="*/ 969469 w 1394458"/>
                <a:gd name="connsiteY133" fmla="*/ 112378 h 273890"/>
                <a:gd name="connsiteX134" fmla="*/ 948977 w 1394458"/>
                <a:gd name="connsiteY134" fmla="*/ 117412 h 273890"/>
                <a:gd name="connsiteX135" fmla="*/ 934911 w 1394458"/>
                <a:gd name="connsiteY135" fmla="*/ 130958 h 273890"/>
                <a:gd name="connsiteX136" fmla="*/ 926750 w 1394458"/>
                <a:gd name="connsiteY136" fmla="*/ 150929 h 273890"/>
                <a:gd name="connsiteX137" fmla="*/ 924143 w 1394458"/>
                <a:gd name="connsiteY137" fmla="*/ 174548 h 273890"/>
                <a:gd name="connsiteX138" fmla="*/ 1133598 w 1394458"/>
                <a:gd name="connsiteY138" fmla="*/ 122617 h 273890"/>
                <a:gd name="connsiteX139" fmla="*/ 1133598 w 1394458"/>
                <a:gd name="connsiteY139" fmla="*/ 270418 h 273890"/>
                <a:gd name="connsiteX140" fmla="*/ 1091745 w 1394458"/>
                <a:gd name="connsiteY140" fmla="*/ 270418 h 273890"/>
                <a:gd name="connsiteX141" fmla="*/ 1091745 w 1394458"/>
                <a:gd name="connsiteY141" fmla="*/ 82495 h 273890"/>
                <a:gd name="connsiteX142" fmla="*/ 1131171 w 1394458"/>
                <a:gd name="connsiteY142" fmla="*/ 82495 h 273890"/>
                <a:gd name="connsiteX143" fmla="*/ 1133603 w 1394458"/>
                <a:gd name="connsiteY143" fmla="*/ 122617 h 273890"/>
                <a:gd name="connsiteX144" fmla="*/ 1126132 w 1394458"/>
                <a:gd name="connsiteY144" fmla="*/ 169509 h 273890"/>
                <a:gd name="connsiteX145" fmla="*/ 1112586 w 1394458"/>
                <a:gd name="connsiteY145" fmla="*/ 169334 h 273890"/>
                <a:gd name="connsiteX146" fmla="*/ 1118145 w 1394458"/>
                <a:gd name="connsiteY146" fmla="*/ 132690 h 273890"/>
                <a:gd name="connsiteX147" fmla="*/ 1133428 w 1394458"/>
                <a:gd name="connsiteY147" fmla="*/ 104032 h 273890"/>
                <a:gd name="connsiteX148" fmla="*/ 1157046 w 1394458"/>
                <a:gd name="connsiteY148" fmla="*/ 85623 h 273890"/>
                <a:gd name="connsiteX149" fmla="*/ 1187615 w 1394458"/>
                <a:gd name="connsiteY149" fmla="*/ 79022 h 273890"/>
                <a:gd name="connsiteX150" fmla="*/ 1212105 w 1394458"/>
                <a:gd name="connsiteY150" fmla="*/ 82840 h 273890"/>
                <a:gd name="connsiteX151" fmla="*/ 1231034 w 1394458"/>
                <a:gd name="connsiteY151" fmla="*/ 94825 h 273890"/>
                <a:gd name="connsiteX152" fmla="*/ 1243189 w 1394458"/>
                <a:gd name="connsiteY152" fmla="*/ 116532 h 273890"/>
                <a:gd name="connsiteX153" fmla="*/ 1247357 w 1394458"/>
                <a:gd name="connsiteY153" fmla="*/ 149013 h 273890"/>
                <a:gd name="connsiteX154" fmla="*/ 1247357 w 1394458"/>
                <a:gd name="connsiteY154" fmla="*/ 270413 h 273890"/>
                <a:gd name="connsiteX155" fmla="*/ 1205329 w 1394458"/>
                <a:gd name="connsiteY155" fmla="*/ 270413 h 273890"/>
                <a:gd name="connsiteX156" fmla="*/ 1205329 w 1394458"/>
                <a:gd name="connsiteY156" fmla="*/ 148837 h 273890"/>
                <a:gd name="connsiteX157" fmla="*/ 1201336 w 1394458"/>
                <a:gd name="connsiteY157" fmla="*/ 127476 h 273890"/>
                <a:gd name="connsiteX158" fmla="*/ 1190047 w 1394458"/>
                <a:gd name="connsiteY158" fmla="*/ 116187 h 273890"/>
                <a:gd name="connsiteX159" fmla="*/ 1171813 w 1394458"/>
                <a:gd name="connsiteY159" fmla="*/ 112714 h 273890"/>
                <a:gd name="connsiteX160" fmla="*/ 1152533 w 1394458"/>
                <a:gd name="connsiteY160" fmla="*/ 117228 h 273890"/>
                <a:gd name="connsiteX161" fmla="*/ 1138116 w 1394458"/>
                <a:gd name="connsiteY161" fmla="*/ 129557 h 273890"/>
                <a:gd name="connsiteX162" fmla="*/ 1129259 w 1394458"/>
                <a:gd name="connsiteY162" fmla="*/ 147621 h 273890"/>
                <a:gd name="connsiteX163" fmla="*/ 1126132 w 1394458"/>
                <a:gd name="connsiteY163" fmla="*/ 169504 h 273890"/>
                <a:gd name="connsiteX164" fmla="*/ 1346701 w 1394458"/>
                <a:gd name="connsiteY164" fmla="*/ 270418 h 273890"/>
                <a:gd name="connsiteX165" fmla="*/ 1304843 w 1394458"/>
                <a:gd name="connsiteY165" fmla="*/ 270418 h 273890"/>
                <a:gd name="connsiteX166" fmla="*/ 1304843 w 1394458"/>
                <a:gd name="connsiteY166" fmla="*/ 64436 h 273890"/>
                <a:gd name="connsiteX167" fmla="*/ 1312659 w 1394458"/>
                <a:gd name="connsiteY167" fmla="*/ 29178 h 273890"/>
                <a:gd name="connsiteX168" fmla="*/ 1335412 w 1394458"/>
                <a:gd name="connsiteY168" fmla="*/ 7471 h 273890"/>
                <a:gd name="connsiteX169" fmla="*/ 1370319 w 1394458"/>
                <a:gd name="connsiteY169" fmla="*/ 0 h 273890"/>
                <a:gd name="connsiteX170" fmla="*/ 1382649 w 1394458"/>
                <a:gd name="connsiteY170" fmla="*/ 871 h 273890"/>
                <a:gd name="connsiteX171" fmla="*/ 1394458 w 1394458"/>
                <a:gd name="connsiteY171" fmla="*/ 3127 h 273890"/>
                <a:gd name="connsiteX172" fmla="*/ 1393418 w 1394458"/>
                <a:gd name="connsiteY172" fmla="*/ 35433 h 273890"/>
                <a:gd name="connsiteX173" fmla="*/ 1385776 w 1394458"/>
                <a:gd name="connsiteY173" fmla="*/ 34217 h 273890"/>
                <a:gd name="connsiteX174" fmla="*/ 1377095 w 1394458"/>
                <a:gd name="connsiteY174" fmla="*/ 33872 h 273890"/>
                <a:gd name="connsiteX175" fmla="*/ 1360596 w 1394458"/>
                <a:gd name="connsiteY175" fmla="*/ 37519 h 273890"/>
                <a:gd name="connsiteX176" fmla="*/ 1350178 w 1394458"/>
                <a:gd name="connsiteY176" fmla="*/ 47767 h 273890"/>
                <a:gd name="connsiteX177" fmla="*/ 1346706 w 1394458"/>
                <a:gd name="connsiteY177" fmla="*/ 64441 h 273890"/>
                <a:gd name="connsiteX178" fmla="*/ 1346706 w 1394458"/>
                <a:gd name="connsiteY178" fmla="*/ 270423 h 273890"/>
                <a:gd name="connsiteX179" fmla="*/ 1385431 w 1394458"/>
                <a:gd name="connsiteY179" fmla="*/ 82500 h 273890"/>
                <a:gd name="connsiteX180" fmla="*/ 1385431 w 1394458"/>
                <a:gd name="connsiteY180" fmla="*/ 113069 h 273890"/>
                <a:gd name="connsiteX181" fmla="*/ 1276015 w 1394458"/>
                <a:gd name="connsiteY181" fmla="*/ 113069 h 273890"/>
                <a:gd name="connsiteX182" fmla="*/ 1276015 w 1394458"/>
                <a:gd name="connsiteY182" fmla="*/ 82500 h 273890"/>
                <a:gd name="connsiteX183" fmla="*/ 1385431 w 1394458"/>
                <a:gd name="connsiteY183" fmla="*/ 82500 h 2738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</a:cxnLst>
              <a:rect l="l" t="t" r="r" b="b"/>
              <a:pathLst>
                <a:path w="1394458" h="273890">
                  <a:moveTo>
                    <a:pt x="157354" y="188093"/>
                  </a:moveTo>
                  <a:lnTo>
                    <a:pt x="200773" y="188093"/>
                  </a:lnTo>
                  <a:cubicBezTo>
                    <a:pt x="199382" y="204650"/>
                    <a:pt x="194752" y="219411"/>
                    <a:pt x="186877" y="232383"/>
                  </a:cubicBezTo>
                  <a:cubicBezTo>
                    <a:pt x="179003" y="245233"/>
                    <a:pt x="167947" y="255365"/>
                    <a:pt x="153706" y="262777"/>
                  </a:cubicBezTo>
                  <a:cubicBezTo>
                    <a:pt x="139465" y="270185"/>
                    <a:pt x="122155" y="273891"/>
                    <a:pt x="101775" y="273891"/>
                  </a:cubicBezTo>
                  <a:cubicBezTo>
                    <a:pt x="86143" y="273891"/>
                    <a:pt x="72077" y="271114"/>
                    <a:pt x="59572" y="265554"/>
                  </a:cubicBezTo>
                  <a:cubicBezTo>
                    <a:pt x="47067" y="259878"/>
                    <a:pt x="36357" y="251892"/>
                    <a:pt x="27442" y="241585"/>
                  </a:cubicBezTo>
                  <a:cubicBezTo>
                    <a:pt x="18526" y="231162"/>
                    <a:pt x="11697" y="218604"/>
                    <a:pt x="6950" y="203896"/>
                  </a:cubicBezTo>
                  <a:cubicBezTo>
                    <a:pt x="2315" y="189192"/>
                    <a:pt x="0" y="172753"/>
                    <a:pt x="0" y="154577"/>
                  </a:cubicBezTo>
                  <a:lnTo>
                    <a:pt x="0" y="133560"/>
                  </a:lnTo>
                  <a:cubicBezTo>
                    <a:pt x="0" y="115379"/>
                    <a:pt x="2374" y="98940"/>
                    <a:pt x="7121" y="84236"/>
                  </a:cubicBezTo>
                  <a:cubicBezTo>
                    <a:pt x="11984" y="69533"/>
                    <a:pt x="18930" y="56970"/>
                    <a:pt x="27962" y="46552"/>
                  </a:cubicBezTo>
                  <a:cubicBezTo>
                    <a:pt x="36994" y="36017"/>
                    <a:pt x="47816" y="27967"/>
                    <a:pt x="60438" y="22408"/>
                  </a:cubicBezTo>
                  <a:cubicBezTo>
                    <a:pt x="73171" y="16848"/>
                    <a:pt x="87471" y="14071"/>
                    <a:pt x="103336" y="14071"/>
                  </a:cubicBezTo>
                  <a:cubicBezTo>
                    <a:pt x="123482" y="14071"/>
                    <a:pt x="140506" y="17777"/>
                    <a:pt x="154397" y="25185"/>
                  </a:cubicBezTo>
                  <a:cubicBezTo>
                    <a:pt x="168293" y="32597"/>
                    <a:pt x="179056" y="42840"/>
                    <a:pt x="186702" y="55924"/>
                  </a:cubicBezTo>
                  <a:cubicBezTo>
                    <a:pt x="194460" y="69008"/>
                    <a:pt x="199207" y="84003"/>
                    <a:pt x="200943" y="100905"/>
                  </a:cubicBezTo>
                  <a:lnTo>
                    <a:pt x="157524" y="100905"/>
                  </a:lnTo>
                  <a:cubicBezTo>
                    <a:pt x="156367" y="90019"/>
                    <a:pt x="153818" y="80700"/>
                    <a:pt x="149883" y="72943"/>
                  </a:cubicBezTo>
                  <a:cubicBezTo>
                    <a:pt x="146065" y="65185"/>
                    <a:pt x="140389" y="59280"/>
                    <a:pt x="132865" y="55229"/>
                  </a:cubicBezTo>
                  <a:cubicBezTo>
                    <a:pt x="125340" y="51060"/>
                    <a:pt x="115496" y="48974"/>
                    <a:pt x="103341" y="48974"/>
                  </a:cubicBezTo>
                  <a:cubicBezTo>
                    <a:pt x="93385" y="48974"/>
                    <a:pt x="84698" y="50827"/>
                    <a:pt x="77291" y="54533"/>
                  </a:cubicBezTo>
                  <a:cubicBezTo>
                    <a:pt x="69878" y="58239"/>
                    <a:pt x="63687" y="63682"/>
                    <a:pt x="58706" y="70861"/>
                  </a:cubicBezTo>
                  <a:cubicBezTo>
                    <a:pt x="53730" y="78040"/>
                    <a:pt x="49966" y="86897"/>
                    <a:pt x="47417" y="97432"/>
                  </a:cubicBezTo>
                  <a:cubicBezTo>
                    <a:pt x="44985" y="107850"/>
                    <a:pt x="43769" y="119776"/>
                    <a:pt x="43769" y="133210"/>
                  </a:cubicBezTo>
                  <a:lnTo>
                    <a:pt x="43769" y="154572"/>
                  </a:lnTo>
                  <a:cubicBezTo>
                    <a:pt x="43769" y="167305"/>
                    <a:pt x="44869" y="178886"/>
                    <a:pt x="47067" y="189304"/>
                  </a:cubicBezTo>
                  <a:cubicBezTo>
                    <a:pt x="49382" y="199611"/>
                    <a:pt x="52855" y="208468"/>
                    <a:pt x="57490" y="215875"/>
                  </a:cubicBezTo>
                  <a:cubicBezTo>
                    <a:pt x="62237" y="223288"/>
                    <a:pt x="68259" y="229017"/>
                    <a:pt x="75550" y="233069"/>
                  </a:cubicBezTo>
                  <a:cubicBezTo>
                    <a:pt x="82845" y="237120"/>
                    <a:pt x="91585" y="239149"/>
                    <a:pt x="101775" y="239149"/>
                  </a:cubicBezTo>
                  <a:cubicBezTo>
                    <a:pt x="114163" y="239149"/>
                    <a:pt x="124178" y="237179"/>
                    <a:pt x="131824" y="233244"/>
                  </a:cubicBezTo>
                  <a:cubicBezTo>
                    <a:pt x="139582" y="229309"/>
                    <a:pt x="145428" y="223575"/>
                    <a:pt x="149363" y="216050"/>
                  </a:cubicBezTo>
                  <a:cubicBezTo>
                    <a:pt x="153414" y="208409"/>
                    <a:pt x="156080" y="199090"/>
                    <a:pt x="157354" y="188088"/>
                  </a:cubicBezTo>
                  <a:close/>
                  <a:moveTo>
                    <a:pt x="313837" y="270418"/>
                  </a:moveTo>
                  <a:lnTo>
                    <a:pt x="259825" y="270418"/>
                  </a:lnTo>
                  <a:lnTo>
                    <a:pt x="260170" y="235856"/>
                  </a:lnTo>
                  <a:lnTo>
                    <a:pt x="313837" y="235856"/>
                  </a:lnTo>
                  <a:cubicBezTo>
                    <a:pt x="329469" y="235856"/>
                    <a:pt x="342553" y="232441"/>
                    <a:pt x="353088" y="225608"/>
                  </a:cubicBezTo>
                  <a:cubicBezTo>
                    <a:pt x="363740" y="218779"/>
                    <a:pt x="371731" y="208993"/>
                    <a:pt x="377057" y="196255"/>
                  </a:cubicBezTo>
                  <a:cubicBezTo>
                    <a:pt x="382499" y="183521"/>
                    <a:pt x="385218" y="168351"/>
                    <a:pt x="385218" y="150754"/>
                  </a:cubicBezTo>
                  <a:lnTo>
                    <a:pt x="385218" y="137033"/>
                  </a:lnTo>
                  <a:cubicBezTo>
                    <a:pt x="385218" y="123371"/>
                    <a:pt x="383657" y="111269"/>
                    <a:pt x="380530" y="100734"/>
                  </a:cubicBezTo>
                  <a:cubicBezTo>
                    <a:pt x="377519" y="90199"/>
                    <a:pt x="373005" y="81342"/>
                    <a:pt x="366984" y="74163"/>
                  </a:cubicBezTo>
                  <a:cubicBezTo>
                    <a:pt x="361079" y="66984"/>
                    <a:pt x="353784" y="61542"/>
                    <a:pt x="345102" y="57840"/>
                  </a:cubicBezTo>
                  <a:cubicBezTo>
                    <a:pt x="336532" y="54134"/>
                    <a:pt x="326634" y="52281"/>
                    <a:pt x="315403" y="52281"/>
                  </a:cubicBezTo>
                  <a:lnTo>
                    <a:pt x="258784" y="52281"/>
                  </a:lnTo>
                  <a:lnTo>
                    <a:pt x="258784" y="17544"/>
                  </a:lnTo>
                  <a:lnTo>
                    <a:pt x="315403" y="17544"/>
                  </a:lnTo>
                  <a:cubicBezTo>
                    <a:pt x="332193" y="17544"/>
                    <a:pt x="347534" y="20379"/>
                    <a:pt x="361429" y="26055"/>
                  </a:cubicBezTo>
                  <a:cubicBezTo>
                    <a:pt x="375325" y="31615"/>
                    <a:pt x="387310" y="39660"/>
                    <a:pt x="397383" y="50195"/>
                  </a:cubicBezTo>
                  <a:cubicBezTo>
                    <a:pt x="407572" y="60730"/>
                    <a:pt x="415389" y="73351"/>
                    <a:pt x="420826" y="88054"/>
                  </a:cubicBezTo>
                  <a:cubicBezTo>
                    <a:pt x="426269" y="102758"/>
                    <a:pt x="428988" y="119202"/>
                    <a:pt x="428988" y="137378"/>
                  </a:cubicBezTo>
                  <a:lnTo>
                    <a:pt x="428988" y="150754"/>
                  </a:lnTo>
                  <a:cubicBezTo>
                    <a:pt x="428988" y="168930"/>
                    <a:pt x="426269" y="185374"/>
                    <a:pt x="420826" y="200078"/>
                  </a:cubicBezTo>
                  <a:cubicBezTo>
                    <a:pt x="415384" y="214781"/>
                    <a:pt x="407568" y="227403"/>
                    <a:pt x="397383" y="237938"/>
                  </a:cubicBezTo>
                  <a:cubicBezTo>
                    <a:pt x="387193" y="248356"/>
                    <a:pt x="375038" y="256405"/>
                    <a:pt x="360909" y="262077"/>
                  </a:cubicBezTo>
                  <a:cubicBezTo>
                    <a:pt x="346896" y="267636"/>
                    <a:pt x="331211" y="270413"/>
                    <a:pt x="313842" y="270413"/>
                  </a:cubicBezTo>
                  <a:close/>
                  <a:moveTo>
                    <a:pt x="283964" y="17544"/>
                  </a:moveTo>
                  <a:lnTo>
                    <a:pt x="283964" y="270418"/>
                  </a:lnTo>
                  <a:lnTo>
                    <a:pt x="240369" y="270418"/>
                  </a:lnTo>
                  <a:lnTo>
                    <a:pt x="240369" y="17544"/>
                  </a:lnTo>
                  <a:lnTo>
                    <a:pt x="283964" y="17544"/>
                  </a:lnTo>
                  <a:close/>
                  <a:moveTo>
                    <a:pt x="519299" y="17544"/>
                  </a:moveTo>
                  <a:lnTo>
                    <a:pt x="519299" y="270418"/>
                  </a:lnTo>
                  <a:lnTo>
                    <a:pt x="475705" y="270418"/>
                  </a:lnTo>
                  <a:lnTo>
                    <a:pt x="475705" y="17544"/>
                  </a:lnTo>
                  <a:lnTo>
                    <a:pt x="519299" y="17544"/>
                  </a:lnTo>
                  <a:close/>
                  <a:moveTo>
                    <a:pt x="811424" y="188093"/>
                  </a:moveTo>
                  <a:lnTo>
                    <a:pt x="854843" y="188093"/>
                  </a:lnTo>
                  <a:cubicBezTo>
                    <a:pt x="853452" y="204650"/>
                    <a:pt x="848822" y="219411"/>
                    <a:pt x="840947" y="232383"/>
                  </a:cubicBezTo>
                  <a:cubicBezTo>
                    <a:pt x="833073" y="245233"/>
                    <a:pt x="822017" y="255365"/>
                    <a:pt x="807776" y="262777"/>
                  </a:cubicBezTo>
                  <a:cubicBezTo>
                    <a:pt x="793535" y="270185"/>
                    <a:pt x="776225" y="273891"/>
                    <a:pt x="755845" y="273891"/>
                  </a:cubicBezTo>
                  <a:cubicBezTo>
                    <a:pt x="740213" y="273891"/>
                    <a:pt x="726147" y="271114"/>
                    <a:pt x="713642" y="265554"/>
                  </a:cubicBezTo>
                  <a:cubicBezTo>
                    <a:pt x="701137" y="259878"/>
                    <a:pt x="690427" y="251892"/>
                    <a:pt x="681512" y="241585"/>
                  </a:cubicBezTo>
                  <a:cubicBezTo>
                    <a:pt x="672596" y="231162"/>
                    <a:pt x="665768" y="218604"/>
                    <a:pt x="661021" y="203896"/>
                  </a:cubicBezTo>
                  <a:cubicBezTo>
                    <a:pt x="656390" y="189192"/>
                    <a:pt x="654075" y="172748"/>
                    <a:pt x="654075" y="154572"/>
                  </a:cubicBezTo>
                  <a:lnTo>
                    <a:pt x="654075" y="133555"/>
                  </a:lnTo>
                  <a:cubicBezTo>
                    <a:pt x="654075" y="115374"/>
                    <a:pt x="656449" y="98935"/>
                    <a:pt x="661196" y="84231"/>
                  </a:cubicBezTo>
                  <a:cubicBezTo>
                    <a:pt x="666059" y="69528"/>
                    <a:pt x="673005" y="56965"/>
                    <a:pt x="682037" y="46547"/>
                  </a:cubicBezTo>
                  <a:cubicBezTo>
                    <a:pt x="691069" y="36012"/>
                    <a:pt x="701891" y="27962"/>
                    <a:pt x="714513" y="22403"/>
                  </a:cubicBezTo>
                  <a:cubicBezTo>
                    <a:pt x="727246" y="16843"/>
                    <a:pt x="741546" y="14066"/>
                    <a:pt x="757411" y="14066"/>
                  </a:cubicBezTo>
                  <a:cubicBezTo>
                    <a:pt x="777557" y="14066"/>
                    <a:pt x="794581" y="17772"/>
                    <a:pt x="808472" y="25180"/>
                  </a:cubicBezTo>
                  <a:cubicBezTo>
                    <a:pt x="822368" y="32592"/>
                    <a:pt x="833131" y="42836"/>
                    <a:pt x="840777" y="55919"/>
                  </a:cubicBezTo>
                  <a:cubicBezTo>
                    <a:pt x="848535" y="69003"/>
                    <a:pt x="853282" y="83998"/>
                    <a:pt x="855018" y="100900"/>
                  </a:cubicBezTo>
                  <a:lnTo>
                    <a:pt x="811599" y="100900"/>
                  </a:lnTo>
                  <a:cubicBezTo>
                    <a:pt x="810442" y="90015"/>
                    <a:pt x="807893" y="80695"/>
                    <a:pt x="803958" y="72938"/>
                  </a:cubicBezTo>
                  <a:cubicBezTo>
                    <a:pt x="800140" y="65180"/>
                    <a:pt x="794464" y="59275"/>
                    <a:pt x="786940" y="55224"/>
                  </a:cubicBezTo>
                  <a:cubicBezTo>
                    <a:pt x="779415" y="51055"/>
                    <a:pt x="769571" y="48969"/>
                    <a:pt x="757416" y="48969"/>
                  </a:cubicBezTo>
                  <a:cubicBezTo>
                    <a:pt x="747460" y="48969"/>
                    <a:pt x="738773" y="50822"/>
                    <a:pt x="731366" y="54528"/>
                  </a:cubicBezTo>
                  <a:cubicBezTo>
                    <a:pt x="723953" y="58234"/>
                    <a:pt x="717762" y="63677"/>
                    <a:pt x="712781" y="70856"/>
                  </a:cubicBezTo>
                  <a:cubicBezTo>
                    <a:pt x="707801" y="78035"/>
                    <a:pt x="704041" y="86892"/>
                    <a:pt x="701492" y="97427"/>
                  </a:cubicBezTo>
                  <a:cubicBezTo>
                    <a:pt x="699060" y="107845"/>
                    <a:pt x="697844" y="119771"/>
                    <a:pt x="697844" y="133205"/>
                  </a:cubicBezTo>
                  <a:lnTo>
                    <a:pt x="697844" y="154567"/>
                  </a:lnTo>
                  <a:cubicBezTo>
                    <a:pt x="697844" y="167300"/>
                    <a:pt x="698944" y="178881"/>
                    <a:pt x="701142" y="189299"/>
                  </a:cubicBezTo>
                  <a:cubicBezTo>
                    <a:pt x="703457" y="199606"/>
                    <a:pt x="706930" y="208463"/>
                    <a:pt x="711565" y="215870"/>
                  </a:cubicBezTo>
                  <a:cubicBezTo>
                    <a:pt x="716312" y="223283"/>
                    <a:pt x="722334" y="229012"/>
                    <a:pt x="729629" y="233064"/>
                  </a:cubicBezTo>
                  <a:cubicBezTo>
                    <a:pt x="736925" y="237116"/>
                    <a:pt x="745665" y="239144"/>
                    <a:pt x="755855" y="239144"/>
                  </a:cubicBezTo>
                  <a:cubicBezTo>
                    <a:pt x="768243" y="239144"/>
                    <a:pt x="778258" y="237174"/>
                    <a:pt x="785904" y="233239"/>
                  </a:cubicBezTo>
                  <a:cubicBezTo>
                    <a:pt x="793661" y="229304"/>
                    <a:pt x="799508" y="223570"/>
                    <a:pt x="803443" y="216046"/>
                  </a:cubicBezTo>
                  <a:cubicBezTo>
                    <a:pt x="807494" y="208405"/>
                    <a:pt x="810159" y="199085"/>
                    <a:pt x="811434" y="188084"/>
                  </a:cubicBezTo>
                  <a:close/>
                  <a:moveTo>
                    <a:pt x="882285" y="178541"/>
                  </a:moveTo>
                  <a:lnTo>
                    <a:pt x="882285" y="174548"/>
                  </a:lnTo>
                  <a:cubicBezTo>
                    <a:pt x="882285" y="161002"/>
                    <a:pt x="884255" y="148439"/>
                    <a:pt x="888190" y="136858"/>
                  </a:cubicBezTo>
                  <a:cubicBezTo>
                    <a:pt x="892124" y="125165"/>
                    <a:pt x="897800" y="115034"/>
                    <a:pt x="905208" y="106464"/>
                  </a:cubicBezTo>
                  <a:cubicBezTo>
                    <a:pt x="912732" y="97782"/>
                    <a:pt x="921881" y="91065"/>
                    <a:pt x="932650" y="86318"/>
                  </a:cubicBezTo>
                  <a:cubicBezTo>
                    <a:pt x="943535" y="81454"/>
                    <a:pt x="955806" y="79022"/>
                    <a:pt x="969469" y="79022"/>
                  </a:cubicBezTo>
                  <a:cubicBezTo>
                    <a:pt x="983131" y="79022"/>
                    <a:pt x="995519" y="81454"/>
                    <a:pt x="1006288" y="86318"/>
                  </a:cubicBezTo>
                  <a:cubicBezTo>
                    <a:pt x="1017173" y="91065"/>
                    <a:pt x="1026375" y="97782"/>
                    <a:pt x="1033899" y="106464"/>
                  </a:cubicBezTo>
                  <a:cubicBezTo>
                    <a:pt x="1041424" y="115034"/>
                    <a:pt x="1047158" y="125165"/>
                    <a:pt x="1051093" y="136858"/>
                  </a:cubicBezTo>
                  <a:cubicBezTo>
                    <a:pt x="1055028" y="148439"/>
                    <a:pt x="1056998" y="160997"/>
                    <a:pt x="1056998" y="174548"/>
                  </a:cubicBezTo>
                  <a:lnTo>
                    <a:pt x="1056998" y="178541"/>
                  </a:lnTo>
                  <a:cubicBezTo>
                    <a:pt x="1056998" y="192086"/>
                    <a:pt x="1055028" y="204650"/>
                    <a:pt x="1051093" y="216230"/>
                  </a:cubicBezTo>
                  <a:cubicBezTo>
                    <a:pt x="1047153" y="227806"/>
                    <a:pt x="1041424" y="237938"/>
                    <a:pt x="1033899" y="246624"/>
                  </a:cubicBezTo>
                  <a:cubicBezTo>
                    <a:pt x="1026375" y="255194"/>
                    <a:pt x="1017226" y="261906"/>
                    <a:pt x="1006458" y="266770"/>
                  </a:cubicBezTo>
                  <a:cubicBezTo>
                    <a:pt x="995689" y="271517"/>
                    <a:pt x="983476" y="273891"/>
                    <a:pt x="969814" y="273891"/>
                  </a:cubicBezTo>
                  <a:cubicBezTo>
                    <a:pt x="956151" y="273891"/>
                    <a:pt x="943705" y="271517"/>
                    <a:pt x="932820" y="266770"/>
                  </a:cubicBezTo>
                  <a:cubicBezTo>
                    <a:pt x="922051" y="261906"/>
                    <a:pt x="912907" y="255189"/>
                    <a:pt x="905378" y="246624"/>
                  </a:cubicBezTo>
                  <a:cubicBezTo>
                    <a:pt x="897854" y="237942"/>
                    <a:pt x="892119" y="227811"/>
                    <a:pt x="888185" y="216230"/>
                  </a:cubicBezTo>
                  <a:cubicBezTo>
                    <a:pt x="884245" y="204650"/>
                    <a:pt x="882280" y="192086"/>
                    <a:pt x="882280" y="178541"/>
                  </a:cubicBezTo>
                  <a:close/>
                  <a:moveTo>
                    <a:pt x="924143" y="174548"/>
                  </a:moveTo>
                  <a:lnTo>
                    <a:pt x="924143" y="178541"/>
                  </a:lnTo>
                  <a:cubicBezTo>
                    <a:pt x="924143" y="186994"/>
                    <a:pt x="925013" y="194980"/>
                    <a:pt x="926750" y="202510"/>
                  </a:cubicBezTo>
                  <a:cubicBezTo>
                    <a:pt x="928486" y="210034"/>
                    <a:pt x="931210" y="216634"/>
                    <a:pt x="934911" y="222310"/>
                  </a:cubicBezTo>
                  <a:cubicBezTo>
                    <a:pt x="938617" y="227981"/>
                    <a:pt x="943365" y="232441"/>
                    <a:pt x="949152" y="235681"/>
                  </a:cubicBezTo>
                  <a:cubicBezTo>
                    <a:pt x="954940" y="238925"/>
                    <a:pt x="961832" y="240545"/>
                    <a:pt x="969819" y="240545"/>
                  </a:cubicBezTo>
                  <a:cubicBezTo>
                    <a:pt x="977805" y="240545"/>
                    <a:pt x="984293" y="238925"/>
                    <a:pt x="989965" y="235681"/>
                  </a:cubicBezTo>
                  <a:cubicBezTo>
                    <a:pt x="995753" y="232441"/>
                    <a:pt x="1000500" y="227981"/>
                    <a:pt x="1004206" y="222310"/>
                  </a:cubicBezTo>
                  <a:cubicBezTo>
                    <a:pt x="1007912" y="216634"/>
                    <a:pt x="1010631" y="210039"/>
                    <a:pt x="1012367" y="202510"/>
                  </a:cubicBezTo>
                  <a:cubicBezTo>
                    <a:pt x="1014220" y="194985"/>
                    <a:pt x="1015145" y="186994"/>
                    <a:pt x="1015145" y="178541"/>
                  </a:cubicBezTo>
                  <a:lnTo>
                    <a:pt x="1015145" y="174548"/>
                  </a:lnTo>
                  <a:cubicBezTo>
                    <a:pt x="1015145" y="166211"/>
                    <a:pt x="1014220" y="158336"/>
                    <a:pt x="1012367" y="150929"/>
                  </a:cubicBezTo>
                  <a:cubicBezTo>
                    <a:pt x="1010631" y="143405"/>
                    <a:pt x="1007854" y="136746"/>
                    <a:pt x="1004031" y="130958"/>
                  </a:cubicBezTo>
                  <a:cubicBezTo>
                    <a:pt x="1000325" y="125170"/>
                    <a:pt x="995578" y="120652"/>
                    <a:pt x="989790" y="117412"/>
                  </a:cubicBezTo>
                  <a:cubicBezTo>
                    <a:pt x="984118" y="114056"/>
                    <a:pt x="977343" y="112378"/>
                    <a:pt x="969469" y="112378"/>
                  </a:cubicBezTo>
                  <a:cubicBezTo>
                    <a:pt x="961594" y="112378"/>
                    <a:pt x="954765" y="114056"/>
                    <a:pt x="948977" y="117412"/>
                  </a:cubicBezTo>
                  <a:cubicBezTo>
                    <a:pt x="943301" y="120657"/>
                    <a:pt x="938613" y="125170"/>
                    <a:pt x="934911" y="130958"/>
                  </a:cubicBezTo>
                  <a:cubicBezTo>
                    <a:pt x="931205" y="136746"/>
                    <a:pt x="928486" y="143405"/>
                    <a:pt x="926750" y="150929"/>
                  </a:cubicBezTo>
                  <a:cubicBezTo>
                    <a:pt x="925013" y="158341"/>
                    <a:pt x="924143" y="166211"/>
                    <a:pt x="924143" y="174548"/>
                  </a:cubicBezTo>
                  <a:close/>
                  <a:moveTo>
                    <a:pt x="1133598" y="122617"/>
                  </a:moveTo>
                  <a:lnTo>
                    <a:pt x="1133598" y="270418"/>
                  </a:lnTo>
                  <a:lnTo>
                    <a:pt x="1091745" y="270418"/>
                  </a:lnTo>
                  <a:lnTo>
                    <a:pt x="1091745" y="82495"/>
                  </a:lnTo>
                  <a:lnTo>
                    <a:pt x="1131171" y="82495"/>
                  </a:lnTo>
                  <a:lnTo>
                    <a:pt x="1133603" y="122617"/>
                  </a:lnTo>
                  <a:close/>
                  <a:moveTo>
                    <a:pt x="1126132" y="169509"/>
                  </a:moveTo>
                  <a:lnTo>
                    <a:pt x="1112586" y="169334"/>
                  </a:lnTo>
                  <a:cubicBezTo>
                    <a:pt x="1112703" y="156016"/>
                    <a:pt x="1114556" y="143803"/>
                    <a:pt x="1118145" y="132690"/>
                  </a:cubicBezTo>
                  <a:cubicBezTo>
                    <a:pt x="1121852" y="121576"/>
                    <a:pt x="1126944" y="112023"/>
                    <a:pt x="1133428" y="104032"/>
                  </a:cubicBezTo>
                  <a:cubicBezTo>
                    <a:pt x="1140028" y="96041"/>
                    <a:pt x="1147902" y="89908"/>
                    <a:pt x="1157046" y="85623"/>
                  </a:cubicBezTo>
                  <a:cubicBezTo>
                    <a:pt x="1166195" y="81226"/>
                    <a:pt x="1176385" y="79022"/>
                    <a:pt x="1187615" y="79022"/>
                  </a:cubicBezTo>
                  <a:cubicBezTo>
                    <a:pt x="1196647" y="79022"/>
                    <a:pt x="1204809" y="80297"/>
                    <a:pt x="1212105" y="82840"/>
                  </a:cubicBezTo>
                  <a:cubicBezTo>
                    <a:pt x="1219517" y="85272"/>
                    <a:pt x="1225825" y="89265"/>
                    <a:pt x="1231034" y="94825"/>
                  </a:cubicBezTo>
                  <a:cubicBezTo>
                    <a:pt x="1236360" y="100384"/>
                    <a:pt x="1240412" y="107617"/>
                    <a:pt x="1243189" y="116532"/>
                  </a:cubicBezTo>
                  <a:cubicBezTo>
                    <a:pt x="1245966" y="125331"/>
                    <a:pt x="1247357" y="136157"/>
                    <a:pt x="1247357" y="149013"/>
                  </a:cubicBezTo>
                  <a:lnTo>
                    <a:pt x="1247357" y="270413"/>
                  </a:lnTo>
                  <a:lnTo>
                    <a:pt x="1205329" y="270413"/>
                  </a:lnTo>
                  <a:lnTo>
                    <a:pt x="1205329" y="148837"/>
                  </a:lnTo>
                  <a:cubicBezTo>
                    <a:pt x="1205329" y="139805"/>
                    <a:pt x="1203996" y="132685"/>
                    <a:pt x="1201336" y="127476"/>
                  </a:cubicBezTo>
                  <a:cubicBezTo>
                    <a:pt x="1198787" y="122150"/>
                    <a:pt x="1195028" y="118385"/>
                    <a:pt x="1190047" y="116187"/>
                  </a:cubicBezTo>
                  <a:cubicBezTo>
                    <a:pt x="1185183" y="113872"/>
                    <a:pt x="1179104" y="112714"/>
                    <a:pt x="1171813" y="112714"/>
                  </a:cubicBezTo>
                  <a:cubicBezTo>
                    <a:pt x="1164522" y="112714"/>
                    <a:pt x="1158209" y="114217"/>
                    <a:pt x="1152533" y="117228"/>
                  </a:cubicBezTo>
                  <a:cubicBezTo>
                    <a:pt x="1146861" y="120238"/>
                    <a:pt x="1142056" y="124348"/>
                    <a:pt x="1138116" y="129557"/>
                  </a:cubicBezTo>
                  <a:cubicBezTo>
                    <a:pt x="1134293" y="134766"/>
                    <a:pt x="1131341" y="140788"/>
                    <a:pt x="1129259" y="147621"/>
                  </a:cubicBezTo>
                  <a:cubicBezTo>
                    <a:pt x="1127178" y="154450"/>
                    <a:pt x="1126132" y="161746"/>
                    <a:pt x="1126132" y="169504"/>
                  </a:cubicBezTo>
                  <a:close/>
                  <a:moveTo>
                    <a:pt x="1346701" y="270418"/>
                  </a:moveTo>
                  <a:lnTo>
                    <a:pt x="1304843" y="270418"/>
                  </a:lnTo>
                  <a:lnTo>
                    <a:pt x="1304843" y="64436"/>
                  </a:lnTo>
                  <a:cubicBezTo>
                    <a:pt x="1304843" y="50428"/>
                    <a:pt x="1307450" y="38672"/>
                    <a:pt x="1312659" y="29178"/>
                  </a:cubicBezTo>
                  <a:cubicBezTo>
                    <a:pt x="1317985" y="19567"/>
                    <a:pt x="1325567" y="12330"/>
                    <a:pt x="1335412" y="7471"/>
                  </a:cubicBezTo>
                  <a:cubicBezTo>
                    <a:pt x="1345256" y="2490"/>
                    <a:pt x="1356890" y="0"/>
                    <a:pt x="1370319" y="0"/>
                  </a:cubicBezTo>
                  <a:cubicBezTo>
                    <a:pt x="1374488" y="0"/>
                    <a:pt x="1378597" y="292"/>
                    <a:pt x="1382649" y="871"/>
                  </a:cubicBezTo>
                  <a:cubicBezTo>
                    <a:pt x="1386701" y="1333"/>
                    <a:pt x="1390640" y="2087"/>
                    <a:pt x="1394458" y="3127"/>
                  </a:cubicBezTo>
                  <a:lnTo>
                    <a:pt x="1393418" y="35433"/>
                  </a:lnTo>
                  <a:cubicBezTo>
                    <a:pt x="1391102" y="34854"/>
                    <a:pt x="1388554" y="34450"/>
                    <a:pt x="1385776" y="34217"/>
                  </a:cubicBezTo>
                  <a:cubicBezTo>
                    <a:pt x="1383116" y="33983"/>
                    <a:pt x="1380217" y="33872"/>
                    <a:pt x="1377095" y="33872"/>
                  </a:cubicBezTo>
                  <a:cubicBezTo>
                    <a:pt x="1370728" y="33872"/>
                    <a:pt x="1365227" y="35088"/>
                    <a:pt x="1360596" y="37519"/>
                  </a:cubicBezTo>
                  <a:cubicBezTo>
                    <a:pt x="1356083" y="39835"/>
                    <a:pt x="1352605" y="43249"/>
                    <a:pt x="1350178" y="47767"/>
                  </a:cubicBezTo>
                  <a:cubicBezTo>
                    <a:pt x="1347863" y="52286"/>
                    <a:pt x="1346706" y="57840"/>
                    <a:pt x="1346706" y="64441"/>
                  </a:cubicBezTo>
                  <a:lnTo>
                    <a:pt x="1346706" y="270423"/>
                  </a:lnTo>
                  <a:close/>
                  <a:moveTo>
                    <a:pt x="1385431" y="82500"/>
                  </a:moveTo>
                  <a:lnTo>
                    <a:pt x="1385431" y="113069"/>
                  </a:lnTo>
                  <a:lnTo>
                    <a:pt x="1276015" y="113069"/>
                  </a:lnTo>
                  <a:lnTo>
                    <a:pt x="1276015" y="82500"/>
                  </a:lnTo>
                  <a:lnTo>
                    <a:pt x="1385431" y="82500"/>
                  </a:lnTo>
                  <a:close/>
                </a:path>
              </a:pathLst>
            </a:custGeom>
            <a:solidFill>
              <a:srgbClr val="EE3431"/>
            </a:solidFill>
            <a:ln w="4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6" name="Полилиния: фигура 45">
              <a:extLst>
                <a:ext uri="{FF2B5EF4-FFF2-40B4-BE49-F238E27FC236}">
                  <a16:creationId xmlns:a16="http://schemas.microsoft.com/office/drawing/2014/main" id="{EB80AEA3-6D76-4813-B83E-E98064CA7762}"/>
                </a:ext>
              </a:extLst>
            </p:cNvPr>
            <p:cNvSpPr/>
            <p:nvPr/>
          </p:nvSpPr>
          <p:spPr>
            <a:xfrm>
              <a:off x="7406975" y="5855999"/>
              <a:ext cx="1394458" cy="273890"/>
            </a:xfrm>
            <a:custGeom>
              <a:avLst/>
              <a:gdLst>
                <a:gd name="connsiteX0" fmla="*/ 157354 w 1394458"/>
                <a:gd name="connsiteY0" fmla="*/ 188093 h 273890"/>
                <a:gd name="connsiteX1" fmla="*/ 200773 w 1394458"/>
                <a:gd name="connsiteY1" fmla="*/ 188093 h 273890"/>
                <a:gd name="connsiteX2" fmla="*/ 186877 w 1394458"/>
                <a:gd name="connsiteY2" fmla="*/ 232383 h 273890"/>
                <a:gd name="connsiteX3" fmla="*/ 153706 w 1394458"/>
                <a:gd name="connsiteY3" fmla="*/ 262777 h 273890"/>
                <a:gd name="connsiteX4" fmla="*/ 101775 w 1394458"/>
                <a:gd name="connsiteY4" fmla="*/ 273891 h 273890"/>
                <a:gd name="connsiteX5" fmla="*/ 59572 w 1394458"/>
                <a:gd name="connsiteY5" fmla="*/ 265554 h 273890"/>
                <a:gd name="connsiteX6" fmla="*/ 27442 w 1394458"/>
                <a:gd name="connsiteY6" fmla="*/ 241585 h 273890"/>
                <a:gd name="connsiteX7" fmla="*/ 6950 w 1394458"/>
                <a:gd name="connsiteY7" fmla="*/ 203901 h 273890"/>
                <a:gd name="connsiteX8" fmla="*/ 0 w 1394458"/>
                <a:gd name="connsiteY8" fmla="*/ 154572 h 273890"/>
                <a:gd name="connsiteX9" fmla="*/ 0 w 1394458"/>
                <a:gd name="connsiteY9" fmla="*/ 133555 h 273890"/>
                <a:gd name="connsiteX10" fmla="*/ 7121 w 1394458"/>
                <a:gd name="connsiteY10" fmla="*/ 84231 h 273890"/>
                <a:gd name="connsiteX11" fmla="*/ 27962 w 1394458"/>
                <a:gd name="connsiteY11" fmla="*/ 46542 h 273890"/>
                <a:gd name="connsiteX12" fmla="*/ 60438 w 1394458"/>
                <a:gd name="connsiteY12" fmla="*/ 22403 h 273890"/>
                <a:gd name="connsiteX13" fmla="*/ 103336 w 1394458"/>
                <a:gd name="connsiteY13" fmla="*/ 14066 h 273890"/>
                <a:gd name="connsiteX14" fmla="*/ 154397 w 1394458"/>
                <a:gd name="connsiteY14" fmla="*/ 25180 h 273890"/>
                <a:gd name="connsiteX15" fmla="*/ 186702 w 1394458"/>
                <a:gd name="connsiteY15" fmla="*/ 55919 h 273890"/>
                <a:gd name="connsiteX16" fmla="*/ 200943 w 1394458"/>
                <a:gd name="connsiteY16" fmla="*/ 100900 h 273890"/>
                <a:gd name="connsiteX17" fmla="*/ 157524 w 1394458"/>
                <a:gd name="connsiteY17" fmla="*/ 100900 h 273890"/>
                <a:gd name="connsiteX18" fmla="*/ 149883 w 1394458"/>
                <a:gd name="connsiteY18" fmla="*/ 72938 h 273890"/>
                <a:gd name="connsiteX19" fmla="*/ 132865 w 1394458"/>
                <a:gd name="connsiteY19" fmla="*/ 55224 h 273890"/>
                <a:gd name="connsiteX20" fmla="*/ 103341 w 1394458"/>
                <a:gd name="connsiteY20" fmla="*/ 48969 h 273890"/>
                <a:gd name="connsiteX21" fmla="*/ 77291 w 1394458"/>
                <a:gd name="connsiteY21" fmla="*/ 54528 h 273890"/>
                <a:gd name="connsiteX22" fmla="*/ 58706 w 1394458"/>
                <a:gd name="connsiteY22" fmla="*/ 70856 h 273890"/>
                <a:gd name="connsiteX23" fmla="*/ 47417 w 1394458"/>
                <a:gd name="connsiteY23" fmla="*/ 97427 h 273890"/>
                <a:gd name="connsiteX24" fmla="*/ 43769 w 1394458"/>
                <a:gd name="connsiteY24" fmla="*/ 133205 h 273890"/>
                <a:gd name="connsiteX25" fmla="*/ 43769 w 1394458"/>
                <a:gd name="connsiteY25" fmla="*/ 154567 h 273890"/>
                <a:gd name="connsiteX26" fmla="*/ 47067 w 1394458"/>
                <a:gd name="connsiteY26" fmla="*/ 189304 h 273890"/>
                <a:gd name="connsiteX27" fmla="*/ 57490 w 1394458"/>
                <a:gd name="connsiteY27" fmla="*/ 215875 h 273890"/>
                <a:gd name="connsiteX28" fmla="*/ 75550 w 1394458"/>
                <a:gd name="connsiteY28" fmla="*/ 233069 h 273890"/>
                <a:gd name="connsiteX29" fmla="*/ 101775 w 1394458"/>
                <a:gd name="connsiteY29" fmla="*/ 239149 h 273890"/>
                <a:gd name="connsiteX30" fmla="*/ 131824 w 1394458"/>
                <a:gd name="connsiteY30" fmla="*/ 233244 h 273890"/>
                <a:gd name="connsiteX31" fmla="*/ 149363 w 1394458"/>
                <a:gd name="connsiteY31" fmla="*/ 216050 h 273890"/>
                <a:gd name="connsiteX32" fmla="*/ 157354 w 1394458"/>
                <a:gd name="connsiteY32" fmla="*/ 188088 h 273890"/>
                <a:gd name="connsiteX33" fmla="*/ 313837 w 1394458"/>
                <a:gd name="connsiteY33" fmla="*/ 270418 h 273890"/>
                <a:gd name="connsiteX34" fmla="*/ 259825 w 1394458"/>
                <a:gd name="connsiteY34" fmla="*/ 270418 h 273890"/>
                <a:gd name="connsiteX35" fmla="*/ 260170 w 1394458"/>
                <a:gd name="connsiteY35" fmla="*/ 235856 h 273890"/>
                <a:gd name="connsiteX36" fmla="*/ 313837 w 1394458"/>
                <a:gd name="connsiteY36" fmla="*/ 235856 h 273890"/>
                <a:gd name="connsiteX37" fmla="*/ 353088 w 1394458"/>
                <a:gd name="connsiteY37" fmla="*/ 225608 h 273890"/>
                <a:gd name="connsiteX38" fmla="*/ 377057 w 1394458"/>
                <a:gd name="connsiteY38" fmla="*/ 196255 h 273890"/>
                <a:gd name="connsiteX39" fmla="*/ 385218 w 1394458"/>
                <a:gd name="connsiteY39" fmla="*/ 150754 h 273890"/>
                <a:gd name="connsiteX40" fmla="*/ 385218 w 1394458"/>
                <a:gd name="connsiteY40" fmla="*/ 137033 h 273890"/>
                <a:gd name="connsiteX41" fmla="*/ 380530 w 1394458"/>
                <a:gd name="connsiteY41" fmla="*/ 100734 h 273890"/>
                <a:gd name="connsiteX42" fmla="*/ 366984 w 1394458"/>
                <a:gd name="connsiteY42" fmla="*/ 74163 h 273890"/>
                <a:gd name="connsiteX43" fmla="*/ 345102 w 1394458"/>
                <a:gd name="connsiteY43" fmla="*/ 57840 h 273890"/>
                <a:gd name="connsiteX44" fmla="*/ 315403 w 1394458"/>
                <a:gd name="connsiteY44" fmla="*/ 52281 h 273890"/>
                <a:gd name="connsiteX45" fmla="*/ 258784 w 1394458"/>
                <a:gd name="connsiteY45" fmla="*/ 52281 h 273890"/>
                <a:gd name="connsiteX46" fmla="*/ 258784 w 1394458"/>
                <a:gd name="connsiteY46" fmla="*/ 17544 h 273890"/>
                <a:gd name="connsiteX47" fmla="*/ 315403 w 1394458"/>
                <a:gd name="connsiteY47" fmla="*/ 17544 h 273890"/>
                <a:gd name="connsiteX48" fmla="*/ 361429 w 1394458"/>
                <a:gd name="connsiteY48" fmla="*/ 26055 h 273890"/>
                <a:gd name="connsiteX49" fmla="*/ 397383 w 1394458"/>
                <a:gd name="connsiteY49" fmla="*/ 50195 h 273890"/>
                <a:gd name="connsiteX50" fmla="*/ 420826 w 1394458"/>
                <a:gd name="connsiteY50" fmla="*/ 88054 h 273890"/>
                <a:gd name="connsiteX51" fmla="*/ 428988 w 1394458"/>
                <a:gd name="connsiteY51" fmla="*/ 137378 h 273890"/>
                <a:gd name="connsiteX52" fmla="*/ 428988 w 1394458"/>
                <a:gd name="connsiteY52" fmla="*/ 150754 h 273890"/>
                <a:gd name="connsiteX53" fmla="*/ 420826 w 1394458"/>
                <a:gd name="connsiteY53" fmla="*/ 200078 h 273890"/>
                <a:gd name="connsiteX54" fmla="*/ 397383 w 1394458"/>
                <a:gd name="connsiteY54" fmla="*/ 237938 h 273890"/>
                <a:gd name="connsiteX55" fmla="*/ 360909 w 1394458"/>
                <a:gd name="connsiteY55" fmla="*/ 262077 h 273890"/>
                <a:gd name="connsiteX56" fmla="*/ 313842 w 1394458"/>
                <a:gd name="connsiteY56" fmla="*/ 270413 h 273890"/>
                <a:gd name="connsiteX57" fmla="*/ 283964 w 1394458"/>
                <a:gd name="connsiteY57" fmla="*/ 17544 h 273890"/>
                <a:gd name="connsiteX58" fmla="*/ 283964 w 1394458"/>
                <a:gd name="connsiteY58" fmla="*/ 270418 h 273890"/>
                <a:gd name="connsiteX59" fmla="*/ 240369 w 1394458"/>
                <a:gd name="connsiteY59" fmla="*/ 270418 h 273890"/>
                <a:gd name="connsiteX60" fmla="*/ 240369 w 1394458"/>
                <a:gd name="connsiteY60" fmla="*/ 17544 h 273890"/>
                <a:gd name="connsiteX61" fmla="*/ 283964 w 1394458"/>
                <a:gd name="connsiteY61" fmla="*/ 17544 h 273890"/>
                <a:gd name="connsiteX62" fmla="*/ 519299 w 1394458"/>
                <a:gd name="connsiteY62" fmla="*/ 17544 h 273890"/>
                <a:gd name="connsiteX63" fmla="*/ 519299 w 1394458"/>
                <a:gd name="connsiteY63" fmla="*/ 270418 h 273890"/>
                <a:gd name="connsiteX64" fmla="*/ 475705 w 1394458"/>
                <a:gd name="connsiteY64" fmla="*/ 270418 h 273890"/>
                <a:gd name="connsiteX65" fmla="*/ 475705 w 1394458"/>
                <a:gd name="connsiteY65" fmla="*/ 17544 h 273890"/>
                <a:gd name="connsiteX66" fmla="*/ 519299 w 1394458"/>
                <a:gd name="connsiteY66" fmla="*/ 17544 h 273890"/>
                <a:gd name="connsiteX67" fmla="*/ 811424 w 1394458"/>
                <a:gd name="connsiteY67" fmla="*/ 188093 h 273890"/>
                <a:gd name="connsiteX68" fmla="*/ 854843 w 1394458"/>
                <a:gd name="connsiteY68" fmla="*/ 188093 h 273890"/>
                <a:gd name="connsiteX69" fmla="*/ 840947 w 1394458"/>
                <a:gd name="connsiteY69" fmla="*/ 232383 h 273890"/>
                <a:gd name="connsiteX70" fmla="*/ 807776 w 1394458"/>
                <a:gd name="connsiteY70" fmla="*/ 262777 h 273890"/>
                <a:gd name="connsiteX71" fmla="*/ 755845 w 1394458"/>
                <a:gd name="connsiteY71" fmla="*/ 273891 h 273890"/>
                <a:gd name="connsiteX72" fmla="*/ 713642 w 1394458"/>
                <a:gd name="connsiteY72" fmla="*/ 265554 h 273890"/>
                <a:gd name="connsiteX73" fmla="*/ 681512 w 1394458"/>
                <a:gd name="connsiteY73" fmla="*/ 241585 h 273890"/>
                <a:gd name="connsiteX74" fmla="*/ 661021 w 1394458"/>
                <a:gd name="connsiteY74" fmla="*/ 203901 h 273890"/>
                <a:gd name="connsiteX75" fmla="*/ 654075 w 1394458"/>
                <a:gd name="connsiteY75" fmla="*/ 154577 h 273890"/>
                <a:gd name="connsiteX76" fmla="*/ 654075 w 1394458"/>
                <a:gd name="connsiteY76" fmla="*/ 133560 h 273890"/>
                <a:gd name="connsiteX77" fmla="*/ 661196 w 1394458"/>
                <a:gd name="connsiteY77" fmla="*/ 84236 h 273890"/>
                <a:gd name="connsiteX78" fmla="*/ 682037 w 1394458"/>
                <a:gd name="connsiteY78" fmla="*/ 46547 h 273890"/>
                <a:gd name="connsiteX79" fmla="*/ 714513 w 1394458"/>
                <a:gd name="connsiteY79" fmla="*/ 22408 h 273890"/>
                <a:gd name="connsiteX80" fmla="*/ 757411 w 1394458"/>
                <a:gd name="connsiteY80" fmla="*/ 14071 h 273890"/>
                <a:gd name="connsiteX81" fmla="*/ 808472 w 1394458"/>
                <a:gd name="connsiteY81" fmla="*/ 25185 h 273890"/>
                <a:gd name="connsiteX82" fmla="*/ 840777 w 1394458"/>
                <a:gd name="connsiteY82" fmla="*/ 55924 h 273890"/>
                <a:gd name="connsiteX83" fmla="*/ 855018 w 1394458"/>
                <a:gd name="connsiteY83" fmla="*/ 100905 h 273890"/>
                <a:gd name="connsiteX84" fmla="*/ 811599 w 1394458"/>
                <a:gd name="connsiteY84" fmla="*/ 100905 h 273890"/>
                <a:gd name="connsiteX85" fmla="*/ 803958 w 1394458"/>
                <a:gd name="connsiteY85" fmla="*/ 72943 h 273890"/>
                <a:gd name="connsiteX86" fmla="*/ 786940 w 1394458"/>
                <a:gd name="connsiteY86" fmla="*/ 55229 h 273890"/>
                <a:gd name="connsiteX87" fmla="*/ 757416 w 1394458"/>
                <a:gd name="connsiteY87" fmla="*/ 48974 h 273890"/>
                <a:gd name="connsiteX88" fmla="*/ 731366 w 1394458"/>
                <a:gd name="connsiteY88" fmla="*/ 54533 h 273890"/>
                <a:gd name="connsiteX89" fmla="*/ 712781 w 1394458"/>
                <a:gd name="connsiteY89" fmla="*/ 70861 h 273890"/>
                <a:gd name="connsiteX90" fmla="*/ 701492 w 1394458"/>
                <a:gd name="connsiteY90" fmla="*/ 97432 h 273890"/>
                <a:gd name="connsiteX91" fmla="*/ 697844 w 1394458"/>
                <a:gd name="connsiteY91" fmla="*/ 133210 h 273890"/>
                <a:gd name="connsiteX92" fmla="*/ 697844 w 1394458"/>
                <a:gd name="connsiteY92" fmla="*/ 154572 h 273890"/>
                <a:gd name="connsiteX93" fmla="*/ 701142 w 1394458"/>
                <a:gd name="connsiteY93" fmla="*/ 189309 h 273890"/>
                <a:gd name="connsiteX94" fmla="*/ 711565 w 1394458"/>
                <a:gd name="connsiteY94" fmla="*/ 215880 h 273890"/>
                <a:gd name="connsiteX95" fmla="*/ 729629 w 1394458"/>
                <a:gd name="connsiteY95" fmla="*/ 233074 h 273890"/>
                <a:gd name="connsiteX96" fmla="*/ 755855 w 1394458"/>
                <a:gd name="connsiteY96" fmla="*/ 239154 h 273890"/>
                <a:gd name="connsiteX97" fmla="*/ 785904 w 1394458"/>
                <a:gd name="connsiteY97" fmla="*/ 233249 h 273890"/>
                <a:gd name="connsiteX98" fmla="*/ 803443 w 1394458"/>
                <a:gd name="connsiteY98" fmla="*/ 216055 h 273890"/>
                <a:gd name="connsiteX99" fmla="*/ 811434 w 1394458"/>
                <a:gd name="connsiteY99" fmla="*/ 188093 h 273890"/>
                <a:gd name="connsiteX100" fmla="*/ 882285 w 1394458"/>
                <a:gd name="connsiteY100" fmla="*/ 178541 h 273890"/>
                <a:gd name="connsiteX101" fmla="*/ 882285 w 1394458"/>
                <a:gd name="connsiteY101" fmla="*/ 174548 h 273890"/>
                <a:gd name="connsiteX102" fmla="*/ 888190 w 1394458"/>
                <a:gd name="connsiteY102" fmla="*/ 136858 h 273890"/>
                <a:gd name="connsiteX103" fmla="*/ 905208 w 1394458"/>
                <a:gd name="connsiteY103" fmla="*/ 106464 h 273890"/>
                <a:gd name="connsiteX104" fmla="*/ 932650 w 1394458"/>
                <a:gd name="connsiteY104" fmla="*/ 86318 h 273890"/>
                <a:gd name="connsiteX105" fmla="*/ 969469 w 1394458"/>
                <a:gd name="connsiteY105" fmla="*/ 79022 h 273890"/>
                <a:gd name="connsiteX106" fmla="*/ 1006288 w 1394458"/>
                <a:gd name="connsiteY106" fmla="*/ 86318 h 273890"/>
                <a:gd name="connsiteX107" fmla="*/ 1033899 w 1394458"/>
                <a:gd name="connsiteY107" fmla="*/ 106464 h 273890"/>
                <a:gd name="connsiteX108" fmla="*/ 1051093 w 1394458"/>
                <a:gd name="connsiteY108" fmla="*/ 136858 h 273890"/>
                <a:gd name="connsiteX109" fmla="*/ 1056998 w 1394458"/>
                <a:gd name="connsiteY109" fmla="*/ 174548 h 273890"/>
                <a:gd name="connsiteX110" fmla="*/ 1056998 w 1394458"/>
                <a:gd name="connsiteY110" fmla="*/ 178541 h 273890"/>
                <a:gd name="connsiteX111" fmla="*/ 1051093 w 1394458"/>
                <a:gd name="connsiteY111" fmla="*/ 216226 h 273890"/>
                <a:gd name="connsiteX112" fmla="*/ 1033899 w 1394458"/>
                <a:gd name="connsiteY112" fmla="*/ 246619 h 273890"/>
                <a:gd name="connsiteX113" fmla="*/ 1006458 w 1394458"/>
                <a:gd name="connsiteY113" fmla="*/ 266765 h 273890"/>
                <a:gd name="connsiteX114" fmla="*/ 969814 w 1394458"/>
                <a:gd name="connsiteY114" fmla="*/ 273886 h 273890"/>
                <a:gd name="connsiteX115" fmla="*/ 932820 w 1394458"/>
                <a:gd name="connsiteY115" fmla="*/ 266765 h 273890"/>
                <a:gd name="connsiteX116" fmla="*/ 905378 w 1394458"/>
                <a:gd name="connsiteY116" fmla="*/ 246619 h 273890"/>
                <a:gd name="connsiteX117" fmla="*/ 888185 w 1394458"/>
                <a:gd name="connsiteY117" fmla="*/ 216226 h 273890"/>
                <a:gd name="connsiteX118" fmla="*/ 882280 w 1394458"/>
                <a:gd name="connsiteY118" fmla="*/ 178541 h 273890"/>
                <a:gd name="connsiteX119" fmla="*/ 924143 w 1394458"/>
                <a:gd name="connsiteY119" fmla="*/ 174548 h 273890"/>
                <a:gd name="connsiteX120" fmla="*/ 924143 w 1394458"/>
                <a:gd name="connsiteY120" fmla="*/ 178541 h 273890"/>
                <a:gd name="connsiteX121" fmla="*/ 926750 w 1394458"/>
                <a:gd name="connsiteY121" fmla="*/ 202510 h 273890"/>
                <a:gd name="connsiteX122" fmla="*/ 934911 w 1394458"/>
                <a:gd name="connsiteY122" fmla="*/ 222310 h 273890"/>
                <a:gd name="connsiteX123" fmla="*/ 949152 w 1394458"/>
                <a:gd name="connsiteY123" fmla="*/ 235681 h 273890"/>
                <a:gd name="connsiteX124" fmla="*/ 969819 w 1394458"/>
                <a:gd name="connsiteY124" fmla="*/ 240545 h 273890"/>
                <a:gd name="connsiteX125" fmla="*/ 989965 w 1394458"/>
                <a:gd name="connsiteY125" fmla="*/ 235681 h 273890"/>
                <a:gd name="connsiteX126" fmla="*/ 1004206 w 1394458"/>
                <a:gd name="connsiteY126" fmla="*/ 222310 h 273890"/>
                <a:gd name="connsiteX127" fmla="*/ 1012367 w 1394458"/>
                <a:gd name="connsiteY127" fmla="*/ 202510 h 273890"/>
                <a:gd name="connsiteX128" fmla="*/ 1015145 w 1394458"/>
                <a:gd name="connsiteY128" fmla="*/ 178541 h 273890"/>
                <a:gd name="connsiteX129" fmla="*/ 1015145 w 1394458"/>
                <a:gd name="connsiteY129" fmla="*/ 174548 h 273890"/>
                <a:gd name="connsiteX130" fmla="*/ 1012367 w 1394458"/>
                <a:gd name="connsiteY130" fmla="*/ 150929 h 273890"/>
                <a:gd name="connsiteX131" fmla="*/ 1004031 w 1394458"/>
                <a:gd name="connsiteY131" fmla="*/ 130958 h 273890"/>
                <a:gd name="connsiteX132" fmla="*/ 989790 w 1394458"/>
                <a:gd name="connsiteY132" fmla="*/ 117412 h 273890"/>
                <a:gd name="connsiteX133" fmla="*/ 969469 w 1394458"/>
                <a:gd name="connsiteY133" fmla="*/ 112373 h 273890"/>
                <a:gd name="connsiteX134" fmla="*/ 948977 w 1394458"/>
                <a:gd name="connsiteY134" fmla="*/ 117412 h 273890"/>
                <a:gd name="connsiteX135" fmla="*/ 934911 w 1394458"/>
                <a:gd name="connsiteY135" fmla="*/ 130958 h 273890"/>
                <a:gd name="connsiteX136" fmla="*/ 926750 w 1394458"/>
                <a:gd name="connsiteY136" fmla="*/ 150929 h 273890"/>
                <a:gd name="connsiteX137" fmla="*/ 924143 w 1394458"/>
                <a:gd name="connsiteY137" fmla="*/ 174548 h 273890"/>
                <a:gd name="connsiteX138" fmla="*/ 1133598 w 1394458"/>
                <a:gd name="connsiteY138" fmla="*/ 122617 h 273890"/>
                <a:gd name="connsiteX139" fmla="*/ 1133598 w 1394458"/>
                <a:gd name="connsiteY139" fmla="*/ 270418 h 273890"/>
                <a:gd name="connsiteX140" fmla="*/ 1091745 w 1394458"/>
                <a:gd name="connsiteY140" fmla="*/ 270418 h 273890"/>
                <a:gd name="connsiteX141" fmla="*/ 1091745 w 1394458"/>
                <a:gd name="connsiteY141" fmla="*/ 82495 h 273890"/>
                <a:gd name="connsiteX142" fmla="*/ 1131171 w 1394458"/>
                <a:gd name="connsiteY142" fmla="*/ 82495 h 273890"/>
                <a:gd name="connsiteX143" fmla="*/ 1133603 w 1394458"/>
                <a:gd name="connsiteY143" fmla="*/ 122617 h 273890"/>
                <a:gd name="connsiteX144" fmla="*/ 1126132 w 1394458"/>
                <a:gd name="connsiteY144" fmla="*/ 169509 h 273890"/>
                <a:gd name="connsiteX145" fmla="*/ 1112586 w 1394458"/>
                <a:gd name="connsiteY145" fmla="*/ 169334 h 273890"/>
                <a:gd name="connsiteX146" fmla="*/ 1118145 w 1394458"/>
                <a:gd name="connsiteY146" fmla="*/ 132690 h 273890"/>
                <a:gd name="connsiteX147" fmla="*/ 1133428 w 1394458"/>
                <a:gd name="connsiteY147" fmla="*/ 104032 h 273890"/>
                <a:gd name="connsiteX148" fmla="*/ 1157046 w 1394458"/>
                <a:gd name="connsiteY148" fmla="*/ 85623 h 273890"/>
                <a:gd name="connsiteX149" fmla="*/ 1187615 w 1394458"/>
                <a:gd name="connsiteY149" fmla="*/ 79022 h 273890"/>
                <a:gd name="connsiteX150" fmla="*/ 1212105 w 1394458"/>
                <a:gd name="connsiteY150" fmla="*/ 82840 h 273890"/>
                <a:gd name="connsiteX151" fmla="*/ 1231034 w 1394458"/>
                <a:gd name="connsiteY151" fmla="*/ 94825 h 273890"/>
                <a:gd name="connsiteX152" fmla="*/ 1243189 w 1394458"/>
                <a:gd name="connsiteY152" fmla="*/ 116532 h 273890"/>
                <a:gd name="connsiteX153" fmla="*/ 1247357 w 1394458"/>
                <a:gd name="connsiteY153" fmla="*/ 149008 h 273890"/>
                <a:gd name="connsiteX154" fmla="*/ 1247357 w 1394458"/>
                <a:gd name="connsiteY154" fmla="*/ 270408 h 273890"/>
                <a:gd name="connsiteX155" fmla="*/ 1205329 w 1394458"/>
                <a:gd name="connsiteY155" fmla="*/ 270408 h 273890"/>
                <a:gd name="connsiteX156" fmla="*/ 1205329 w 1394458"/>
                <a:gd name="connsiteY156" fmla="*/ 148833 h 273890"/>
                <a:gd name="connsiteX157" fmla="*/ 1201336 w 1394458"/>
                <a:gd name="connsiteY157" fmla="*/ 127471 h 273890"/>
                <a:gd name="connsiteX158" fmla="*/ 1190047 w 1394458"/>
                <a:gd name="connsiteY158" fmla="*/ 116182 h 273890"/>
                <a:gd name="connsiteX159" fmla="*/ 1171813 w 1394458"/>
                <a:gd name="connsiteY159" fmla="*/ 112709 h 273890"/>
                <a:gd name="connsiteX160" fmla="*/ 1152533 w 1394458"/>
                <a:gd name="connsiteY160" fmla="*/ 117223 h 273890"/>
                <a:gd name="connsiteX161" fmla="*/ 1138116 w 1394458"/>
                <a:gd name="connsiteY161" fmla="*/ 129552 h 273890"/>
                <a:gd name="connsiteX162" fmla="*/ 1129259 w 1394458"/>
                <a:gd name="connsiteY162" fmla="*/ 147617 h 273890"/>
                <a:gd name="connsiteX163" fmla="*/ 1126132 w 1394458"/>
                <a:gd name="connsiteY163" fmla="*/ 169499 h 273890"/>
                <a:gd name="connsiteX164" fmla="*/ 1346701 w 1394458"/>
                <a:gd name="connsiteY164" fmla="*/ 270418 h 273890"/>
                <a:gd name="connsiteX165" fmla="*/ 1304843 w 1394458"/>
                <a:gd name="connsiteY165" fmla="*/ 270418 h 273890"/>
                <a:gd name="connsiteX166" fmla="*/ 1304843 w 1394458"/>
                <a:gd name="connsiteY166" fmla="*/ 64436 h 273890"/>
                <a:gd name="connsiteX167" fmla="*/ 1312659 w 1394458"/>
                <a:gd name="connsiteY167" fmla="*/ 29178 h 273890"/>
                <a:gd name="connsiteX168" fmla="*/ 1335412 w 1394458"/>
                <a:gd name="connsiteY168" fmla="*/ 7471 h 273890"/>
                <a:gd name="connsiteX169" fmla="*/ 1370319 w 1394458"/>
                <a:gd name="connsiteY169" fmla="*/ 0 h 273890"/>
                <a:gd name="connsiteX170" fmla="*/ 1382649 w 1394458"/>
                <a:gd name="connsiteY170" fmla="*/ 871 h 273890"/>
                <a:gd name="connsiteX171" fmla="*/ 1394458 w 1394458"/>
                <a:gd name="connsiteY171" fmla="*/ 3127 h 273890"/>
                <a:gd name="connsiteX172" fmla="*/ 1393418 w 1394458"/>
                <a:gd name="connsiteY172" fmla="*/ 35433 h 273890"/>
                <a:gd name="connsiteX173" fmla="*/ 1385776 w 1394458"/>
                <a:gd name="connsiteY173" fmla="*/ 34217 h 273890"/>
                <a:gd name="connsiteX174" fmla="*/ 1377095 w 1394458"/>
                <a:gd name="connsiteY174" fmla="*/ 33867 h 273890"/>
                <a:gd name="connsiteX175" fmla="*/ 1360596 w 1394458"/>
                <a:gd name="connsiteY175" fmla="*/ 37515 h 273890"/>
                <a:gd name="connsiteX176" fmla="*/ 1350178 w 1394458"/>
                <a:gd name="connsiteY176" fmla="*/ 47763 h 273890"/>
                <a:gd name="connsiteX177" fmla="*/ 1346706 w 1394458"/>
                <a:gd name="connsiteY177" fmla="*/ 64436 h 273890"/>
                <a:gd name="connsiteX178" fmla="*/ 1346706 w 1394458"/>
                <a:gd name="connsiteY178" fmla="*/ 270418 h 273890"/>
                <a:gd name="connsiteX179" fmla="*/ 1385431 w 1394458"/>
                <a:gd name="connsiteY179" fmla="*/ 82500 h 273890"/>
                <a:gd name="connsiteX180" fmla="*/ 1385431 w 1394458"/>
                <a:gd name="connsiteY180" fmla="*/ 113069 h 273890"/>
                <a:gd name="connsiteX181" fmla="*/ 1276015 w 1394458"/>
                <a:gd name="connsiteY181" fmla="*/ 113069 h 273890"/>
                <a:gd name="connsiteX182" fmla="*/ 1276015 w 1394458"/>
                <a:gd name="connsiteY182" fmla="*/ 82500 h 273890"/>
                <a:gd name="connsiteX183" fmla="*/ 1385431 w 1394458"/>
                <a:gd name="connsiteY183" fmla="*/ 82500 h 2738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</a:cxnLst>
              <a:rect l="l" t="t" r="r" b="b"/>
              <a:pathLst>
                <a:path w="1394458" h="273890">
                  <a:moveTo>
                    <a:pt x="157354" y="188093"/>
                  </a:moveTo>
                  <a:lnTo>
                    <a:pt x="200773" y="188093"/>
                  </a:lnTo>
                  <a:cubicBezTo>
                    <a:pt x="199382" y="204650"/>
                    <a:pt x="194752" y="219411"/>
                    <a:pt x="186877" y="232383"/>
                  </a:cubicBezTo>
                  <a:cubicBezTo>
                    <a:pt x="179003" y="245233"/>
                    <a:pt x="167947" y="255365"/>
                    <a:pt x="153706" y="262777"/>
                  </a:cubicBezTo>
                  <a:cubicBezTo>
                    <a:pt x="139465" y="270185"/>
                    <a:pt x="122155" y="273891"/>
                    <a:pt x="101775" y="273891"/>
                  </a:cubicBezTo>
                  <a:cubicBezTo>
                    <a:pt x="86143" y="273891"/>
                    <a:pt x="72077" y="271114"/>
                    <a:pt x="59572" y="265554"/>
                  </a:cubicBezTo>
                  <a:cubicBezTo>
                    <a:pt x="47067" y="259878"/>
                    <a:pt x="36357" y="251892"/>
                    <a:pt x="27442" y="241585"/>
                  </a:cubicBezTo>
                  <a:cubicBezTo>
                    <a:pt x="18526" y="231167"/>
                    <a:pt x="11697" y="218604"/>
                    <a:pt x="6950" y="203901"/>
                  </a:cubicBezTo>
                  <a:cubicBezTo>
                    <a:pt x="2315" y="189192"/>
                    <a:pt x="0" y="172753"/>
                    <a:pt x="0" y="154572"/>
                  </a:cubicBezTo>
                  <a:lnTo>
                    <a:pt x="0" y="133555"/>
                  </a:lnTo>
                  <a:cubicBezTo>
                    <a:pt x="0" y="115379"/>
                    <a:pt x="2374" y="98935"/>
                    <a:pt x="7121" y="84231"/>
                  </a:cubicBezTo>
                  <a:cubicBezTo>
                    <a:pt x="11984" y="69528"/>
                    <a:pt x="18930" y="56965"/>
                    <a:pt x="27962" y="46542"/>
                  </a:cubicBezTo>
                  <a:cubicBezTo>
                    <a:pt x="36994" y="36007"/>
                    <a:pt x="47816" y="27957"/>
                    <a:pt x="60438" y="22403"/>
                  </a:cubicBezTo>
                  <a:cubicBezTo>
                    <a:pt x="73171" y="16843"/>
                    <a:pt x="87471" y="14066"/>
                    <a:pt x="103336" y="14066"/>
                  </a:cubicBezTo>
                  <a:cubicBezTo>
                    <a:pt x="123482" y="14066"/>
                    <a:pt x="140506" y="17772"/>
                    <a:pt x="154397" y="25180"/>
                  </a:cubicBezTo>
                  <a:cubicBezTo>
                    <a:pt x="168293" y="32592"/>
                    <a:pt x="179056" y="42836"/>
                    <a:pt x="186702" y="55919"/>
                  </a:cubicBezTo>
                  <a:cubicBezTo>
                    <a:pt x="194460" y="69003"/>
                    <a:pt x="199207" y="83998"/>
                    <a:pt x="200943" y="100900"/>
                  </a:cubicBezTo>
                  <a:lnTo>
                    <a:pt x="157524" y="100900"/>
                  </a:lnTo>
                  <a:cubicBezTo>
                    <a:pt x="156367" y="90015"/>
                    <a:pt x="153818" y="80695"/>
                    <a:pt x="149883" y="72938"/>
                  </a:cubicBezTo>
                  <a:cubicBezTo>
                    <a:pt x="146065" y="65180"/>
                    <a:pt x="140389" y="59275"/>
                    <a:pt x="132865" y="55224"/>
                  </a:cubicBezTo>
                  <a:cubicBezTo>
                    <a:pt x="125340" y="51055"/>
                    <a:pt x="115496" y="48969"/>
                    <a:pt x="103341" y="48969"/>
                  </a:cubicBezTo>
                  <a:cubicBezTo>
                    <a:pt x="93385" y="48969"/>
                    <a:pt x="84698" y="50822"/>
                    <a:pt x="77291" y="54528"/>
                  </a:cubicBezTo>
                  <a:cubicBezTo>
                    <a:pt x="69878" y="58234"/>
                    <a:pt x="63687" y="63677"/>
                    <a:pt x="58706" y="70856"/>
                  </a:cubicBezTo>
                  <a:cubicBezTo>
                    <a:pt x="53730" y="78035"/>
                    <a:pt x="49966" y="86892"/>
                    <a:pt x="47417" y="97427"/>
                  </a:cubicBezTo>
                  <a:cubicBezTo>
                    <a:pt x="44985" y="107845"/>
                    <a:pt x="43769" y="119771"/>
                    <a:pt x="43769" y="133205"/>
                  </a:cubicBezTo>
                  <a:lnTo>
                    <a:pt x="43769" y="154567"/>
                  </a:lnTo>
                  <a:cubicBezTo>
                    <a:pt x="43769" y="167305"/>
                    <a:pt x="44869" y="178881"/>
                    <a:pt x="47067" y="189304"/>
                  </a:cubicBezTo>
                  <a:cubicBezTo>
                    <a:pt x="49382" y="199611"/>
                    <a:pt x="52855" y="208468"/>
                    <a:pt x="57490" y="215875"/>
                  </a:cubicBezTo>
                  <a:cubicBezTo>
                    <a:pt x="62237" y="223288"/>
                    <a:pt x="68259" y="229017"/>
                    <a:pt x="75550" y="233069"/>
                  </a:cubicBezTo>
                  <a:cubicBezTo>
                    <a:pt x="82845" y="237120"/>
                    <a:pt x="91585" y="239149"/>
                    <a:pt x="101775" y="239149"/>
                  </a:cubicBezTo>
                  <a:cubicBezTo>
                    <a:pt x="114163" y="239149"/>
                    <a:pt x="124178" y="237179"/>
                    <a:pt x="131824" y="233244"/>
                  </a:cubicBezTo>
                  <a:cubicBezTo>
                    <a:pt x="139582" y="229304"/>
                    <a:pt x="145428" y="223575"/>
                    <a:pt x="149363" y="216050"/>
                  </a:cubicBezTo>
                  <a:cubicBezTo>
                    <a:pt x="153414" y="208409"/>
                    <a:pt x="156080" y="199090"/>
                    <a:pt x="157354" y="188088"/>
                  </a:cubicBezTo>
                  <a:close/>
                  <a:moveTo>
                    <a:pt x="313837" y="270418"/>
                  </a:moveTo>
                  <a:lnTo>
                    <a:pt x="259825" y="270418"/>
                  </a:lnTo>
                  <a:lnTo>
                    <a:pt x="260170" y="235856"/>
                  </a:lnTo>
                  <a:lnTo>
                    <a:pt x="313837" y="235856"/>
                  </a:lnTo>
                  <a:cubicBezTo>
                    <a:pt x="329469" y="235856"/>
                    <a:pt x="342553" y="232441"/>
                    <a:pt x="353088" y="225608"/>
                  </a:cubicBezTo>
                  <a:cubicBezTo>
                    <a:pt x="363740" y="218779"/>
                    <a:pt x="371731" y="208993"/>
                    <a:pt x="377057" y="196255"/>
                  </a:cubicBezTo>
                  <a:cubicBezTo>
                    <a:pt x="382499" y="183516"/>
                    <a:pt x="385218" y="168351"/>
                    <a:pt x="385218" y="150754"/>
                  </a:cubicBezTo>
                  <a:lnTo>
                    <a:pt x="385218" y="137033"/>
                  </a:lnTo>
                  <a:cubicBezTo>
                    <a:pt x="385218" y="123371"/>
                    <a:pt x="383657" y="111269"/>
                    <a:pt x="380530" y="100734"/>
                  </a:cubicBezTo>
                  <a:cubicBezTo>
                    <a:pt x="377519" y="90199"/>
                    <a:pt x="373005" y="81342"/>
                    <a:pt x="366984" y="74163"/>
                  </a:cubicBezTo>
                  <a:cubicBezTo>
                    <a:pt x="361079" y="66984"/>
                    <a:pt x="353784" y="61542"/>
                    <a:pt x="345102" y="57840"/>
                  </a:cubicBezTo>
                  <a:cubicBezTo>
                    <a:pt x="336532" y="54134"/>
                    <a:pt x="326634" y="52281"/>
                    <a:pt x="315403" y="52281"/>
                  </a:cubicBezTo>
                  <a:lnTo>
                    <a:pt x="258784" y="52281"/>
                  </a:lnTo>
                  <a:lnTo>
                    <a:pt x="258784" y="17544"/>
                  </a:lnTo>
                  <a:lnTo>
                    <a:pt x="315403" y="17544"/>
                  </a:lnTo>
                  <a:cubicBezTo>
                    <a:pt x="332193" y="17544"/>
                    <a:pt x="347534" y="20379"/>
                    <a:pt x="361429" y="26055"/>
                  </a:cubicBezTo>
                  <a:cubicBezTo>
                    <a:pt x="375325" y="31615"/>
                    <a:pt x="387310" y="39660"/>
                    <a:pt x="397383" y="50195"/>
                  </a:cubicBezTo>
                  <a:cubicBezTo>
                    <a:pt x="407572" y="60730"/>
                    <a:pt x="415389" y="73351"/>
                    <a:pt x="420826" y="88054"/>
                  </a:cubicBezTo>
                  <a:cubicBezTo>
                    <a:pt x="426269" y="102758"/>
                    <a:pt x="428988" y="119202"/>
                    <a:pt x="428988" y="137378"/>
                  </a:cubicBezTo>
                  <a:lnTo>
                    <a:pt x="428988" y="150754"/>
                  </a:lnTo>
                  <a:cubicBezTo>
                    <a:pt x="428988" y="168930"/>
                    <a:pt x="426269" y="185374"/>
                    <a:pt x="420826" y="200078"/>
                  </a:cubicBezTo>
                  <a:cubicBezTo>
                    <a:pt x="415384" y="214781"/>
                    <a:pt x="407568" y="227403"/>
                    <a:pt x="397383" y="237938"/>
                  </a:cubicBezTo>
                  <a:cubicBezTo>
                    <a:pt x="387193" y="248356"/>
                    <a:pt x="375038" y="256405"/>
                    <a:pt x="360909" y="262077"/>
                  </a:cubicBezTo>
                  <a:cubicBezTo>
                    <a:pt x="346896" y="267636"/>
                    <a:pt x="331211" y="270413"/>
                    <a:pt x="313842" y="270413"/>
                  </a:cubicBezTo>
                  <a:close/>
                  <a:moveTo>
                    <a:pt x="283964" y="17544"/>
                  </a:moveTo>
                  <a:lnTo>
                    <a:pt x="283964" y="270418"/>
                  </a:lnTo>
                  <a:lnTo>
                    <a:pt x="240369" y="270418"/>
                  </a:lnTo>
                  <a:lnTo>
                    <a:pt x="240369" y="17544"/>
                  </a:lnTo>
                  <a:lnTo>
                    <a:pt x="283964" y="17544"/>
                  </a:lnTo>
                  <a:close/>
                  <a:moveTo>
                    <a:pt x="519299" y="17544"/>
                  </a:moveTo>
                  <a:lnTo>
                    <a:pt x="519299" y="270418"/>
                  </a:lnTo>
                  <a:lnTo>
                    <a:pt x="475705" y="270418"/>
                  </a:lnTo>
                  <a:lnTo>
                    <a:pt x="475705" y="17544"/>
                  </a:lnTo>
                  <a:lnTo>
                    <a:pt x="519299" y="17544"/>
                  </a:lnTo>
                  <a:close/>
                  <a:moveTo>
                    <a:pt x="811424" y="188093"/>
                  </a:moveTo>
                  <a:lnTo>
                    <a:pt x="854843" y="188093"/>
                  </a:lnTo>
                  <a:cubicBezTo>
                    <a:pt x="853452" y="204650"/>
                    <a:pt x="848822" y="219411"/>
                    <a:pt x="840947" y="232383"/>
                  </a:cubicBezTo>
                  <a:cubicBezTo>
                    <a:pt x="833073" y="245233"/>
                    <a:pt x="822017" y="255365"/>
                    <a:pt x="807776" y="262777"/>
                  </a:cubicBezTo>
                  <a:cubicBezTo>
                    <a:pt x="793535" y="270185"/>
                    <a:pt x="776225" y="273891"/>
                    <a:pt x="755845" y="273891"/>
                  </a:cubicBezTo>
                  <a:cubicBezTo>
                    <a:pt x="740213" y="273891"/>
                    <a:pt x="726147" y="271114"/>
                    <a:pt x="713642" y="265554"/>
                  </a:cubicBezTo>
                  <a:cubicBezTo>
                    <a:pt x="701137" y="259878"/>
                    <a:pt x="690427" y="251892"/>
                    <a:pt x="681512" y="241585"/>
                  </a:cubicBezTo>
                  <a:cubicBezTo>
                    <a:pt x="672596" y="231167"/>
                    <a:pt x="665768" y="218604"/>
                    <a:pt x="661021" y="203901"/>
                  </a:cubicBezTo>
                  <a:cubicBezTo>
                    <a:pt x="656390" y="189197"/>
                    <a:pt x="654075" y="172753"/>
                    <a:pt x="654075" y="154577"/>
                  </a:cubicBezTo>
                  <a:lnTo>
                    <a:pt x="654075" y="133560"/>
                  </a:lnTo>
                  <a:cubicBezTo>
                    <a:pt x="654075" y="115384"/>
                    <a:pt x="656449" y="98940"/>
                    <a:pt x="661196" y="84236"/>
                  </a:cubicBezTo>
                  <a:cubicBezTo>
                    <a:pt x="666059" y="69533"/>
                    <a:pt x="673005" y="56970"/>
                    <a:pt x="682037" y="46547"/>
                  </a:cubicBezTo>
                  <a:cubicBezTo>
                    <a:pt x="691069" y="36012"/>
                    <a:pt x="701891" y="27962"/>
                    <a:pt x="714513" y="22408"/>
                  </a:cubicBezTo>
                  <a:cubicBezTo>
                    <a:pt x="727246" y="16848"/>
                    <a:pt x="741546" y="14071"/>
                    <a:pt x="757411" y="14071"/>
                  </a:cubicBezTo>
                  <a:cubicBezTo>
                    <a:pt x="777557" y="14071"/>
                    <a:pt x="794581" y="17777"/>
                    <a:pt x="808472" y="25185"/>
                  </a:cubicBezTo>
                  <a:cubicBezTo>
                    <a:pt x="822368" y="32597"/>
                    <a:pt x="833131" y="42840"/>
                    <a:pt x="840777" y="55924"/>
                  </a:cubicBezTo>
                  <a:cubicBezTo>
                    <a:pt x="848535" y="69008"/>
                    <a:pt x="853282" y="84003"/>
                    <a:pt x="855018" y="100905"/>
                  </a:cubicBezTo>
                  <a:lnTo>
                    <a:pt x="811599" y="100905"/>
                  </a:lnTo>
                  <a:cubicBezTo>
                    <a:pt x="810442" y="90019"/>
                    <a:pt x="807893" y="80700"/>
                    <a:pt x="803958" y="72943"/>
                  </a:cubicBezTo>
                  <a:cubicBezTo>
                    <a:pt x="800140" y="65185"/>
                    <a:pt x="794464" y="59280"/>
                    <a:pt x="786940" y="55229"/>
                  </a:cubicBezTo>
                  <a:cubicBezTo>
                    <a:pt x="779415" y="51060"/>
                    <a:pt x="769571" y="48974"/>
                    <a:pt x="757416" y="48974"/>
                  </a:cubicBezTo>
                  <a:cubicBezTo>
                    <a:pt x="747460" y="48974"/>
                    <a:pt x="738773" y="50827"/>
                    <a:pt x="731366" y="54533"/>
                  </a:cubicBezTo>
                  <a:cubicBezTo>
                    <a:pt x="723953" y="58239"/>
                    <a:pt x="717762" y="63682"/>
                    <a:pt x="712781" y="70861"/>
                  </a:cubicBezTo>
                  <a:cubicBezTo>
                    <a:pt x="707801" y="78040"/>
                    <a:pt x="704041" y="86897"/>
                    <a:pt x="701492" y="97432"/>
                  </a:cubicBezTo>
                  <a:cubicBezTo>
                    <a:pt x="699060" y="107850"/>
                    <a:pt x="697844" y="119776"/>
                    <a:pt x="697844" y="133210"/>
                  </a:cubicBezTo>
                  <a:lnTo>
                    <a:pt x="697844" y="154572"/>
                  </a:lnTo>
                  <a:cubicBezTo>
                    <a:pt x="697844" y="167310"/>
                    <a:pt x="698944" y="178886"/>
                    <a:pt x="701142" y="189309"/>
                  </a:cubicBezTo>
                  <a:cubicBezTo>
                    <a:pt x="703457" y="199616"/>
                    <a:pt x="706930" y="208473"/>
                    <a:pt x="711565" y="215880"/>
                  </a:cubicBezTo>
                  <a:cubicBezTo>
                    <a:pt x="716312" y="223293"/>
                    <a:pt x="722334" y="229022"/>
                    <a:pt x="729629" y="233074"/>
                  </a:cubicBezTo>
                  <a:cubicBezTo>
                    <a:pt x="736925" y="237125"/>
                    <a:pt x="745665" y="239154"/>
                    <a:pt x="755855" y="239154"/>
                  </a:cubicBezTo>
                  <a:cubicBezTo>
                    <a:pt x="768243" y="239154"/>
                    <a:pt x="778258" y="237184"/>
                    <a:pt x="785904" y="233249"/>
                  </a:cubicBezTo>
                  <a:cubicBezTo>
                    <a:pt x="793661" y="229309"/>
                    <a:pt x="799508" y="223580"/>
                    <a:pt x="803443" y="216055"/>
                  </a:cubicBezTo>
                  <a:cubicBezTo>
                    <a:pt x="807494" y="208414"/>
                    <a:pt x="810159" y="199095"/>
                    <a:pt x="811434" y="188093"/>
                  </a:cubicBezTo>
                  <a:close/>
                  <a:moveTo>
                    <a:pt x="882285" y="178541"/>
                  </a:moveTo>
                  <a:lnTo>
                    <a:pt x="882285" y="174548"/>
                  </a:lnTo>
                  <a:cubicBezTo>
                    <a:pt x="882285" y="161002"/>
                    <a:pt x="884255" y="148439"/>
                    <a:pt x="888190" y="136858"/>
                  </a:cubicBezTo>
                  <a:cubicBezTo>
                    <a:pt x="892124" y="125165"/>
                    <a:pt x="897800" y="115034"/>
                    <a:pt x="905208" y="106464"/>
                  </a:cubicBezTo>
                  <a:cubicBezTo>
                    <a:pt x="912732" y="97782"/>
                    <a:pt x="921881" y="91065"/>
                    <a:pt x="932650" y="86318"/>
                  </a:cubicBezTo>
                  <a:cubicBezTo>
                    <a:pt x="943535" y="81454"/>
                    <a:pt x="955806" y="79022"/>
                    <a:pt x="969469" y="79022"/>
                  </a:cubicBezTo>
                  <a:cubicBezTo>
                    <a:pt x="983131" y="79022"/>
                    <a:pt x="995519" y="81454"/>
                    <a:pt x="1006288" y="86318"/>
                  </a:cubicBezTo>
                  <a:cubicBezTo>
                    <a:pt x="1017173" y="91065"/>
                    <a:pt x="1026375" y="97782"/>
                    <a:pt x="1033899" y="106464"/>
                  </a:cubicBezTo>
                  <a:cubicBezTo>
                    <a:pt x="1041424" y="115034"/>
                    <a:pt x="1047158" y="125165"/>
                    <a:pt x="1051093" y="136858"/>
                  </a:cubicBezTo>
                  <a:cubicBezTo>
                    <a:pt x="1055028" y="148434"/>
                    <a:pt x="1056998" y="160997"/>
                    <a:pt x="1056998" y="174548"/>
                  </a:cubicBezTo>
                  <a:lnTo>
                    <a:pt x="1056998" y="178541"/>
                  </a:lnTo>
                  <a:cubicBezTo>
                    <a:pt x="1056998" y="192086"/>
                    <a:pt x="1055028" y="204650"/>
                    <a:pt x="1051093" y="216226"/>
                  </a:cubicBezTo>
                  <a:cubicBezTo>
                    <a:pt x="1047153" y="227806"/>
                    <a:pt x="1041424" y="237938"/>
                    <a:pt x="1033899" y="246619"/>
                  </a:cubicBezTo>
                  <a:cubicBezTo>
                    <a:pt x="1026375" y="255189"/>
                    <a:pt x="1017226" y="261902"/>
                    <a:pt x="1006458" y="266765"/>
                  </a:cubicBezTo>
                  <a:cubicBezTo>
                    <a:pt x="995689" y="271512"/>
                    <a:pt x="983476" y="273886"/>
                    <a:pt x="969814" y="273886"/>
                  </a:cubicBezTo>
                  <a:cubicBezTo>
                    <a:pt x="956151" y="273886"/>
                    <a:pt x="943705" y="271512"/>
                    <a:pt x="932820" y="266765"/>
                  </a:cubicBezTo>
                  <a:cubicBezTo>
                    <a:pt x="922051" y="261902"/>
                    <a:pt x="912907" y="255189"/>
                    <a:pt x="905378" y="246619"/>
                  </a:cubicBezTo>
                  <a:cubicBezTo>
                    <a:pt x="897854" y="237938"/>
                    <a:pt x="892119" y="227806"/>
                    <a:pt x="888185" y="216226"/>
                  </a:cubicBezTo>
                  <a:cubicBezTo>
                    <a:pt x="884245" y="204650"/>
                    <a:pt x="882280" y="192086"/>
                    <a:pt x="882280" y="178541"/>
                  </a:cubicBezTo>
                  <a:close/>
                  <a:moveTo>
                    <a:pt x="924143" y="174548"/>
                  </a:moveTo>
                  <a:lnTo>
                    <a:pt x="924143" y="178541"/>
                  </a:lnTo>
                  <a:cubicBezTo>
                    <a:pt x="924143" y="186994"/>
                    <a:pt x="925013" y="194980"/>
                    <a:pt x="926750" y="202510"/>
                  </a:cubicBezTo>
                  <a:cubicBezTo>
                    <a:pt x="928486" y="210034"/>
                    <a:pt x="931210" y="216634"/>
                    <a:pt x="934911" y="222310"/>
                  </a:cubicBezTo>
                  <a:cubicBezTo>
                    <a:pt x="938617" y="227981"/>
                    <a:pt x="943365" y="232441"/>
                    <a:pt x="949152" y="235681"/>
                  </a:cubicBezTo>
                  <a:cubicBezTo>
                    <a:pt x="954940" y="238925"/>
                    <a:pt x="961832" y="240545"/>
                    <a:pt x="969819" y="240545"/>
                  </a:cubicBezTo>
                  <a:cubicBezTo>
                    <a:pt x="977805" y="240545"/>
                    <a:pt x="984293" y="238925"/>
                    <a:pt x="989965" y="235681"/>
                  </a:cubicBezTo>
                  <a:cubicBezTo>
                    <a:pt x="995753" y="232441"/>
                    <a:pt x="1000500" y="227981"/>
                    <a:pt x="1004206" y="222310"/>
                  </a:cubicBezTo>
                  <a:cubicBezTo>
                    <a:pt x="1007912" y="216634"/>
                    <a:pt x="1010631" y="210039"/>
                    <a:pt x="1012367" y="202510"/>
                  </a:cubicBezTo>
                  <a:cubicBezTo>
                    <a:pt x="1014220" y="194985"/>
                    <a:pt x="1015145" y="186994"/>
                    <a:pt x="1015145" y="178541"/>
                  </a:cubicBezTo>
                  <a:lnTo>
                    <a:pt x="1015145" y="174548"/>
                  </a:lnTo>
                  <a:cubicBezTo>
                    <a:pt x="1015145" y="166211"/>
                    <a:pt x="1014220" y="158336"/>
                    <a:pt x="1012367" y="150929"/>
                  </a:cubicBezTo>
                  <a:cubicBezTo>
                    <a:pt x="1010631" y="143405"/>
                    <a:pt x="1007854" y="136746"/>
                    <a:pt x="1004031" y="130958"/>
                  </a:cubicBezTo>
                  <a:cubicBezTo>
                    <a:pt x="1000325" y="125170"/>
                    <a:pt x="995578" y="120652"/>
                    <a:pt x="989790" y="117412"/>
                  </a:cubicBezTo>
                  <a:cubicBezTo>
                    <a:pt x="984118" y="114056"/>
                    <a:pt x="977343" y="112373"/>
                    <a:pt x="969469" y="112373"/>
                  </a:cubicBezTo>
                  <a:cubicBezTo>
                    <a:pt x="961594" y="112373"/>
                    <a:pt x="954765" y="114051"/>
                    <a:pt x="948977" y="117412"/>
                  </a:cubicBezTo>
                  <a:cubicBezTo>
                    <a:pt x="943301" y="120657"/>
                    <a:pt x="938613" y="125170"/>
                    <a:pt x="934911" y="130958"/>
                  </a:cubicBezTo>
                  <a:cubicBezTo>
                    <a:pt x="931205" y="136746"/>
                    <a:pt x="928486" y="143405"/>
                    <a:pt x="926750" y="150929"/>
                  </a:cubicBezTo>
                  <a:cubicBezTo>
                    <a:pt x="925013" y="158336"/>
                    <a:pt x="924143" y="166211"/>
                    <a:pt x="924143" y="174548"/>
                  </a:cubicBezTo>
                  <a:close/>
                  <a:moveTo>
                    <a:pt x="1133598" y="122617"/>
                  </a:moveTo>
                  <a:lnTo>
                    <a:pt x="1133598" y="270418"/>
                  </a:lnTo>
                  <a:lnTo>
                    <a:pt x="1091745" y="270418"/>
                  </a:lnTo>
                  <a:lnTo>
                    <a:pt x="1091745" y="82495"/>
                  </a:lnTo>
                  <a:lnTo>
                    <a:pt x="1131171" y="82495"/>
                  </a:lnTo>
                  <a:lnTo>
                    <a:pt x="1133603" y="122617"/>
                  </a:lnTo>
                  <a:close/>
                  <a:moveTo>
                    <a:pt x="1126132" y="169509"/>
                  </a:moveTo>
                  <a:lnTo>
                    <a:pt x="1112586" y="169334"/>
                  </a:lnTo>
                  <a:cubicBezTo>
                    <a:pt x="1112703" y="156016"/>
                    <a:pt x="1114556" y="143803"/>
                    <a:pt x="1118145" y="132690"/>
                  </a:cubicBezTo>
                  <a:cubicBezTo>
                    <a:pt x="1121852" y="121576"/>
                    <a:pt x="1126944" y="112023"/>
                    <a:pt x="1133428" y="104032"/>
                  </a:cubicBezTo>
                  <a:cubicBezTo>
                    <a:pt x="1140028" y="96046"/>
                    <a:pt x="1147902" y="89908"/>
                    <a:pt x="1157046" y="85623"/>
                  </a:cubicBezTo>
                  <a:cubicBezTo>
                    <a:pt x="1166195" y="81226"/>
                    <a:pt x="1176385" y="79022"/>
                    <a:pt x="1187615" y="79022"/>
                  </a:cubicBezTo>
                  <a:cubicBezTo>
                    <a:pt x="1196647" y="79022"/>
                    <a:pt x="1204809" y="80297"/>
                    <a:pt x="1212105" y="82840"/>
                  </a:cubicBezTo>
                  <a:cubicBezTo>
                    <a:pt x="1219517" y="85272"/>
                    <a:pt x="1225825" y="89265"/>
                    <a:pt x="1231034" y="94825"/>
                  </a:cubicBezTo>
                  <a:cubicBezTo>
                    <a:pt x="1236360" y="100384"/>
                    <a:pt x="1240412" y="107617"/>
                    <a:pt x="1243189" y="116532"/>
                  </a:cubicBezTo>
                  <a:cubicBezTo>
                    <a:pt x="1245966" y="125331"/>
                    <a:pt x="1247357" y="136157"/>
                    <a:pt x="1247357" y="149008"/>
                  </a:cubicBezTo>
                  <a:lnTo>
                    <a:pt x="1247357" y="270408"/>
                  </a:lnTo>
                  <a:lnTo>
                    <a:pt x="1205329" y="270408"/>
                  </a:lnTo>
                  <a:lnTo>
                    <a:pt x="1205329" y="148833"/>
                  </a:lnTo>
                  <a:cubicBezTo>
                    <a:pt x="1205329" y="139800"/>
                    <a:pt x="1203996" y="132680"/>
                    <a:pt x="1201336" y="127471"/>
                  </a:cubicBezTo>
                  <a:cubicBezTo>
                    <a:pt x="1198787" y="122145"/>
                    <a:pt x="1195028" y="118380"/>
                    <a:pt x="1190047" y="116182"/>
                  </a:cubicBezTo>
                  <a:cubicBezTo>
                    <a:pt x="1185183" y="113867"/>
                    <a:pt x="1179104" y="112709"/>
                    <a:pt x="1171813" y="112709"/>
                  </a:cubicBezTo>
                  <a:cubicBezTo>
                    <a:pt x="1164522" y="112709"/>
                    <a:pt x="1158209" y="114212"/>
                    <a:pt x="1152533" y="117223"/>
                  </a:cubicBezTo>
                  <a:cubicBezTo>
                    <a:pt x="1146861" y="120233"/>
                    <a:pt x="1142056" y="124343"/>
                    <a:pt x="1138116" y="129552"/>
                  </a:cubicBezTo>
                  <a:cubicBezTo>
                    <a:pt x="1134293" y="134762"/>
                    <a:pt x="1131341" y="140783"/>
                    <a:pt x="1129259" y="147617"/>
                  </a:cubicBezTo>
                  <a:cubicBezTo>
                    <a:pt x="1127178" y="154445"/>
                    <a:pt x="1126132" y="161741"/>
                    <a:pt x="1126132" y="169499"/>
                  </a:cubicBezTo>
                  <a:close/>
                  <a:moveTo>
                    <a:pt x="1346701" y="270418"/>
                  </a:moveTo>
                  <a:lnTo>
                    <a:pt x="1304843" y="270418"/>
                  </a:lnTo>
                  <a:lnTo>
                    <a:pt x="1304843" y="64436"/>
                  </a:lnTo>
                  <a:cubicBezTo>
                    <a:pt x="1304843" y="50428"/>
                    <a:pt x="1307450" y="38672"/>
                    <a:pt x="1312659" y="29178"/>
                  </a:cubicBezTo>
                  <a:cubicBezTo>
                    <a:pt x="1317985" y="19567"/>
                    <a:pt x="1325567" y="12330"/>
                    <a:pt x="1335412" y="7471"/>
                  </a:cubicBezTo>
                  <a:cubicBezTo>
                    <a:pt x="1345256" y="2490"/>
                    <a:pt x="1356890" y="0"/>
                    <a:pt x="1370319" y="0"/>
                  </a:cubicBezTo>
                  <a:cubicBezTo>
                    <a:pt x="1374488" y="0"/>
                    <a:pt x="1378597" y="292"/>
                    <a:pt x="1382649" y="871"/>
                  </a:cubicBezTo>
                  <a:cubicBezTo>
                    <a:pt x="1386701" y="1333"/>
                    <a:pt x="1390640" y="2087"/>
                    <a:pt x="1394458" y="3127"/>
                  </a:cubicBezTo>
                  <a:lnTo>
                    <a:pt x="1393418" y="35433"/>
                  </a:lnTo>
                  <a:cubicBezTo>
                    <a:pt x="1391102" y="34854"/>
                    <a:pt x="1388554" y="34450"/>
                    <a:pt x="1385776" y="34217"/>
                  </a:cubicBezTo>
                  <a:cubicBezTo>
                    <a:pt x="1383116" y="33983"/>
                    <a:pt x="1380217" y="33867"/>
                    <a:pt x="1377095" y="33867"/>
                  </a:cubicBezTo>
                  <a:cubicBezTo>
                    <a:pt x="1370728" y="33867"/>
                    <a:pt x="1365227" y="35083"/>
                    <a:pt x="1360596" y="37515"/>
                  </a:cubicBezTo>
                  <a:cubicBezTo>
                    <a:pt x="1356083" y="39830"/>
                    <a:pt x="1352605" y="43244"/>
                    <a:pt x="1350178" y="47763"/>
                  </a:cubicBezTo>
                  <a:cubicBezTo>
                    <a:pt x="1347863" y="52281"/>
                    <a:pt x="1346706" y="57836"/>
                    <a:pt x="1346706" y="64436"/>
                  </a:cubicBezTo>
                  <a:lnTo>
                    <a:pt x="1346706" y="270418"/>
                  </a:lnTo>
                  <a:close/>
                  <a:moveTo>
                    <a:pt x="1385431" y="82500"/>
                  </a:moveTo>
                  <a:lnTo>
                    <a:pt x="1385431" y="113069"/>
                  </a:lnTo>
                  <a:lnTo>
                    <a:pt x="1276015" y="113069"/>
                  </a:lnTo>
                  <a:lnTo>
                    <a:pt x="1276015" y="82500"/>
                  </a:lnTo>
                  <a:lnTo>
                    <a:pt x="1385431" y="82500"/>
                  </a:lnTo>
                  <a:close/>
                </a:path>
              </a:pathLst>
            </a:custGeom>
            <a:solidFill>
              <a:schemeClr val="tx1"/>
            </a:solidFill>
            <a:ln w="4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7" name="Полилиния: фигура 46">
              <a:extLst>
                <a:ext uri="{FF2B5EF4-FFF2-40B4-BE49-F238E27FC236}">
                  <a16:creationId xmlns:a16="http://schemas.microsoft.com/office/drawing/2014/main" id="{0E6F0FB0-99D0-4190-B058-29B8184B7C5F}"/>
                </a:ext>
              </a:extLst>
            </p:cNvPr>
            <p:cNvSpPr/>
            <p:nvPr/>
          </p:nvSpPr>
          <p:spPr>
            <a:xfrm>
              <a:off x="8902858" y="5892336"/>
              <a:ext cx="774600" cy="259834"/>
            </a:xfrm>
            <a:custGeom>
              <a:avLst/>
              <a:gdLst>
                <a:gd name="connsiteX0" fmla="*/ 174372 w 774600"/>
                <a:gd name="connsiteY0" fmla="*/ 223015 h 259834"/>
                <a:gd name="connsiteX1" fmla="*/ 174372 w 774600"/>
                <a:gd name="connsiteY1" fmla="*/ 256362 h 259834"/>
                <a:gd name="connsiteX2" fmla="*/ 4859 w 774600"/>
                <a:gd name="connsiteY2" fmla="*/ 256362 h 259834"/>
                <a:gd name="connsiteX3" fmla="*/ 4859 w 774600"/>
                <a:gd name="connsiteY3" fmla="*/ 227704 h 259834"/>
                <a:gd name="connsiteX4" fmla="*/ 87193 w 774600"/>
                <a:gd name="connsiteY4" fmla="*/ 137913 h 259834"/>
                <a:gd name="connsiteX5" fmla="*/ 108541 w 774600"/>
                <a:gd name="connsiteY5" fmla="*/ 111513 h 259834"/>
                <a:gd name="connsiteX6" fmla="*/ 119499 w 774600"/>
                <a:gd name="connsiteY6" fmla="*/ 91542 h 259834"/>
                <a:gd name="connsiteX7" fmla="*/ 122797 w 774600"/>
                <a:gd name="connsiteY7" fmla="*/ 73998 h 259834"/>
                <a:gd name="connsiteX8" fmla="*/ 118278 w 774600"/>
                <a:gd name="connsiteY8" fmla="*/ 52981 h 259834"/>
                <a:gd name="connsiteX9" fmla="*/ 105413 w 774600"/>
                <a:gd name="connsiteY9" fmla="*/ 38565 h 259834"/>
                <a:gd name="connsiteX10" fmla="*/ 84752 w 774600"/>
                <a:gd name="connsiteY10" fmla="*/ 33181 h 259834"/>
                <a:gd name="connsiteX11" fmla="*/ 61138 w 774600"/>
                <a:gd name="connsiteY11" fmla="*/ 39261 h 259834"/>
                <a:gd name="connsiteX12" fmla="*/ 46712 w 774600"/>
                <a:gd name="connsiteY12" fmla="*/ 56109 h 259834"/>
                <a:gd name="connsiteX13" fmla="*/ 41853 w 774600"/>
                <a:gd name="connsiteY13" fmla="*/ 80423 h 259834"/>
                <a:gd name="connsiteX14" fmla="*/ 0 w 774600"/>
                <a:gd name="connsiteY14" fmla="*/ 80423 h 259834"/>
                <a:gd name="connsiteX15" fmla="*/ 10083 w 774600"/>
                <a:gd name="connsiteY15" fmla="*/ 40131 h 259834"/>
                <a:gd name="connsiteX16" fmla="*/ 39261 w 774600"/>
                <a:gd name="connsiteY16" fmla="*/ 10953 h 259834"/>
                <a:gd name="connsiteX17" fmla="*/ 85272 w 774600"/>
                <a:gd name="connsiteY17" fmla="*/ 10 h 259834"/>
                <a:gd name="connsiteX18" fmla="*/ 128346 w 774600"/>
                <a:gd name="connsiteY18" fmla="*/ 8521 h 259834"/>
                <a:gd name="connsiteX19" fmla="*/ 155277 w 774600"/>
                <a:gd name="connsiteY19" fmla="*/ 32660 h 259834"/>
                <a:gd name="connsiteX20" fmla="*/ 164654 w 774600"/>
                <a:gd name="connsiteY20" fmla="*/ 69655 h 259834"/>
                <a:gd name="connsiteX21" fmla="*/ 160827 w 774600"/>
                <a:gd name="connsiteY21" fmla="*/ 93103 h 259834"/>
                <a:gd name="connsiteX22" fmla="*/ 149888 w 774600"/>
                <a:gd name="connsiteY22" fmla="*/ 116376 h 259834"/>
                <a:gd name="connsiteX23" fmla="*/ 133400 w 774600"/>
                <a:gd name="connsiteY23" fmla="*/ 139475 h 259834"/>
                <a:gd name="connsiteX24" fmla="*/ 112378 w 774600"/>
                <a:gd name="connsiteY24" fmla="*/ 162748 h 259834"/>
                <a:gd name="connsiteX25" fmla="*/ 57675 w 774600"/>
                <a:gd name="connsiteY25" fmla="*/ 223015 h 259834"/>
                <a:gd name="connsiteX26" fmla="*/ 174377 w 774600"/>
                <a:gd name="connsiteY26" fmla="*/ 223015 h 259834"/>
                <a:gd name="connsiteX27" fmla="*/ 371848 w 774600"/>
                <a:gd name="connsiteY27" fmla="*/ 108735 h 259834"/>
                <a:gd name="connsiteX28" fmla="*/ 371848 w 774600"/>
                <a:gd name="connsiteY28" fmla="*/ 150068 h 259834"/>
                <a:gd name="connsiteX29" fmla="*/ 365938 w 774600"/>
                <a:gd name="connsiteY29" fmla="*/ 200783 h 259834"/>
                <a:gd name="connsiteX30" fmla="*/ 349260 w 774600"/>
                <a:gd name="connsiteY30" fmla="*/ 234650 h 259834"/>
                <a:gd name="connsiteX31" fmla="*/ 323035 w 774600"/>
                <a:gd name="connsiteY31" fmla="*/ 253755 h 259834"/>
                <a:gd name="connsiteX32" fmla="*/ 289168 w 774600"/>
                <a:gd name="connsiteY32" fmla="*/ 259834 h 259834"/>
                <a:gd name="connsiteX33" fmla="*/ 261381 w 774600"/>
                <a:gd name="connsiteY33" fmla="*/ 256011 h 259834"/>
                <a:gd name="connsiteX34" fmla="*/ 238468 w 774600"/>
                <a:gd name="connsiteY34" fmla="*/ 244027 h 259834"/>
                <a:gd name="connsiteX35" fmla="*/ 220914 w 774600"/>
                <a:gd name="connsiteY35" fmla="*/ 223011 h 259834"/>
                <a:gd name="connsiteX36" fmla="*/ 209800 w 774600"/>
                <a:gd name="connsiteY36" fmla="*/ 191921 h 259834"/>
                <a:gd name="connsiteX37" fmla="*/ 205972 w 774600"/>
                <a:gd name="connsiteY37" fmla="*/ 150063 h 259834"/>
                <a:gd name="connsiteX38" fmla="*/ 205972 w 774600"/>
                <a:gd name="connsiteY38" fmla="*/ 108730 h 259834"/>
                <a:gd name="connsiteX39" fmla="*/ 211882 w 774600"/>
                <a:gd name="connsiteY39" fmla="*/ 58366 h 259834"/>
                <a:gd name="connsiteX40" fmla="*/ 228730 w 774600"/>
                <a:gd name="connsiteY40" fmla="*/ 24844 h 259834"/>
                <a:gd name="connsiteX41" fmla="*/ 254786 w 774600"/>
                <a:gd name="connsiteY41" fmla="*/ 5914 h 259834"/>
                <a:gd name="connsiteX42" fmla="*/ 288827 w 774600"/>
                <a:gd name="connsiteY42" fmla="*/ 10 h 259834"/>
                <a:gd name="connsiteX43" fmla="*/ 316614 w 774600"/>
                <a:gd name="connsiteY43" fmla="*/ 3833 h 259834"/>
                <a:gd name="connsiteX44" fmla="*/ 339542 w 774600"/>
                <a:gd name="connsiteY44" fmla="*/ 15467 h 259834"/>
                <a:gd name="connsiteX45" fmla="*/ 356906 w 774600"/>
                <a:gd name="connsiteY45" fmla="*/ 36308 h 259834"/>
                <a:gd name="connsiteX46" fmla="*/ 368020 w 774600"/>
                <a:gd name="connsiteY46" fmla="*/ 67048 h 259834"/>
                <a:gd name="connsiteX47" fmla="*/ 371848 w 774600"/>
                <a:gd name="connsiteY47" fmla="*/ 108730 h 259834"/>
                <a:gd name="connsiteX48" fmla="*/ 329995 w 774600"/>
                <a:gd name="connsiteY48" fmla="*/ 155978 h 259834"/>
                <a:gd name="connsiteX49" fmla="*/ 329995 w 774600"/>
                <a:gd name="connsiteY49" fmla="*/ 102485 h 259834"/>
                <a:gd name="connsiteX50" fmla="*/ 328258 w 774600"/>
                <a:gd name="connsiteY50" fmla="*/ 75914 h 259834"/>
                <a:gd name="connsiteX51" fmla="*/ 323039 w 774600"/>
                <a:gd name="connsiteY51" fmla="*/ 56289 h 259834"/>
                <a:gd name="connsiteX52" fmla="*/ 314708 w 774600"/>
                <a:gd name="connsiteY52" fmla="*/ 43088 h 259834"/>
                <a:gd name="connsiteX53" fmla="*/ 303234 w 774600"/>
                <a:gd name="connsiteY53" fmla="*/ 35623 h 259834"/>
                <a:gd name="connsiteX54" fmla="*/ 288823 w 774600"/>
                <a:gd name="connsiteY54" fmla="*/ 33191 h 259834"/>
                <a:gd name="connsiteX55" fmla="*/ 271459 w 774600"/>
                <a:gd name="connsiteY55" fmla="*/ 37014 h 259834"/>
                <a:gd name="connsiteX56" fmla="*/ 258613 w 774600"/>
                <a:gd name="connsiteY56" fmla="*/ 48823 h 259834"/>
                <a:gd name="connsiteX57" fmla="*/ 250608 w 774600"/>
                <a:gd name="connsiteY57" fmla="*/ 70360 h 259834"/>
                <a:gd name="connsiteX58" fmla="*/ 248015 w 774600"/>
                <a:gd name="connsiteY58" fmla="*/ 102490 h 259834"/>
                <a:gd name="connsiteX59" fmla="*/ 248015 w 774600"/>
                <a:gd name="connsiteY59" fmla="*/ 155982 h 259834"/>
                <a:gd name="connsiteX60" fmla="*/ 249752 w 774600"/>
                <a:gd name="connsiteY60" fmla="*/ 182904 h 259834"/>
                <a:gd name="connsiteX61" fmla="*/ 254956 w 774600"/>
                <a:gd name="connsiteY61" fmla="*/ 202874 h 259834"/>
                <a:gd name="connsiteX62" fmla="*/ 263302 w 774600"/>
                <a:gd name="connsiteY62" fmla="*/ 216420 h 259834"/>
                <a:gd name="connsiteX63" fmla="*/ 274756 w 774600"/>
                <a:gd name="connsiteY63" fmla="*/ 224061 h 259834"/>
                <a:gd name="connsiteX64" fmla="*/ 289168 w 774600"/>
                <a:gd name="connsiteY64" fmla="*/ 226493 h 259834"/>
                <a:gd name="connsiteX65" fmla="*/ 306721 w 774600"/>
                <a:gd name="connsiteY65" fmla="*/ 222670 h 259834"/>
                <a:gd name="connsiteX66" fmla="*/ 319567 w 774600"/>
                <a:gd name="connsiteY66" fmla="*/ 210511 h 259834"/>
                <a:gd name="connsiteX67" fmla="*/ 327383 w 774600"/>
                <a:gd name="connsiteY67" fmla="*/ 188453 h 259834"/>
                <a:gd name="connsiteX68" fmla="*/ 329995 w 774600"/>
                <a:gd name="connsiteY68" fmla="*/ 155978 h 259834"/>
                <a:gd name="connsiteX69" fmla="*/ 578701 w 774600"/>
                <a:gd name="connsiteY69" fmla="*/ 223015 h 259834"/>
                <a:gd name="connsiteX70" fmla="*/ 578701 w 774600"/>
                <a:gd name="connsiteY70" fmla="*/ 256362 h 259834"/>
                <a:gd name="connsiteX71" fmla="*/ 409187 w 774600"/>
                <a:gd name="connsiteY71" fmla="*/ 256362 h 259834"/>
                <a:gd name="connsiteX72" fmla="*/ 409187 w 774600"/>
                <a:gd name="connsiteY72" fmla="*/ 227704 h 259834"/>
                <a:gd name="connsiteX73" fmla="*/ 491507 w 774600"/>
                <a:gd name="connsiteY73" fmla="*/ 137913 h 259834"/>
                <a:gd name="connsiteX74" fmla="*/ 512874 w 774600"/>
                <a:gd name="connsiteY74" fmla="*/ 111513 h 259834"/>
                <a:gd name="connsiteX75" fmla="*/ 523813 w 774600"/>
                <a:gd name="connsiteY75" fmla="*/ 91542 h 259834"/>
                <a:gd name="connsiteX76" fmla="*/ 527110 w 774600"/>
                <a:gd name="connsiteY76" fmla="*/ 73998 h 259834"/>
                <a:gd name="connsiteX77" fmla="*/ 522592 w 774600"/>
                <a:gd name="connsiteY77" fmla="*/ 52981 h 259834"/>
                <a:gd name="connsiteX78" fmla="*/ 509746 w 774600"/>
                <a:gd name="connsiteY78" fmla="*/ 38565 h 259834"/>
                <a:gd name="connsiteX79" fmla="*/ 489085 w 774600"/>
                <a:gd name="connsiteY79" fmla="*/ 33181 h 259834"/>
                <a:gd name="connsiteX80" fmla="*/ 465452 w 774600"/>
                <a:gd name="connsiteY80" fmla="*/ 39261 h 259834"/>
                <a:gd name="connsiteX81" fmla="*/ 451040 w 774600"/>
                <a:gd name="connsiteY81" fmla="*/ 56109 h 259834"/>
                <a:gd name="connsiteX82" fmla="*/ 446181 w 774600"/>
                <a:gd name="connsiteY82" fmla="*/ 80423 h 259834"/>
                <a:gd name="connsiteX83" fmla="*/ 404328 w 774600"/>
                <a:gd name="connsiteY83" fmla="*/ 80423 h 259834"/>
                <a:gd name="connsiteX84" fmla="*/ 414391 w 774600"/>
                <a:gd name="connsiteY84" fmla="*/ 40131 h 259834"/>
                <a:gd name="connsiteX85" fmla="*/ 443569 w 774600"/>
                <a:gd name="connsiteY85" fmla="*/ 10953 h 259834"/>
                <a:gd name="connsiteX86" fmla="*/ 489596 w 774600"/>
                <a:gd name="connsiteY86" fmla="*/ 10 h 259834"/>
                <a:gd name="connsiteX87" fmla="*/ 532670 w 774600"/>
                <a:gd name="connsiteY87" fmla="*/ 8521 h 259834"/>
                <a:gd name="connsiteX88" fmla="*/ 559581 w 774600"/>
                <a:gd name="connsiteY88" fmla="*/ 32660 h 259834"/>
                <a:gd name="connsiteX89" fmla="*/ 568958 w 774600"/>
                <a:gd name="connsiteY89" fmla="*/ 69655 h 259834"/>
                <a:gd name="connsiteX90" fmla="*/ 565145 w 774600"/>
                <a:gd name="connsiteY90" fmla="*/ 93103 h 259834"/>
                <a:gd name="connsiteX91" fmla="*/ 554207 w 774600"/>
                <a:gd name="connsiteY91" fmla="*/ 116376 h 259834"/>
                <a:gd name="connsiteX92" fmla="*/ 537704 w 774600"/>
                <a:gd name="connsiteY92" fmla="*/ 139475 h 259834"/>
                <a:gd name="connsiteX93" fmla="*/ 516697 w 774600"/>
                <a:gd name="connsiteY93" fmla="*/ 162748 h 259834"/>
                <a:gd name="connsiteX94" fmla="*/ 461979 w 774600"/>
                <a:gd name="connsiteY94" fmla="*/ 223015 h 259834"/>
                <a:gd name="connsiteX95" fmla="*/ 578701 w 774600"/>
                <a:gd name="connsiteY95" fmla="*/ 223015 h 259834"/>
                <a:gd name="connsiteX96" fmla="*/ 660505 w 774600"/>
                <a:gd name="connsiteY96" fmla="*/ 110992 h 259834"/>
                <a:gd name="connsiteX97" fmla="*/ 685510 w 774600"/>
                <a:gd name="connsiteY97" fmla="*/ 110992 h 259834"/>
                <a:gd name="connsiteX98" fmla="*/ 709639 w 774600"/>
                <a:gd name="connsiteY98" fmla="*/ 105953 h 259834"/>
                <a:gd name="connsiteX99" fmla="*/ 724065 w 774600"/>
                <a:gd name="connsiteY99" fmla="*/ 92057 h 259834"/>
                <a:gd name="connsiteX100" fmla="*/ 728754 w 774600"/>
                <a:gd name="connsiteY100" fmla="*/ 71736 h 259834"/>
                <a:gd name="connsiteX101" fmla="*/ 724411 w 774600"/>
                <a:gd name="connsiteY101" fmla="*/ 51240 h 259834"/>
                <a:gd name="connsiteX102" fmla="*/ 711565 w 774600"/>
                <a:gd name="connsiteY102" fmla="*/ 37865 h 259834"/>
                <a:gd name="connsiteX103" fmla="*/ 689858 w 774600"/>
                <a:gd name="connsiteY103" fmla="*/ 33176 h 259834"/>
                <a:gd name="connsiteX104" fmla="*/ 669712 w 774600"/>
                <a:gd name="connsiteY104" fmla="*/ 37690 h 259834"/>
                <a:gd name="connsiteX105" fmla="*/ 655626 w 774600"/>
                <a:gd name="connsiteY105" fmla="*/ 50195 h 259834"/>
                <a:gd name="connsiteX106" fmla="*/ 650422 w 774600"/>
                <a:gd name="connsiteY106" fmla="*/ 69300 h 259834"/>
                <a:gd name="connsiteX107" fmla="*/ 608394 w 774600"/>
                <a:gd name="connsiteY107" fmla="*/ 69300 h 259834"/>
                <a:gd name="connsiteX108" fmla="*/ 618992 w 774600"/>
                <a:gd name="connsiteY108" fmla="*/ 33521 h 259834"/>
                <a:gd name="connsiteX109" fmla="*/ 647810 w 774600"/>
                <a:gd name="connsiteY109" fmla="*/ 9032 h 259834"/>
                <a:gd name="connsiteX110" fmla="*/ 689148 w 774600"/>
                <a:gd name="connsiteY110" fmla="*/ 0 h 259834"/>
                <a:gd name="connsiteX111" fmla="*/ 731876 w 774600"/>
                <a:gd name="connsiteY111" fmla="*/ 8161 h 259834"/>
                <a:gd name="connsiteX112" fmla="*/ 760524 w 774600"/>
                <a:gd name="connsiteY112" fmla="*/ 32130 h 259834"/>
                <a:gd name="connsiteX113" fmla="*/ 770777 w 774600"/>
                <a:gd name="connsiteY113" fmla="*/ 71731 h 259834"/>
                <a:gd name="connsiteX114" fmla="*/ 765743 w 774600"/>
                <a:gd name="connsiteY114" fmla="*/ 93614 h 259834"/>
                <a:gd name="connsiteX115" fmla="*/ 750802 w 774600"/>
                <a:gd name="connsiteY115" fmla="*/ 113935 h 259834"/>
                <a:gd name="connsiteX116" fmla="*/ 726137 w 774600"/>
                <a:gd name="connsiteY116" fmla="*/ 128696 h 259834"/>
                <a:gd name="connsiteX117" fmla="*/ 691925 w 774600"/>
                <a:gd name="connsiteY117" fmla="*/ 134256 h 259834"/>
                <a:gd name="connsiteX118" fmla="*/ 660495 w 774600"/>
                <a:gd name="connsiteY118" fmla="*/ 134256 h 259834"/>
                <a:gd name="connsiteX119" fmla="*/ 660495 w 774600"/>
                <a:gd name="connsiteY119" fmla="*/ 110982 h 259834"/>
                <a:gd name="connsiteX120" fmla="*/ 660505 w 774600"/>
                <a:gd name="connsiteY120" fmla="*/ 143643 h 259834"/>
                <a:gd name="connsiteX121" fmla="*/ 660505 w 774600"/>
                <a:gd name="connsiteY121" fmla="*/ 120715 h 259834"/>
                <a:gd name="connsiteX122" fmla="*/ 691935 w 774600"/>
                <a:gd name="connsiteY122" fmla="*/ 120715 h 259834"/>
                <a:gd name="connsiteX123" fmla="*/ 729790 w 774600"/>
                <a:gd name="connsiteY123" fmla="*/ 125924 h 259834"/>
                <a:gd name="connsiteX124" fmla="*/ 755500 w 774600"/>
                <a:gd name="connsiteY124" fmla="*/ 140340 h 259834"/>
                <a:gd name="connsiteX125" fmla="*/ 769911 w 774600"/>
                <a:gd name="connsiteY125" fmla="*/ 161007 h 259834"/>
                <a:gd name="connsiteX126" fmla="*/ 774600 w 774600"/>
                <a:gd name="connsiteY126" fmla="*/ 185671 h 259834"/>
                <a:gd name="connsiteX127" fmla="*/ 768175 w 774600"/>
                <a:gd name="connsiteY127" fmla="*/ 217281 h 259834"/>
                <a:gd name="connsiteX128" fmla="*/ 750296 w 774600"/>
                <a:gd name="connsiteY128" fmla="*/ 240554 h 259834"/>
                <a:gd name="connsiteX129" fmla="*/ 723024 w 774600"/>
                <a:gd name="connsiteY129" fmla="*/ 254971 h 259834"/>
                <a:gd name="connsiteX130" fmla="*/ 689328 w 774600"/>
                <a:gd name="connsiteY130" fmla="*/ 259834 h 259834"/>
                <a:gd name="connsiteX131" fmla="*/ 658068 w 774600"/>
                <a:gd name="connsiteY131" fmla="*/ 255316 h 259834"/>
                <a:gd name="connsiteX132" fmla="*/ 631327 w 774600"/>
                <a:gd name="connsiteY132" fmla="*/ 241945 h 259834"/>
                <a:gd name="connsiteX133" fmla="*/ 612572 w 774600"/>
                <a:gd name="connsiteY133" fmla="*/ 219543 h 259834"/>
                <a:gd name="connsiteX134" fmla="*/ 605787 w 774600"/>
                <a:gd name="connsiteY134" fmla="*/ 188283 h 259834"/>
                <a:gd name="connsiteX135" fmla="*/ 647640 w 774600"/>
                <a:gd name="connsiteY135" fmla="*/ 188283 h 259834"/>
                <a:gd name="connsiteX136" fmla="*/ 652859 w 774600"/>
                <a:gd name="connsiteY136" fmla="*/ 208254 h 259834"/>
                <a:gd name="connsiteX137" fmla="*/ 667786 w 774600"/>
                <a:gd name="connsiteY137" fmla="*/ 221624 h 259834"/>
                <a:gd name="connsiteX138" fmla="*/ 690028 w 774600"/>
                <a:gd name="connsiteY138" fmla="*/ 226488 h 259834"/>
                <a:gd name="connsiteX139" fmla="*/ 712767 w 774600"/>
                <a:gd name="connsiteY139" fmla="*/ 221799 h 259834"/>
                <a:gd name="connsiteX140" fmla="*/ 727363 w 774600"/>
                <a:gd name="connsiteY140" fmla="*/ 207904 h 259834"/>
                <a:gd name="connsiteX141" fmla="*/ 732567 w 774600"/>
                <a:gd name="connsiteY141" fmla="*/ 185671 h 259834"/>
                <a:gd name="connsiteX142" fmla="*/ 726847 w 774600"/>
                <a:gd name="connsiteY142" fmla="*/ 161702 h 259834"/>
                <a:gd name="connsiteX143" fmla="*/ 710515 w 774600"/>
                <a:gd name="connsiteY143" fmla="*/ 148157 h 259834"/>
                <a:gd name="connsiteX144" fmla="*/ 685510 w 774600"/>
                <a:gd name="connsiteY144" fmla="*/ 143643 h 259834"/>
                <a:gd name="connsiteX145" fmla="*/ 660505 w 774600"/>
                <a:gd name="connsiteY145" fmla="*/ 143643 h 2598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</a:cxnLst>
              <a:rect l="l" t="t" r="r" b="b"/>
              <a:pathLst>
                <a:path w="774600" h="259834">
                  <a:moveTo>
                    <a:pt x="174372" y="223015"/>
                  </a:moveTo>
                  <a:lnTo>
                    <a:pt x="174372" y="256362"/>
                  </a:lnTo>
                  <a:lnTo>
                    <a:pt x="4859" y="256362"/>
                  </a:lnTo>
                  <a:lnTo>
                    <a:pt x="4859" y="227704"/>
                  </a:lnTo>
                  <a:lnTo>
                    <a:pt x="87193" y="137913"/>
                  </a:lnTo>
                  <a:cubicBezTo>
                    <a:pt x="96211" y="127724"/>
                    <a:pt x="103336" y="118925"/>
                    <a:pt x="108541" y="111513"/>
                  </a:cubicBezTo>
                  <a:cubicBezTo>
                    <a:pt x="113760" y="104100"/>
                    <a:pt x="117403" y="97446"/>
                    <a:pt x="119499" y="91542"/>
                  </a:cubicBezTo>
                  <a:cubicBezTo>
                    <a:pt x="121697" y="85520"/>
                    <a:pt x="122797" y="79674"/>
                    <a:pt x="122797" y="73998"/>
                  </a:cubicBezTo>
                  <a:cubicBezTo>
                    <a:pt x="122797" y="66012"/>
                    <a:pt x="121284" y="59003"/>
                    <a:pt x="118278" y="52981"/>
                  </a:cubicBezTo>
                  <a:cubicBezTo>
                    <a:pt x="115374" y="46843"/>
                    <a:pt x="111099" y="42038"/>
                    <a:pt x="105413" y="38565"/>
                  </a:cubicBezTo>
                  <a:cubicBezTo>
                    <a:pt x="99747" y="34976"/>
                    <a:pt x="92860" y="33181"/>
                    <a:pt x="84752" y="33181"/>
                  </a:cubicBezTo>
                  <a:cubicBezTo>
                    <a:pt x="75374" y="33181"/>
                    <a:pt x="67510" y="35209"/>
                    <a:pt x="61138" y="39261"/>
                  </a:cubicBezTo>
                  <a:cubicBezTo>
                    <a:pt x="54766" y="43312"/>
                    <a:pt x="49956" y="48930"/>
                    <a:pt x="46712" y="56109"/>
                  </a:cubicBezTo>
                  <a:cubicBezTo>
                    <a:pt x="43482" y="63171"/>
                    <a:pt x="41853" y="71279"/>
                    <a:pt x="41853" y="80423"/>
                  </a:cubicBezTo>
                  <a:lnTo>
                    <a:pt x="0" y="80423"/>
                  </a:lnTo>
                  <a:cubicBezTo>
                    <a:pt x="0" y="65720"/>
                    <a:pt x="3366" y="52286"/>
                    <a:pt x="10083" y="40131"/>
                  </a:cubicBezTo>
                  <a:cubicBezTo>
                    <a:pt x="16800" y="27860"/>
                    <a:pt x="26517" y="18132"/>
                    <a:pt x="39261" y="10953"/>
                  </a:cubicBezTo>
                  <a:cubicBezTo>
                    <a:pt x="51989" y="3658"/>
                    <a:pt x="67325" y="10"/>
                    <a:pt x="85272" y="10"/>
                  </a:cubicBezTo>
                  <a:cubicBezTo>
                    <a:pt x="102189" y="10"/>
                    <a:pt x="116546" y="2845"/>
                    <a:pt x="128346" y="8521"/>
                  </a:cubicBezTo>
                  <a:cubicBezTo>
                    <a:pt x="140160" y="14193"/>
                    <a:pt x="149129" y="22242"/>
                    <a:pt x="155277" y="32660"/>
                  </a:cubicBezTo>
                  <a:cubicBezTo>
                    <a:pt x="161527" y="43079"/>
                    <a:pt x="164654" y="55413"/>
                    <a:pt x="164654" y="69655"/>
                  </a:cubicBezTo>
                  <a:cubicBezTo>
                    <a:pt x="164654" y="77529"/>
                    <a:pt x="163385" y="85345"/>
                    <a:pt x="160827" y="93103"/>
                  </a:cubicBezTo>
                  <a:cubicBezTo>
                    <a:pt x="158283" y="100861"/>
                    <a:pt x="154645" y="108619"/>
                    <a:pt x="149888" y="116376"/>
                  </a:cubicBezTo>
                  <a:cubicBezTo>
                    <a:pt x="145267" y="124017"/>
                    <a:pt x="139757" y="131717"/>
                    <a:pt x="133400" y="139475"/>
                  </a:cubicBezTo>
                  <a:cubicBezTo>
                    <a:pt x="127028" y="147116"/>
                    <a:pt x="120019" y="154873"/>
                    <a:pt x="112378" y="162748"/>
                  </a:cubicBezTo>
                  <a:lnTo>
                    <a:pt x="57675" y="223015"/>
                  </a:lnTo>
                  <a:lnTo>
                    <a:pt x="174377" y="223015"/>
                  </a:lnTo>
                  <a:close/>
                  <a:moveTo>
                    <a:pt x="371848" y="108735"/>
                  </a:moveTo>
                  <a:lnTo>
                    <a:pt x="371848" y="150068"/>
                  </a:lnTo>
                  <a:cubicBezTo>
                    <a:pt x="371848" y="169869"/>
                    <a:pt x="369873" y="186770"/>
                    <a:pt x="365938" y="200783"/>
                  </a:cubicBezTo>
                  <a:cubicBezTo>
                    <a:pt x="362125" y="214674"/>
                    <a:pt x="356561" y="225963"/>
                    <a:pt x="349260" y="234650"/>
                  </a:cubicBezTo>
                  <a:cubicBezTo>
                    <a:pt x="341960" y="243332"/>
                    <a:pt x="333219" y="249703"/>
                    <a:pt x="323035" y="253755"/>
                  </a:cubicBezTo>
                  <a:cubicBezTo>
                    <a:pt x="312971" y="257806"/>
                    <a:pt x="301668" y="259834"/>
                    <a:pt x="289168" y="259834"/>
                  </a:cubicBezTo>
                  <a:cubicBezTo>
                    <a:pt x="279221" y="259834"/>
                    <a:pt x="269951" y="258560"/>
                    <a:pt x="261381" y="256011"/>
                  </a:cubicBezTo>
                  <a:cubicBezTo>
                    <a:pt x="252933" y="253463"/>
                    <a:pt x="245287" y="249470"/>
                    <a:pt x="238468" y="244027"/>
                  </a:cubicBezTo>
                  <a:cubicBezTo>
                    <a:pt x="231634" y="238584"/>
                    <a:pt x="225773" y="231581"/>
                    <a:pt x="220914" y="223011"/>
                  </a:cubicBezTo>
                  <a:cubicBezTo>
                    <a:pt x="216172" y="214329"/>
                    <a:pt x="212466" y="203964"/>
                    <a:pt x="209800" y="191921"/>
                  </a:cubicBezTo>
                  <a:cubicBezTo>
                    <a:pt x="207256" y="179878"/>
                    <a:pt x="205972" y="165929"/>
                    <a:pt x="205972" y="150063"/>
                  </a:cubicBezTo>
                  <a:lnTo>
                    <a:pt x="205972" y="108730"/>
                  </a:lnTo>
                  <a:cubicBezTo>
                    <a:pt x="205972" y="88813"/>
                    <a:pt x="207947" y="72028"/>
                    <a:pt x="211882" y="58366"/>
                  </a:cubicBezTo>
                  <a:cubicBezTo>
                    <a:pt x="215831" y="44587"/>
                    <a:pt x="221430" y="33414"/>
                    <a:pt x="228730" y="24844"/>
                  </a:cubicBezTo>
                  <a:cubicBezTo>
                    <a:pt x="236031" y="16162"/>
                    <a:pt x="244722" y="9849"/>
                    <a:pt x="254786" y="5914"/>
                  </a:cubicBezTo>
                  <a:cubicBezTo>
                    <a:pt x="264970" y="1980"/>
                    <a:pt x="276323" y="10"/>
                    <a:pt x="288827" y="10"/>
                  </a:cubicBezTo>
                  <a:cubicBezTo>
                    <a:pt x="298910" y="10"/>
                    <a:pt x="308166" y="1284"/>
                    <a:pt x="316614" y="3833"/>
                  </a:cubicBezTo>
                  <a:cubicBezTo>
                    <a:pt x="325184" y="6265"/>
                    <a:pt x="332825" y="10141"/>
                    <a:pt x="339542" y="15467"/>
                  </a:cubicBezTo>
                  <a:cubicBezTo>
                    <a:pt x="346376" y="20793"/>
                    <a:pt x="352164" y="27743"/>
                    <a:pt x="356906" y="36308"/>
                  </a:cubicBezTo>
                  <a:cubicBezTo>
                    <a:pt x="361765" y="44762"/>
                    <a:pt x="365476" y="55010"/>
                    <a:pt x="368020" y="67048"/>
                  </a:cubicBezTo>
                  <a:cubicBezTo>
                    <a:pt x="370578" y="78974"/>
                    <a:pt x="371848" y="92870"/>
                    <a:pt x="371848" y="108730"/>
                  </a:cubicBezTo>
                  <a:close/>
                  <a:moveTo>
                    <a:pt x="329995" y="155978"/>
                  </a:moveTo>
                  <a:lnTo>
                    <a:pt x="329995" y="102485"/>
                  </a:lnTo>
                  <a:cubicBezTo>
                    <a:pt x="329995" y="92412"/>
                    <a:pt x="329411" y="83555"/>
                    <a:pt x="328258" y="75914"/>
                  </a:cubicBezTo>
                  <a:cubicBezTo>
                    <a:pt x="327091" y="68157"/>
                    <a:pt x="325355" y="61615"/>
                    <a:pt x="323039" y="56289"/>
                  </a:cubicBezTo>
                  <a:cubicBezTo>
                    <a:pt x="320841" y="50846"/>
                    <a:pt x="318059" y="46445"/>
                    <a:pt x="314708" y="43088"/>
                  </a:cubicBezTo>
                  <a:cubicBezTo>
                    <a:pt x="311342" y="39616"/>
                    <a:pt x="307529" y="37125"/>
                    <a:pt x="303234" y="35623"/>
                  </a:cubicBezTo>
                  <a:cubicBezTo>
                    <a:pt x="298959" y="34003"/>
                    <a:pt x="294148" y="33191"/>
                    <a:pt x="288823" y="33191"/>
                  </a:cubicBezTo>
                  <a:cubicBezTo>
                    <a:pt x="282349" y="33191"/>
                    <a:pt x="276542" y="34465"/>
                    <a:pt x="271459" y="37014"/>
                  </a:cubicBezTo>
                  <a:cubicBezTo>
                    <a:pt x="266357" y="39445"/>
                    <a:pt x="262081" y="43380"/>
                    <a:pt x="258613" y="48823"/>
                  </a:cubicBezTo>
                  <a:cubicBezTo>
                    <a:pt x="255126" y="54266"/>
                    <a:pt x="252466" y="61445"/>
                    <a:pt x="250608" y="70360"/>
                  </a:cubicBezTo>
                  <a:cubicBezTo>
                    <a:pt x="248871" y="79159"/>
                    <a:pt x="248015" y="89869"/>
                    <a:pt x="248015" y="102490"/>
                  </a:cubicBezTo>
                  <a:lnTo>
                    <a:pt x="248015" y="155982"/>
                  </a:lnTo>
                  <a:cubicBezTo>
                    <a:pt x="248015" y="166172"/>
                    <a:pt x="248584" y="175146"/>
                    <a:pt x="249752" y="182904"/>
                  </a:cubicBezTo>
                  <a:cubicBezTo>
                    <a:pt x="250904" y="190661"/>
                    <a:pt x="252636" y="197320"/>
                    <a:pt x="254956" y="202874"/>
                  </a:cubicBezTo>
                  <a:cubicBezTo>
                    <a:pt x="257276" y="208317"/>
                    <a:pt x="260058" y="212831"/>
                    <a:pt x="263302" y="216420"/>
                  </a:cubicBezTo>
                  <a:cubicBezTo>
                    <a:pt x="266653" y="219893"/>
                    <a:pt x="270481" y="222441"/>
                    <a:pt x="274756" y="224061"/>
                  </a:cubicBezTo>
                  <a:cubicBezTo>
                    <a:pt x="279153" y="225681"/>
                    <a:pt x="283964" y="226493"/>
                    <a:pt x="289168" y="226493"/>
                  </a:cubicBezTo>
                  <a:cubicBezTo>
                    <a:pt x="295778" y="226493"/>
                    <a:pt x="301619" y="225219"/>
                    <a:pt x="306721" y="222670"/>
                  </a:cubicBezTo>
                  <a:cubicBezTo>
                    <a:pt x="311804" y="220121"/>
                    <a:pt x="316099" y="216070"/>
                    <a:pt x="319567" y="210511"/>
                  </a:cubicBezTo>
                  <a:cubicBezTo>
                    <a:pt x="323035" y="204839"/>
                    <a:pt x="325646" y="197485"/>
                    <a:pt x="327383" y="188453"/>
                  </a:cubicBezTo>
                  <a:cubicBezTo>
                    <a:pt x="329119" y="179421"/>
                    <a:pt x="329995" y="168594"/>
                    <a:pt x="329995" y="155978"/>
                  </a:cubicBezTo>
                  <a:close/>
                  <a:moveTo>
                    <a:pt x="578701" y="223015"/>
                  </a:moveTo>
                  <a:lnTo>
                    <a:pt x="578701" y="256362"/>
                  </a:lnTo>
                  <a:lnTo>
                    <a:pt x="409187" y="256362"/>
                  </a:lnTo>
                  <a:lnTo>
                    <a:pt x="409187" y="227704"/>
                  </a:lnTo>
                  <a:lnTo>
                    <a:pt x="491507" y="137913"/>
                  </a:lnTo>
                  <a:cubicBezTo>
                    <a:pt x="500539" y="127724"/>
                    <a:pt x="507670" y="118925"/>
                    <a:pt x="512874" y="111513"/>
                  </a:cubicBezTo>
                  <a:cubicBezTo>
                    <a:pt x="518078" y="104100"/>
                    <a:pt x="521736" y="97446"/>
                    <a:pt x="523813" y="91542"/>
                  </a:cubicBezTo>
                  <a:cubicBezTo>
                    <a:pt x="526011" y="85520"/>
                    <a:pt x="527110" y="79674"/>
                    <a:pt x="527110" y="73998"/>
                  </a:cubicBezTo>
                  <a:cubicBezTo>
                    <a:pt x="527110" y="66012"/>
                    <a:pt x="525617" y="59003"/>
                    <a:pt x="522592" y="52981"/>
                  </a:cubicBezTo>
                  <a:cubicBezTo>
                    <a:pt x="519708" y="46843"/>
                    <a:pt x="515413" y="42038"/>
                    <a:pt x="509746" y="38565"/>
                  </a:cubicBezTo>
                  <a:cubicBezTo>
                    <a:pt x="504080" y="34976"/>
                    <a:pt x="497193" y="33181"/>
                    <a:pt x="489085" y="33181"/>
                  </a:cubicBezTo>
                  <a:cubicBezTo>
                    <a:pt x="479708" y="33181"/>
                    <a:pt x="471823" y="35209"/>
                    <a:pt x="465452" y="39261"/>
                  </a:cubicBezTo>
                  <a:cubicBezTo>
                    <a:pt x="459095" y="43312"/>
                    <a:pt x="454289" y="48930"/>
                    <a:pt x="451040" y="56109"/>
                  </a:cubicBezTo>
                  <a:cubicBezTo>
                    <a:pt x="447796" y="63171"/>
                    <a:pt x="446181" y="71279"/>
                    <a:pt x="446181" y="80423"/>
                  </a:cubicBezTo>
                  <a:lnTo>
                    <a:pt x="404328" y="80423"/>
                  </a:lnTo>
                  <a:cubicBezTo>
                    <a:pt x="404328" y="65720"/>
                    <a:pt x="407679" y="52286"/>
                    <a:pt x="414391" y="40131"/>
                  </a:cubicBezTo>
                  <a:cubicBezTo>
                    <a:pt x="421108" y="27860"/>
                    <a:pt x="430846" y="18132"/>
                    <a:pt x="443569" y="10953"/>
                  </a:cubicBezTo>
                  <a:cubicBezTo>
                    <a:pt x="456313" y="3658"/>
                    <a:pt x="471648" y="10"/>
                    <a:pt x="489596" y="10"/>
                  </a:cubicBezTo>
                  <a:cubicBezTo>
                    <a:pt x="506497" y="10"/>
                    <a:pt x="520855" y="2845"/>
                    <a:pt x="532670" y="8521"/>
                  </a:cubicBezTo>
                  <a:cubicBezTo>
                    <a:pt x="544484" y="14193"/>
                    <a:pt x="553453" y="22242"/>
                    <a:pt x="559581" y="32660"/>
                  </a:cubicBezTo>
                  <a:cubicBezTo>
                    <a:pt x="565831" y="43079"/>
                    <a:pt x="568958" y="55413"/>
                    <a:pt x="568958" y="69655"/>
                  </a:cubicBezTo>
                  <a:cubicBezTo>
                    <a:pt x="568958" y="77529"/>
                    <a:pt x="567689" y="85345"/>
                    <a:pt x="565145" y="93103"/>
                  </a:cubicBezTo>
                  <a:cubicBezTo>
                    <a:pt x="562601" y="100861"/>
                    <a:pt x="558944" y="108619"/>
                    <a:pt x="554207" y="116376"/>
                  </a:cubicBezTo>
                  <a:cubicBezTo>
                    <a:pt x="549571" y="124017"/>
                    <a:pt x="544075" y="131717"/>
                    <a:pt x="537704" y="139475"/>
                  </a:cubicBezTo>
                  <a:cubicBezTo>
                    <a:pt x="531332" y="147116"/>
                    <a:pt x="524323" y="154873"/>
                    <a:pt x="516697" y="162748"/>
                  </a:cubicBezTo>
                  <a:lnTo>
                    <a:pt x="461979" y="223015"/>
                  </a:lnTo>
                  <a:lnTo>
                    <a:pt x="578701" y="223015"/>
                  </a:lnTo>
                  <a:close/>
                  <a:moveTo>
                    <a:pt x="660505" y="110992"/>
                  </a:moveTo>
                  <a:lnTo>
                    <a:pt x="685510" y="110992"/>
                  </a:lnTo>
                  <a:cubicBezTo>
                    <a:pt x="695233" y="110992"/>
                    <a:pt x="703287" y="109314"/>
                    <a:pt x="709639" y="105953"/>
                  </a:cubicBezTo>
                  <a:cubicBezTo>
                    <a:pt x="716132" y="102597"/>
                    <a:pt x="720943" y="97962"/>
                    <a:pt x="724065" y="92057"/>
                  </a:cubicBezTo>
                  <a:cubicBezTo>
                    <a:pt x="727188" y="86153"/>
                    <a:pt x="728754" y="79377"/>
                    <a:pt x="728754" y="71736"/>
                  </a:cubicBezTo>
                  <a:cubicBezTo>
                    <a:pt x="728754" y="64095"/>
                    <a:pt x="727295" y="56916"/>
                    <a:pt x="724411" y="51240"/>
                  </a:cubicBezTo>
                  <a:cubicBezTo>
                    <a:pt x="721628" y="45452"/>
                    <a:pt x="717353" y="40992"/>
                    <a:pt x="711565" y="37865"/>
                  </a:cubicBezTo>
                  <a:cubicBezTo>
                    <a:pt x="705879" y="34737"/>
                    <a:pt x="698652" y="33176"/>
                    <a:pt x="689858" y="33176"/>
                  </a:cubicBezTo>
                  <a:cubicBezTo>
                    <a:pt x="682441" y="33176"/>
                    <a:pt x="675724" y="34684"/>
                    <a:pt x="669712" y="37690"/>
                  </a:cubicBezTo>
                  <a:cubicBezTo>
                    <a:pt x="663803" y="40584"/>
                    <a:pt x="659114" y="44752"/>
                    <a:pt x="655626" y="50195"/>
                  </a:cubicBezTo>
                  <a:cubicBezTo>
                    <a:pt x="652159" y="55520"/>
                    <a:pt x="650422" y="61887"/>
                    <a:pt x="650422" y="69300"/>
                  </a:cubicBezTo>
                  <a:lnTo>
                    <a:pt x="608394" y="69300"/>
                  </a:lnTo>
                  <a:cubicBezTo>
                    <a:pt x="608394" y="55871"/>
                    <a:pt x="611916" y="43945"/>
                    <a:pt x="618992" y="33521"/>
                  </a:cubicBezTo>
                  <a:cubicBezTo>
                    <a:pt x="626050" y="23103"/>
                    <a:pt x="635670" y="14937"/>
                    <a:pt x="647810" y="9032"/>
                  </a:cubicBezTo>
                  <a:cubicBezTo>
                    <a:pt x="660092" y="3011"/>
                    <a:pt x="673866" y="0"/>
                    <a:pt x="689148" y="0"/>
                  </a:cubicBezTo>
                  <a:cubicBezTo>
                    <a:pt x="705480" y="0"/>
                    <a:pt x="719717" y="2724"/>
                    <a:pt x="731876" y="8161"/>
                  </a:cubicBezTo>
                  <a:cubicBezTo>
                    <a:pt x="744138" y="13487"/>
                    <a:pt x="753705" y="21479"/>
                    <a:pt x="760524" y="32130"/>
                  </a:cubicBezTo>
                  <a:cubicBezTo>
                    <a:pt x="767358" y="42782"/>
                    <a:pt x="770777" y="55982"/>
                    <a:pt x="770777" y="71731"/>
                  </a:cubicBezTo>
                  <a:cubicBezTo>
                    <a:pt x="770777" y="78910"/>
                    <a:pt x="769094" y="86206"/>
                    <a:pt x="765743" y="93614"/>
                  </a:cubicBezTo>
                  <a:cubicBezTo>
                    <a:pt x="762378" y="101026"/>
                    <a:pt x="757397" y="107797"/>
                    <a:pt x="750802" y="113935"/>
                  </a:cubicBezTo>
                  <a:cubicBezTo>
                    <a:pt x="744206" y="119956"/>
                    <a:pt x="735982" y="124873"/>
                    <a:pt x="726137" y="128696"/>
                  </a:cubicBezTo>
                  <a:cubicBezTo>
                    <a:pt x="716298" y="132403"/>
                    <a:pt x="704892" y="134256"/>
                    <a:pt x="691925" y="134256"/>
                  </a:cubicBezTo>
                  <a:lnTo>
                    <a:pt x="660495" y="134256"/>
                  </a:lnTo>
                  <a:lnTo>
                    <a:pt x="660495" y="110982"/>
                  </a:lnTo>
                  <a:close/>
                  <a:moveTo>
                    <a:pt x="660505" y="143643"/>
                  </a:moveTo>
                  <a:lnTo>
                    <a:pt x="660505" y="120715"/>
                  </a:lnTo>
                  <a:lnTo>
                    <a:pt x="691935" y="120715"/>
                  </a:lnTo>
                  <a:cubicBezTo>
                    <a:pt x="706755" y="120715"/>
                    <a:pt x="719381" y="122451"/>
                    <a:pt x="729790" y="125924"/>
                  </a:cubicBezTo>
                  <a:cubicBezTo>
                    <a:pt x="740335" y="129397"/>
                    <a:pt x="748905" y="134202"/>
                    <a:pt x="755500" y="140340"/>
                  </a:cubicBezTo>
                  <a:cubicBezTo>
                    <a:pt x="762095" y="146362"/>
                    <a:pt x="766906" y="153249"/>
                    <a:pt x="769911" y="161007"/>
                  </a:cubicBezTo>
                  <a:cubicBezTo>
                    <a:pt x="773039" y="168764"/>
                    <a:pt x="774600" y="176984"/>
                    <a:pt x="774600" y="185671"/>
                  </a:cubicBezTo>
                  <a:cubicBezTo>
                    <a:pt x="774600" y="197480"/>
                    <a:pt x="772470" y="208015"/>
                    <a:pt x="768175" y="217281"/>
                  </a:cubicBezTo>
                  <a:cubicBezTo>
                    <a:pt x="764016" y="226430"/>
                    <a:pt x="758044" y="234188"/>
                    <a:pt x="750296" y="240554"/>
                  </a:cubicBezTo>
                  <a:cubicBezTo>
                    <a:pt x="742533" y="246921"/>
                    <a:pt x="733447" y="251726"/>
                    <a:pt x="723024" y="254971"/>
                  </a:cubicBezTo>
                  <a:cubicBezTo>
                    <a:pt x="712718" y="258215"/>
                    <a:pt x="701487" y="259834"/>
                    <a:pt x="689328" y="259834"/>
                  </a:cubicBezTo>
                  <a:cubicBezTo>
                    <a:pt x="678457" y="259834"/>
                    <a:pt x="668029" y="258327"/>
                    <a:pt x="658068" y="255316"/>
                  </a:cubicBezTo>
                  <a:cubicBezTo>
                    <a:pt x="648107" y="252305"/>
                    <a:pt x="639192" y="247850"/>
                    <a:pt x="631327" y="241945"/>
                  </a:cubicBezTo>
                  <a:cubicBezTo>
                    <a:pt x="623443" y="235924"/>
                    <a:pt x="617193" y="228458"/>
                    <a:pt x="612572" y="219543"/>
                  </a:cubicBezTo>
                  <a:cubicBezTo>
                    <a:pt x="608054" y="210511"/>
                    <a:pt x="605787" y="200092"/>
                    <a:pt x="605787" y="188283"/>
                  </a:cubicBezTo>
                  <a:lnTo>
                    <a:pt x="647640" y="188283"/>
                  </a:lnTo>
                  <a:cubicBezTo>
                    <a:pt x="647640" y="195807"/>
                    <a:pt x="649377" y="202466"/>
                    <a:pt x="652859" y="208254"/>
                  </a:cubicBezTo>
                  <a:cubicBezTo>
                    <a:pt x="656449" y="213925"/>
                    <a:pt x="661429" y="218385"/>
                    <a:pt x="667786" y="221624"/>
                  </a:cubicBezTo>
                  <a:cubicBezTo>
                    <a:pt x="674279" y="224869"/>
                    <a:pt x="681682" y="226488"/>
                    <a:pt x="690028" y="226488"/>
                  </a:cubicBezTo>
                  <a:cubicBezTo>
                    <a:pt x="698822" y="226488"/>
                    <a:pt x="706415" y="224927"/>
                    <a:pt x="712767" y="221799"/>
                  </a:cubicBezTo>
                  <a:cubicBezTo>
                    <a:pt x="719138" y="218672"/>
                    <a:pt x="723997" y="214042"/>
                    <a:pt x="727363" y="207904"/>
                  </a:cubicBezTo>
                  <a:cubicBezTo>
                    <a:pt x="730831" y="201765"/>
                    <a:pt x="732567" y="194358"/>
                    <a:pt x="732567" y="185671"/>
                  </a:cubicBezTo>
                  <a:cubicBezTo>
                    <a:pt x="732567" y="175827"/>
                    <a:pt x="730660" y="167840"/>
                    <a:pt x="726847" y="161702"/>
                  </a:cubicBezTo>
                  <a:cubicBezTo>
                    <a:pt x="723019" y="155564"/>
                    <a:pt x="717572" y="151050"/>
                    <a:pt x="710515" y="148157"/>
                  </a:cubicBezTo>
                  <a:cubicBezTo>
                    <a:pt x="703457" y="145146"/>
                    <a:pt x="695111" y="143643"/>
                    <a:pt x="685510" y="143643"/>
                  </a:cubicBezTo>
                  <a:lnTo>
                    <a:pt x="660505" y="143643"/>
                  </a:lnTo>
                  <a:close/>
                </a:path>
              </a:pathLst>
            </a:custGeom>
            <a:solidFill>
              <a:srgbClr val="EE3431"/>
            </a:solidFill>
            <a:ln w="4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8" name="Полилиния: фигура 47">
              <a:extLst>
                <a:ext uri="{FF2B5EF4-FFF2-40B4-BE49-F238E27FC236}">
                  <a16:creationId xmlns:a16="http://schemas.microsoft.com/office/drawing/2014/main" id="{C3ADAD60-17B9-4A06-AE0E-BCB35AB4E7E8}"/>
                </a:ext>
              </a:extLst>
            </p:cNvPr>
            <p:cNvSpPr/>
            <p:nvPr/>
          </p:nvSpPr>
          <p:spPr>
            <a:xfrm>
              <a:off x="8902858" y="5870060"/>
              <a:ext cx="774600" cy="259829"/>
            </a:xfrm>
            <a:custGeom>
              <a:avLst/>
              <a:gdLst>
                <a:gd name="connsiteX0" fmla="*/ 174372 w 774600"/>
                <a:gd name="connsiteY0" fmla="*/ 223011 h 259829"/>
                <a:gd name="connsiteX1" fmla="*/ 174372 w 774600"/>
                <a:gd name="connsiteY1" fmla="*/ 256357 h 259829"/>
                <a:gd name="connsiteX2" fmla="*/ 4859 w 774600"/>
                <a:gd name="connsiteY2" fmla="*/ 256357 h 259829"/>
                <a:gd name="connsiteX3" fmla="*/ 4859 w 774600"/>
                <a:gd name="connsiteY3" fmla="*/ 227699 h 259829"/>
                <a:gd name="connsiteX4" fmla="*/ 87193 w 774600"/>
                <a:gd name="connsiteY4" fmla="*/ 137908 h 259829"/>
                <a:gd name="connsiteX5" fmla="*/ 108541 w 774600"/>
                <a:gd name="connsiteY5" fmla="*/ 111508 h 259829"/>
                <a:gd name="connsiteX6" fmla="*/ 119499 w 774600"/>
                <a:gd name="connsiteY6" fmla="*/ 91537 h 259829"/>
                <a:gd name="connsiteX7" fmla="*/ 122797 w 774600"/>
                <a:gd name="connsiteY7" fmla="*/ 73993 h 259829"/>
                <a:gd name="connsiteX8" fmla="*/ 118278 w 774600"/>
                <a:gd name="connsiteY8" fmla="*/ 52977 h 259829"/>
                <a:gd name="connsiteX9" fmla="*/ 105413 w 774600"/>
                <a:gd name="connsiteY9" fmla="*/ 38560 h 259829"/>
                <a:gd name="connsiteX10" fmla="*/ 84752 w 774600"/>
                <a:gd name="connsiteY10" fmla="*/ 33176 h 259829"/>
                <a:gd name="connsiteX11" fmla="*/ 61138 w 774600"/>
                <a:gd name="connsiteY11" fmla="*/ 39256 h 259829"/>
                <a:gd name="connsiteX12" fmla="*/ 46712 w 774600"/>
                <a:gd name="connsiteY12" fmla="*/ 56104 h 259829"/>
                <a:gd name="connsiteX13" fmla="*/ 41853 w 774600"/>
                <a:gd name="connsiteY13" fmla="*/ 80418 h 259829"/>
                <a:gd name="connsiteX14" fmla="*/ 0 w 774600"/>
                <a:gd name="connsiteY14" fmla="*/ 80418 h 259829"/>
                <a:gd name="connsiteX15" fmla="*/ 10083 w 774600"/>
                <a:gd name="connsiteY15" fmla="*/ 40126 h 259829"/>
                <a:gd name="connsiteX16" fmla="*/ 39261 w 774600"/>
                <a:gd name="connsiteY16" fmla="*/ 10948 h 259829"/>
                <a:gd name="connsiteX17" fmla="*/ 85272 w 774600"/>
                <a:gd name="connsiteY17" fmla="*/ 5 h 259829"/>
                <a:gd name="connsiteX18" fmla="*/ 128346 w 774600"/>
                <a:gd name="connsiteY18" fmla="*/ 8517 h 259829"/>
                <a:gd name="connsiteX19" fmla="*/ 155277 w 774600"/>
                <a:gd name="connsiteY19" fmla="*/ 32660 h 259829"/>
                <a:gd name="connsiteX20" fmla="*/ 164654 w 774600"/>
                <a:gd name="connsiteY20" fmla="*/ 69655 h 259829"/>
                <a:gd name="connsiteX21" fmla="*/ 160827 w 774600"/>
                <a:gd name="connsiteY21" fmla="*/ 93103 h 259829"/>
                <a:gd name="connsiteX22" fmla="*/ 149888 w 774600"/>
                <a:gd name="connsiteY22" fmla="*/ 116376 h 259829"/>
                <a:gd name="connsiteX23" fmla="*/ 133400 w 774600"/>
                <a:gd name="connsiteY23" fmla="*/ 139475 h 259829"/>
                <a:gd name="connsiteX24" fmla="*/ 112378 w 774600"/>
                <a:gd name="connsiteY24" fmla="*/ 162748 h 259829"/>
                <a:gd name="connsiteX25" fmla="*/ 57675 w 774600"/>
                <a:gd name="connsiteY25" fmla="*/ 223015 h 259829"/>
                <a:gd name="connsiteX26" fmla="*/ 174377 w 774600"/>
                <a:gd name="connsiteY26" fmla="*/ 223015 h 259829"/>
                <a:gd name="connsiteX27" fmla="*/ 371848 w 774600"/>
                <a:gd name="connsiteY27" fmla="*/ 108730 h 259829"/>
                <a:gd name="connsiteX28" fmla="*/ 371848 w 774600"/>
                <a:gd name="connsiteY28" fmla="*/ 150063 h 259829"/>
                <a:gd name="connsiteX29" fmla="*/ 365938 w 774600"/>
                <a:gd name="connsiteY29" fmla="*/ 200778 h 259829"/>
                <a:gd name="connsiteX30" fmla="*/ 349260 w 774600"/>
                <a:gd name="connsiteY30" fmla="*/ 234645 h 259829"/>
                <a:gd name="connsiteX31" fmla="*/ 323035 w 774600"/>
                <a:gd name="connsiteY31" fmla="*/ 253750 h 259829"/>
                <a:gd name="connsiteX32" fmla="*/ 289168 w 774600"/>
                <a:gd name="connsiteY32" fmla="*/ 259830 h 259829"/>
                <a:gd name="connsiteX33" fmla="*/ 261381 w 774600"/>
                <a:gd name="connsiteY33" fmla="*/ 256011 h 259829"/>
                <a:gd name="connsiteX34" fmla="*/ 238468 w 774600"/>
                <a:gd name="connsiteY34" fmla="*/ 244027 h 259829"/>
                <a:gd name="connsiteX35" fmla="*/ 220914 w 774600"/>
                <a:gd name="connsiteY35" fmla="*/ 223011 h 259829"/>
                <a:gd name="connsiteX36" fmla="*/ 209800 w 774600"/>
                <a:gd name="connsiteY36" fmla="*/ 191921 h 259829"/>
                <a:gd name="connsiteX37" fmla="*/ 205972 w 774600"/>
                <a:gd name="connsiteY37" fmla="*/ 150063 h 259829"/>
                <a:gd name="connsiteX38" fmla="*/ 205972 w 774600"/>
                <a:gd name="connsiteY38" fmla="*/ 108730 h 259829"/>
                <a:gd name="connsiteX39" fmla="*/ 211882 w 774600"/>
                <a:gd name="connsiteY39" fmla="*/ 58366 h 259829"/>
                <a:gd name="connsiteX40" fmla="*/ 228730 w 774600"/>
                <a:gd name="connsiteY40" fmla="*/ 24844 h 259829"/>
                <a:gd name="connsiteX41" fmla="*/ 254786 w 774600"/>
                <a:gd name="connsiteY41" fmla="*/ 5914 h 259829"/>
                <a:gd name="connsiteX42" fmla="*/ 288827 w 774600"/>
                <a:gd name="connsiteY42" fmla="*/ 10 h 259829"/>
                <a:gd name="connsiteX43" fmla="*/ 316614 w 774600"/>
                <a:gd name="connsiteY43" fmla="*/ 3833 h 259829"/>
                <a:gd name="connsiteX44" fmla="*/ 339542 w 774600"/>
                <a:gd name="connsiteY44" fmla="*/ 15467 h 259829"/>
                <a:gd name="connsiteX45" fmla="*/ 356906 w 774600"/>
                <a:gd name="connsiteY45" fmla="*/ 36308 h 259829"/>
                <a:gd name="connsiteX46" fmla="*/ 368020 w 774600"/>
                <a:gd name="connsiteY46" fmla="*/ 67048 h 259829"/>
                <a:gd name="connsiteX47" fmla="*/ 371848 w 774600"/>
                <a:gd name="connsiteY47" fmla="*/ 108730 h 259829"/>
                <a:gd name="connsiteX48" fmla="*/ 329995 w 774600"/>
                <a:gd name="connsiteY48" fmla="*/ 155968 h 259829"/>
                <a:gd name="connsiteX49" fmla="*/ 329995 w 774600"/>
                <a:gd name="connsiteY49" fmla="*/ 102476 h 259829"/>
                <a:gd name="connsiteX50" fmla="*/ 328258 w 774600"/>
                <a:gd name="connsiteY50" fmla="*/ 75905 h 259829"/>
                <a:gd name="connsiteX51" fmla="*/ 323039 w 774600"/>
                <a:gd name="connsiteY51" fmla="*/ 56279 h 259829"/>
                <a:gd name="connsiteX52" fmla="*/ 314708 w 774600"/>
                <a:gd name="connsiteY52" fmla="*/ 43079 h 259829"/>
                <a:gd name="connsiteX53" fmla="*/ 303234 w 774600"/>
                <a:gd name="connsiteY53" fmla="*/ 35613 h 259829"/>
                <a:gd name="connsiteX54" fmla="*/ 288823 w 774600"/>
                <a:gd name="connsiteY54" fmla="*/ 33181 h 259829"/>
                <a:gd name="connsiteX55" fmla="*/ 271459 w 774600"/>
                <a:gd name="connsiteY55" fmla="*/ 37004 h 259829"/>
                <a:gd name="connsiteX56" fmla="*/ 258613 w 774600"/>
                <a:gd name="connsiteY56" fmla="*/ 48813 h 259829"/>
                <a:gd name="connsiteX57" fmla="*/ 250608 w 774600"/>
                <a:gd name="connsiteY57" fmla="*/ 70350 h 259829"/>
                <a:gd name="connsiteX58" fmla="*/ 248015 w 774600"/>
                <a:gd name="connsiteY58" fmla="*/ 102480 h 259829"/>
                <a:gd name="connsiteX59" fmla="*/ 248015 w 774600"/>
                <a:gd name="connsiteY59" fmla="*/ 155973 h 259829"/>
                <a:gd name="connsiteX60" fmla="*/ 249752 w 774600"/>
                <a:gd name="connsiteY60" fmla="*/ 182894 h 259829"/>
                <a:gd name="connsiteX61" fmla="*/ 254956 w 774600"/>
                <a:gd name="connsiteY61" fmla="*/ 202865 h 259829"/>
                <a:gd name="connsiteX62" fmla="*/ 263302 w 774600"/>
                <a:gd name="connsiteY62" fmla="*/ 216410 h 259829"/>
                <a:gd name="connsiteX63" fmla="*/ 274756 w 774600"/>
                <a:gd name="connsiteY63" fmla="*/ 224051 h 259829"/>
                <a:gd name="connsiteX64" fmla="*/ 289168 w 774600"/>
                <a:gd name="connsiteY64" fmla="*/ 226483 h 259829"/>
                <a:gd name="connsiteX65" fmla="*/ 306721 w 774600"/>
                <a:gd name="connsiteY65" fmla="*/ 222660 h 259829"/>
                <a:gd name="connsiteX66" fmla="*/ 319567 w 774600"/>
                <a:gd name="connsiteY66" fmla="*/ 210501 h 259829"/>
                <a:gd name="connsiteX67" fmla="*/ 327383 w 774600"/>
                <a:gd name="connsiteY67" fmla="*/ 188443 h 259829"/>
                <a:gd name="connsiteX68" fmla="*/ 329995 w 774600"/>
                <a:gd name="connsiteY68" fmla="*/ 155963 h 259829"/>
                <a:gd name="connsiteX69" fmla="*/ 578701 w 774600"/>
                <a:gd name="connsiteY69" fmla="*/ 223006 h 259829"/>
                <a:gd name="connsiteX70" fmla="*/ 578701 w 774600"/>
                <a:gd name="connsiteY70" fmla="*/ 256352 h 259829"/>
                <a:gd name="connsiteX71" fmla="*/ 409187 w 774600"/>
                <a:gd name="connsiteY71" fmla="*/ 256352 h 259829"/>
                <a:gd name="connsiteX72" fmla="*/ 409187 w 774600"/>
                <a:gd name="connsiteY72" fmla="*/ 227694 h 259829"/>
                <a:gd name="connsiteX73" fmla="*/ 491507 w 774600"/>
                <a:gd name="connsiteY73" fmla="*/ 137904 h 259829"/>
                <a:gd name="connsiteX74" fmla="*/ 512874 w 774600"/>
                <a:gd name="connsiteY74" fmla="*/ 111503 h 259829"/>
                <a:gd name="connsiteX75" fmla="*/ 523813 w 774600"/>
                <a:gd name="connsiteY75" fmla="*/ 91532 h 259829"/>
                <a:gd name="connsiteX76" fmla="*/ 527110 w 774600"/>
                <a:gd name="connsiteY76" fmla="*/ 73988 h 259829"/>
                <a:gd name="connsiteX77" fmla="*/ 522592 w 774600"/>
                <a:gd name="connsiteY77" fmla="*/ 52972 h 259829"/>
                <a:gd name="connsiteX78" fmla="*/ 509746 w 774600"/>
                <a:gd name="connsiteY78" fmla="*/ 38555 h 259829"/>
                <a:gd name="connsiteX79" fmla="*/ 489085 w 774600"/>
                <a:gd name="connsiteY79" fmla="*/ 33171 h 259829"/>
                <a:gd name="connsiteX80" fmla="*/ 465452 w 774600"/>
                <a:gd name="connsiteY80" fmla="*/ 39251 h 259829"/>
                <a:gd name="connsiteX81" fmla="*/ 451040 w 774600"/>
                <a:gd name="connsiteY81" fmla="*/ 56099 h 259829"/>
                <a:gd name="connsiteX82" fmla="*/ 446181 w 774600"/>
                <a:gd name="connsiteY82" fmla="*/ 80413 h 259829"/>
                <a:gd name="connsiteX83" fmla="*/ 404328 w 774600"/>
                <a:gd name="connsiteY83" fmla="*/ 80413 h 259829"/>
                <a:gd name="connsiteX84" fmla="*/ 414391 w 774600"/>
                <a:gd name="connsiteY84" fmla="*/ 40122 h 259829"/>
                <a:gd name="connsiteX85" fmla="*/ 443569 w 774600"/>
                <a:gd name="connsiteY85" fmla="*/ 10944 h 259829"/>
                <a:gd name="connsiteX86" fmla="*/ 489596 w 774600"/>
                <a:gd name="connsiteY86" fmla="*/ 0 h 259829"/>
                <a:gd name="connsiteX87" fmla="*/ 532670 w 774600"/>
                <a:gd name="connsiteY87" fmla="*/ 8512 h 259829"/>
                <a:gd name="connsiteX88" fmla="*/ 559581 w 774600"/>
                <a:gd name="connsiteY88" fmla="*/ 32656 h 259829"/>
                <a:gd name="connsiteX89" fmla="*/ 568958 w 774600"/>
                <a:gd name="connsiteY89" fmla="*/ 69650 h 259829"/>
                <a:gd name="connsiteX90" fmla="*/ 565145 w 774600"/>
                <a:gd name="connsiteY90" fmla="*/ 93098 h 259829"/>
                <a:gd name="connsiteX91" fmla="*/ 554207 w 774600"/>
                <a:gd name="connsiteY91" fmla="*/ 116372 h 259829"/>
                <a:gd name="connsiteX92" fmla="*/ 537704 w 774600"/>
                <a:gd name="connsiteY92" fmla="*/ 139470 h 259829"/>
                <a:gd name="connsiteX93" fmla="*/ 516697 w 774600"/>
                <a:gd name="connsiteY93" fmla="*/ 162743 h 259829"/>
                <a:gd name="connsiteX94" fmla="*/ 461979 w 774600"/>
                <a:gd name="connsiteY94" fmla="*/ 223011 h 259829"/>
                <a:gd name="connsiteX95" fmla="*/ 578701 w 774600"/>
                <a:gd name="connsiteY95" fmla="*/ 223011 h 259829"/>
                <a:gd name="connsiteX96" fmla="*/ 660505 w 774600"/>
                <a:gd name="connsiteY96" fmla="*/ 110982 h 259829"/>
                <a:gd name="connsiteX97" fmla="*/ 685510 w 774600"/>
                <a:gd name="connsiteY97" fmla="*/ 110982 h 259829"/>
                <a:gd name="connsiteX98" fmla="*/ 709639 w 774600"/>
                <a:gd name="connsiteY98" fmla="*/ 105948 h 259829"/>
                <a:gd name="connsiteX99" fmla="*/ 724065 w 774600"/>
                <a:gd name="connsiteY99" fmla="*/ 92052 h 259829"/>
                <a:gd name="connsiteX100" fmla="*/ 728754 w 774600"/>
                <a:gd name="connsiteY100" fmla="*/ 71731 h 259829"/>
                <a:gd name="connsiteX101" fmla="*/ 724411 w 774600"/>
                <a:gd name="connsiteY101" fmla="*/ 51240 h 259829"/>
                <a:gd name="connsiteX102" fmla="*/ 711565 w 774600"/>
                <a:gd name="connsiteY102" fmla="*/ 37865 h 259829"/>
                <a:gd name="connsiteX103" fmla="*/ 689858 w 774600"/>
                <a:gd name="connsiteY103" fmla="*/ 33176 h 259829"/>
                <a:gd name="connsiteX104" fmla="*/ 669712 w 774600"/>
                <a:gd name="connsiteY104" fmla="*/ 37690 h 259829"/>
                <a:gd name="connsiteX105" fmla="*/ 655626 w 774600"/>
                <a:gd name="connsiteY105" fmla="*/ 50195 h 259829"/>
                <a:gd name="connsiteX106" fmla="*/ 650422 w 774600"/>
                <a:gd name="connsiteY106" fmla="*/ 69300 h 259829"/>
                <a:gd name="connsiteX107" fmla="*/ 608394 w 774600"/>
                <a:gd name="connsiteY107" fmla="*/ 69300 h 259829"/>
                <a:gd name="connsiteX108" fmla="*/ 618992 w 774600"/>
                <a:gd name="connsiteY108" fmla="*/ 33521 h 259829"/>
                <a:gd name="connsiteX109" fmla="*/ 647810 w 774600"/>
                <a:gd name="connsiteY109" fmla="*/ 9032 h 259829"/>
                <a:gd name="connsiteX110" fmla="*/ 689148 w 774600"/>
                <a:gd name="connsiteY110" fmla="*/ 0 h 259829"/>
                <a:gd name="connsiteX111" fmla="*/ 731876 w 774600"/>
                <a:gd name="connsiteY111" fmla="*/ 8161 h 259829"/>
                <a:gd name="connsiteX112" fmla="*/ 760524 w 774600"/>
                <a:gd name="connsiteY112" fmla="*/ 32130 h 259829"/>
                <a:gd name="connsiteX113" fmla="*/ 770777 w 774600"/>
                <a:gd name="connsiteY113" fmla="*/ 71727 h 259829"/>
                <a:gd name="connsiteX114" fmla="*/ 765743 w 774600"/>
                <a:gd name="connsiteY114" fmla="*/ 93609 h 259829"/>
                <a:gd name="connsiteX115" fmla="*/ 750802 w 774600"/>
                <a:gd name="connsiteY115" fmla="*/ 113930 h 259829"/>
                <a:gd name="connsiteX116" fmla="*/ 726137 w 774600"/>
                <a:gd name="connsiteY116" fmla="*/ 128692 h 259829"/>
                <a:gd name="connsiteX117" fmla="*/ 691925 w 774600"/>
                <a:gd name="connsiteY117" fmla="*/ 134251 h 259829"/>
                <a:gd name="connsiteX118" fmla="*/ 660495 w 774600"/>
                <a:gd name="connsiteY118" fmla="*/ 134251 h 259829"/>
                <a:gd name="connsiteX119" fmla="*/ 660495 w 774600"/>
                <a:gd name="connsiteY119" fmla="*/ 110978 h 259829"/>
                <a:gd name="connsiteX120" fmla="*/ 660505 w 774600"/>
                <a:gd name="connsiteY120" fmla="*/ 143633 h 259829"/>
                <a:gd name="connsiteX121" fmla="*/ 660505 w 774600"/>
                <a:gd name="connsiteY121" fmla="*/ 120705 h 259829"/>
                <a:gd name="connsiteX122" fmla="*/ 691935 w 774600"/>
                <a:gd name="connsiteY122" fmla="*/ 120705 h 259829"/>
                <a:gd name="connsiteX123" fmla="*/ 729790 w 774600"/>
                <a:gd name="connsiteY123" fmla="*/ 125914 h 259829"/>
                <a:gd name="connsiteX124" fmla="*/ 755500 w 774600"/>
                <a:gd name="connsiteY124" fmla="*/ 140331 h 259829"/>
                <a:gd name="connsiteX125" fmla="*/ 769911 w 774600"/>
                <a:gd name="connsiteY125" fmla="*/ 160997 h 259829"/>
                <a:gd name="connsiteX126" fmla="*/ 774600 w 774600"/>
                <a:gd name="connsiteY126" fmla="*/ 185661 h 259829"/>
                <a:gd name="connsiteX127" fmla="*/ 768175 w 774600"/>
                <a:gd name="connsiteY127" fmla="*/ 217271 h 259829"/>
                <a:gd name="connsiteX128" fmla="*/ 750296 w 774600"/>
                <a:gd name="connsiteY128" fmla="*/ 240545 h 259829"/>
                <a:gd name="connsiteX129" fmla="*/ 723024 w 774600"/>
                <a:gd name="connsiteY129" fmla="*/ 254961 h 259829"/>
                <a:gd name="connsiteX130" fmla="*/ 689328 w 774600"/>
                <a:gd name="connsiteY130" fmla="*/ 259825 h 259829"/>
                <a:gd name="connsiteX131" fmla="*/ 658068 w 774600"/>
                <a:gd name="connsiteY131" fmla="*/ 255311 h 259829"/>
                <a:gd name="connsiteX132" fmla="*/ 631327 w 774600"/>
                <a:gd name="connsiteY132" fmla="*/ 241940 h 259829"/>
                <a:gd name="connsiteX133" fmla="*/ 612572 w 774600"/>
                <a:gd name="connsiteY133" fmla="*/ 219538 h 259829"/>
                <a:gd name="connsiteX134" fmla="*/ 605787 w 774600"/>
                <a:gd name="connsiteY134" fmla="*/ 188273 h 259829"/>
                <a:gd name="connsiteX135" fmla="*/ 647640 w 774600"/>
                <a:gd name="connsiteY135" fmla="*/ 188273 h 259829"/>
                <a:gd name="connsiteX136" fmla="*/ 652859 w 774600"/>
                <a:gd name="connsiteY136" fmla="*/ 208249 h 259829"/>
                <a:gd name="connsiteX137" fmla="*/ 667786 w 774600"/>
                <a:gd name="connsiteY137" fmla="*/ 221619 h 259829"/>
                <a:gd name="connsiteX138" fmla="*/ 690028 w 774600"/>
                <a:gd name="connsiteY138" fmla="*/ 226483 h 259829"/>
                <a:gd name="connsiteX139" fmla="*/ 712767 w 774600"/>
                <a:gd name="connsiteY139" fmla="*/ 221795 h 259829"/>
                <a:gd name="connsiteX140" fmla="*/ 727363 w 774600"/>
                <a:gd name="connsiteY140" fmla="*/ 207899 h 259829"/>
                <a:gd name="connsiteX141" fmla="*/ 732567 w 774600"/>
                <a:gd name="connsiteY141" fmla="*/ 185671 h 259829"/>
                <a:gd name="connsiteX142" fmla="*/ 726847 w 774600"/>
                <a:gd name="connsiteY142" fmla="*/ 161702 h 259829"/>
                <a:gd name="connsiteX143" fmla="*/ 710515 w 774600"/>
                <a:gd name="connsiteY143" fmla="*/ 148157 h 259829"/>
                <a:gd name="connsiteX144" fmla="*/ 685510 w 774600"/>
                <a:gd name="connsiteY144" fmla="*/ 143643 h 259829"/>
                <a:gd name="connsiteX145" fmla="*/ 660505 w 774600"/>
                <a:gd name="connsiteY145" fmla="*/ 143643 h 2598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</a:cxnLst>
              <a:rect l="l" t="t" r="r" b="b"/>
              <a:pathLst>
                <a:path w="774600" h="259829">
                  <a:moveTo>
                    <a:pt x="174372" y="223011"/>
                  </a:moveTo>
                  <a:lnTo>
                    <a:pt x="174372" y="256357"/>
                  </a:lnTo>
                  <a:lnTo>
                    <a:pt x="4859" y="256357"/>
                  </a:lnTo>
                  <a:lnTo>
                    <a:pt x="4859" y="227699"/>
                  </a:lnTo>
                  <a:lnTo>
                    <a:pt x="87193" y="137908"/>
                  </a:lnTo>
                  <a:cubicBezTo>
                    <a:pt x="96211" y="127719"/>
                    <a:pt x="103336" y="118920"/>
                    <a:pt x="108541" y="111508"/>
                  </a:cubicBezTo>
                  <a:cubicBezTo>
                    <a:pt x="113760" y="104095"/>
                    <a:pt x="117403" y="97442"/>
                    <a:pt x="119499" y="91537"/>
                  </a:cubicBezTo>
                  <a:cubicBezTo>
                    <a:pt x="121697" y="85516"/>
                    <a:pt x="122797" y="79669"/>
                    <a:pt x="122797" y="73993"/>
                  </a:cubicBezTo>
                  <a:cubicBezTo>
                    <a:pt x="122797" y="66002"/>
                    <a:pt x="121284" y="58998"/>
                    <a:pt x="118278" y="52977"/>
                  </a:cubicBezTo>
                  <a:cubicBezTo>
                    <a:pt x="115374" y="46838"/>
                    <a:pt x="111099" y="42033"/>
                    <a:pt x="105413" y="38560"/>
                  </a:cubicBezTo>
                  <a:cubicBezTo>
                    <a:pt x="99747" y="34971"/>
                    <a:pt x="92860" y="33176"/>
                    <a:pt x="84752" y="33176"/>
                  </a:cubicBezTo>
                  <a:cubicBezTo>
                    <a:pt x="75374" y="33176"/>
                    <a:pt x="67510" y="35204"/>
                    <a:pt x="61138" y="39256"/>
                  </a:cubicBezTo>
                  <a:cubicBezTo>
                    <a:pt x="54766" y="43307"/>
                    <a:pt x="49956" y="48925"/>
                    <a:pt x="46712" y="56104"/>
                  </a:cubicBezTo>
                  <a:cubicBezTo>
                    <a:pt x="43482" y="63166"/>
                    <a:pt x="41853" y="71274"/>
                    <a:pt x="41853" y="80418"/>
                  </a:cubicBezTo>
                  <a:lnTo>
                    <a:pt x="0" y="80418"/>
                  </a:lnTo>
                  <a:cubicBezTo>
                    <a:pt x="0" y="65715"/>
                    <a:pt x="3366" y="52281"/>
                    <a:pt x="10083" y="40126"/>
                  </a:cubicBezTo>
                  <a:cubicBezTo>
                    <a:pt x="16800" y="27855"/>
                    <a:pt x="26517" y="18127"/>
                    <a:pt x="39261" y="10948"/>
                  </a:cubicBezTo>
                  <a:cubicBezTo>
                    <a:pt x="51989" y="3653"/>
                    <a:pt x="67325" y="5"/>
                    <a:pt x="85272" y="5"/>
                  </a:cubicBezTo>
                  <a:cubicBezTo>
                    <a:pt x="102189" y="5"/>
                    <a:pt x="116546" y="2840"/>
                    <a:pt x="128346" y="8517"/>
                  </a:cubicBezTo>
                  <a:cubicBezTo>
                    <a:pt x="140160" y="14193"/>
                    <a:pt x="149129" y="22237"/>
                    <a:pt x="155277" y="32660"/>
                  </a:cubicBezTo>
                  <a:cubicBezTo>
                    <a:pt x="161527" y="43079"/>
                    <a:pt x="164654" y="55413"/>
                    <a:pt x="164654" y="69655"/>
                  </a:cubicBezTo>
                  <a:cubicBezTo>
                    <a:pt x="164654" y="77529"/>
                    <a:pt x="163385" y="85345"/>
                    <a:pt x="160827" y="93103"/>
                  </a:cubicBezTo>
                  <a:cubicBezTo>
                    <a:pt x="158283" y="100861"/>
                    <a:pt x="154645" y="108619"/>
                    <a:pt x="149888" y="116376"/>
                  </a:cubicBezTo>
                  <a:cubicBezTo>
                    <a:pt x="145267" y="124017"/>
                    <a:pt x="139757" y="131717"/>
                    <a:pt x="133400" y="139475"/>
                  </a:cubicBezTo>
                  <a:cubicBezTo>
                    <a:pt x="127028" y="147116"/>
                    <a:pt x="120019" y="154873"/>
                    <a:pt x="112378" y="162748"/>
                  </a:cubicBezTo>
                  <a:lnTo>
                    <a:pt x="57675" y="223015"/>
                  </a:lnTo>
                  <a:lnTo>
                    <a:pt x="174377" y="223015"/>
                  </a:lnTo>
                  <a:close/>
                  <a:moveTo>
                    <a:pt x="371848" y="108730"/>
                  </a:moveTo>
                  <a:lnTo>
                    <a:pt x="371848" y="150063"/>
                  </a:lnTo>
                  <a:cubicBezTo>
                    <a:pt x="371848" y="169864"/>
                    <a:pt x="369873" y="186765"/>
                    <a:pt x="365938" y="200778"/>
                  </a:cubicBezTo>
                  <a:cubicBezTo>
                    <a:pt x="362125" y="214674"/>
                    <a:pt x="356561" y="225963"/>
                    <a:pt x="349260" y="234645"/>
                  </a:cubicBezTo>
                  <a:cubicBezTo>
                    <a:pt x="341960" y="243327"/>
                    <a:pt x="333219" y="249698"/>
                    <a:pt x="323035" y="253750"/>
                  </a:cubicBezTo>
                  <a:cubicBezTo>
                    <a:pt x="312971" y="257801"/>
                    <a:pt x="301668" y="259830"/>
                    <a:pt x="289168" y="259830"/>
                  </a:cubicBezTo>
                  <a:cubicBezTo>
                    <a:pt x="279221" y="259830"/>
                    <a:pt x="269951" y="258555"/>
                    <a:pt x="261381" y="256011"/>
                  </a:cubicBezTo>
                  <a:cubicBezTo>
                    <a:pt x="252933" y="253463"/>
                    <a:pt x="245287" y="249470"/>
                    <a:pt x="238468" y="244027"/>
                  </a:cubicBezTo>
                  <a:cubicBezTo>
                    <a:pt x="231634" y="238584"/>
                    <a:pt x="225773" y="231581"/>
                    <a:pt x="220914" y="223011"/>
                  </a:cubicBezTo>
                  <a:cubicBezTo>
                    <a:pt x="216172" y="214329"/>
                    <a:pt x="212466" y="203964"/>
                    <a:pt x="209800" y="191921"/>
                  </a:cubicBezTo>
                  <a:cubicBezTo>
                    <a:pt x="207256" y="179878"/>
                    <a:pt x="205972" y="165929"/>
                    <a:pt x="205972" y="150063"/>
                  </a:cubicBezTo>
                  <a:lnTo>
                    <a:pt x="205972" y="108730"/>
                  </a:lnTo>
                  <a:cubicBezTo>
                    <a:pt x="205972" y="88813"/>
                    <a:pt x="207947" y="72028"/>
                    <a:pt x="211882" y="58366"/>
                  </a:cubicBezTo>
                  <a:cubicBezTo>
                    <a:pt x="215831" y="44587"/>
                    <a:pt x="221430" y="33414"/>
                    <a:pt x="228730" y="24844"/>
                  </a:cubicBezTo>
                  <a:cubicBezTo>
                    <a:pt x="236031" y="16162"/>
                    <a:pt x="244722" y="9849"/>
                    <a:pt x="254786" y="5914"/>
                  </a:cubicBezTo>
                  <a:cubicBezTo>
                    <a:pt x="264970" y="1975"/>
                    <a:pt x="276323" y="10"/>
                    <a:pt x="288827" y="10"/>
                  </a:cubicBezTo>
                  <a:cubicBezTo>
                    <a:pt x="298910" y="10"/>
                    <a:pt x="308166" y="1284"/>
                    <a:pt x="316614" y="3833"/>
                  </a:cubicBezTo>
                  <a:cubicBezTo>
                    <a:pt x="325184" y="6265"/>
                    <a:pt x="332825" y="10141"/>
                    <a:pt x="339542" y="15467"/>
                  </a:cubicBezTo>
                  <a:cubicBezTo>
                    <a:pt x="346376" y="20793"/>
                    <a:pt x="352164" y="27738"/>
                    <a:pt x="356906" y="36308"/>
                  </a:cubicBezTo>
                  <a:cubicBezTo>
                    <a:pt x="361765" y="44762"/>
                    <a:pt x="365476" y="55010"/>
                    <a:pt x="368020" y="67048"/>
                  </a:cubicBezTo>
                  <a:cubicBezTo>
                    <a:pt x="370578" y="78974"/>
                    <a:pt x="371848" y="92870"/>
                    <a:pt x="371848" y="108730"/>
                  </a:cubicBezTo>
                  <a:close/>
                  <a:moveTo>
                    <a:pt x="329995" y="155968"/>
                  </a:moveTo>
                  <a:lnTo>
                    <a:pt x="329995" y="102476"/>
                  </a:lnTo>
                  <a:cubicBezTo>
                    <a:pt x="329995" y="92403"/>
                    <a:pt x="329411" y="83546"/>
                    <a:pt x="328258" y="75905"/>
                  </a:cubicBezTo>
                  <a:cubicBezTo>
                    <a:pt x="327091" y="68147"/>
                    <a:pt x="325355" y="61605"/>
                    <a:pt x="323039" y="56279"/>
                  </a:cubicBezTo>
                  <a:cubicBezTo>
                    <a:pt x="320841" y="50837"/>
                    <a:pt x="318059" y="46440"/>
                    <a:pt x="314708" y="43079"/>
                  </a:cubicBezTo>
                  <a:cubicBezTo>
                    <a:pt x="311342" y="39606"/>
                    <a:pt x="307529" y="37116"/>
                    <a:pt x="303234" y="35613"/>
                  </a:cubicBezTo>
                  <a:cubicBezTo>
                    <a:pt x="298959" y="33993"/>
                    <a:pt x="294148" y="33181"/>
                    <a:pt x="288823" y="33181"/>
                  </a:cubicBezTo>
                  <a:cubicBezTo>
                    <a:pt x="282349" y="33181"/>
                    <a:pt x="276542" y="34455"/>
                    <a:pt x="271459" y="37004"/>
                  </a:cubicBezTo>
                  <a:cubicBezTo>
                    <a:pt x="266357" y="39436"/>
                    <a:pt x="262081" y="43371"/>
                    <a:pt x="258613" y="48813"/>
                  </a:cubicBezTo>
                  <a:cubicBezTo>
                    <a:pt x="255126" y="54256"/>
                    <a:pt x="252466" y="61435"/>
                    <a:pt x="250608" y="70350"/>
                  </a:cubicBezTo>
                  <a:cubicBezTo>
                    <a:pt x="248871" y="79149"/>
                    <a:pt x="248015" y="89859"/>
                    <a:pt x="248015" y="102480"/>
                  </a:cubicBezTo>
                  <a:lnTo>
                    <a:pt x="248015" y="155973"/>
                  </a:lnTo>
                  <a:cubicBezTo>
                    <a:pt x="248015" y="166162"/>
                    <a:pt x="248584" y="175136"/>
                    <a:pt x="249752" y="182894"/>
                  </a:cubicBezTo>
                  <a:cubicBezTo>
                    <a:pt x="250904" y="190652"/>
                    <a:pt x="252636" y="197310"/>
                    <a:pt x="254956" y="202865"/>
                  </a:cubicBezTo>
                  <a:cubicBezTo>
                    <a:pt x="257276" y="208307"/>
                    <a:pt x="260058" y="212821"/>
                    <a:pt x="263302" y="216410"/>
                  </a:cubicBezTo>
                  <a:cubicBezTo>
                    <a:pt x="266653" y="219883"/>
                    <a:pt x="270481" y="222432"/>
                    <a:pt x="274756" y="224051"/>
                  </a:cubicBezTo>
                  <a:cubicBezTo>
                    <a:pt x="279153" y="225671"/>
                    <a:pt x="283964" y="226483"/>
                    <a:pt x="289168" y="226483"/>
                  </a:cubicBezTo>
                  <a:cubicBezTo>
                    <a:pt x="295778" y="226483"/>
                    <a:pt x="301619" y="225209"/>
                    <a:pt x="306721" y="222660"/>
                  </a:cubicBezTo>
                  <a:cubicBezTo>
                    <a:pt x="311804" y="220112"/>
                    <a:pt x="316099" y="216060"/>
                    <a:pt x="319567" y="210501"/>
                  </a:cubicBezTo>
                  <a:cubicBezTo>
                    <a:pt x="323035" y="204830"/>
                    <a:pt x="325646" y="197476"/>
                    <a:pt x="327383" y="188443"/>
                  </a:cubicBezTo>
                  <a:cubicBezTo>
                    <a:pt x="329119" y="179411"/>
                    <a:pt x="329995" y="168585"/>
                    <a:pt x="329995" y="155963"/>
                  </a:cubicBezTo>
                  <a:close/>
                  <a:moveTo>
                    <a:pt x="578701" y="223006"/>
                  </a:moveTo>
                  <a:lnTo>
                    <a:pt x="578701" y="256352"/>
                  </a:lnTo>
                  <a:lnTo>
                    <a:pt x="409187" y="256352"/>
                  </a:lnTo>
                  <a:lnTo>
                    <a:pt x="409187" y="227694"/>
                  </a:lnTo>
                  <a:lnTo>
                    <a:pt x="491507" y="137904"/>
                  </a:lnTo>
                  <a:cubicBezTo>
                    <a:pt x="500539" y="127714"/>
                    <a:pt x="507670" y="118915"/>
                    <a:pt x="512874" y="111503"/>
                  </a:cubicBezTo>
                  <a:cubicBezTo>
                    <a:pt x="518078" y="104090"/>
                    <a:pt x="521736" y="97437"/>
                    <a:pt x="523813" y="91532"/>
                  </a:cubicBezTo>
                  <a:cubicBezTo>
                    <a:pt x="526011" y="85511"/>
                    <a:pt x="527110" y="79664"/>
                    <a:pt x="527110" y="73988"/>
                  </a:cubicBezTo>
                  <a:cubicBezTo>
                    <a:pt x="527110" y="65997"/>
                    <a:pt x="525617" y="58993"/>
                    <a:pt x="522592" y="52972"/>
                  </a:cubicBezTo>
                  <a:cubicBezTo>
                    <a:pt x="519708" y="46834"/>
                    <a:pt x="515413" y="42028"/>
                    <a:pt x="509746" y="38555"/>
                  </a:cubicBezTo>
                  <a:cubicBezTo>
                    <a:pt x="504080" y="34966"/>
                    <a:pt x="497193" y="33171"/>
                    <a:pt x="489085" y="33171"/>
                  </a:cubicBezTo>
                  <a:cubicBezTo>
                    <a:pt x="479708" y="33171"/>
                    <a:pt x="471823" y="35199"/>
                    <a:pt x="465452" y="39251"/>
                  </a:cubicBezTo>
                  <a:cubicBezTo>
                    <a:pt x="459095" y="43302"/>
                    <a:pt x="454289" y="48920"/>
                    <a:pt x="451040" y="56099"/>
                  </a:cubicBezTo>
                  <a:cubicBezTo>
                    <a:pt x="447796" y="63161"/>
                    <a:pt x="446181" y="71269"/>
                    <a:pt x="446181" y="80413"/>
                  </a:cubicBezTo>
                  <a:lnTo>
                    <a:pt x="404328" y="80413"/>
                  </a:lnTo>
                  <a:cubicBezTo>
                    <a:pt x="404328" y="65710"/>
                    <a:pt x="407679" y="52276"/>
                    <a:pt x="414391" y="40122"/>
                  </a:cubicBezTo>
                  <a:cubicBezTo>
                    <a:pt x="421108" y="27850"/>
                    <a:pt x="430846" y="18123"/>
                    <a:pt x="443569" y="10944"/>
                  </a:cubicBezTo>
                  <a:cubicBezTo>
                    <a:pt x="456313" y="3648"/>
                    <a:pt x="471648" y="0"/>
                    <a:pt x="489596" y="0"/>
                  </a:cubicBezTo>
                  <a:cubicBezTo>
                    <a:pt x="506497" y="0"/>
                    <a:pt x="520855" y="2836"/>
                    <a:pt x="532670" y="8512"/>
                  </a:cubicBezTo>
                  <a:cubicBezTo>
                    <a:pt x="544484" y="14188"/>
                    <a:pt x="553453" y="22232"/>
                    <a:pt x="559581" y="32656"/>
                  </a:cubicBezTo>
                  <a:cubicBezTo>
                    <a:pt x="565831" y="43074"/>
                    <a:pt x="568958" y="55409"/>
                    <a:pt x="568958" y="69650"/>
                  </a:cubicBezTo>
                  <a:cubicBezTo>
                    <a:pt x="568958" y="77524"/>
                    <a:pt x="567689" y="85340"/>
                    <a:pt x="565145" y="93098"/>
                  </a:cubicBezTo>
                  <a:cubicBezTo>
                    <a:pt x="562601" y="100856"/>
                    <a:pt x="558944" y="108614"/>
                    <a:pt x="554207" y="116372"/>
                  </a:cubicBezTo>
                  <a:cubicBezTo>
                    <a:pt x="549571" y="124013"/>
                    <a:pt x="544075" y="131712"/>
                    <a:pt x="537704" y="139470"/>
                  </a:cubicBezTo>
                  <a:cubicBezTo>
                    <a:pt x="531332" y="147111"/>
                    <a:pt x="524323" y="154869"/>
                    <a:pt x="516697" y="162743"/>
                  </a:cubicBezTo>
                  <a:lnTo>
                    <a:pt x="461979" y="223011"/>
                  </a:lnTo>
                  <a:lnTo>
                    <a:pt x="578701" y="223011"/>
                  </a:lnTo>
                  <a:close/>
                  <a:moveTo>
                    <a:pt x="660505" y="110982"/>
                  </a:moveTo>
                  <a:lnTo>
                    <a:pt x="685510" y="110982"/>
                  </a:lnTo>
                  <a:cubicBezTo>
                    <a:pt x="695233" y="110982"/>
                    <a:pt x="703287" y="109304"/>
                    <a:pt x="709639" y="105948"/>
                  </a:cubicBezTo>
                  <a:cubicBezTo>
                    <a:pt x="716132" y="102592"/>
                    <a:pt x="720943" y="97957"/>
                    <a:pt x="724065" y="92052"/>
                  </a:cubicBezTo>
                  <a:cubicBezTo>
                    <a:pt x="727193" y="86148"/>
                    <a:pt x="728754" y="79373"/>
                    <a:pt x="728754" y="71731"/>
                  </a:cubicBezTo>
                  <a:cubicBezTo>
                    <a:pt x="728754" y="64090"/>
                    <a:pt x="727295" y="56911"/>
                    <a:pt x="724411" y="51240"/>
                  </a:cubicBezTo>
                  <a:cubicBezTo>
                    <a:pt x="721628" y="45452"/>
                    <a:pt x="717353" y="40992"/>
                    <a:pt x="711565" y="37865"/>
                  </a:cubicBezTo>
                  <a:cubicBezTo>
                    <a:pt x="705879" y="34737"/>
                    <a:pt x="698652" y="33176"/>
                    <a:pt x="689858" y="33176"/>
                  </a:cubicBezTo>
                  <a:cubicBezTo>
                    <a:pt x="682441" y="33176"/>
                    <a:pt x="675724" y="34679"/>
                    <a:pt x="669712" y="37690"/>
                  </a:cubicBezTo>
                  <a:cubicBezTo>
                    <a:pt x="663803" y="40584"/>
                    <a:pt x="659114" y="44752"/>
                    <a:pt x="655626" y="50195"/>
                  </a:cubicBezTo>
                  <a:cubicBezTo>
                    <a:pt x="652159" y="55520"/>
                    <a:pt x="650422" y="61887"/>
                    <a:pt x="650422" y="69300"/>
                  </a:cubicBezTo>
                  <a:lnTo>
                    <a:pt x="608394" y="69300"/>
                  </a:lnTo>
                  <a:cubicBezTo>
                    <a:pt x="608394" y="55866"/>
                    <a:pt x="611916" y="43945"/>
                    <a:pt x="618992" y="33521"/>
                  </a:cubicBezTo>
                  <a:cubicBezTo>
                    <a:pt x="626050" y="23103"/>
                    <a:pt x="635670" y="14937"/>
                    <a:pt x="647810" y="9032"/>
                  </a:cubicBezTo>
                  <a:cubicBezTo>
                    <a:pt x="660092" y="3011"/>
                    <a:pt x="673866" y="0"/>
                    <a:pt x="689148" y="0"/>
                  </a:cubicBezTo>
                  <a:cubicBezTo>
                    <a:pt x="705480" y="0"/>
                    <a:pt x="719717" y="2724"/>
                    <a:pt x="731876" y="8161"/>
                  </a:cubicBezTo>
                  <a:cubicBezTo>
                    <a:pt x="744138" y="13487"/>
                    <a:pt x="753705" y="21479"/>
                    <a:pt x="760524" y="32130"/>
                  </a:cubicBezTo>
                  <a:cubicBezTo>
                    <a:pt x="767358" y="42782"/>
                    <a:pt x="770777" y="55982"/>
                    <a:pt x="770777" y="71727"/>
                  </a:cubicBezTo>
                  <a:cubicBezTo>
                    <a:pt x="770777" y="78906"/>
                    <a:pt x="769094" y="86201"/>
                    <a:pt x="765743" y="93609"/>
                  </a:cubicBezTo>
                  <a:cubicBezTo>
                    <a:pt x="762378" y="101021"/>
                    <a:pt x="757397" y="107792"/>
                    <a:pt x="750802" y="113930"/>
                  </a:cubicBezTo>
                  <a:cubicBezTo>
                    <a:pt x="744206" y="119951"/>
                    <a:pt x="735982" y="124869"/>
                    <a:pt x="726137" y="128692"/>
                  </a:cubicBezTo>
                  <a:cubicBezTo>
                    <a:pt x="716298" y="132398"/>
                    <a:pt x="704892" y="134251"/>
                    <a:pt x="691925" y="134251"/>
                  </a:cubicBezTo>
                  <a:lnTo>
                    <a:pt x="660495" y="134251"/>
                  </a:lnTo>
                  <a:lnTo>
                    <a:pt x="660495" y="110978"/>
                  </a:lnTo>
                  <a:close/>
                  <a:moveTo>
                    <a:pt x="660505" y="143633"/>
                  </a:moveTo>
                  <a:lnTo>
                    <a:pt x="660505" y="120705"/>
                  </a:lnTo>
                  <a:lnTo>
                    <a:pt x="691935" y="120705"/>
                  </a:lnTo>
                  <a:cubicBezTo>
                    <a:pt x="706755" y="120705"/>
                    <a:pt x="719381" y="122442"/>
                    <a:pt x="729790" y="125914"/>
                  </a:cubicBezTo>
                  <a:cubicBezTo>
                    <a:pt x="740335" y="129387"/>
                    <a:pt x="748905" y="134193"/>
                    <a:pt x="755500" y="140331"/>
                  </a:cubicBezTo>
                  <a:cubicBezTo>
                    <a:pt x="762095" y="146352"/>
                    <a:pt x="766906" y="153239"/>
                    <a:pt x="769911" y="160997"/>
                  </a:cubicBezTo>
                  <a:cubicBezTo>
                    <a:pt x="773039" y="168755"/>
                    <a:pt x="774600" y="176975"/>
                    <a:pt x="774600" y="185661"/>
                  </a:cubicBezTo>
                  <a:cubicBezTo>
                    <a:pt x="774600" y="197471"/>
                    <a:pt x="772470" y="208006"/>
                    <a:pt x="768175" y="217271"/>
                  </a:cubicBezTo>
                  <a:cubicBezTo>
                    <a:pt x="764016" y="226420"/>
                    <a:pt x="758044" y="234178"/>
                    <a:pt x="750296" y="240545"/>
                  </a:cubicBezTo>
                  <a:cubicBezTo>
                    <a:pt x="742533" y="246911"/>
                    <a:pt x="733447" y="251717"/>
                    <a:pt x="723024" y="254961"/>
                  </a:cubicBezTo>
                  <a:cubicBezTo>
                    <a:pt x="712718" y="258205"/>
                    <a:pt x="701487" y="259825"/>
                    <a:pt x="689328" y="259825"/>
                  </a:cubicBezTo>
                  <a:cubicBezTo>
                    <a:pt x="678457" y="259825"/>
                    <a:pt x="668029" y="258322"/>
                    <a:pt x="658068" y="255311"/>
                  </a:cubicBezTo>
                  <a:cubicBezTo>
                    <a:pt x="648107" y="252300"/>
                    <a:pt x="639192" y="247845"/>
                    <a:pt x="631327" y="241940"/>
                  </a:cubicBezTo>
                  <a:cubicBezTo>
                    <a:pt x="623443" y="235919"/>
                    <a:pt x="617193" y="228453"/>
                    <a:pt x="612572" y="219538"/>
                  </a:cubicBezTo>
                  <a:cubicBezTo>
                    <a:pt x="608054" y="210506"/>
                    <a:pt x="605787" y="200087"/>
                    <a:pt x="605787" y="188273"/>
                  </a:cubicBezTo>
                  <a:lnTo>
                    <a:pt x="647640" y="188273"/>
                  </a:lnTo>
                  <a:cubicBezTo>
                    <a:pt x="647640" y="195802"/>
                    <a:pt x="649377" y="202456"/>
                    <a:pt x="652859" y="208249"/>
                  </a:cubicBezTo>
                  <a:cubicBezTo>
                    <a:pt x="656449" y="213920"/>
                    <a:pt x="661429" y="218380"/>
                    <a:pt x="667786" y="221619"/>
                  </a:cubicBezTo>
                  <a:cubicBezTo>
                    <a:pt x="674279" y="224864"/>
                    <a:pt x="681682" y="226483"/>
                    <a:pt x="690028" y="226483"/>
                  </a:cubicBezTo>
                  <a:cubicBezTo>
                    <a:pt x="698822" y="226483"/>
                    <a:pt x="706415" y="224922"/>
                    <a:pt x="712767" y="221795"/>
                  </a:cubicBezTo>
                  <a:cubicBezTo>
                    <a:pt x="719138" y="218667"/>
                    <a:pt x="723997" y="214037"/>
                    <a:pt x="727363" y="207899"/>
                  </a:cubicBezTo>
                  <a:cubicBezTo>
                    <a:pt x="730831" y="201761"/>
                    <a:pt x="732567" y="194353"/>
                    <a:pt x="732567" y="185671"/>
                  </a:cubicBezTo>
                  <a:cubicBezTo>
                    <a:pt x="732567" y="175827"/>
                    <a:pt x="730660" y="167840"/>
                    <a:pt x="726847" y="161702"/>
                  </a:cubicBezTo>
                  <a:cubicBezTo>
                    <a:pt x="723019" y="155564"/>
                    <a:pt x="717572" y="151050"/>
                    <a:pt x="710515" y="148157"/>
                  </a:cubicBezTo>
                  <a:cubicBezTo>
                    <a:pt x="703457" y="145146"/>
                    <a:pt x="695111" y="143643"/>
                    <a:pt x="685510" y="143643"/>
                  </a:cubicBezTo>
                  <a:lnTo>
                    <a:pt x="660505" y="143643"/>
                  </a:lnTo>
                  <a:close/>
                </a:path>
              </a:pathLst>
            </a:custGeom>
            <a:solidFill>
              <a:schemeClr val="tx1"/>
            </a:solidFill>
            <a:ln w="4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pic>
        <p:nvPicPr>
          <p:cNvPr id="389" name="Рисунок 388">
            <a:extLst>
              <a:ext uri="{FF2B5EF4-FFF2-40B4-BE49-F238E27FC236}">
                <a16:creationId xmlns:a16="http://schemas.microsoft.com/office/drawing/2014/main" id="{B78B384F-F3A2-4E10-8405-6E2FAB593BD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03721" y="6049020"/>
            <a:ext cx="1688608" cy="472507"/>
          </a:xfrm>
          <a:prstGeom prst="rect">
            <a:avLst/>
          </a:prstGeom>
        </p:spPr>
      </p:pic>
      <p:grpSp>
        <p:nvGrpSpPr>
          <p:cNvPr id="30" name="Группа 29">
            <a:extLst>
              <a:ext uri="{FF2B5EF4-FFF2-40B4-BE49-F238E27FC236}">
                <a16:creationId xmlns:a16="http://schemas.microsoft.com/office/drawing/2014/main" id="{4F7A3508-CB5F-403A-ABAE-1EAC6B10010E}"/>
              </a:ext>
            </a:extLst>
          </p:cNvPr>
          <p:cNvGrpSpPr/>
          <p:nvPr/>
        </p:nvGrpSpPr>
        <p:grpSpPr>
          <a:xfrm>
            <a:off x="4664258" y="1622415"/>
            <a:ext cx="2347271" cy="1686904"/>
            <a:chOff x="1030357" y="1951337"/>
            <a:chExt cx="2803393" cy="2014703"/>
          </a:xfrm>
        </p:grpSpPr>
        <p:sp>
          <p:nvSpPr>
            <p:cNvPr id="35" name="Shape_фон">
              <a:extLst>
                <a:ext uri="{FF2B5EF4-FFF2-40B4-BE49-F238E27FC236}">
                  <a16:creationId xmlns:a16="http://schemas.microsoft.com/office/drawing/2014/main" id="{82A40EB6-BAD4-4793-A783-2ED2397A5D5C}"/>
                </a:ext>
              </a:extLst>
            </p:cNvPr>
            <p:cNvSpPr/>
            <p:nvPr/>
          </p:nvSpPr>
          <p:spPr>
            <a:xfrm>
              <a:off x="1228398" y="2180899"/>
              <a:ext cx="2605352" cy="1785141"/>
            </a:xfrm>
            <a:prstGeom prst="roundRect">
              <a:avLst>
                <a:gd name="adj" fmla="val 8571"/>
              </a:avLst>
            </a:prstGeom>
            <a:solidFill>
              <a:schemeClr val="bg1"/>
            </a:solidFill>
            <a:ln w="12700" cap="flat">
              <a:noFill/>
              <a:prstDash val="solid"/>
              <a:miter/>
            </a:ln>
            <a:effectLst>
              <a:outerShdw blurRad="1003300" sx="102000" sy="102000" algn="ctr" rotWithShape="0">
                <a:schemeClr val="tx1">
                  <a:alpha val="20000"/>
                </a:schemeClr>
              </a:outerShdw>
            </a:effectLst>
          </p:spPr>
          <p:txBody>
            <a:bodyPr lIns="0" tIns="0" rIns="0" bIns="0" anchor="ctr"/>
            <a:lstStyle/>
            <a:p>
              <a:pPr marL="0" marR="0" lvl="0" indent="0" algn="ctr" defTabSz="309563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itchFamily="2" charset="0"/>
                <a:ea typeface="Roboto" pitchFamily="2" charset="0"/>
                <a:cs typeface="Poppins Bold"/>
                <a:sym typeface="Poppins Bold"/>
              </a:endParaRPr>
            </a:p>
          </p:txBody>
        </p:sp>
        <p:sp>
          <p:nvSpPr>
            <p:cNvPr id="36" name="Motion design">
              <a:extLst>
                <a:ext uri="{FF2B5EF4-FFF2-40B4-BE49-F238E27FC236}">
                  <a16:creationId xmlns:a16="http://schemas.microsoft.com/office/drawing/2014/main" id="{280186E7-FFD6-4E25-B6F0-3654DC7528A9}"/>
                </a:ext>
              </a:extLst>
            </p:cNvPr>
            <p:cNvSpPr txBox="1"/>
            <p:nvPr/>
          </p:nvSpPr>
          <p:spPr>
            <a:xfrm>
              <a:off x="1697577" y="2819517"/>
              <a:ext cx="1777042" cy="549615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</a:ext>
            </a:extLst>
          </p:spPr>
          <p:txBody>
            <a:bodyPr wrap="square" lIns="0" tIns="0" rIns="0" bIns="0" anchor="ctr">
              <a:spAutoFit/>
            </a:bodyPr>
            <a:lstStyle>
              <a:lvl1pPr>
                <a:lnSpc>
                  <a:spcPct val="130000"/>
                </a:lnSpc>
                <a:defRPr sz="3000">
                  <a:latin typeface="+mn-lt"/>
                  <a:ea typeface="+mn-ea"/>
                  <a:cs typeface="+mn-cs"/>
                  <a:sym typeface="Poppins SemiBold"/>
                </a:defRPr>
              </a:lvl1pPr>
            </a:lstStyle>
            <a:p>
              <a:pPr defTabSz="309563" hangingPunct="0">
                <a:buClr>
                  <a:schemeClr val="bg2"/>
                </a:buClr>
                <a:defRPr/>
              </a:pPr>
              <a:r>
                <a:rPr lang="ru-RU" sz="1200" dirty="0">
                  <a:solidFill>
                    <a:srgbClr val="0D0D0D"/>
                  </a:solidFill>
                  <a:latin typeface="SB Sans Text Light" panose="020B0303040504020204" pitchFamily="34" charset="-52"/>
                  <a:ea typeface="Roboto Light" panose="02000000000000000000" pitchFamily="2" charset="0"/>
                  <a:cs typeface="SB Sans Text Light" panose="020B0303040504020204" pitchFamily="34" charset="-52"/>
                </a:rPr>
                <a:t>Найти клиента, отправить в банк</a:t>
              </a:r>
            </a:p>
          </p:txBody>
        </p:sp>
        <p:sp>
          <p:nvSpPr>
            <p:cNvPr id="44" name="Circle">
              <a:extLst>
                <a:ext uri="{FF2B5EF4-FFF2-40B4-BE49-F238E27FC236}">
                  <a16:creationId xmlns:a16="http://schemas.microsoft.com/office/drawing/2014/main" id="{88CA8FAC-C907-44C0-9FF5-00B293500881}"/>
                </a:ext>
              </a:extLst>
            </p:cNvPr>
            <p:cNvSpPr/>
            <p:nvPr/>
          </p:nvSpPr>
          <p:spPr>
            <a:xfrm>
              <a:off x="1030357" y="1951337"/>
              <a:ext cx="635335" cy="635335"/>
            </a:xfrm>
            <a:prstGeom prst="ellipse">
              <a:avLst/>
            </a:prstGeom>
            <a:solidFill>
              <a:schemeClr val="bg2"/>
            </a:solidFill>
            <a:ln w="12700">
              <a:miter lim="400000"/>
            </a:ln>
          </p:spPr>
          <p:txBody>
            <a:bodyPr lIns="0" tIns="0" rIns="0" bIns="0" anchor="ctr"/>
            <a:lstStyle/>
            <a:p>
              <a:pPr algn="ctr" defTabSz="309563" hangingPunct="0">
                <a:buClrTx/>
                <a:defRPr sz="3200">
                  <a:solidFill>
                    <a:srgbClr val="FFFFFF"/>
                  </a:solidFill>
                  <a:latin typeface="Poppins Bold"/>
                  <a:ea typeface="Poppins Bold"/>
                  <a:cs typeface="Poppins Bold"/>
                  <a:sym typeface="Poppins Bold"/>
                </a:defRPr>
              </a:pPr>
              <a:r>
                <a:rPr lang="ru-RU" sz="2400" dirty="0">
                  <a:solidFill>
                    <a:srgbClr val="FFFFFF"/>
                  </a:solidFill>
                  <a:latin typeface="SB Sans Text Medium" panose="020B0603040504020204" pitchFamily="34" charset="-52"/>
                  <a:ea typeface="Roboto" pitchFamily="2" charset="0"/>
                  <a:cs typeface="SB Sans Text Medium" panose="020B0603040504020204" pitchFamily="34" charset="-52"/>
                  <a:sym typeface="Poppins Bold"/>
                </a:rPr>
                <a:t>1</a:t>
              </a:r>
              <a:endParaRPr sz="2400" dirty="0">
                <a:solidFill>
                  <a:srgbClr val="FFFFFF"/>
                </a:solidFill>
                <a:latin typeface="SB Sans Text Medium" panose="020B0603040504020204" pitchFamily="34" charset="-52"/>
                <a:ea typeface="Roboto" pitchFamily="2" charset="0"/>
                <a:cs typeface="SB Sans Text Medium" panose="020B0603040504020204" pitchFamily="34" charset="-52"/>
                <a:sym typeface="Poppins Bold"/>
              </a:endParaRPr>
            </a:p>
          </p:txBody>
        </p:sp>
      </p:grpSp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B22CC727-6FD9-41C8-93A2-8A23FA5C69B3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 t="33" b="33"/>
          <a:stretch/>
        </p:blipFill>
        <p:spPr>
          <a:xfrm>
            <a:off x="404513" y="1302302"/>
            <a:ext cx="4167572" cy="4629737"/>
          </a:xfrm>
          <a:prstGeom prst="rect">
            <a:avLst/>
          </a:prstGeom>
        </p:spPr>
      </p:pic>
      <p:grpSp>
        <p:nvGrpSpPr>
          <p:cNvPr id="38" name="Группа 37">
            <a:extLst>
              <a:ext uri="{FF2B5EF4-FFF2-40B4-BE49-F238E27FC236}">
                <a16:creationId xmlns:a16="http://schemas.microsoft.com/office/drawing/2014/main" id="{3B7E28BC-08BB-4310-A761-F0F4639F22D3}"/>
              </a:ext>
            </a:extLst>
          </p:cNvPr>
          <p:cNvGrpSpPr/>
          <p:nvPr/>
        </p:nvGrpSpPr>
        <p:grpSpPr>
          <a:xfrm>
            <a:off x="7116908" y="1622415"/>
            <a:ext cx="2347271" cy="1686904"/>
            <a:chOff x="1030357" y="1951337"/>
            <a:chExt cx="2803393" cy="2014703"/>
          </a:xfrm>
        </p:grpSpPr>
        <p:sp>
          <p:nvSpPr>
            <p:cNvPr id="39" name="Shape_фон">
              <a:extLst>
                <a:ext uri="{FF2B5EF4-FFF2-40B4-BE49-F238E27FC236}">
                  <a16:creationId xmlns:a16="http://schemas.microsoft.com/office/drawing/2014/main" id="{F0546CD4-8CCE-4139-8EEC-3393C34963F2}"/>
                </a:ext>
              </a:extLst>
            </p:cNvPr>
            <p:cNvSpPr/>
            <p:nvPr/>
          </p:nvSpPr>
          <p:spPr>
            <a:xfrm>
              <a:off x="1228398" y="2180899"/>
              <a:ext cx="2605352" cy="1785141"/>
            </a:xfrm>
            <a:prstGeom prst="roundRect">
              <a:avLst>
                <a:gd name="adj" fmla="val 8571"/>
              </a:avLst>
            </a:prstGeom>
            <a:solidFill>
              <a:schemeClr val="bg1"/>
            </a:solidFill>
            <a:ln w="12700" cap="flat">
              <a:noFill/>
              <a:prstDash val="solid"/>
              <a:miter/>
            </a:ln>
            <a:effectLst>
              <a:outerShdw blurRad="1003300" sx="102000" sy="102000" algn="ctr" rotWithShape="0">
                <a:schemeClr val="tx1">
                  <a:alpha val="20000"/>
                </a:schemeClr>
              </a:outerShdw>
            </a:effectLst>
          </p:spPr>
          <p:txBody>
            <a:bodyPr lIns="0" tIns="0" rIns="0" bIns="0" anchor="ctr"/>
            <a:lstStyle/>
            <a:p>
              <a:pPr marL="0" marR="0" lvl="0" indent="0" algn="ctr" defTabSz="309563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itchFamily="2" charset="0"/>
                <a:ea typeface="Roboto" pitchFamily="2" charset="0"/>
                <a:cs typeface="Poppins Bold"/>
                <a:sym typeface="Poppins Bold"/>
              </a:endParaRPr>
            </a:p>
          </p:txBody>
        </p:sp>
        <p:sp>
          <p:nvSpPr>
            <p:cNvPr id="40" name="Motion design">
              <a:extLst>
                <a:ext uri="{FF2B5EF4-FFF2-40B4-BE49-F238E27FC236}">
                  <a16:creationId xmlns:a16="http://schemas.microsoft.com/office/drawing/2014/main" id="{3189C4FD-C9F7-4BAD-AD26-35482DFE31AC}"/>
                </a:ext>
              </a:extLst>
            </p:cNvPr>
            <p:cNvSpPr txBox="1"/>
            <p:nvPr/>
          </p:nvSpPr>
          <p:spPr>
            <a:xfrm>
              <a:off x="1697577" y="2819517"/>
              <a:ext cx="1777042" cy="549615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</a:ext>
            </a:extLst>
          </p:spPr>
          <p:txBody>
            <a:bodyPr wrap="square" lIns="0" tIns="0" rIns="0" bIns="0" anchor="ctr">
              <a:spAutoFit/>
            </a:bodyPr>
            <a:lstStyle>
              <a:lvl1pPr>
                <a:lnSpc>
                  <a:spcPct val="130000"/>
                </a:lnSpc>
                <a:defRPr sz="3000">
                  <a:latin typeface="+mn-lt"/>
                  <a:ea typeface="+mn-ea"/>
                  <a:cs typeface="+mn-cs"/>
                  <a:sym typeface="Poppins SemiBold"/>
                </a:defRPr>
              </a:lvl1pPr>
            </a:lstStyle>
            <a:p>
              <a:pPr defTabSz="309563" hangingPunct="0">
                <a:buClr>
                  <a:schemeClr val="bg2"/>
                </a:buClr>
                <a:defRPr/>
              </a:pPr>
              <a:r>
                <a:rPr lang="ru-RU" sz="1200" dirty="0">
                  <a:solidFill>
                    <a:srgbClr val="0D0D0D"/>
                  </a:solidFill>
                  <a:latin typeface="SB Sans Text Light" panose="020B0303040504020204" pitchFamily="34" charset="-52"/>
                  <a:ea typeface="Roboto Light" panose="02000000000000000000" pitchFamily="2" charset="0"/>
                  <a:cs typeface="SB Sans Text Light" panose="020B0303040504020204" pitchFamily="34" charset="-52"/>
                </a:rPr>
                <a:t>Промаркировать </a:t>
              </a:r>
              <a:br>
                <a:rPr lang="ru-RU" sz="1200" dirty="0">
                  <a:solidFill>
                    <a:srgbClr val="0D0D0D"/>
                  </a:solidFill>
                  <a:latin typeface="SB Sans Text Light" panose="020B0303040504020204" pitchFamily="34" charset="-52"/>
                  <a:ea typeface="Roboto Light" panose="02000000000000000000" pitchFamily="2" charset="0"/>
                  <a:cs typeface="SB Sans Text Light" panose="020B0303040504020204" pitchFamily="34" charset="-52"/>
                </a:rPr>
              </a:br>
              <a:r>
                <a:rPr lang="ru-RU" sz="1200" dirty="0">
                  <a:solidFill>
                    <a:srgbClr val="0D0D0D"/>
                  </a:solidFill>
                  <a:latin typeface="SB Sans Text Light" panose="020B0303040504020204" pitchFamily="34" charset="-52"/>
                  <a:ea typeface="Roboto Light" panose="02000000000000000000" pitchFamily="2" charset="0"/>
                  <a:cs typeface="SB Sans Text Light" panose="020B0303040504020204" pitchFamily="34" charset="-52"/>
                </a:rPr>
                <a:t>в банке</a:t>
              </a:r>
            </a:p>
          </p:txBody>
        </p:sp>
        <p:sp>
          <p:nvSpPr>
            <p:cNvPr id="43" name="Circle">
              <a:extLst>
                <a:ext uri="{FF2B5EF4-FFF2-40B4-BE49-F238E27FC236}">
                  <a16:creationId xmlns:a16="http://schemas.microsoft.com/office/drawing/2014/main" id="{99479FA5-40A1-4763-A179-A39DD3998F74}"/>
                </a:ext>
              </a:extLst>
            </p:cNvPr>
            <p:cNvSpPr/>
            <p:nvPr/>
          </p:nvSpPr>
          <p:spPr>
            <a:xfrm>
              <a:off x="1030357" y="1951337"/>
              <a:ext cx="635335" cy="635335"/>
            </a:xfrm>
            <a:prstGeom prst="ellipse">
              <a:avLst/>
            </a:prstGeom>
            <a:solidFill>
              <a:schemeClr val="bg2"/>
            </a:solidFill>
            <a:ln w="12700">
              <a:miter lim="400000"/>
            </a:ln>
          </p:spPr>
          <p:txBody>
            <a:bodyPr lIns="0" tIns="0" rIns="0" bIns="0" anchor="ctr"/>
            <a:lstStyle/>
            <a:p>
              <a:pPr algn="ctr" defTabSz="309563" hangingPunct="0">
                <a:buClrTx/>
                <a:defRPr sz="3200">
                  <a:solidFill>
                    <a:srgbClr val="FFFFFF"/>
                  </a:solidFill>
                  <a:latin typeface="Poppins Bold"/>
                  <a:ea typeface="Poppins Bold"/>
                  <a:cs typeface="Poppins Bold"/>
                  <a:sym typeface="Poppins Bold"/>
                </a:defRPr>
              </a:pPr>
              <a:r>
                <a:rPr lang="ru-RU" sz="2400" dirty="0">
                  <a:solidFill>
                    <a:srgbClr val="FFFFFF"/>
                  </a:solidFill>
                  <a:latin typeface="SB Sans Text Medium" panose="020B0603040504020204" pitchFamily="34" charset="-52"/>
                  <a:ea typeface="Roboto" pitchFamily="2" charset="0"/>
                  <a:cs typeface="SB Sans Text Medium" panose="020B0603040504020204" pitchFamily="34" charset="-52"/>
                  <a:sym typeface="Poppins Bold"/>
                </a:rPr>
                <a:t>2</a:t>
              </a:r>
              <a:endParaRPr sz="2400" dirty="0">
                <a:solidFill>
                  <a:srgbClr val="FFFFFF"/>
                </a:solidFill>
                <a:latin typeface="SB Sans Text Medium" panose="020B0603040504020204" pitchFamily="34" charset="-52"/>
                <a:ea typeface="Roboto" pitchFamily="2" charset="0"/>
                <a:cs typeface="SB Sans Text Medium" panose="020B0603040504020204" pitchFamily="34" charset="-52"/>
                <a:sym typeface="Poppins Bold"/>
              </a:endParaRPr>
            </a:p>
          </p:txBody>
        </p:sp>
      </p:grpSp>
      <p:grpSp>
        <p:nvGrpSpPr>
          <p:cNvPr id="49" name="Группа 48">
            <a:extLst>
              <a:ext uri="{FF2B5EF4-FFF2-40B4-BE49-F238E27FC236}">
                <a16:creationId xmlns:a16="http://schemas.microsoft.com/office/drawing/2014/main" id="{830FF464-FAA8-43B4-994E-C602F8F41B19}"/>
              </a:ext>
            </a:extLst>
          </p:cNvPr>
          <p:cNvGrpSpPr/>
          <p:nvPr/>
        </p:nvGrpSpPr>
        <p:grpSpPr>
          <a:xfrm>
            <a:off x="9569559" y="1622415"/>
            <a:ext cx="2347271" cy="1686904"/>
            <a:chOff x="1030357" y="1951337"/>
            <a:chExt cx="2803393" cy="2014703"/>
          </a:xfrm>
        </p:grpSpPr>
        <p:sp>
          <p:nvSpPr>
            <p:cNvPr id="50" name="Shape_фон">
              <a:extLst>
                <a:ext uri="{FF2B5EF4-FFF2-40B4-BE49-F238E27FC236}">
                  <a16:creationId xmlns:a16="http://schemas.microsoft.com/office/drawing/2014/main" id="{4239EB83-8D1F-41F4-88DB-0B5D3680D81B}"/>
                </a:ext>
              </a:extLst>
            </p:cNvPr>
            <p:cNvSpPr/>
            <p:nvPr/>
          </p:nvSpPr>
          <p:spPr>
            <a:xfrm>
              <a:off x="1228398" y="2180899"/>
              <a:ext cx="2605352" cy="1785141"/>
            </a:xfrm>
            <a:prstGeom prst="roundRect">
              <a:avLst>
                <a:gd name="adj" fmla="val 8571"/>
              </a:avLst>
            </a:prstGeom>
            <a:solidFill>
              <a:schemeClr val="bg1"/>
            </a:solidFill>
            <a:ln w="12700" cap="flat">
              <a:noFill/>
              <a:prstDash val="solid"/>
              <a:miter/>
            </a:ln>
            <a:effectLst>
              <a:outerShdw blurRad="1003300" sx="102000" sy="102000" algn="ctr" rotWithShape="0">
                <a:schemeClr val="tx1">
                  <a:alpha val="20000"/>
                </a:schemeClr>
              </a:outerShdw>
            </a:effectLst>
          </p:spPr>
          <p:txBody>
            <a:bodyPr lIns="0" tIns="0" rIns="0" bIns="0" anchor="ctr"/>
            <a:lstStyle/>
            <a:p>
              <a:pPr marL="0" marR="0" lvl="0" indent="0" algn="ctr" defTabSz="309563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itchFamily="2" charset="0"/>
                <a:ea typeface="Roboto" pitchFamily="2" charset="0"/>
                <a:cs typeface="Poppins Bold"/>
                <a:sym typeface="Poppins Bold"/>
              </a:endParaRPr>
            </a:p>
          </p:txBody>
        </p:sp>
        <p:sp>
          <p:nvSpPr>
            <p:cNvPr id="51" name="Motion design">
              <a:extLst>
                <a:ext uri="{FF2B5EF4-FFF2-40B4-BE49-F238E27FC236}">
                  <a16:creationId xmlns:a16="http://schemas.microsoft.com/office/drawing/2014/main" id="{0B4848B0-0C6C-4839-810B-56A83A3F600C}"/>
                </a:ext>
              </a:extLst>
            </p:cNvPr>
            <p:cNvSpPr txBox="1"/>
            <p:nvPr/>
          </p:nvSpPr>
          <p:spPr>
            <a:xfrm>
              <a:off x="1697577" y="2389445"/>
              <a:ext cx="1777042" cy="1409761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</a:ext>
            </a:extLst>
          </p:spPr>
          <p:txBody>
            <a:bodyPr wrap="square" lIns="0" tIns="0" rIns="0" bIns="0" anchor="ctr">
              <a:spAutoFit/>
            </a:bodyPr>
            <a:lstStyle>
              <a:lvl1pPr>
                <a:lnSpc>
                  <a:spcPct val="130000"/>
                </a:lnSpc>
                <a:defRPr sz="3000">
                  <a:latin typeface="+mn-lt"/>
                  <a:ea typeface="+mn-ea"/>
                  <a:cs typeface="+mn-cs"/>
                  <a:sym typeface="Poppins SemiBold"/>
                </a:defRPr>
              </a:lvl1pPr>
            </a:lstStyle>
            <a:p>
              <a:pPr defTabSz="309563" hangingPunct="0">
                <a:buClr>
                  <a:schemeClr val="bg2"/>
                </a:buClr>
                <a:defRPr/>
              </a:pPr>
              <a:r>
                <a:rPr lang="ru-RU" sz="1200" dirty="0">
                  <a:solidFill>
                    <a:srgbClr val="0D0D0D"/>
                  </a:solidFill>
                  <a:latin typeface="SB Sans Text Light" panose="020B0303040504020204" pitchFamily="34" charset="-52"/>
                  <a:ea typeface="Roboto Light" panose="02000000000000000000" pitchFamily="2" charset="0"/>
                  <a:cs typeface="SB Sans Text Light" panose="020B0303040504020204" pitchFamily="34" charset="-52"/>
                </a:rPr>
                <a:t>Получить единое согласие из банка по этому клиенту </a:t>
              </a:r>
              <a:br>
                <a:rPr lang="ru-RU" sz="1200" dirty="0">
                  <a:solidFill>
                    <a:srgbClr val="0D0D0D"/>
                  </a:solidFill>
                  <a:latin typeface="SB Sans Text Light" panose="020B0303040504020204" pitchFamily="34" charset="-52"/>
                  <a:ea typeface="Roboto Light" panose="02000000000000000000" pitchFamily="2" charset="0"/>
                  <a:cs typeface="SB Sans Text Light" panose="020B0303040504020204" pitchFamily="34" charset="-52"/>
                </a:rPr>
              </a:br>
              <a:r>
                <a:rPr lang="ru-RU" sz="1200" dirty="0">
                  <a:solidFill>
                    <a:srgbClr val="0D0D0D"/>
                  </a:solidFill>
                  <a:latin typeface="SB Sans Text Light" panose="020B0303040504020204" pitchFamily="34" charset="-52"/>
                  <a:ea typeface="Roboto Light" panose="02000000000000000000" pitchFamily="2" charset="0"/>
                  <a:cs typeface="SB Sans Text Light" panose="020B0303040504020204" pitchFamily="34" charset="-52"/>
                </a:rPr>
                <a:t>и актуальные </a:t>
              </a:r>
              <a:r>
                <a:rPr lang="ru-RU" sz="1200" dirty="0" err="1">
                  <a:solidFill>
                    <a:srgbClr val="0D0D0D"/>
                  </a:solidFill>
                  <a:latin typeface="SB Sans Text Light" panose="020B0303040504020204" pitchFamily="34" charset="-52"/>
                  <a:ea typeface="Roboto Light" panose="02000000000000000000" pitchFamily="2" charset="0"/>
                  <a:cs typeface="SB Sans Text Light" panose="020B0303040504020204" pitchFamily="34" charset="-52"/>
                </a:rPr>
                <a:t>ПДн</a:t>
              </a:r>
              <a:r>
                <a:rPr lang="ru-RU" sz="1200" dirty="0">
                  <a:solidFill>
                    <a:srgbClr val="0D0D0D"/>
                  </a:solidFill>
                  <a:latin typeface="SB Sans Text Light" panose="020B0303040504020204" pitchFamily="34" charset="-52"/>
                  <a:ea typeface="Roboto Light" panose="02000000000000000000" pitchFamily="2" charset="0"/>
                  <a:cs typeface="SB Sans Text Light" panose="020B0303040504020204" pitchFamily="34" charset="-52"/>
                </a:rPr>
                <a:t>, сохранить в НПФ</a:t>
              </a:r>
            </a:p>
          </p:txBody>
        </p:sp>
        <p:sp>
          <p:nvSpPr>
            <p:cNvPr id="52" name="Circle">
              <a:extLst>
                <a:ext uri="{FF2B5EF4-FFF2-40B4-BE49-F238E27FC236}">
                  <a16:creationId xmlns:a16="http://schemas.microsoft.com/office/drawing/2014/main" id="{C068D716-5795-4611-A17F-F39FBB5A1DC9}"/>
                </a:ext>
              </a:extLst>
            </p:cNvPr>
            <p:cNvSpPr/>
            <p:nvPr/>
          </p:nvSpPr>
          <p:spPr>
            <a:xfrm>
              <a:off x="1030357" y="1951337"/>
              <a:ext cx="635335" cy="635335"/>
            </a:xfrm>
            <a:prstGeom prst="ellipse">
              <a:avLst/>
            </a:prstGeom>
            <a:solidFill>
              <a:schemeClr val="bg2"/>
            </a:solidFill>
            <a:ln w="12700">
              <a:miter lim="400000"/>
            </a:ln>
          </p:spPr>
          <p:txBody>
            <a:bodyPr lIns="0" tIns="0" rIns="0" bIns="0" anchor="ctr"/>
            <a:lstStyle/>
            <a:p>
              <a:pPr algn="ctr" defTabSz="309563" hangingPunct="0">
                <a:buClrTx/>
                <a:defRPr sz="3200">
                  <a:solidFill>
                    <a:srgbClr val="FFFFFF"/>
                  </a:solidFill>
                  <a:latin typeface="Poppins Bold"/>
                  <a:ea typeface="Poppins Bold"/>
                  <a:cs typeface="Poppins Bold"/>
                  <a:sym typeface="Poppins Bold"/>
                </a:defRPr>
              </a:pPr>
              <a:r>
                <a:rPr lang="ru-RU" sz="2400" dirty="0">
                  <a:solidFill>
                    <a:srgbClr val="FFFFFF"/>
                  </a:solidFill>
                  <a:latin typeface="SB Sans Text Medium" panose="020B0603040504020204" pitchFamily="34" charset="-52"/>
                  <a:ea typeface="Roboto" pitchFamily="2" charset="0"/>
                  <a:cs typeface="SB Sans Text Medium" panose="020B0603040504020204" pitchFamily="34" charset="-52"/>
                  <a:sym typeface="Poppins Bold"/>
                </a:rPr>
                <a:t>3</a:t>
              </a:r>
              <a:endParaRPr sz="2400" dirty="0">
                <a:solidFill>
                  <a:srgbClr val="FFFFFF"/>
                </a:solidFill>
                <a:latin typeface="SB Sans Text Medium" panose="020B0603040504020204" pitchFamily="34" charset="-52"/>
                <a:ea typeface="Roboto" pitchFamily="2" charset="0"/>
                <a:cs typeface="SB Sans Text Medium" panose="020B0603040504020204" pitchFamily="34" charset="-52"/>
                <a:sym typeface="Poppins Bold"/>
              </a:endParaRPr>
            </a:p>
          </p:txBody>
        </p:sp>
      </p:grpSp>
      <p:grpSp>
        <p:nvGrpSpPr>
          <p:cNvPr id="53" name="Группа 52">
            <a:extLst>
              <a:ext uri="{FF2B5EF4-FFF2-40B4-BE49-F238E27FC236}">
                <a16:creationId xmlns:a16="http://schemas.microsoft.com/office/drawing/2014/main" id="{84250B6C-F96D-494F-95F1-BA8F81F1CA1A}"/>
              </a:ext>
            </a:extLst>
          </p:cNvPr>
          <p:cNvGrpSpPr/>
          <p:nvPr/>
        </p:nvGrpSpPr>
        <p:grpSpPr>
          <a:xfrm>
            <a:off x="5904218" y="3519894"/>
            <a:ext cx="2347271" cy="1686904"/>
            <a:chOff x="1030357" y="1951337"/>
            <a:chExt cx="2803393" cy="2014703"/>
          </a:xfrm>
        </p:grpSpPr>
        <p:sp>
          <p:nvSpPr>
            <p:cNvPr id="54" name="Shape_фон">
              <a:extLst>
                <a:ext uri="{FF2B5EF4-FFF2-40B4-BE49-F238E27FC236}">
                  <a16:creationId xmlns:a16="http://schemas.microsoft.com/office/drawing/2014/main" id="{790191BF-A75C-417B-B641-5B3B70DA7D35}"/>
                </a:ext>
              </a:extLst>
            </p:cNvPr>
            <p:cNvSpPr/>
            <p:nvPr/>
          </p:nvSpPr>
          <p:spPr>
            <a:xfrm>
              <a:off x="1228398" y="2180899"/>
              <a:ext cx="2605352" cy="1785141"/>
            </a:xfrm>
            <a:prstGeom prst="roundRect">
              <a:avLst>
                <a:gd name="adj" fmla="val 8571"/>
              </a:avLst>
            </a:prstGeom>
            <a:solidFill>
              <a:schemeClr val="bg1"/>
            </a:solidFill>
            <a:ln w="12700" cap="flat">
              <a:noFill/>
              <a:prstDash val="solid"/>
              <a:miter/>
            </a:ln>
            <a:effectLst>
              <a:outerShdw blurRad="1003300" sx="102000" sy="102000" algn="ctr" rotWithShape="0">
                <a:schemeClr val="tx1">
                  <a:alpha val="20000"/>
                </a:schemeClr>
              </a:outerShdw>
            </a:effectLst>
          </p:spPr>
          <p:txBody>
            <a:bodyPr lIns="0" tIns="0" rIns="0" bIns="0" anchor="ctr"/>
            <a:lstStyle/>
            <a:p>
              <a:pPr marL="0" marR="0" lvl="0" indent="0" algn="ctr" defTabSz="309563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itchFamily="2" charset="0"/>
                <a:ea typeface="Roboto" pitchFamily="2" charset="0"/>
                <a:cs typeface="Poppins Bold"/>
                <a:sym typeface="Poppins Bold"/>
              </a:endParaRPr>
            </a:p>
          </p:txBody>
        </p:sp>
        <p:sp>
          <p:nvSpPr>
            <p:cNvPr id="55" name="Motion design">
              <a:extLst>
                <a:ext uri="{FF2B5EF4-FFF2-40B4-BE49-F238E27FC236}">
                  <a16:creationId xmlns:a16="http://schemas.microsoft.com/office/drawing/2014/main" id="{80B44B06-26D1-4053-9C37-727DE88ED208}"/>
                </a:ext>
              </a:extLst>
            </p:cNvPr>
            <p:cNvSpPr txBox="1"/>
            <p:nvPr/>
          </p:nvSpPr>
          <p:spPr>
            <a:xfrm>
              <a:off x="1697577" y="2676160"/>
              <a:ext cx="1777042" cy="836330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</a:ext>
            </a:extLst>
          </p:spPr>
          <p:txBody>
            <a:bodyPr wrap="square" lIns="0" tIns="0" rIns="0" bIns="0" anchor="ctr">
              <a:spAutoFit/>
            </a:bodyPr>
            <a:lstStyle>
              <a:lvl1pPr>
                <a:lnSpc>
                  <a:spcPct val="130000"/>
                </a:lnSpc>
                <a:defRPr sz="3000">
                  <a:latin typeface="+mn-lt"/>
                  <a:ea typeface="+mn-ea"/>
                  <a:cs typeface="+mn-cs"/>
                  <a:sym typeface="Poppins SemiBold"/>
                </a:defRPr>
              </a:lvl1pPr>
            </a:lstStyle>
            <a:p>
              <a:pPr defTabSz="309563" hangingPunct="0">
                <a:buClr>
                  <a:schemeClr val="bg2"/>
                </a:buClr>
                <a:defRPr/>
              </a:pPr>
              <a:r>
                <a:rPr lang="ru-RU" sz="1200" dirty="0">
                  <a:solidFill>
                    <a:srgbClr val="0D0D0D"/>
                  </a:solidFill>
                  <a:latin typeface="SB Sans Text Light" panose="020B0303040504020204" pitchFamily="34" charset="-52"/>
                  <a:ea typeface="Roboto Light" panose="02000000000000000000" pitchFamily="2" charset="0"/>
                  <a:cs typeface="SB Sans Text Light" panose="020B0303040504020204" pitchFamily="34" charset="-52"/>
                </a:rPr>
                <a:t>Объединить клиентские данные НПФ и банка</a:t>
              </a:r>
            </a:p>
          </p:txBody>
        </p:sp>
        <p:sp>
          <p:nvSpPr>
            <p:cNvPr id="56" name="Circle">
              <a:extLst>
                <a:ext uri="{FF2B5EF4-FFF2-40B4-BE49-F238E27FC236}">
                  <a16:creationId xmlns:a16="http://schemas.microsoft.com/office/drawing/2014/main" id="{86173A24-ACD3-44D8-B5C5-CC979ECF2A31}"/>
                </a:ext>
              </a:extLst>
            </p:cNvPr>
            <p:cNvSpPr/>
            <p:nvPr/>
          </p:nvSpPr>
          <p:spPr>
            <a:xfrm>
              <a:off x="1030357" y="1951337"/>
              <a:ext cx="635335" cy="635335"/>
            </a:xfrm>
            <a:prstGeom prst="ellipse">
              <a:avLst/>
            </a:prstGeom>
            <a:solidFill>
              <a:schemeClr val="bg2"/>
            </a:solidFill>
            <a:ln w="12700">
              <a:miter lim="400000"/>
            </a:ln>
          </p:spPr>
          <p:txBody>
            <a:bodyPr lIns="0" tIns="0" rIns="0" bIns="0" anchor="ctr"/>
            <a:lstStyle/>
            <a:p>
              <a:pPr algn="ctr" defTabSz="309563" hangingPunct="0">
                <a:buClrTx/>
                <a:defRPr sz="3200">
                  <a:solidFill>
                    <a:srgbClr val="FFFFFF"/>
                  </a:solidFill>
                  <a:latin typeface="Poppins Bold"/>
                  <a:ea typeface="Poppins Bold"/>
                  <a:cs typeface="Poppins Bold"/>
                  <a:sym typeface="Poppins Bold"/>
                </a:defRPr>
              </a:pPr>
              <a:r>
                <a:rPr lang="ru-RU" sz="2400" dirty="0">
                  <a:solidFill>
                    <a:srgbClr val="FFFFFF"/>
                  </a:solidFill>
                  <a:latin typeface="SB Sans Text Medium" panose="020B0603040504020204" pitchFamily="34" charset="-52"/>
                  <a:ea typeface="Roboto" pitchFamily="2" charset="0"/>
                  <a:cs typeface="SB Sans Text Medium" panose="020B0603040504020204" pitchFamily="34" charset="-52"/>
                  <a:sym typeface="Poppins Bold"/>
                </a:rPr>
                <a:t>4</a:t>
              </a:r>
              <a:endParaRPr sz="2400" dirty="0">
                <a:solidFill>
                  <a:srgbClr val="FFFFFF"/>
                </a:solidFill>
                <a:latin typeface="SB Sans Text Medium" panose="020B0603040504020204" pitchFamily="34" charset="-52"/>
                <a:ea typeface="Roboto" pitchFamily="2" charset="0"/>
                <a:cs typeface="SB Sans Text Medium" panose="020B0603040504020204" pitchFamily="34" charset="-52"/>
                <a:sym typeface="Poppins Bold"/>
              </a:endParaRPr>
            </a:p>
          </p:txBody>
        </p:sp>
      </p:grpSp>
      <p:grpSp>
        <p:nvGrpSpPr>
          <p:cNvPr id="57" name="Группа 56">
            <a:extLst>
              <a:ext uri="{FF2B5EF4-FFF2-40B4-BE49-F238E27FC236}">
                <a16:creationId xmlns:a16="http://schemas.microsoft.com/office/drawing/2014/main" id="{ABF6A807-EF33-4445-9C3A-3F12AB28493D}"/>
              </a:ext>
            </a:extLst>
          </p:cNvPr>
          <p:cNvGrpSpPr/>
          <p:nvPr/>
        </p:nvGrpSpPr>
        <p:grpSpPr>
          <a:xfrm>
            <a:off x="8346323" y="3519894"/>
            <a:ext cx="2347271" cy="1686904"/>
            <a:chOff x="1030357" y="1951337"/>
            <a:chExt cx="2803393" cy="2014703"/>
          </a:xfrm>
        </p:grpSpPr>
        <p:sp>
          <p:nvSpPr>
            <p:cNvPr id="58" name="Shape_фон">
              <a:extLst>
                <a:ext uri="{FF2B5EF4-FFF2-40B4-BE49-F238E27FC236}">
                  <a16:creationId xmlns:a16="http://schemas.microsoft.com/office/drawing/2014/main" id="{F767BF00-B620-43CC-9204-991B8A06AEE5}"/>
                </a:ext>
              </a:extLst>
            </p:cNvPr>
            <p:cNvSpPr/>
            <p:nvPr/>
          </p:nvSpPr>
          <p:spPr>
            <a:xfrm>
              <a:off x="1228398" y="2180899"/>
              <a:ext cx="2605352" cy="1785141"/>
            </a:xfrm>
            <a:prstGeom prst="roundRect">
              <a:avLst>
                <a:gd name="adj" fmla="val 8571"/>
              </a:avLst>
            </a:prstGeom>
            <a:solidFill>
              <a:schemeClr val="bg1"/>
            </a:solidFill>
            <a:ln w="12700" cap="flat">
              <a:noFill/>
              <a:prstDash val="solid"/>
              <a:miter/>
            </a:ln>
            <a:effectLst>
              <a:outerShdw blurRad="1003300" sx="102000" sy="102000" algn="ctr" rotWithShape="0">
                <a:schemeClr val="tx1">
                  <a:alpha val="20000"/>
                </a:schemeClr>
              </a:outerShdw>
            </a:effectLst>
          </p:spPr>
          <p:txBody>
            <a:bodyPr lIns="0" tIns="0" rIns="0" bIns="0" anchor="ctr"/>
            <a:lstStyle/>
            <a:p>
              <a:pPr marL="0" marR="0" lvl="0" indent="0" algn="ctr" defTabSz="309563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itchFamily="2" charset="0"/>
                <a:ea typeface="Roboto" pitchFamily="2" charset="0"/>
                <a:cs typeface="Poppins Bold"/>
                <a:sym typeface="Poppins Bold"/>
              </a:endParaRPr>
            </a:p>
          </p:txBody>
        </p:sp>
        <p:sp>
          <p:nvSpPr>
            <p:cNvPr id="59" name="Motion design">
              <a:extLst>
                <a:ext uri="{FF2B5EF4-FFF2-40B4-BE49-F238E27FC236}">
                  <a16:creationId xmlns:a16="http://schemas.microsoft.com/office/drawing/2014/main" id="{E0ADCBBA-79B1-4743-BCF5-08571F05AEF6}"/>
                </a:ext>
              </a:extLst>
            </p:cNvPr>
            <p:cNvSpPr txBox="1"/>
            <p:nvPr/>
          </p:nvSpPr>
          <p:spPr>
            <a:xfrm>
              <a:off x="1697577" y="2389443"/>
              <a:ext cx="1989535" cy="1409761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</a:ext>
            </a:extLst>
          </p:spPr>
          <p:txBody>
            <a:bodyPr wrap="square" lIns="0" tIns="0" rIns="0" bIns="0" anchor="ctr">
              <a:spAutoFit/>
            </a:bodyPr>
            <a:lstStyle>
              <a:lvl1pPr>
                <a:lnSpc>
                  <a:spcPct val="130000"/>
                </a:lnSpc>
                <a:defRPr sz="3000">
                  <a:latin typeface="+mn-lt"/>
                  <a:ea typeface="+mn-ea"/>
                  <a:cs typeface="+mn-cs"/>
                  <a:sym typeface="Poppins SemiBold"/>
                </a:defRPr>
              </a:lvl1pPr>
            </a:lstStyle>
            <a:p>
              <a:pPr defTabSz="309563" hangingPunct="0">
                <a:buClr>
                  <a:schemeClr val="bg2"/>
                </a:buClr>
                <a:defRPr/>
              </a:pPr>
              <a:r>
                <a:rPr lang="ru-RU" sz="1200" dirty="0">
                  <a:solidFill>
                    <a:srgbClr val="0D0D0D"/>
                  </a:solidFill>
                  <a:latin typeface="SB Sans Text Light" panose="020B0303040504020204" pitchFamily="34" charset="-52"/>
                  <a:ea typeface="Roboto Light" panose="02000000000000000000" pitchFamily="2" charset="0"/>
                  <a:cs typeface="SB Sans Text Light" panose="020B0303040504020204" pitchFamily="34" charset="-52"/>
                </a:rPr>
                <a:t>Проверить согласие, собрать и передать продуктовый профиль для отображения </a:t>
              </a:r>
              <a:br>
                <a:rPr lang="ru-RU" sz="1200" dirty="0">
                  <a:solidFill>
                    <a:srgbClr val="0D0D0D"/>
                  </a:solidFill>
                  <a:latin typeface="SB Sans Text Light" panose="020B0303040504020204" pitchFamily="34" charset="-52"/>
                  <a:ea typeface="Roboto Light" panose="02000000000000000000" pitchFamily="2" charset="0"/>
                  <a:cs typeface="SB Sans Text Light" panose="020B0303040504020204" pitchFamily="34" charset="-52"/>
                </a:rPr>
              </a:br>
              <a:r>
                <a:rPr lang="ru-RU" sz="1200" dirty="0">
                  <a:solidFill>
                    <a:srgbClr val="0D0D0D"/>
                  </a:solidFill>
                  <a:latin typeface="SB Sans Text Light" panose="020B0303040504020204" pitchFamily="34" charset="-52"/>
                  <a:ea typeface="Roboto Light" panose="02000000000000000000" pitchFamily="2" charset="0"/>
                  <a:cs typeface="SB Sans Text Light" panose="020B0303040504020204" pitchFamily="34" charset="-52"/>
                </a:rPr>
                <a:t>в </a:t>
              </a:r>
              <a:r>
                <a:rPr lang="ru-RU" sz="1200" dirty="0" err="1">
                  <a:solidFill>
                    <a:srgbClr val="0D0D0D"/>
                  </a:solidFill>
                  <a:latin typeface="SB Sans Text Light" panose="020B0303040504020204" pitchFamily="34" charset="-52"/>
                  <a:ea typeface="Roboto Light" panose="02000000000000000000" pitchFamily="2" charset="0"/>
                  <a:cs typeface="SB Sans Text Light" panose="020B0303040504020204" pitchFamily="34" charset="-52"/>
                </a:rPr>
                <a:t>СБОЛе</a:t>
              </a:r>
              <a:endParaRPr lang="ru-RU" sz="1200" dirty="0">
                <a:solidFill>
                  <a:srgbClr val="0D0D0D"/>
                </a:solidFill>
                <a:latin typeface="SB Sans Text Light" panose="020B0303040504020204" pitchFamily="34" charset="-52"/>
                <a:ea typeface="Roboto Light" panose="02000000000000000000" pitchFamily="2" charset="0"/>
                <a:cs typeface="SB Sans Text Light" panose="020B0303040504020204" pitchFamily="34" charset="-52"/>
              </a:endParaRPr>
            </a:p>
          </p:txBody>
        </p:sp>
        <p:sp>
          <p:nvSpPr>
            <p:cNvPr id="60" name="Circle">
              <a:extLst>
                <a:ext uri="{FF2B5EF4-FFF2-40B4-BE49-F238E27FC236}">
                  <a16:creationId xmlns:a16="http://schemas.microsoft.com/office/drawing/2014/main" id="{F8D321BC-C4B5-419A-B550-B590A4EE730D}"/>
                </a:ext>
              </a:extLst>
            </p:cNvPr>
            <p:cNvSpPr/>
            <p:nvPr/>
          </p:nvSpPr>
          <p:spPr>
            <a:xfrm>
              <a:off x="1030357" y="1951337"/>
              <a:ext cx="635335" cy="635335"/>
            </a:xfrm>
            <a:prstGeom prst="ellipse">
              <a:avLst/>
            </a:prstGeom>
            <a:solidFill>
              <a:schemeClr val="bg2"/>
            </a:solidFill>
            <a:ln w="12700">
              <a:miter lim="400000"/>
            </a:ln>
          </p:spPr>
          <p:txBody>
            <a:bodyPr lIns="0" tIns="0" rIns="0" bIns="0" anchor="ctr"/>
            <a:lstStyle/>
            <a:p>
              <a:pPr algn="ctr" defTabSz="309563" hangingPunct="0">
                <a:buClrTx/>
                <a:defRPr sz="3200">
                  <a:solidFill>
                    <a:srgbClr val="FFFFFF"/>
                  </a:solidFill>
                  <a:latin typeface="Poppins Bold"/>
                  <a:ea typeface="Poppins Bold"/>
                  <a:cs typeface="Poppins Bold"/>
                  <a:sym typeface="Poppins Bold"/>
                </a:defRPr>
              </a:pPr>
              <a:r>
                <a:rPr lang="ru-RU" sz="2400" dirty="0">
                  <a:solidFill>
                    <a:srgbClr val="FFFFFF"/>
                  </a:solidFill>
                  <a:latin typeface="SB Sans Text Medium" panose="020B0603040504020204" pitchFamily="34" charset="-52"/>
                  <a:ea typeface="Roboto" pitchFamily="2" charset="0"/>
                  <a:cs typeface="SB Sans Text Medium" panose="020B0603040504020204" pitchFamily="34" charset="-52"/>
                  <a:sym typeface="Poppins Bold"/>
                </a:rPr>
                <a:t>5</a:t>
              </a:r>
              <a:endParaRPr sz="2400" dirty="0">
                <a:solidFill>
                  <a:srgbClr val="FFFFFF"/>
                </a:solidFill>
                <a:latin typeface="SB Sans Text Medium" panose="020B0603040504020204" pitchFamily="34" charset="-52"/>
                <a:ea typeface="Roboto" pitchFamily="2" charset="0"/>
                <a:cs typeface="SB Sans Text Medium" panose="020B0603040504020204" pitchFamily="34" charset="-52"/>
                <a:sym typeface="Poppins Bold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678549677"/>
      </p:ext>
    </p:extLst>
  </p:cSld>
  <p:clrMapOvr>
    <a:masterClrMapping/>
  </p:clrMapOvr>
  <p:transition spd="slow">
    <p:push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5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42" presetClass="path" presetSubtype="0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1719 -0.00023 L 2.08333E-6 -7.40741E-7 " pathEditMode="relative" rAng="0" ptsTypes="AA">
                                      <p:cBhvr>
                                        <p:cTn id="9" dur="5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859" y="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25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42" presetClass="path" presetSubtype="0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1719 -0.00023 L 2.08333E-7 -7.40741E-7 " pathEditMode="relative" rAng="0" ptsTypes="AA">
                                      <p:cBhvr>
                                        <p:cTn id="16" dur="5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859" y="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25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42" presetClass="path" presetSubtype="0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1719 -0.00023 L 1.25E-6 -1.11111E-6 " pathEditMode="relative" rAng="0" ptsTypes="AA">
                                      <p:cBhvr>
                                        <p:cTn id="23" dur="500" fill="hold"/>
                                        <p:tgtEl>
                                          <p:spTgt spid="5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859" y="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250"/>
                                        <p:tgtEl>
                                          <p:spTgt spid="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42" presetClass="path" presetSubtype="0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1719 -0.00023 L 6.25E-7 -1.11111E-6 " pathEditMode="relative" rAng="0" ptsTypes="AA">
                                      <p:cBhvr>
                                        <p:cTn id="30" dur="500" fill="hold"/>
                                        <p:tgtEl>
                                          <p:spTgt spid="5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859" y="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CDIConf_Black">
            <a:extLst>
              <a:ext uri="{FF2B5EF4-FFF2-40B4-BE49-F238E27FC236}">
                <a16:creationId xmlns:a16="http://schemas.microsoft.com/office/drawing/2014/main" id="{F3F1710A-CB9B-4080-B969-0477C48F22E5}"/>
              </a:ext>
            </a:extLst>
          </p:cNvPr>
          <p:cNvGrpSpPr/>
          <p:nvPr/>
        </p:nvGrpSpPr>
        <p:grpSpPr>
          <a:xfrm>
            <a:off x="9291334" y="6129083"/>
            <a:ext cx="2270483" cy="296171"/>
            <a:chOff x="7406975" y="5855999"/>
            <a:chExt cx="2270483" cy="296171"/>
          </a:xfrm>
        </p:grpSpPr>
        <p:sp>
          <p:nvSpPr>
            <p:cNvPr id="45" name="Полилиния: фигура 44">
              <a:extLst>
                <a:ext uri="{FF2B5EF4-FFF2-40B4-BE49-F238E27FC236}">
                  <a16:creationId xmlns:a16="http://schemas.microsoft.com/office/drawing/2014/main" id="{13A11B35-F320-4F31-908D-85B2D024FD4B}"/>
                </a:ext>
              </a:extLst>
            </p:cNvPr>
            <p:cNvSpPr/>
            <p:nvPr/>
          </p:nvSpPr>
          <p:spPr>
            <a:xfrm>
              <a:off x="7406975" y="5878280"/>
              <a:ext cx="1394458" cy="273890"/>
            </a:xfrm>
            <a:custGeom>
              <a:avLst/>
              <a:gdLst>
                <a:gd name="connsiteX0" fmla="*/ 157354 w 1394458"/>
                <a:gd name="connsiteY0" fmla="*/ 188093 h 273890"/>
                <a:gd name="connsiteX1" fmla="*/ 200773 w 1394458"/>
                <a:gd name="connsiteY1" fmla="*/ 188093 h 273890"/>
                <a:gd name="connsiteX2" fmla="*/ 186877 w 1394458"/>
                <a:gd name="connsiteY2" fmla="*/ 232383 h 273890"/>
                <a:gd name="connsiteX3" fmla="*/ 153706 w 1394458"/>
                <a:gd name="connsiteY3" fmla="*/ 262777 h 273890"/>
                <a:gd name="connsiteX4" fmla="*/ 101775 w 1394458"/>
                <a:gd name="connsiteY4" fmla="*/ 273891 h 273890"/>
                <a:gd name="connsiteX5" fmla="*/ 59572 w 1394458"/>
                <a:gd name="connsiteY5" fmla="*/ 265554 h 273890"/>
                <a:gd name="connsiteX6" fmla="*/ 27442 w 1394458"/>
                <a:gd name="connsiteY6" fmla="*/ 241585 h 273890"/>
                <a:gd name="connsiteX7" fmla="*/ 6950 w 1394458"/>
                <a:gd name="connsiteY7" fmla="*/ 203896 h 273890"/>
                <a:gd name="connsiteX8" fmla="*/ 0 w 1394458"/>
                <a:gd name="connsiteY8" fmla="*/ 154577 h 273890"/>
                <a:gd name="connsiteX9" fmla="*/ 0 w 1394458"/>
                <a:gd name="connsiteY9" fmla="*/ 133560 h 273890"/>
                <a:gd name="connsiteX10" fmla="*/ 7121 w 1394458"/>
                <a:gd name="connsiteY10" fmla="*/ 84236 h 273890"/>
                <a:gd name="connsiteX11" fmla="*/ 27962 w 1394458"/>
                <a:gd name="connsiteY11" fmla="*/ 46552 h 273890"/>
                <a:gd name="connsiteX12" fmla="*/ 60438 w 1394458"/>
                <a:gd name="connsiteY12" fmla="*/ 22408 h 273890"/>
                <a:gd name="connsiteX13" fmla="*/ 103336 w 1394458"/>
                <a:gd name="connsiteY13" fmla="*/ 14071 h 273890"/>
                <a:gd name="connsiteX14" fmla="*/ 154397 w 1394458"/>
                <a:gd name="connsiteY14" fmla="*/ 25185 h 273890"/>
                <a:gd name="connsiteX15" fmla="*/ 186702 w 1394458"/>
                <a:gd name="connsiteY15" fmla="*/ 55924 h 273890"/>
                <a:gd name="connsiteX16" fmla="*/ 200943 w 1394458"/>
                <a:gd name="connsiteY16" fmla="*/ 100905 h 273890"/>
                <a:gd name="connsiteX17" fmla="*/ 157524 w 1394458"/>
                <a:gd name="connsiteY17" fmla="*/ 100905 h 273890"/>
                <a:gd name="connsiteX18" fmla="*/ 149883 w 1394458"/>
                <a:gd name="connsiteY18" fmla="*/ 72943 h 273890"/>
                <a:gd name="connsiteX19" fmla="*/ 132865 w 1394458"/>
                <a:gd name="connsiteY19" fmla="*/ 55229 h 273890"/>
                <a:gd name="connsiteX20" fmla="*/ 103341 w 1394458"/>
                <a:gd name="connsiteY20" fmla="*/ 48974 h 273890"/>
                <a:gd name="connsiteX21" fmla="*/ 77291 w 1394458"/>
                <a:gd name="connsiteY21" fmla="*/ 54533 h 273890"/>
                <a:gd name="connsiteX22" fmla="*/ 58706 w 1394458"/>
                <a:gd name="connsiteY22" fmla="*/ 70861 h 273890"/>
                <a:gd name="connsiteX23" fmla="*/ 47417 w 1394458"/>
                <a:gd name="connsiteY23" fmla="*/ 97432 h 273890"/>
                <a:gd name="connsiteX24" fmla="*/ 43769 w 1394458"/>
                <a:gd name="connsiteY24" fmla="*/ 133210 h 273890"/>
                <a:gd name="connsiteX25" fmla="*/ 43769 w 1394458"/>
                <a:gd name="connsiteY25" fmla="*/ 154572 h 273890"/>
                <a:gd name="connsiteX26" fmla="*/ 47067 w 1394458"/>
                <a:gd name="connsiteY26" fmla="*/ 189304 h 273890"/>
                <a:gd name="connsiteX27" fmla="*/ 57490 w 1394458"/>
                <a:gd name="connsiteY27" fmla="*/ 215875 h 273890"/>
                <a:gd name="connsiteX28" fmla="*/ 75550 w 1394458"/>
                <a:gd name="connsiteY28" fmla="*/ 233069 h 273890"/>
                <a:gd name="connsiteX29" fmla="*/ 101775 w 1394458"/>
                <a:gd name="connsiteY29" fmla="*/ 239149 h 273890"/>
                <a:gd name="connsiteX30" fmla="*/ 131824 w 1394458"/>
                <a:gd name="connsiteY30" fmla="*/ 233244 h 273890"/>
                <a:gd name="connsiteX31" fmla="*/ 149363 w 1394458"/>
                <a:gd name="connsiteY31" fmla="*/ 216050 h 273890"/>
                <a:gd name="connsiteX32" fmla="*/ 157354 w 1394458"/>
                <a:gd name="connsiteY32" fmla="*/ 188088 h 273890"/>
                <a:gd name="connsiteX33" fmla="*/ 313837 w 1394458"/>
                <a:gd name="connsiteY33" fmla="*/ 270418 h 273890"/>
                <a:gd name="connsiteX34" fmla="*/ 259825 w 1394458"/>
                <a:gd name="connsiteY34" fmla="*/ 270418 h 273890"/>
                <a:gd name="connsiteX35" fmla="*/ 260170 w 1394458"/>
                <a:gd name="connsiteY35" fmla="*/ 235856 h 273890"/>
                <a:gd name="connsiteX36" fmla="*/ 313837 w 1394458"/>
                <a:gd name="connsiteY36" fmla="*/ 235856 h 273890"/>
                <a:gd name="connsiteX37" fmla="*/ 353088 w 1394458"/>
                <a:gd name="connsiteY37" fmla="*/ 225608 h 273890"/>
                <a:gd name="connsiteX38" fmla="*/ 377057 w 1394458"/>
                <a:gd name="connsiteY38" fmla="*/ 196255 h 273890"/>
                <a:gd name="connsiteX39" fmla="*/ 385218 w 1394458"/>
                <a:gd name="connsiteY39" fmla="*/ 150754 h 273890"/>
                <a:gd name="connsiteX40" fmla="*/ 385218 w 1394458"/>
                <a:gd name="connsiteY40" fmla="*/ 137033 h 273890"/>
                <a:gd name="connsiteX41" fmla="*/ 380530 w 1394458"/>
                <a:gd name="connsiteY41" fmla="*/ 100734 h 273890"/>
                <a:gd name="connsiteX42" fmla="*/ 366984 w 1394458"/>
                <a:gd name="connsiteY42" fmla="*/ 74163 h 273890"/>
                <a:gd name="connsiteX43" fmla="*/ 345102 w 1394458"/>
                <a:gd name="connsiteY43" fmla="*/ 57840 h 273890"/>
                <a:gd name="connsiteX44" fmla="*/ 315403 w 1394458"/>
                <a:gd name="connsiteY44" fmla="*/ 52281 h 273890"/>
                <a:gd name="connsiteX45" fmla="*/ 258784 w 1394458"/>
                <a:gd name="connsiteY45" fmla="*/ 52281 h 273890"/>
                <a:gd name="connsiteX46" fmla="*/ 258784 w 1394458"/>
                <a:gd name="connsiteY46" fmla="*/ 17544 h 273890"/>
                <a:gd name="connsiteX47" fmla="*/ 315403 w 1394458"/>
                <a:gd name="connsiteY47" fmla="*/ 17544 h 273890"/>
                <a:gd name="connsiteX48" fmla="*/ 361429 w 1394458"/>
                <a:gd name="connsiteY48" fmla="*/ 26055 h 273890"/>
                <a:gd name="connsiteX49" fmla="*/ 397383 w 1394458"/>
                <a:gd name="connsiteY49" fmla="*/ 50195 h 273890"/>
                <a:gd name="connsiteX50" fmla="*/ 420826 w 1394458"/>
                <a:gd name="connsiteY50" fmla="*/ 88054 h 273890"/>
                <a:gd name="connsiteX51" fmla="*/ 428988 w 1394458"/>
                <a:gd name="connsiteY51" fmla="*/ 137378 h 273890"/>
                <a:gd name="connsiteX52" fmla="*/ 428988 w 1394458"/>
                <a:gd name="connsiteY52" fmla="*/ 150754 h 273890"/>
                <a:gd name="connsiteX53" fmla="*/ 420826 w 1394458"/>
                <a:gd name="connsiteY53" fmla="*/ 200078 h 273890"/>
                <a:gd name="connsiteX54" fmla="*/ 397383 w 1394458"/>
                <a:gd name="connsiteY54" fmla="*/ 237938 h 273890"/>
                <a:gd name="connsiteX55" fmla="*/ 360909 w 1394458"/>
                <a:gd name="connsiteY55" fmla="*/ 262077 h 273890"/>
                <a:gd name="connsiteX56" fmla="*/ 313842 w 1394458"/>
                <a:gd name="connsiteY56" fmla="*/ 270413 h 273890"/>
                <a:gd name="connsiteX57" fmla="*/ 283964 w 1394458"/>
                <a:gd name="connsiteY57" fmla="*/ 17544 h 273890"/>
                <a:gd name="connsiteX58" fmla="*/ 283964 w 1394458"/>
                <a:gd name="connsiteY58" fmla="*/ 270418 h 273890"/>
                <a:gd name="connsiteX59" fmla="*/ 240369 w 1394458"/>
                <a:gd name="connsiteY59" fmla="*/ 270418 h 273890"/>
                <a:gd name="connsiteX60" fmla="*/ 240369 w 1394458"/>
                <a:gd name="connsiteY60" fmla="*/ 17544 h 273890"/>
                <a:gd name="connsiteX61" fmla="*/ 283964 w 1394458"/>
                <a:gd name="connsiteY61" fmla="*/ 17544 h 273890"/>
                <a:gd name="connsiteX62" fmla="*/ 519299 w 1394458"/>
                <a:gd name="connsiteY62" fmla="*/ 17544 h 273890"/>
                <a:gd name="connsiteX63" fmla="*/ 519299 w 1394458"/>
                <a:gd name="connsiteY63" fmla="*/ 270418 h 273890"/>
                <a:gd name="connsiteX64" fmla="*/ 475705 w 1394458"/>
                <a:gd name="connsiteY64" fmla="*/ 270418 h 273890"/>
                <a:gd name="connsiteX65" fmla="*/ 475705 w 1394458"/>
                <a:gd name="connsiteY65" fmla="*/ 17544 h 273890"/>
                <a:gd name="connsiteX66" fmla="*/ 519299 w 1394458"/>
                <a:gd name="connsiteY66" fmla="*/ 17544 h 273890"/>
                <a:gd name="connsiteX67" fmla="*/ 811424 w 1394458"/>
                <a:gd name="connsiteY67" fmla="*/ 188093 h 273890"/>
                <a:gd name="connsiteX68" fmla="*/ 854843 w 1394458"/>
                <a:gd name="connsiteY68" fmla="*/ 188093 h 273890"/>
                <a:gd name="connsiteX69" fmla="*/ 840947 w 1394458"/>
                <a:gd name="connsiteY69" fmla="*/ 232383 h 273890"/>
                <a:gd name="connsiteX70" fmla="*/ 807776 w 1394458"/>
                <a:gd name="connsiteY70" fmla="*/ 262777 h 273890"/>
                <a:gd name="connsiteX71" fmla="*/ 755845 w 1394458"/>
                <a:gd name="connsiteY71" fmla="*/ 273891 h 273890"/>
                <a:gd name="connsiteX72" fmla="*/ 713642 w 1394458"/>
                <a:gd name="connsiteY72" fmla="*/ 265554 h 273890"/>
                <a:gd name="connsiteX73" fmla="*/ 681512 w 1394458"/>
                <a:gd name="connsiteY73" fmla="*/ 241585 h 273890"/>
                <a:gd name="connsiteX74" fmla="*/ 661021 w 1394458"/>
                <a:gd name="connsiteY74" fmla="*/ 203896 h 273890"/>
                <a:gd name="connsiteX75" fmla="*/ 654075 w 1394458"/>
                <a:gd name="connsiteY75" fmla="*/ 154572 h 273890"/>
                <a:gd name="connsiteX76" fmla="*/ 654075 w 1394458"/>
                <a:gd name="connsiteY76" fmla="*/ 133555 h 273890"/>
                <a:gd name="connsiteX77" fmla="*/ 661196 w 1394458"/>
                <a:gd name="connsiteY77" fmla="*/ 84231 h 273890"/>
                <a:gd name="connsiteX78" fmla="*/ 682037 w 1394458"/>
                <a:gd name="connsiteY78" fmla="*/ 46547 h 273890"/>
                <a:gd name="connsiteX79" fmla="*/ 714513 w 1394458"/>
                <a:gd name="connsiteY79" fmla="*/ 22403 h 273890"/>
                <a:gd name="connsiteX80" fmla="*/ 757411 w 1394458"/>
                <a:gd name="connsiteY80" fmla="*/ 14066 h 273890"/>
                <a:gd name="connsiteX81" fmla="*/ 808472 w 1394458"/>
                <a:gd name="connsiteY81" fmla="*/ 25180 h 273890"/>
                <a:gd name="connsiteX82" fmla="*/ 840777 w 1394458"/>
                <a:gd name="connsiteY82" fmla="*/ 55919 h 273890"/>
                <a:gd name="connsiteX83" fmla="*/ 855018 w 1394458"/>
                <a:gd name="connsiteY83" fmla="*/ 100900 h 273890"/>
                <a:gd name="connsiteX84" fmla="*/ 811599 w 1394458"/>
                <a:gd name="connsiteY84" fmla="*/ 100900 h 273890"/>
                <a:gd name="connsiteX85" fmla="*/ 803958 w 1394458"/>
                <a:gd name="connsiteY85" fmla="*/ 72938 h 273890"/>
                <a:gd name="connsiteX86" fmla="*/ 786940 w 1394458"/>
                <a:gd name="connsiteY86" fmla="*/ 55224 h 273890"/>
                <a:gd name="connsiteX87" fmla="*/ 757416 w 1394458"/>
                <a:gd name="connsiteY87" fmla="*/ 48969 h 273890"/>
                <a:gd name="connsiteX88" fmla="*/ 731366 w 1394458"/>
                <a:gd name="connsiteY88" fmla="*/ 54528 h 273890"/>
                <a:gd name="connsiteX89" fmla="*/ 712781 w 1394458"/>
                <a:gd name="connsiteY89" fmla="*/ 70856 h 273890"/>
                <a:gd name="connsiteX90" fmla="*/ 701492 w 1394458"/>
                <a:gd name="connsiteY90" fmla="*/ 97427 h 273890"/>
                <a:gd name="connsiteX91" fmla="*/ 697844 w 1394458"/>
                <a:gd name="connsiteY91" fmla="*/ 133205 h 273890"/>
                <a:gd name="connsiteX92" fmla="*/ 697844 w 1394458"/>
                <a:gd name="connsiteY92" fmla="*/ 154567 h 273890"/>
                <a:gd name="connsiteX93" fmla="*/ 701142 w 1394458"/>
                <a:gd name="connsiteY93" fmla="*/ 189299 h 273890"/>
                <a:gd name="connsiteX94" fmla="*/ 711565 w 1394458"/>
                <a:gd name="connsiteY94" fmla="*/ 215870 h 273890"/>
                <a:gd name="connsiteX95" fmla="*/ 729629 w 1394458"/>
                <a:gd name="connsiteY95" fmla="*/ 233064 h 273890"/>
                <a:gd name="connsiteX96" fmla="*/ 755855 w 1394458"/>
                <a:gd name="connsiteY96" fmla="*/ 239144 h 273890"/>
                <a:gd name="connsiteX97" fmla="*/ 785904 w 1394458"/>
                <a:gd name="connsiteY97" fmla="*/ 233239 h 273890"/>
                <a:gd name="connsiteX98" fmla="*/ 803443 w 1394458"/>
                <a:gd name="connsiteY98" fmla="*/ 216046 h 273890"/>
                <a:gd name="connsiteX99" fmla="*/ 811434 w 1394458"/>
                <a:gd name="connsiteY99" fmla="*/ 188084 h 273890"/>
                <a:gd name="connsiteX100" fmla="*/ 882285 w 1394458"/>
                <a:gd name="connsiteY100" fmla="*/ 178541 h 273890"/>
                <a:gd name="connsiteX101" fmla="*/ 882285 w 1394458"/>
                <a:gd name="connsiteY101" fmla="*/ 174548 h 273890"/>
                <a:gd name="connsiteX102" fmla="*/ 888190 w 1394458"/>
                <a:gd name="connsiteY102" fmla="*/ 136858 h 273890"/>
                <a:gd name="connsiteX103" fmla="*/ 905208 w 1394458"/>
                <a:gd name="connsiteY103" fmla="*/ 106464 h 273890"/>
                <a:gd name="connsiteX104" fmla="*/ 932650 w 1394458"/>
                <a:gd name="connsiteY104" fmla="*/ 86318 h 273890"/>
                <a:gd name="connsiteX105" fmla="*/ 969469 w 1394458"/>
                <a:gd name="connsiteY105" fmla="*/ 79022 h 273890"/>
                <a:gd name="connsiteX106" fmla="*/ 1006288 w 1394458"/>
                <a:gd name="connsiteY106" fmla="*/ 86318 h 273890"/>
                <a:gd name="connsiteX107" fmla="*/ 1033899 w 1394458"/>
                <a:gd name="connsiteY107" fmla="*/ 106464 h 273890"/>
                <a:gd name="connsiteX108" fmla="*/ 1051093 w 1394458"/>
                <a:gd name="connsiteY108" fmla="*/ 136858 h 273890"/>
                <a:gd name="connsiteX109" fmla="*/ 1056998 w 1394458"/>
                <a:gd name="connsiteY109" fmla="*/ 174548 h 273890"/>
                <a:gd name="connsiteX110" fmla="*/ 1056998 w 1394458"/>
                <a:gd name="connsiteY110" fmla="*/ 178541 h 273890"/>
                <a:gd name="connsiteX111" fmla="*/ 1051093 w 1394458"/>
                <a:gd name="connsiteY111" fmla="*/ 216230 h 273890"/>
                <a:gd name="connsiteX112" fmla="*/ 1033899 w 1394458"/>
                <a:gd name="connsiteY112" fmla="*/ 246624 h 273890"/>
                <a:gd name="connsiteX113" fmla="*/ 1006458 w 1394458"/>
                <a:gd name="connsiteY113" fmla="*/ 266770 h 273890"/>
                <a:gd name="connsiteX114" fmla="*/ 969814 w 1394458"/>
                <a:gd name="connsiteY114" fmla="*/ 273891 h 273890"/>
                <a:gd name="connsiteX115" fmla="*/ 932820 w 1394458"/>
                <a:gd name="connsiteY115" fmla="*/ 266770 h 273890"/>
                <a:gd name="connsiteX116" fmla="*/ 905378 w 1394458"/>
                <a:gd name="connsiteY116" fmla="*/ 246624 h 273890"/>
                <a:gd name="connsiteX117" fmla="*/ 888185 w 1394458"/>
                <a:gd name="connsiteY117" fmla="*/ 216230 h 273890"/>
                <a:gd name="connsiteX118" fmla="*/ 882280 w 1394458"/>
                <a:gd name="connsiteY118" fmla="*/ 178541 h 273890"/>
                <a:gd name="connsiteX119" fmla="*/ 924143 w 1394458"/>
                <a:gd name="connsiteY119" fmla="*/ 174548 h 273890"/>
                <a:gd name="connsiteX120" fmla="*/ 924143 w 1394458"/>
                <a:gd name="connsiteY120" fmla="*/ 178541 h 273890"/>
                <a:gd name="connsiteX121" fmla="*/ 926750 w 1394458"/>
                <a:gd name="connsiteY121" fmla="*/ 202510 h 273890"/>
                <a:gd name="connsiteX122" fmla="*/ 934911 w 1394458"/>
                <a:gd name="connsiteY122" fmla="*/ 222310 h 273890"/>
                <a:gd name="connsiteX123" fmla="*/ 949152 w 1394458"/>
                <a:gd name="connsiteY123" fmla="*/ 235681 h 273890"/>
                <a:gd name="connsiteX124" fmla="*/ 969819 w 1394458"/>
                <a:gd name="connsiteY124" fmla="*/ 240545 h 273890"/>
                <a:gd name="connsiteX125" fmla="*/ 989965 w 1394458"/>
                <a:gd name="connsiteY125" fmla="*/ 235681 h 273890"/>
                <a:gd name="connsiteX126" fmla="*/ 1004206 w 1394458"/>
                <a:gd name="connsiteY126" fmla="*/ 222310 h 273890"/>
                <a:gd name="connsiteX127" fmla="*/ 1012367 w 1394458"/>
                <a:gd name="connsiteY127" fmla="*/ 202510 h 273890"/>
                <a:gd name="connsiteX128" fmla="*/ 1015145 w 1394458"/>
                <a:gd name="connsiteY128" fmla="*/ 178541 h 273890"/>
                <a:gd name="connsiteX129" fmla="*/ 1015145 w 1394458"/>
                <a:gd name="connsiteY129" fmla="*/ 174548 h 273890"/>
                <a:gd name="connsiteX130" fmla="*/ 1012367 w 1394458"/>
                <a:gd name="connsiteY130" fmla="*/ 150929 h 273890"/>
                <a:gd name="connsiteX131" fmla="*/ 1004031 w 1394458"/>
                <a:gd name="connsiteY131" fmla="*/ 130958 h 273890"/>
                <a:gd name="connsiteX132" fmla="*/ 989790 w 1394458"/>
                <a:gd name="connsiteY132" fmla="*/ 117412 h 273890"/>
                <a:gd name="connsiteX133" fmla="*/ 969469 w 1394458"/>
                <a:gd name="connsiteY133" fmla="*/ 112378 h 273890"/>
                <a:gd name="connsiteX134" fmla="*/ 948977 w 1394458"/>
                <a:gd name="connsiteY134" fmla="*/ 117412 h 273890"/>
                <a:gd name="connsiteX135" fmla="*/ 934911 w 1394458"/>
                <a:gd name="connsiteY135" fmla="*/ 130958 h 273890"/>
                <a:gd name="connsiteX136" fmla="*/ 926750 w 1394458"/>
                <a:gd name="connsiteY136" fmla="*/ 150929 h 273890"/>
                <a:gd name="connsiteX137" fmla="*/ 924143 w 1394458"/>
                <a:gd name="connsiteY137" fmla="*/ 174548 h 273890"/>
                <a:gd name="connsiteX138" fmla="*/ 1133598 w 1394458"/>
                <a:gd name="connsiteY138" fmla="*/ 122617 h 273890"/>
                <a:gd name="connsiteX139" fmla="*/ 1133598 w 1394458"/>
                <a:gd name="connsiteY139" fmla="*/ 270418 h 273890"/>
                <a:gd name="connsiteX140" fmla="*/ 1091745 w 1394458"/>
                <a:gd name="connsiteY140" fmla="*/ 270418 h 273890"/>
                <a:gd name="connsiteX141" fmla="*/ 1091745 w 1394458"/>
                <a:gd name="connsiteY141" fmla="*/ 82495 h 273890"/>
                <a:gd name="connsiteX142" fmla="*/ 1131171 w 1394458"/>
                <a:gd name="connsiteY142" fmla="*/ 82495 h 273890"/>
                <a:gd name="connsiteX143" fmla="*/ 1133603 w 1394458"/>
                <a:gd name="connsiteY143" fmla="*/ 122617 h 273890"/>
                <a:gd name="connsiteX144" fmla="*/ 1126132 w 1394458"/>
                <a:gd name="connsiteY144" fmla="*/ 169509 h 273890"/>
                <a:gd name="connsiteX145" fmla="*/ 1112586 w 1394458"/>
                <a:gd name="connsiteY145" fmla="*/ 169334 h 273890"/>
                <a:gd name="connsiteX146" fmla="*/ 1118145 w 1394458"/>
                <a:gd name="connsiteY146" fmla="*/ 132690 h 273890"/>
                <a:gd name="connsiteX147" fmla="*/ 1133428 w 1394458"/>
                <a:gd name="connsiteY147" fmla="*/ 104032 h 273890"/>
                <a:gd name="connsiteX148" fmla="*/ 1157046 w 1394458"/>
                <a:gd name="connsiteY148" fmla="*/ 85623 h 273890"/>
                <a:gd name="connsiteX149" fmla="*/ 1187615 w 1394458"/>
                <a:gd name="connsiteY149" fmla="*/ 79022 h 273890"/>
                <a:gd name="connsiteX150" fmla="*/ 1212105 w 1394458"/>
                <a:gd name="connsiteY150" fmla="*/ 82840 h 273890"/>
                <a:gd name="connsiteX151" fmla="*/ 1231034 w 1394458"/>
                <a:gd name="connsiteY151" fmla="*/ 94825 h 273890"/>
                <a:gd name="connsiteX152" fmla="*/ 1243189 w 1394458"/>
                <a:gd name="connsiteY152" fmla="*/ 116532 h 273890"/>
                <a:gd name="connsiteX153" fmla="*/ 1247357 w 1394458"/>
                <a:gd name="connsiteY153" fmla="*/ 149013 h 273890"/>
                <a:gd name="connsiteX154" fmla="*/ 1247357 w 1394458"/>
                <a:gd name="connsiteY154" fmla="*/ 270413 h 273890"/>
                <a:gd name="connsiteX155" fmla="*/ 1205329 w 1394458"/>
                <a:gd name="connsiteY155" fmla="*/ 270413 h 273890"/>
                <a:gd name="connsiteX156" fmla="*/ 1205329 w 1394458"/>
                <a:gd name="connsiteY156" fmla="*/ 148837 h 273890"/>
                <a:gd name="connsiteX157" fmla="*/ 1201336 w 1394458"/>
                <a:gd name="connsiteY157" fmla="*/ 127476 h 273890"/>
                <a:gd name="connsiteX158" fmla="*/ 1190047 w 1394458"/>
                <a:gd name="connsiteY158" fmla="*/ 116187 h 273890"/>
                <a:gd name="connsiteX159" fmla="*/ 1171813 w 1394458"/>
                <a:gd name="connsiteY159" fmla="*/ 112714 h 273890"/>
                <a:gd name="connsiteX160" fmla="*/ 1152533 w 1394458"/>
                <a:gd name="connsiteY160" fmla="*/ 117228 h 273890"/>
                <a:gd name="connsiteX161" fmla="*/ 1138116 w 1394458"/>
                <a:gd name="connsiteY161" fmla="*/ 129557 h 273890"/>
                <a:gd name="connsiteX162" fmla="*/ 1129259 w 1394458"/>
                <a:gd name="connsiteY162" fmla="*/ 147621 h 273890"/>
                <a:gd name="connsiteX163" fmla="*/ 1126132 w 1394458"/>
                <a:gd name="connsiteY163" fmla="*/ 169504 h 273890"/>
                <a:gd name="connsiteX164" fmla="*/ 1346701 w 1394458"/>
                <a:gd name="connsiteY164" fmla="*/ 270418 h 273890"/>
                <a:gd name="connsiteX165" fmla="*/ 1304843 w 1394458"/>
                <a:gd name="connsiteY165" fmla="*/ 270418 h 273890"/>
                <a:gd name="connsiteX166" fmla="*/ 1304843 w 1394458"/>
                <a:gd name="connsiteY166" fmla="*/ 64436 h 273890"/>
                <a:gd name="connsiteX167" fmla="*/ 1312659 w 1394458"/>
                <a:gd name="connsiteY167" fmla="*/ 29178 h 273890"/>
                <a:gd name="connsiteX168" fmla="*/ 1335412 w 1394458"/>
                <a:gd name="connsiteY168" fmla="*/ 7471 h 273890"/>
                <a:gd name="connsiteX169" fmla="*/ 1370319 w 1394458"/>
                <a:gd name="connsiteY169" fmla="*/ 0 h 273890"/>
                <a:gd name="connsiteX170" fmla="*/ 1382649 w 1394458"/>
                <a:gd name="connsiteY170" fmla="*/ 871 h 273890"/>
                <a:gd name="connsiteX171" fmla="*/ 1394458 w 1394458"/>
                <a:gd name="connsiteY171" fmla="*/ 3127 h 273890"/>
                <a:gd name="connsiteX172" fmla="*/ 1393418 w 1394458"/>
                <a:gd name="connsiteY172" fmla="*/ 35433 h 273890"/>
                <a:gd name="connsiteX173" fmla="*/ 1385776 w 1394458"/>
                <a:gd name="connsiteY173" fmla="*/ 34217 h 273890"/>
                <a:gd name="connsiteX174" fmla="*/ 1377095 w 1394458"/>
                <a:gd name="connsiteY174" fmla="*/ 33872 h 273890"/>
                <a:gd name="connsiteX175" fmla="*/ 1360596 w 1394458"/>
                <a:gd name="connsiteY175" fmla="*/ 37519 h 273890"/>
                <a:gd name="connsiteX176" fmla="*/ 1350178 w 1394458"/>
                <a:gd name="connsiteY176" fmla="*/ 47767 h 273890"/>
                <a:gd name="connsiteX177" fmla="*/ 1346706 w 1394458"/>
                <a:gd name="connsiteY177" fmla="*/ 64441 h 273890"/>
                <a:gd name="connsiteX178" fmla="*/ 1346706 w 1394458"/>
                <a:gd name="connsiteY178" fmla="*/ 270423 h 273890"/>
                <a:gd name="connsiteX179" fmla="*/ 1385431 w 1394458"/>
                <a:gd name="connsiteY179" fmla="*/ 82500 h 273890"/>
                <a:gd name="connsiteX180" fmla="*/ 1385431 w 1394458"/>
                <a:gd name="connsiteY180" fmla="*/ 113069 h 273890"/>
                <a:gd name="connsiteX181" fmla="*/ 1276015 w 1394458"/>
                <a:gd name="connsiteY181" fmla="*/ 113069 h 273890"/>
                <a:gd name="connsiteX182" fmla="*/ 1276015 w 1394458"/>
                <a:gd name="connsiteY182" fmla="*/ 82500 h 273890"/>
                <a:gd name="connsiteX183" fmla="*/ 1385431 w 1394458"/>
                <a:gd name="connsiteY183" fmla="*/ 82500 h 2738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</a:cxnLst>
              <a:rect l="l" t="t" r="r" b="b"/>
              <a:pathLst>
                <a:path w="1394458" h="273890">
                  <a:moveTo>
                    <a:pt x="157354" y="188093"/>
                  </a:moveTo>
                  <a:lnTo>
                    <a:pt x="200773" y="188093"/>
                  </a:lnTo>
                  <a:cubicBezTo>
                    <a:pt x="199382" y="204650"/>
                    <a:pt x="194752" y="219411"/>
                    <a:pt x="186877" y="232383"/>
                  </a:cubicBezTo>
                  <a:cubicBezTo>
                    <a:pt x="179003" y="245233"/>
                    <a:pt x="167947" y="255365"/>
                    <a:pt x="153706" y="262777"/>
                  </a:cubicBezTo>
                  <a:cubicBezTo>
                    <a:pt x="139465" y="270185"/>
                    <a:pt x="122155" y="273891"/>
                    <a:pt x="101775" y="273891"/>
                  </a:cubicBezTo>
                  <a:cubicBezTo>
                    <a:pt x="86143" y="273891"/>
                    <a:pt x="72077" y="271114"/>
                    <a:pt x="59572" y="265554"/>
                  </a:cubicBezTo>
                  <a:cubicBezTo>
                    <a:pt x="47067" y="259878"/>
                    <a:pt x="36357" y="251892"/>
                    <a:pt x="27442" y="241585"/>
                  </a:cubicBezTo>
                  <a:cubicBezTo>
                    <a:pt x="18526" y="231162"/>
                    <a:pt x="11697" y="218604"/>
                    <a:pt x="6950" y="203896"/>
                  </a:cubicBezTo>
                  <a:cubicBezTo>
                    <a:pt x="2315" y="189192"/>
                    <a:pt x="0" y="172753"/>
                    <a:pt x="0" y="154577"/>
                  </a:cubicBezTo>
                  <a:lnTo>
                    <a:pt x="0" y="133560"/>
                  </a:lnTo>
                  <a:cubicBezTo>
                    <a:pt x="0" y="115379"/>
                    <a:pt x="2374" y="98940"/>
                    <a:pt x="7121" y="84236"/>
                  </a:cubicBezTo>
                  <a:cubicBezTo>
                    <a:pt x="11984" y="69533"/>
                    <a:pt x="18930" y="56970"/>
                    <a:pt x="27962" y="46552"/>
                  </a:cubicBezTo>
                  <a:cubicBezTo>
                    <a:pt x="36994" y="36017"/>
                    <a:pt x="47816" y="27967"/>
                    <a:pt x="60438" y="22408"/>
                  </a:cubicBezTo>
                  <a:cubicBezTo>
                    <a:pt x="73171" y="16848"/>
                    <a:pt x="87471" y="14071"/>
                    <a:pt x="103336" y="14071"/>
                  </a:cubicBezTo>
                  <a:cubicBezTo>
                    <a:pt x="123482" y="14071"/>
                    <a:pt x="140506" y="17777"/>
                    <a:pt x="154397" y="25185"/>
                  </a:cubicBezTo>
                  <a:cubicBezTo>
                    <a:pt x="168293" y="32597"/>
                    <a:pt x="179056" y="42840"/>
                    <a:pt x="186702" y="55924"/>
                  </a:cubicBezTo>
                  <a:cubicBezTo>
                    <a:pt x="194460" y="69008"/>
                    <a:pt x="199207" y="84003"/>
                    <a:pt x="200943" y="100905"/>
                  </a:cubicBezTo>
                  <a:lnTo>
                    <a:pt x="157524" y="100905"/>
                  </a:lnTo>
                  <a:cubicBezTo>
                    <a:pt x="156367" y="90019"/>
                    <a:pt x="153818" y="80700"/>
                    <a:pt x="149883" y="72943"/>
                  </a:cubicBezTo>
                  <a:cubicBezTo>
                    <a:pt x="146065" y="65185"/>
                    <a:pt x="140389" y="59280"/>
                    <a:pt x="132865" y="55229"/>
                  </a:cubicBezTo>
                  <a:cubicBezTo>
                    <a:pt x="125340" y="51060"/>
                    <a:pt x="115496" y="48974"/>
                    <a:pt x="103341" y="48974"/>
                  </a:cubicBezTo>
                  <a:cubicBezTo>
                    <a:pt x="93385" y="48974"/>
                    <a:pt x="84698" y="50827"/>
                    <a:pt x="77291" y="54533"/>
                  </a:cubicBezTo>
                  <a:cubicBezTo>
                    <a:pt x="69878" y="58239"/>
                    <a:pt x="63687" y="63682"/>
                    <a:pt x="58706" y="70861"/>
                  </a:cubicBezTo>
                  <a:cubicBezTo>
                    <a:pt x="53730" y="78040"/>
                    <a:pt x="49966" y="86897"/>
                    <a:pt x="47417" y="97432"/>
                  </a:cubicBezTo>
                  <a:cubicBezTo>
                    <a:pt x="44985" y="107850"/>
                    <a:pt x="43769" y="119776"/>
                    <a:pt x="43769" y="133210"/>
                  </a:cubicBezTo>
                  <a:lnTo>
                    <a:pt x="43769" y="154572"/>
                  </a:lnTo>
                  <a:cubicBezTo>
                    <a:pt x="43769" y="167305"/>
                    <a:pt x="44869" y="178886"/>
                    <a:pt x="47067" y="189304"/>
                  </a:cubicBezTo>
                  <a:cubicBezTo>
                    <a:pt x="49382" y="199611"/>
                    <a:pt x="52855" y="208468"/>
                    <a:pt x="57490" y="215875"/>
                  </a:cubicBezTo>
                  <a:cubicBezTo>
                    <a:pt x="62237" y="223288"/>
                    <a:pt x="68259" y="229017"/>
                    <a:pt x="75550" y="233069"/>
                  </a:cubicBezTo>
                  <a:cubicBezTo>
                    <a:pt x="82845" y="237120"/>
                    <a:pt x="91585" y="239149"/>
                    <a:pt x="101775" y="239149"/>
                  </a:cubicBezTo>
                  <a:cubicBezTo>
                    <a:pt x="114163" y="239149"/>
                    <a:pt x="124178" y="237179"/>
                    <a:pt x="131824" y="233244"/>
                  </a:cubicBezTo>
                  <a:cubicBezTo>
                    <a:pt x="139582" y="229309"/>
                    <a:pt x="145428" y="223575"/>
                    <a:pt x="149363" y="216050"/>
                  </a:cubicBezTo>
                  <a:cubicBezTo>
                    <a:pt x="153414" y="208409"/>
                    <a:pt x="156080" y="199090"/>
                    <a:pt x="157354" y="188088"/>
                  </a:cubicBezTo>
                  <a:close/>
                  <a:moveTo>
                    <a:pt x="313837" y="270418"/>
                  </a:moveTo>
                  <a:lnTo>
                    <a:pt x="259825" y="270418"/>
                  </a:lnTo>
                  <a:lnTo>
                    <a:pt x="260170" y="235856"/>
                  </a:lnTo>
                  <a:lnTo>
                    <a:pt x="313837" y="235856"/>
                  </a:lnTo>
                  <a:cubicBezTo>
                    <a:pt x="329469" y="235856"/>
                    <a:pt x="342553" y="232441"/>
                    <a:pt x="353088" y="225608"/>
                  </a:cubicBezTo>
                  <a:cubicBezTo>
                    <a:pt x="363740" y="218779"/>
                    <a:pt x="371731" y="208993"/>
                    <a:pt x="377057" y="196255"/>
                  </a:cubicBezTo>
                  <a:cubicBezTo>
                    <a:pt x="382499" y="183521"/>
                    <a:pt x="385218" y="168351"/>
                    <a:pt x="385218" y="150754"/>
                  </a:cubicBezTo>
                  <a:lnTo>
                    <a:pt x="385218" y="137033"/>
                  </a:lnTo>
                  <a:cubicBezTo>
                    <a:pt x="385218" y="123371"/>
                    <a:pt x="383657" y="111269"/>
                    <a:pt x="380530" y="100734"/>
                  </a:cubicBezTo>
                  <a:cubicBezTo>
                    <a:pt x="377519" y="90199"/>
                    <a:pt x="373005" y="81342"/>
                    <a:pt x="366984" y="74163"/>
                  </a:cubicBezTo>
                  <a:cubicBezTo>
                    <a:pt x="361079" y="66984"/>
                    <a:pt x="353784" y="61542"/>
                    <a:pt x="345102" y="57840"/>
                  </a:cubicBezTo>
                  <a:cubicBezTo>
                    <a:pt x="336532" y="54134"/>
                    <a:pt x="326634" y="52281"/>
                    <a:pt x="315403" y="52281"/>
                  </a:cubicBezTo>
                  <a:lnTo>
                    <a:pt x="258784" y="52281"/>
                  </a:lnTo>
                  <a:lnTo>
                    <a:pt x="258784" y="17544"/>
                  </a:lnTo>
                  <a:lnTo>
                    <a:pt x="315403" y="17544"/>
                  </a:lnTo>
                  <a:cubicBezTo>
                    <a:pt x="332193" y="17544"/>
                    <a:pt x="347534" y="20379"/>
                    <a:pt x="361429" y="26055"/>
                  </a:cubicBezTo>
                  <a:cubicBezTo>
                    <a:pt x="375325" y="31615"/>
                    <a:pt x="387310" y="39660"/>
                    <a:pt x="397383" y="50195"/>
                  </a:cubicBezTo>
                  <a:cubicBezTo>
                    <a:pt x="407572" y="60730"/>
                    <a:pt x="415389" y="73351"/>
                    <a:pt x="420826" y="88054"/>
                  </a:cubicBezTo>
                  <a:cubicBezTo>
                    <a:pt x="426269" y="102758"/>
                    <a:pt x="428988" y="119202"/>
                    <a:pt x="428988" y="137378"/>
                  </a:cubicBezTo>
                  <a:lnTo>
                    <a:pt x="428988" y="150754"/>
                  </a:lnTo>
                  <a:cubicBezTo>
                    <a:pt x="428988" y="168930"/>
                    <a:pt x="426269" y="185374"/>
                    <a:pt x="420826" y="200078"/>
                  </a:cubicBezTo>
                  <a:cubicBezTo>
                    <a:pt x="415384" y="214781"/>
                    <a:pt x="407568" y="227403"/>
                    <a:pt x="397383" y="237938"/>
                  </a:cubicBezTo>
                  <a:cubicBezTo>
                    <a:pt x="387193" y="248356"/>
                    <a:pt x="375038" y="256405"/>
                    <a:pt x="360909" y="262077"/>
                  </a:cubicBezTo>
                  <a:cubicBezTo>
                    <a:pt x="346896" y="267636"/>
                    <a:pt x="331211" y="270413"/>
                    <a:pt x="313842" y="270413"/>
                  </a:cubicBezTo>
                  <a:close/>
                  <a:moveTo>
                    <a:pt x="283964" y="17544"/>
                  </a:moveTo>
                  <a:lnTo>
                    <a:pt x="283964" y="270418"/>
                  </a:lnTo>
                  <a:lnTo>
                    <a:pt x="240369" y="270418"/>
                  </a:lnTo>
                  <a:lnTo>
                    <a:pt x="240369" y="17544"/>
                  </a:lnTo>
                  <a:lnTo>
                    <a:pt x="283964" y="17544"/>
                  </a:lnTo>
                  <a:close/>
                  <a:moveTo>
                    <a:pt x="519299" y="17544"/>
                  </a:moveTo>
                  <a:lnTo>
                    <a:pt x="519299" y="270418"/>
                  </a:lnTo>
                  <a:lnTo>
                    <a:pt x="475705" y="270418"/>
                  </a:lnTo>
                  <a:lnTo>
                    <a:pt x="475705" y="17544"/>
                  </a:lnTo>
                  <a:lnTo>
                    <a:pt x="519299" y="17544"/>
                  </a:lnTo>
                  <a:close/>
                  <a:moveTo>
                    <a:pt x="811424" y="188093"/>
                  </a:moveTo>
                  <a:lnTo>
                    <a:pt x="854843" y="188093"/>
                  </a:lnTo>
                  <a:cubicBezTo>
                    <a:pt x="853452" y="204650"/>
                    <a:pt x="848822" y="219411"/>
                    <a:pt x="840947" y="232383"/>
                  </a:cubicBezTo>
                  <a:cubicBezTo>
                    <a:pt x="833073" y="245233"/>
                    <a:pt x="822017" y="255365"/>
                    <a:pt x="807776" y="262777"/>
                  </a:cubicBezTo>
                  <a:cubicBezTo>
                    <a:pt x="793535" y="270185"/>
                    <a:pt x="776225" y="273891"/>
                    <a:pt x="755845" y="273891"/>
                  </a:cubicBezTo>
                  <a:cubicBezTo>
                    <a:pt x="740213" y="273891"/>
                    <a:pt x="726147" y="271114"/>
                    <a:pt x="713642" y="265554"/>
                  </a:cubicBezTo>
                  <a:cubicBezTo>
                    <a:pt x="701137" y="259878"/>
                    <a:pt x="690427" y="251892"/>
                    <a:pt x="681512" y="241585"/>
                  </a:cubicBezTo>
                  <a:cubicBezTo>
                    <a:pt x="672596" y="231162"/>
                    <a:pt x="665768" y="218604"/>
                    <a:pt x="661021" y="203896"/>
                  </a:cubicBezTo>
                  <a:cubicBezTo>
                    <a:pt x="656390" y="189192"/>
                    <a:pt x="654075" y="172748"/>
                    <a:pt x="654075" y="154572"/>
                  </a:cubicBezTo>
                  <a:lnTo>
                    <a:pt x="654075" y="133555"/>
                  </a:lnTo>
                  <a:cubicBezTo>
                    <a:pt x="654075" y="115374"/>
                    <a:pt x="656449" y="98935"/>
                    <a:pt x="661196" y="84231"/>
                  </a:cubicBezTo>
                  <a:cubicBezTo>
                    <a:pt x="666059" y="69528"/>
                    <a:pt x="673005" y="56965"/>
                    <a:pt x="682037" y="46547"/>
                  </a:cubicBezTo>
                  <a:cubicBezTo>
                    <a:pt x="691069" y="36012"/>
                    <a:pt x="701891" y="27962"/>
                    <a:pt x="714513" y="22403"/>
                  </a:cubicBezTo>
                  <a:cubicBezTo>
                    <a:pt x="727246" y="16843"/>
                    <a:pt x="741546" y="14066"/>
                    <a:pt x="757411" y="14066"/>
                  </a:cubicBezTo>
                  <a:cubicBezTo>
                    <a:pt x="777557" y="14066"/>
                    <a:pt x="794581" y="17772"/>
                    <a:pt x="808472" y="25180"/>
                  </a:cubicBezTo>
                  <a:cubicBezTo>
                    <a:pt x="822368" y="32592"/>
                    <a:pt x="833131" y="42836"/>
                    <a:pt x="840777" y="55919"/>
                  </a:cubicBezTo>
                  <a:cubicBezTo>
                    <a:pt x="848535" y="69003"/>
                    <a:pt x="853282" y="83998"/>
                    <a:pt x="855018" y="100900"/>
                  </a:cubicBezTo>
                  <a:lnTo>
                    <a:pt x="811599" y="100900"/>
                  </a:lnTo>
                  <a:cubicBezTo>
                    <a:pt x="810442" y="90015"/>
                    <a:pt x="807893" y="80695"/>
                    <a:pt x="803958" y="72938"/>
                  </a:cubicBezTo>
                  <a:cubicBezTo>
                    <a:pt x="800140" y="65180"/>
                    <a:pt x="794464" y="59275"/>
                    <a:pt x="786940" y="55224"/>
                  </a:cubicBezTo>
                  <a:cubicBezTo>
                    <a:pt x="779415" y="51055"/>
                    <a:pt x="769571" y="48969"/>
                    <a:pt x="757416" y="48969"/>
                  </a:cubicBezTo>
                  <a:cubicBezTo>
                    <a:pt x="747460" y="48969"/>
                    <a:pt x="738773" y="50822"/>
                    <a:pt x="731366" y="54528"/>
                  </a:cubicBezTo>
                  <a:cubicBezTo>
                    <a:pt x="723953" y="58234"/>
                    <a:pt x="717762" y="63677"/>
                    <a:pt x="712781" y="70856"/>
                  </a:cubicBezTo>
                  <a:cubicBezTo>
                    <a:pt x="707801" y="78035"/>
                    <a:pt x="704041" y="86892"/>
                    <a:pt x="701492" y="97427"/>
                  </a:cubicBezTo>
                  <a:cubicBezTo>
                    <a:pt x="699060" y="107845"/>
                    <a:pt x="697844" y="119771"/>
                    <a:pt x="697844" y="133205"/>
                  </a:cubicBezTo>
                  <a:lnTo>
                    <a:pt x="697844" y="154567"/>
                  </a:lnTo>
                  <a:cubicBezTo>
                    <a:pt x="697844" y="167300"/>
                    <a:pt x="698944" y="178881"/>
                    <a:pt x="701142" y="189299"/>
                  </a:cubicBezTo>
                  <a:cubicBezTo>
                    <a:pt x="703457" y="199606"/>
                    <a:pt x="706930" y="208463"/>
                    <a:pt x="711565" y="215870"/>
                  </a:cubicBezTo>
                  <a:cubicBezTo>
                    <a:pt x="716312" y="223283"/>
                    <a:pt x="722334" y="229012"/>
                    <a:pt x="729629" y="233064"/>
                  </a:cubicBezTo>
                  <a:cubicBezTo>
                    <a:pt x="736925" y="237116"/>
                    <a:pt x="745665" y="239144"/>
                    <a:pt x="755855" y="239144"/>
                  </a:cubicBezTo>
                  <a:cubicBezTo>
                    <a:pt x="768243" y="239144"/>
                    <a:pt x="778258" y="237174"/>
                    <a:pt x="785904" y="233239"/>
                  </a:cubicBezTo>
                  <a:cubicBezTo>
                    <a:pt x="793661" y="229304"/>
                    <a:pt x="799508" y="223570"/>
                    <a:pt x="803443" y="216046"/>
                  </a:cubicBezTo>
                  <a:cubicBezTo>
                    <a:pt x="807494" y="208405"/>
                    <a:pt x="810159" y="199085"/>
                    <a:pt x="811434" y="188084"/>
                  </a:cubicBezTo>
                  <a:close/>
                  <a:moveTo>
                    <a:pt x="882285" y="178541"/>
                  </a:moveTo>
                  <a:lnTo>
                    <a:pt x="882285" y="174548"/>
                  </a:lnTo>
                  <a:cubicBezTo>
                    <a:pt x="882285" y="161002"/>
                    <a:pt x="884255" y="148439"/>
                    <a:pt x="888190" y="136858"/>
                  </a:cubicBezTo>
                  <a:cubicBezTo>
                    <a:pt x="892124" y="125165"/>
                    <a:pt x="897800" y="115034"/>
                    <a:pt x="905208" y="106464"/>
                  </a:cubicBezTo>
                  <a:cubicBezTo>
                    <a:pt x="912732" y="97782"/>
                    <a:pt x="921881" y="91065"/>
                    <a:pt x="932650" y="86318"/>
                  </a:cubicBezTo>
                  <a:cubicBezTo>
                    <a:pt x="943535" y="81454"/>
                    <a:pt x="955806" y="79022"/>
                    <a:pt x="969469" y="79022"/>
                  </a:cubicBezTo>
                  <a:cubicBezTo>
                    <a:pt x="983131" y="79022"/>
                    <a:pt x="995519" y="81454"/>
                    <a:pt x="1006288" y="86318"/>
                  </a:cubicBezTo>
                  <a:cubicBezTo>
                    <a:pt x="1017173" y="91065"/>
                    <a:pt x="1026375" y="97782"/>
                    <a:pt x="1033899" y="106464"/>
                  </a:cubicBezTo>
                  <a:cubicBezTo>
                    <a:pt x="1041424" y="115034"/>
                    <a:pt x="1047158" y="125165"/>
                    <a:pt x="1051093" y="136858"/>
                  </a:cubicBezTo>
                  <a:cubicBezTo>
                    <a:pt x="1055028" y="148439"/>
                    <a:pt x="1056998" y="160997"/>
                    <a:pt x="1056998" y="174548"/>
                  </a:cubicBezTo>
                  <a:lnTo>
                    <a:pt x="1056998" y="178541"/>
                  </a:lnTo>
                  <a:cubicBezTo>
                    <a:pt x="1056998" y="192086"/>
                    <a:pt x="1055028" y="204650"/>
                    <a:pt x="1051093" y="216230"/>
                  </a:cubicBezTo>
                  <a:cubicBezTo>
                    <a:pt x="1047153" y="227806"/>
                    <a:pt x="1041424" y="237938"/>
                    <a:pt x="1033899" y="246624"/>
                  </a:cubicBezTo>
                  <a:cubicBezTo>
                    <a:pt x="1026375" y="255194"/>
                    <a:pt x="1017226" y="261906"/>
                    <a:pt x="1006458" y="266770"/>
                  </a:cubicBezTo>
                  <a:cubicBezTo>
                    <a:pt x="995689" y="271517"/>
                    <a:pt x="983476" y="273891"/>
                    <a:pt x="969814" y="273891"/>
                  </a:cubicBezTo>
                  <a:cubicBezTo>
                    <a:pt x="956151" y="273891"/>
                    <a:pt x="943705" y="271517"/>
                    <a:pt x="932820" y="266770"/>
                  </a:cubicBezTo>
                  <a:cubicBezTo>
                    <a:pt x="922051" y="261906"/>
                    <a:pt x="912907" y="255189"/>
                    <a:pt x="905378" y="246624"/>
                  </a:cubicBezTo>
                  <a:cubicBezTo>
                    <a:pt x="897854" y="237942"/>
                    <a:pt x="892119" y="227811"/>
                    <a:pt x="888185" y="216230"/>
                  </a:cubicBezTo>
                  <a:cubicBezTo>
                    <a:pt x="884245" y="204650"/>
                    <a:pt x="882280" y="192086"/>
                    <a:pt x="882280" y="178541"/>
                  </a:cubicBezTo>
                  <a:close/>
                  <a:moveTo>
                    <a:pt x="924143" y="174548"/>
                  </a:moveTo>
                  <a:lnTo>
                    <a:pt x="924143" y="178541"/>
                  </a:lnTo>
                  <a:cubicBezTo>
                    <a:pt x="924143" y="186994"/>
                    <a:pt x="925013" y="194980"/>
                    <a:pt x="926750" y="202510"/>
                  </a:cubicBezTo>
                  <a:cubicBezTo>
                    <a:pt x="928486" y="210034"/>
                    <a:pt x="931210" y="216634"/>
                    <a:pt x="934911" y="222310"/>
                  </a:cubicBezTo>
                  <a:cubicBezTo>
                    <a:pt x="938617" y="227981"/>
                    <a:pt x="943365" y="232441"/>
                    <a:pt x="949152" y="235681"/>
                  </a:cubicBezTo>
                  <a:cubicBezTo>
                    <a:pt x="954940" y="238925"/>
                    <a:pt x="961832" y="240545"/>
                    <a:pt x="969819" y="240545"/>
                  </a:cubicBezTo>
                  <a:cubicBezTo>
                    <a:pt x="977805" y="240545"/>
                    <a:pt x="984293" y="238925"/>
                    <a:pt x="989965" y="235681"/>
                  </a:cubicBezTo>
                  <a:cubicBezTo>
                    <a:pt x="995753" y="232441"/>
                    <a:pt x="1000500" y="227981"/>
                    <a:pt x="1004206" y="222310"/>
                  </a:cubicBezTo>
                  <a:cubicBezTo>
                    <a:pt x="1007912" y="216634"/>
                    <a:pt x="1010631" y="210039"/>
                    <a:pt x="1012367" y="202510"/>
                  </a:cubicBezTo>
                  <a:cubicBezTo>
                    <a:pt x="1014220" y="194985"/>
                    <a:pt x="1015145" y="186994"/>
                    <a:pt x="1015145" y="178541"/>
                  </a:cubicBezTo>
                  <a:lnTo>
                    <a:pt x="1015145" y="174548"/>
                  </a:lnTo>
                  <a:cubicBezTo>
                    <a:pt x="1015145" y="166211"/>
                    <a:pt x="1014220" y="158336"/>
                    <a:pt x="1012367" y="150929"/>
                  </a:cubicBezTo>
                  <a:cubicBezTo>
                    <a:pt x="1010631" y="143405"/>
                    <a:pt x="1007854" y="136746"/>
                    <a:pt x="1004031" y="130958"/>
                  </a:cubicBezTo>
                  <a:cubicBezTo>
                    <a:pt x="1000325" y="125170"/>
                    <a:pt x="995578" y="120652"/>
                    <a:pt x="989790" y="117412"/>
                  </a:cubicBezTo>
                  <a:cubicBezTo>
                    <a:pt x="984118" y="114056"/>
                    <a:pt x="977343" y="112378"/>
                    <a:pt x="969469" y="112378"/>
                  </a:cubicBezTo>
                  <a:cubicBezTo>
                    <a:pt x="961594" y="112378"/>
                    <a:pt x="954765" y="114056"/>
                    <a:pt x="948977" y="117412"/>
                  </a:cubicBezTo>
                  <a:cubicBezTo>
                    <a:pt x="943301" y="120657"/>
                    <a:pt x="938613" y="125170"/>
                    <a:pt x="934911" y="130958"/>
                  </a:cubicBezTo>
                  <a:cubicBezTo>
                    <a:pt x="931205" y="136746"/>
                    <a:pt x="928486" y="143405"/>
                    <a:pt x="926750" y="150929"/>
                  </a:cubicBezTo>
                  <a:cubicBezTo>
                    <a:pt x="925013" y="158341"/>
                    <a:pt x="924143" y="166211"/>
                    <a:pt x="924143" y="174548"/>
                  </a:cubicBezTo>
                  <a:close/>
                  <a:moveTo>
                    <a:pt x="1133598" y="122617"/>
                  </a:moveTo>
                  <a:lnTo>
                    <a:pt x="1133598" y="270418"/>
                  </a:lnTo>
                  <a:lnTo>
                    <a:pt x="1091745" y="270418"/>
                  </a:lnTo>
                  <a:lnTo>
                    <a:pt x="1091745" y="82495"/>
                  </a:lnTo>
                  <a:lnTo>
                    <a:pt x="1131171" y="82495"/>
                  </a:lnTo>
                  <a:lnTo>
                    <a:pt x="1133603" y="122617"/>
                  </a:lnTo>
                  <a:close/>
                  <a:moveTo>
                    <a:pt x="1126132" y="169509"/>
                  </a:moveTo>
                  <a:lnTo>
                    <a:pt x="1112586" y="169334"/>
                  </a:lnTo>
                  <a:cubicBezTo>
                    <a:pt x="1112703" y="156016"/>
                    <a:pt x="1114556" y="143803"/>
                    <a:pt x="1118145" y="132690"/>
                  </a:cubicBezTo>
                  <a:cubicBezTo>
                    <a:pt x="1121852" y="121576"/>
                    <a:pt x="1126944" y="112023"/>
                    <a:pt x="1133428" y="104032"/>
                  </a:cubicBezTo>
                  <a:cubicBezTo>
                    <a:pt x="1140028" y="96041"/>
                    <a:pt x="1147902" y="89908"/>
                    <a:pt x="1157046" y="85623"/>
                  </a:cubicBezTo>
                  <a:cubicBezTo>
                    <a:pt x="1166195" y="81226"/>
                    <a:pt x="1176385" y="79022"/>
                    <a:pt x="1187615" y="79022"/>
                  </a:cubicBezTo>
                  <a:cubicBezTo>
                    <a:pt x="1196647" y="79022"/>
                    <a:pt x="1204809" y="80297"/>
                    <a:pt x="1212105" y="82840"/>
                  </a:cubicBezTo>
                  <a:cubicBezTo>
                    <a:pt x="1219517" y="85272"/>
                    <a:pt x="1225825" y="89265"/>
                    <a:pt x="1231034" y="94825"/>
                  </a:cubicBezTo>
                  <a:cubicBezTo>
                    <a:pt x="1236360" y="100384"/>
                    <a:pt x="1240412" y="107617"/>
                    <a:pt x="1243189" y="116532"/>
                  </a:cubicBezTo>
                  <a:cubicBezTo>
                    <a:pt x="1245966" y="125331"/>
                    <a:pt x="1247357" y="136157"/>
                    <a:pt x="1247357" y="149013"/>
                  </a:cubicBezTo>
                  <a:lnTo>
                    <a:pt x="1247357" y="270413"/>
                  </a:lnTo>
                  <a:lnTo>
                    <a:pt x="1205329" y="270413"/>
                  </a:lnTo>
                  <a:lnTo>
                    <a:pt x="1205329" y="148837"/>
                  </a:lnTo>
                  <a:cubicBezTo>
                    <a:pt x="1205329" y="139805"/>
                    <a:pt x="1203996" y="132685"/>
                    <a:pt x="1201336" y="127476"/>
                  </a:cubicBezTo>
                  <a:cubicBezTo>
                    <a:pt x="1198787" y="122150"/>
                    <a:pt x="1195028" y="118385"/>
                    <a:pt x="1190047" y="116187"/>
                  </a:cubicBezTo>
                  <a:cubicBezTo>
                    <a:pt x="1185183" y="113872"/>
                    <a:pt x="1179104" y="112714"/>
                    <a:pt x="1171813" y="112714"/>
                  </a:cubicBezTo>
                  <a:cubicBezTo>
                    <a:pt x="1164522" y="112714"/>
                    <a:pt x="1158209" y="114217"/>
                    <a:pt x="1152533" y="117228"/>
                  </a:cubicBezTo>
                  <a:cubicBezTo>
                    <a:pt x="1146861" y="120238"/>
                    <a:pt x="1142056" y="124348"/>
                    <a:pt x="1138116" y="129557"/>
                  </a:cubicBezTo>
                  <a:cubicBezTo>
                    <a:pt x="1134293" y="134766"/>
                    <a:pt x="1131341" y="140788"/>
                    <a:pt x="1129259" y="147621"/>
                  </a:cubicBezTo>
                  <a:cubicBezTo>
                    <a:pt x="1127178" y="154450"/>
                    <a:pt x="1126132" y="161746"/>
                    <a:pt x="1126132" y="169504"/>
                  </a:cubicBezTo>
                  <a:close/>
                  <a:moveTo>
                    <a:pt x="1346701" y="270418"/>
                  </a:moveTo>
                  <a:lnTo>
                    <a:pt x="1304843" y="270418"/>
                  </a:lnTo>
                  <a:lnTo>
                    <a:pt x="1304843" y="64436"/>
                  </a:lnTo>
                  <a:cubicBezTo>
                    <a:pt x="1304843" y="50428"/>
                    <a:pt x="1307450" y="38672"/>
                    <a:pt x="1312659" y="29178"/>
                  </a:cubicBezTo>
                  <a:cubicBezTo>
                    <a:pt x="1317985" y="19567"/>
                    <a:pt x="1325567" y="12330"/>
                    <a:pt x="1335412" y="7471"/>
                  </a:cubicBezTo>
                  <a:cubicBezTo>
                    <a:pt x="1345256" y="2490"/>
                    <a:pt x="1356890" y="0"/>
                    <a:pt x="1370319" y="0"/>
                  </a:cubicBezTo>
                  <a:cubicBezTo>
                    <a:pt x="1374488" y="0"/>
                    <a:pt x="1378597" y="292"/>
                    <a:pt x="1382649" y="871"/>
                  </a:cubicBezTo>
                  <a:cubicBezTo>
                    <a:pt x="1386701" y="1333"/>
                    <a:pt x="1390640" y="2087"/>
                    <a:pt x="1394458" y="3127"/>
                  </a:cubicBezTo>
                  <a:lnTo>
                    <a:pt x="1393418" y="35433"/>
                  </a:lnTo>
                  <a:cubicBezTo>
                    <a:pt x="1391102" y="34854"/>
                    <a:pt x="1388554" y="34450"/>
                    <a:pt x="1385776" y="34217"/>
                  </a:cubicBezTo>
                  <a:cubicBezTo>
                    <a:pt x="1383116" y="33983"/>
                    <a:pt x="1380217" y="33872"/>
                    <a:pt x="1377095" y="33872"/>
                  </a:cubicBezTo>
                  <a:cubicBezTo>
                    <a:pt x="1370728" y="33872"/>
                    <a:pt x="1365227" y="35088"/>
                    <a:pt x="1360596" y="37519"/>
                  </a:cubicBezTo>
                  <a:cubicBezTo>
                    <a:pt x="1356083" y="39835"/>
                    <a:pt x="1352605" y="43249"/>
                    <a:pt x="1350178" y="47767"/>
                  </a:cubicBezTo>
                  <a:cubicBezTo>
                    <a:pt x="1347863" y="52286"/>
                    <a:pt x="1346706" y="57840"/>
                    <a:pt x="1346706" y="64441"/>
                  </a:cubicBezTo>
                  <a:lnTo>
                    <a:pt x="1346706" y="270423"/>
                  </a:lnTo>
                  <a:close/>
                  <a:moveTo>
                    <a:pt x="1385431" y="82500"/>
                  </a:moveTo>
                  <a:lnTo>
                    <a:pt x="1385431" y="113069"/>
                  </a:lnTo>
                  <a:lnTo>
                    <a:pt x="1276015" y="113069"/>
                  </a:lnTo>
                  <a:lnTo>
                    <a:pt x="1276015" y="82500"/>
                  </a:lnTo>
                  <a:lnTo>
                    <a:pt x="1385431" y="82500"/>
                  </a:lnTo>
                  <a:close/>
                </a:path>
              </a:pathLst>
            </a:custGeom>
            <a:solidFill>
              <a:srgbClr val="EE3431"/>
            </a:solidFill>
            <a:ln w="4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6" name="Полилиния: фигура 45">
              <a:extLst>
                <a:ext uri="{FF2B5EF4-FFF2-40B4-BE49-F238E27FC236}">
                  <a16:creationId xmlns:a16="http://schemas.microsoft.com/office/drawing/2014/main" id="{EB80AEA3-6D76-4813-B83E-E98064CA7762}"/>
                </a:ext>
              </a:extLst>
            </p:cNvPr>
            <p:cNvSpPr/>
            <p:nvPr/>
          </p:nvSpPr>
          <p:spPr>
            <a:xfrm>
              <a:off x="7406975" y="5855999"/>
              <a:ext cx="1394458" cy="273890"/>
            </a:xfrm>
            <a:custGeom>
              <a:avLst/>
              <a:gdLst>
                <a:gd name="connsiteX0" fmla="*/ 157354 w 1394458"/>
                <a:gd name="connsiteY0" fmla="*/ 188093 h 273890"/>
                <a:gd name="connsiteX1" fmla="*/ 200773 w 1394458"/>
                <a:gd name="connsiteY1" fmla="*/ 188093 h 273890"/>
                <a:gd name="connsiteX2" fmla="*/ 186877 w 1394458"/>
                <a:gd name="connsiteY2" fmla="*/ 232383 h 273890"/>
                <a:gd name="connsiteX3" fmla="*/ 153706 w 1394458"/>
                <a:gd name="connsiteY3" fmla="*/ 262777 h 273890"/>
                <a:gd name="connsiteX4" fmla="*/ 101775 w 1394458"/>
                <a:gd name="connsiteY4" fmla="*/ 273891 h 273890"/>
                <a:gd name="connsiteX5" fmla="*/ 59572 w 1394458"/>
                <a:gd name="connsiteY5" fmla="*/ 265554 h 273890"/>
                <a:gd name="connsiteX6" fmla="*/ 27442 w 1394458"/>
                <a:gd name="connsiteY6" fmla="*/ 241585 h 273890"/>
                <a:gd name="connsiteX7" fmla="*/ 6950 w 1394458"/>
                <a:gd name="connsiteY7" fmla="*/ 203901 h 273890"/>
                <a:gd name="connsiteX8" fmla="*/ 0 w 1394458"/>
                <a:gd name="connsiteY8" fmla="*/ 154572 h 273890"/>
                <a:gd name="connsiteX9" fmla="*/ 0 w 1394458"/>
                <a:gd name="connsiteY9" fmla="*/ 133555 h 273890"/>
                <a:gd name="connsiteX10" fmla="*/ 7121 w 1394458"/>
                <a:gd name="connsiteY10" fmla="*/ 84231 h 273890"/>
                <a:gd name="connsiteX11" fmla="*/ 27962 w 1394458"/>
                <a:gd name="connsiteY11" fmla="*/ 46542 h 273890"/>
                <a:gd name="connsiteX12" fmla="*/ 60438 w 1394458"/>
                <a:gd name="connsiteY12" fmla="*/ 22403 h 273890"/>
                <a:gd name="connsiteX13" fmla="*/ 103336 w 1394458"/>
                <a:gd name="connsiteY13" fmla="*/ 14066 h 273890"/>
                <a:gd name="connsiteX14" fmla="*/ 154397 w 1394458"/>
                <a:gd name="connsiteY14" fmla="*/ 25180 h 273890"/>
                <a:gd name="connsiteX15" fmla="*/ 186702 w 1394458"/>
                <a:gd name="connsiteY15" fmla="*/ 55919 h 273890"/>
                <a:gd name="connsiteX16" fmla="*/ 200943 w 1394458"/>
                <a:gd name="connsiteY16" fmla="*/ 100900 h 273890"/>
                <a:gd name="connsiteX17" fmla="*/ 157524 w 1394458"/>
                <a:gd name="connsiteY17" fmla="*/ 100900 h 273890"/>
                <a:gd name="connsiteX18" fmla="*/ 149883 w 1394458"/>
                <a:gd name="connsiteY18" fmla="*/ 72938 h 273890"/>
                <a:gd name="connsiteX19" fmla="*/ 132865 w 1394458"/>
                <a:gd name="connsiteY19" fmla="*/ 55224 h 273890"/>
                <a:gd name="connsiteX20" fmla="*/ 103341 w 1394458"/>
                <a:gd name="connsiteY20" fmla="*/ 48969 h 273890"/>
                <a:gd name="connsiteX21" fmla="*/ 77291 w 1394458"/>
                <a:gd name="connsiteY21" fmla="*/ 54528 h 273890"/>
                <a:gd name="connsiteX22" fmla="*/ 58706 w 1394458"/>
                <a:gd name="connsiteY22" fmla="*/ 70856 h 273890"/>
                <a:gd name="connsiteX23" fmla="*/ 47417 w 1394458"/>
                <a:gd name="connsiteY23" fmla="*/ 97427 h 273890"/>
                <a:gd name="connsiteX24" fmla="*/ 43769 w 1394458"/>
                <a:gd name="connsiteY24" fmla="*/ 133205 h 273890"/>
                <a:gd name="connsiteX25" fmla="*/ 43769 w 1394458"/>
                <a:gd name="connsiteY25" fmla="*/ 154567 h 273890"/>
                <a:gd name="connsiteX26" fmla="*/ 47067 w 1394458"/>
                <a:gd name="connsiteY26" fmla="*/ 189304 h 273890"/>
                <a:gd name="connsiteX27" fmla="*/ 57490 w 1394458"/>
                <a:gd name="connsiteY27" fmla="*/ 215875 h 273890"/>
                <a:gd name="connsiteX28" fmla="*/ 75550 w 1394458"/>
                <a:gd name="connsiteY28" fmla="*/ 233069 h 273890"/>
                <a:gd name="connsiteX29" fmla="*/ 101775 w 1394458"/>
                <a:gd name="connsiteY29" fmla="*/ 239149 h 273890"/>
                <a:gd name="connsiteX30" fmla="*/ 131824 w 1394458"/>
                <a:gd name="connsiteY30" fmla="*/ 233244 h 273890"/>
                <a:gd name="connsiteX31" fmla="*/ 149363 w 1394458"/>
                <a:gd name="connsiteY31" fmla="*/ 216050 h 273890"/>
                <a:gd name="connsiteX32" fmla="*/ 157354 w 1394458"/>
                <a:gd name="connsiteY32" fmla="*/ 188088 h 273890"/>
                <a:gd name="connsiteX33" fmla="*/ 313837 w 1394458"/>
                <a:gd name="connsiteY33" fmla="*/ 270418 h 273890"/>
                <a:gd name="connsiteX34" fmla="*/ 259825 w 1394458"/>
                <a:gd name="connsiteY34" fmla="*/ 270418 h 273890"/>
                <a:gd name="connsiteX35" fmla="*/ 260170 w 1394458"/>
                <a:gd name="connsiteY35" fmla="*/ 235856 h 273890"/>
                <a:gd name="connsiteX36" fmla="*/ 313837 w 1394458"/>
                <a:gd name="connsiteY36" fmla="*/ 235856 h 273890"/>
                <a:gd name="connsiteX37" fmla="*/ 353088 w 1394458"/>
                <a:gd name="connsiteY37" fmla="*/ 225608 h 273890"/>
                <a:gd name="connsiteX38" fmla="*/ 377057 w 1394458"/>
                <a:gd name="connsiteY38" fmla="*/ 196255 h 273890"/>
                <a:gd name="connsiteX39" fmla="*/ 385218 w 1394458"/>
                <a:gd name="connsiteY39" fmla="*/ 150754 h 273890"/>
                <a:gd name="connsiteX40" fmla="*/ 385218 w 1394458"/>
                <a:gd name="connsiteY40" fmla="*/ 137033 h 273890"/>
                <a:gd name="connsiteX41" fmla="*/ 380530 w 1394458"/>
                <a:gd name="connsiteY41" fmla="*/ 100734 h 273890"/>
                <a:gd name="connsiteX42" fmla="*/ 366984 w 1394458"/>
                <a:gd name="connsiteY42" fmla="*/ 74163 h 273890"/>
                <a:gd name="connsiteX43" fmla="*/ 345102 w 1394458"/>
                <a:gd name="connsiteY43" fmla="*/ 57840 h 273890"/>
                <a:gd name="connsiteX44" fmla="*/ 315403 w 1394458"/>
                <a:gd name="connsiteY44" fmla="*/ 52281 h 273890"/>
                <a:gd name="connsiteX45" fmla="*/ 258784 w 1394458"/>
                <a:gd name="connsiteY45" fmla="*/ 52281 h 273890"/>
                <a:gd name="connsiteX46" fmla="*/ 258784 w 1394458"/>
                <a:gd name="connsiteY46" fmla="*/ 17544 h 273890"/>
                <a:gd name="connsiteX47" fmla="*/ 315403 w 1394458"/>
                <a:gd name="connsiteY47" fmla="*/ 17544 h 273890"/>
                <a:gd name="connsiteX48" fmla="*/ 361429 w 1394458"/>
                <a:gd name="connsiteY48" fmla="*/ 26055 h 273890"/>
                <a:gd name="connsiteX49" fmla="*/ 397383 w 1394458"/>
                <a:gd name="connsiteY49" fmla="*/ 50195 h 273890"/>
                <a:gd name="connsiteX50" fmla="*/ 420826 w 1394458"/>
                <a:gd name="connsiteY50" fmla="*/ 88054 h 273890"/>
                <a:gd name="connsiteX51" fmla="*/ 428988 w 1394458"/>
                <a:gd name="connsiteY51" fmla="*/ 137378 h 273890"/>
                <a:gd name="connsiteX52" fmla="*/ 428988 w 1394458"/>
                <a:gd name="connsiteY52" fmla="*/ 150754 h 273890"/>
                <a:gd name="connsiteX53" fmla="*/ 420826 w 1394458"/>
                <a:gd name="connsiteY53" fmla="*/ 200078 h 273890"/>
                <a:gd name="connsiteX54" fmla="*/ 397383 w 1394458"/>
                <a:gd name="connsiteY54" fmla="*/ 237938 h 273890"/>
                <a:gd name="connsiteX55" fmla="*/ 360909 w 1394458"/>
                <a:gd name="connsiteY55" fmla="*/ 262077 h 273890"/>
                <a:gd name="connsiteX56" fmla="*/ 313842 w 1394458"/>
                <a:gd name="connsiteY56" fmla="*/ 270413 h 273890"/>
                <a:gd name="connsiteX57" fmla="*/ 283964 w 1394458"/>
                <a:gd name="connsiteY57" fmla="*/ 17544 h 273890"/>
                <a:gd name="connsiteX58" fmla="*/ 283964 w 1394458"/>
                <a:gd name="connsiteY58" fmla="*/ 270418 h 273890"/>
                <a:gd name="connsiteX59" fmla="*/ 240369 w 1394458"/>
                <a:gd name="connsiteY59" fmla="*/ 270418 h 273890"/>
                <a:gd name="connsiteX60" fmla="*/ 240369 w 1394458"/>
                <a:gd name="connsiteY60" fmla="*/ 17544 h 273890"/>
                <a:gd name="connsiteX61" fmla="*/ 283964 w 1394458"/>
                <a:gd name="connsiteY61" fmla="*/ 17544 h 273890"/>
                <a:gd name="connsiteX62" fmla="*/ 519299 w 1394458"/>
                <a:gd name="connsiteY62" fmla="*/ 17544 h 273890"/>
                <a:gd name="connsiteX63" fmla="*/ 519299 w 1394458"/>
                <a:gd name="connsiteY63" fmla="*/ 270418 h 273890"/>
                <a:gd name="connsiteX64" fmla="*/ 475705 w 1394458"/>
                <a:gd name="connsiteY64" fmla="*/ 270418 h 273890"/>
                <a:gd name="connsiteX65" fmla="*/ 475705 w 1394458"/>
                <a:gd name="connsiteY65" fmla="*/ 17544 h 273890"/>
                <a:gd name="connsiteX66" fmla="*/ 519299 w 1394458"/>
                <a:gd name="connsiteY66" fmla="*/ 17544 h 273890"/>
                <a:gd name="connsiteX67" fmla="*/ 811424 w 1394458"/>
                <a:gd name="connsiteY67" fmla="*/ 188093 h 273890"/>
                <a:gd name="connsiteX68" fmla="*/ 854843 w 1394458"/>
                <a:gd name="connsiteY68" fmla="*/ 188093 h 273890"/>
                <a:gd name="connsiteX69" fmla="*/ 840947 w 1394458"/>
                <a:gd name="connsiteY69" fmla="*/ 232383 h 273890"/>
                <a:gd name="connsiteX70" fmla="*/ 807776 w 1394458"/>
                <a:gd name="connsiteY70" fmla="*/ 262777 h 273890"/>
                <a:gd name="connsiteX71" fmla="*/ 755845 w 1394458"/>
                <a:gd name="connsiteY71" fmla="*/ 273891 h 273890"/>
                <a:gd name="connsiteX72" fmla="*/ 713642 w 1394458"/>
                <a:gd name="connsiteY72" fmla="*/ 265554 h 273890"/>
                <a:gd name="connsiteX73" fmla="*/ 681512 w 1394458"/>
                <a:gd name="connsiteY73" fmla="*/ 241585 h 273890"/>
                <a:gd name="connsiteX74" fmla="*/ 661021 w 1394458"/>
                <a:gd name="connsiteY74" fmla="*/ 203901 h 273890"/>
                <a:gd name="connsiteX75" fmla="*/ 654075 w 1394458"/>
                <a:gd name="connsiteY75" fmla="*/ 154577 h 273890"/>
                <a:gd name="connsiteX76" fmla="*/ 654075 w 1394458"/>
                <a:gd name="connsiteY76" fmla="*/ 133560 h 273890"/>
                <a:gd name="connsiteX77" fmla="*/ 661196 w 1394458"/>
                <a:gd name="connsiteY77" fmla="*/ 84236 h 273890"/>
                <a:gd name="connsiteX78" fmla="*/ 682037 w 1394458"/>
                <a:gd name="connsiteY78" fmla="*/ 46547 h 273890"/>
                <a:gd name="connsiteX79" fmla="*/ 714513 w 1394458"/>
                <a:gd name="connsiteY79" fmla="*/ 22408 h 273890"/>
                <a:gd name="connsiteX80" fmla="*/ 757411 w 1394458"/>
                <a:gd name="connsiteY80" fmla="*/ 14071 h 273890"/>
                <a:gd name="connsiteX81" fmla="*/ 808472 w 1394458"/>
                <a:gd name="connsiteY81" fmla="*/ 25185 h 273890"/>
                <a:gd name="connsiteX82" fmla="*/ 840777 w 1394458"/>
                <a:gd name="connsiteY82" fmla="*/ 55924 h 273890"/>
                <a:gd name="connsiteX83" fmla="*/ 855018 w 1394458"/>
                <a:gd name="connsiteY83" fmla="*/ 100905 h 273890"/>
                <a:gd name="connsiteX84" fmla="*/ 811599 w 1394458"/>
                <a:gd name="connsiteY84" fmla="*/ 100905 h 273890"/>
                <a:gd name="connsiteX85" fmla="*/ 803958 w 1394458"/>
                <a:gd name="connsiteY85" fmla="*/ 72943 h 273890"/>
                <a:gd name="connsiteX86" fmla="*/ 786940 w 1394458"/>
                <a:gd name="connsiteY86" fmla="*/ 55229 h 273890"/>
                <a:gd name="connsiteX87" fmla="*/ 757416 w 1394458"/>
                <a:gd name="connsiteY87" fmla="*/ 48974 h 273890"/>
                <a:gd name="connsiteX88" fmla="*/ 731366 w 1394458"/>
                <a:gd name="connsiteY88" fmla="*/ 54533 h 273890"/>
                <a:gd name="connsiteX89" fmla="*/ 712781 w 1394458"/>
                <a:gd name="connsiteY89" fmla="*/ 70861 h 273890"/>
                <a:gd name="connsiteX90" fmla="*/ 701492 w 1394458"/>
                <a:gd name="connsiteY90" fmla="*/ 97432 h 273890"/>
                <a:gd name="connsiteX91" fmla="*/ 697844 w 1394458"/>
                <a:gd name="connsiteY91" fmla="*/ 133210 h 273890"/>
                <a:gd name="connsiteX92" fmla="*/ 697844 w 1394458"/>
                <a:gd name="connsiteY92" fmla="*/ 154572 h 273890"/>
                <a:gd name="connsiteX93" fmla="*/ 701142 w 1394458"/>
                <a:gd name="connsiteY93" fmla="*/ 189309 h 273890"/>
                <a:gd name="connsiteX94" fmla="*/ 711565 w 1394458"/>
                <a:gd name="connsiteY94" fmla="*/ 215880 h 273890"/>
                <a:gd name="connsiteX95" fmla="*/ 729629 w 1394458"/>
                <a:gd name="connsiteY95" fmla="*/ 233074 h 273890"/>
                <a:gd name="connsiteX96" fmla="*/ 755855 w 1394458"/>
                <a:gd name="connsiteY96" fmla="*/ 239154 h 273890"/>
                <a:gd name="connsiteX97" fmla="*/ 785904 w 1394458"/>
                <a:gd name="connsiteY97" fmla="*/ 233249 h 273890"/>
                <a:gd name="connsiteX98" fmla="*/ 803443 w 1394458"/>
                <a:gd name="connsiteY98" fmla="*/ 216055 h 273890"/>
                <a:gd name="connsiteX99" fmla="*/ 811434 w 1394458"/>
                <a:gd name="connsiteY99" fmla="*/ 188093 h 273890"/>
                <a:gd name="connsiteX100" fmla="*/ 882285 w 1394458"/>
                <a:gd name="connsiteY100" fmla="*/ 178541 h 273890"/>
                <a:gd name="connsiteX101" fmla="*/ 882285 w 1394458"/>
                <a:gd name="connsiteY101" fmla="*/ 174548 h 273890"/>
                <a:gd name="connsiteX102" fmla="*/ 888190 w 1394458"/>
                <a:gd name="connsiteY102" fmla="*/ 136858 h 273890"/>
                <a:gd name="connsiteX103" fmla="*/ 905208 w 1394458"/>
                <a:gd name="connsiteY103" fmla="*/ 106464 h 273890"/>
                <a:gd name="connsiteX104" fmla="*/ 932650 w 1394458"/>
                <a:gd name="connsiteY104" fmla="*/ 86318 h 273890"/>
                <a:gd name="connsiteX105" fmla="*/ 969469 w 1394458"/>
                <a:gd name="connsiteY105" fmla="*/ 79022 h 273890"/>
                <a:gd name="connsiteX106" fmla="*/ 1006288 w 1394458"/>
                <a:gd name="connsiteY106" fmla="*/ 86318 h 273890"/>
                <a:gd name="connsiteX107" fmla="*/ 1033899 w 1394458"/>
                <a:gd name="connsiteY107" fmla="*/ 106464 h 273890"/>
                <a:gd name="connsiteX108" fmla="*/ 1051093 w 1394458"/>
                <a:gd name="connsiteY108" fmla="*/ 136858 h 273890"/>
                <a:gd name="connsiteX109" fmla="*/ 1056998 w 1394458"/>
                <a:gd name="connsiteY109" fmla="*/ 174548 h 273890"/>
                <a:gd name="connsiteX110" fmla="*/ 1056998 w 1394458"/>
                <a:gd name="connsiteY110" fmla="*/ 178541 h 273890"/>
                <a:gd name="connsiteX111" fmla="*/ 1051093 w 1394458"/>
                <a:gd name="connsiteY111" fmla="*/ 216226 h 273890"/>
                <a:gd name="connsiteX112" fmla="*/ 1033899 w 1394458"/>
                <a:gd name="connsiteY112" fmla="*/ 246619 h 273890"/>
                <a:gd name="connsiteX113" fmla="*/ 1006458 w 1394458"/>
                <a:gd name="connsiteY113" fmla="*/ 266765 h 273890"/>
                <a:gd name="connsiteX114" fmla="*/ 969814 w 1394458"/>
                <a:gd name="connsiteY114" fmla="*/ 273886 h 273890"/>
                <a:gd name="connsiteX115" fmla="*/ 932820 w 1394458"/>
                <a:gd name="connsiteY115" fmla="*/ 266765 h 273890"/>
                <a:gd name="connsiteX116" fmla="*/ 905378 w 1394458"/>
                <a:gd name="connsiteY116" fmla="*/ 246619 h 273890"/>
                <a:gd name="connsiteX117" fmla="*/ 888185 w 1394458"/>
                <a:gd name="connsiteY117" fmla="*/ 216226 h 273890"/>
                <a:gd name="connsiteX118" fmla="*/ 882280 w 1394458"/>
                <a:gd name="connsiteY118" fmla="*/ 178541 h 273890"/>
                <a:gd name="connsiteX119" fmla="*/ 924143 w 1394458"/>
                <a:gd name="connsiteY119" fmla="*/ 174548 h 273890"/>
                <a:gd name="connsiteX120" fmla="*/ 924143 w 1394458"/>
                <a:gd name="connsiteY120" fmla="*/ 178541 h 273890"/>
                <a:gd name="connsiteX121" fmla="*/ 926750 w 1394458"/>
                <a:gd name="connsiteY121" fmla="*/ 202510 h 273890"/>
                <a:gd name="connsiteX122" fmla="*/ 934911 w 1394458"/>
                <a:gd name="connsiteY122" fmla="*/ 222310 h 273890"/>
                <a:gd name="connsiteX123" fmla="*/ 949152 w 1394458"/>
                <a:gd name="connsiteY123" fmla="*/ 235681 h 273890"/>
                <a:gd name="connsiteX124" fmla="*/ 969819 w 1394458"/>
                <a:gd name="connsiteY124" fmla="*/ 240545 h 273890"/>
                <a:gd name="connsiteX125" fmla="*/ 989965 w 1394458"/>
                <a:gd name="connsiteY125" fmla="*/ 235681 h 273890"/>
                <a:gd name="connsiteX126" fmla="*/ 1004206 w 1394458"/>
                <a:gd name="connsiteY126" fmla="*/ 222310 h 273890"/>
                <a:gd name="connsiteX127" fmla="*/ 1012367 w 1394458"/>
                <a:gd name="connsiteY127" fmla="*/ 202510 h 273890"/>
                <a:gd name="connsiteX128" fmla="*/ 1015145 w 1394458"/>
                <a:gd name="connsiteY128" fmla="*/ 178541 h 273890"/>
                <a:gd name="connsiteX129" fmla="*/ 1015145 w 1394458"/>
                <a:gd name="connsiteY129" fmla="*/ 174548 h 273890"/>
                <a:gd name="connsiteX130" fmla="*/ 1012367 w 1394458"/>
                <a:gd name="connsiteY130" fmla="*/ 150929 h 273890"/>
                <a:gd name="connsiteX131" fmla="*/ 1004031 w 1394458"/>
                <a:gd name="connsiteY131" fmla="*/ 130958 h 273890"/>
                <a:gd name="connsiteX132" fmla="*/ 989790 w 1394458"/>
                <a:gd name="connsiteY132" fmla="*/ 117412 h 273890"/>
                <a:gd name="connsiteX133" fmla="*/ 969469 w 1394458"/>
                <a:gd name="connsiteY133" fmla="*/ 112373 h 273890"/>
                <a:gd name="connsiteX134" fmla="*/ 948977 w 1394458"/>
                <a:gd name="connsiteY134" fmla="*/ 117412 h 273890"/>
                <a:gd name="connsiteX135" fmla="*/ 934911 w 1394458"/>
                <a:gd name="connsiteY135" fmla="*/ 130958 h 273890"/>
                <a:gd name="connsiteX136" fmla="*/ 926750 w 1394458"/>
                <a:gd name="connsiteY136" fmla="*/ 150929 h 273890"/>
                <a:gd name="connsiteX137" fmla="*/ 924143 w 1394458"/>
                <a:gd name="connsiteY137" fmla="*/ 174548 h 273890"/>
                <a:gd name="connsiteX138" fmla="*/ 1133598 w 1394458"/>
                <a:gd name="connsiteY138" fmla="*/ 122617 h 273890"/>
                <a:gd name="connsiteX139" fmla="*/ 1133598 w 1394458"/>
                <a:gd name="connsiteY139" fmla="*/ 270418 h 273890"/>
                <a:gd name="connsiteX140" fmla="*/ 1091745 w 1394458"/>
                <a:gd name="connsiteY140" fmla="*/ 270418 h 273890"/>
                <a:gd name="connsiteX141" fmla="*/ 1091745 w 1394458"/>
                <a:gd name="connsiteY141" fmla="*/ 82495 h 273890"/>
                <a:gd name="connsiteX142" fmla="*/ 1131171 w 1394458"/>
                <a:gd name="connsiteY142" fmla="*/ 82495 h 273890"/>
                <a:gd name="connsiteX143" fmla="*/ 1133603 w 1394458"/>
                <a:gd name="connsiteY143" fmla="*/ 122617 h 273890"/>
                <a:gd name="connsiteX144" fmla="*/ 1126132 w 1394458"/>
                <a:gd name="connsiteY144" fmla="*/ 169509 h 273890"/>
                <a:gd name="connsiteX145" fmla="*/ 1112586 w 1394458"/>
                <a:gd name="connsiteY145" fmla="*/ 169334 h 273890"/>
                <a:gd name="connsiteX146" fmla="*/ 1118145 w 1394458"/>
                <a:gd name="connsiteY146" fmla="*/ 132690 h 273890"/>
                <a:gd name="connsiteX147" fmla="*/ 1133428 w 1394458"/>
                <a:gd name="connsiteY147" fmla="*/ 104032 h 273890"/>
                <a:gd name="connsiteX148" fmla="*/ 1157046 w 1394458"/>
                <a:gd name="connsiteY148" fmla="*/ 85623 h 273890"/>
                <a:gd name="connsiteX149" fmla="*/ 1187615 w 1394458"/>
                <a:gd name="connsiteY149" fmla="*/ 79022 h 273890"/>
                <a:gd name="connsiteX150" fmla="*/ 1212105 w 1394458"/>
                <a:gd name="connsiteY150" fmla="*/ 82840 h 273890"/>
                <a:gd name="connsiteX151" fmla="*/ 1231034 w 1394458"/>
                <a:gd name="connsiteY151" fmla="*/ 94825 h 273890"/>
                <a:gd name="connsiteX152" fmla="*/ 1243189 w 1394458"/>
                <a:gd name="connsiteY152" fmla="*/ 116532 h 273890"/>
                <a:gd name="connsiteX153" fmla="*/ 1247357 w 1394458"/>
                <a:gd name="connsiteY153" fmla="*/ 149008 h 273890"/>
                <a:gd name="connsiteX154" fmla="*/ 1247357 w 1394458"/>
                <a:gd name="connsiteY154" fmla="*/ 270408 h 273890"/>
                <a:gd name="connsiteX155" fmla="*/ 1205329 w 1394458"/>
                <a:gd name="connsiteY155" fmla="*/ 270408 h 273890"/>
                <a:gd name="connsiteX156" fmla="*/ 1205329 w 1394458"/>
                <a:gd name="connsiteY156" fmla="*/ 148833 h 273890"/>
                <a:gd name="connsiteX157" fmla="*/ 1201336 w 1394458"/>
                <a:gd name="connsiteY157" fmla="*/ 127471 h 273890"/>
                <a:gd name="connsiteX158" fmla="*/ 1190047 w 1394458"/>
                <a:gd name="connsiteY158" fmla="*/ 116182 h 273890"/>
                <a:gd name="connsiteX159" fmla="*/ 1171813 w 1394458"/>
                <a:gd name="connsiteY159" fmla="*/ 112709 h 273890"/>
                <a:gd name="connsiteX160" fmla="*/ 1152533 w 1394458"/>
                <a:gd name="connsiteY160" fmla="*/ 117223 h 273890"/>
                <a:gd name="connsiteX161" fmla="*/ 1138116 w 1394458"/>
                <a:gd name="connsiteY161" fmla="*/ 129552 h 273890"/>
                <a:gd name="connsiteX162" fmla="*/ 1129259 w 1394458"/>
                <a:gd name="connsiteY162" fmla="*/ 147617 h 273890"/>
                <a:gd name="connsiteX163" fmla="*/ 1126132 w 1394458"/>
                <a:gd name="connsiteY163" fmla="*/ 169499 h 273890"/>
                <a:gd name="connsiteX164" fmla="*/ 1346701 w 1394458"/>
                <a:gd name="connsiteY164" fmla="*/ 270418 h 273890"/>
                <a:gd name="connsiteX165" fmla="*/ 1304843 w 1394458"/>
                <a:gd name="connsiteY165" fmla="*/ 270418 h 273890"/>
                <a:gd name="connsiteX166" fmla="*/ 1304843 w 1394458"/>
                <a:gd name="connsiteY166" fmla="*/ 64436 h 273890"/>
                <a:gd name="connsiteX167" fmla="*/ 1312659 w 1394458"/>
                <a:gd name="connsiteY167" fmla="*/ 29178 h 273890"/>
                <a:gd name="connsiteX168" fmla="*/ 1335412 w 1394458"/>
                <a:gd name="connsiteY168" fmla="*/ 7471 h 273890"/>
                <a:gd name="connsiteX169" fmla="*/ 1370319 w 1394458"/>
                <a:gd name="connsiteY169" fmla="*/ 0 h 273890"/>
                <a:gd name="connsiteX170" fmla="*/ 1382649 w 1394458"/>
                <a:gd name="connsiteY170" fmla="*/ 871 h 273890"/>
                <a:gd name="connsiteX171" fmla="*/ 1394458 w 1394458"/>
                <a:gd name="connsiteY171" fmla="*/ 3127 h 273890"/>
                <a:gd name="connsiteX172" fmla="*/ 1393418 w 1394458"/>
                <a:gd name="connsiteY172" fmla="*/ 35433 h 273890"/>
                <a:gd name="connsiteX173" fmla="*/ 1385776 w 1394458"/>
                <a:gd name="connsiteY173" fmla="*/ 34217 h 273890"/>
                <a:gd name="connsiteX174" fmla="*/ 1377095 w 1394458"/>
                <a:gd name="connsiteY174" fmla="*/ 33867 h 273890"/>
                <a:gd name="connsiteX175" fmla="*/ 1360596 w 1394458"/>
                <a:gd name="connsiteY175" fmla="*/ 37515 h 273890"/>
                <a:gd name="connsiteX176" fmla="*/ 1350178 w 1394458"/>
                <a:gd name="connsiteY176" fmla="*/ 47763 h 273890"/>
                <a:gd name="connsiteX177" fmla="*/ 1346706 w 1394458"/>
                <a:gd name="connsiteY177" fmla="*/ 64436 h 273890"/>
                <a:gd name="connsiteX178" fmla="*/ 1346706 w 1394458"/>
                <a:gd name="connsiteY178" fmla="*/ 270418 h 273890"/>
                <a:gd name="connsiteX179" fmla="*/ 1385431 w 1394458"/>
                <a:gd name="connsiteY179" fmla="*/ 82500 h 273890"/>
                <a:gd name="connsiteX180" fmla="*/ 1385431 w 1394458"/>
                <a:gd name="connsiteY180" fmla="*/ 113069 h 273890"/>
                <a:gd name="connsiteX181" fmla="*/ 1276015 w 1394458"/>
                <a:gd name="connsiteY181" fmla="*/ 113069 h 273890"/>
                <a:gd name="connsiteX182" fmla="*/ 1276015 w 1394458"/>
                <a:gd name="connsiteY182" fmla="*/ 82500 h 273890"/>
                <a:gd name="connsiteX183" fmla="*/ 1385431 w 1394458"/>
                <a:gd name="connsiteY183" fmla="*/ 82500 h 2738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</a:cxnLst>
              <a:rect l="l" t="t" r="r" b="b"/>
              <a:pathLst>
                <a:path w="1394458" h="273890">
                  <a:moveTo>
                    <a:pt x="157354" y="188093"/>
                  </a:moveTo>
                  <a:lnTo>
                    <a:pt x="200773" y="188093"/>
                  </a:lnTo>
                  <a:cubicBezTo>
                    <a:pt x="199382" y="204650"/>
                    <a:pt x="194752" y="219411"/>
                    <a:pt x="186877" y="232383"/>
                  </a:cubicBezTo>
                  <a:cubicBezTo>
                    <a:pt x="179003" y="245233"/>
                    <a:pt x="167947" y="255365"/>
                    <a:pt x="153706" y="262777"/>
                  </a:cubicBezTo>
                  <a:cubicBezTo>
                    <a:pt x="139465" y="270185"/>
                    <a:pt x="122155" y="273891"/>
                    <a:pt x="101775" y="273891"/>
                  </a:cubicBezTo>
                  <a:cubicBezTo>
                    <a:pt x="86143" y="273891"/>
                    <a:pt x="72077" y="271114"/>
                    <a:pt x="59572" y="265554"/>
                  </a:cubicBezTo>
                  <a:cubicBezTo>
                    <a:pt x="47067" y="259878"/>
                    <a:pt x="36357" y="251892"/>
                    <a:pt x="27442" y="241585"/>
                  </a:cubicBezTo>
                  <a:cubicBezTo>
                    <a:pt x="18526" y="231167"/>
                    <a:pt x="11697" y="218604"/>
                    <a:pt x="6950" y="203901"/>
                  </a:cubicBezTo>
                  <a:cubicBezTo>
                    <a:pt x="2315" y="189192"/>
                    <a:pt x="0" y="172753"/>
                    <a:pt x="0" y="154572"/>
                  </a:cubicBezTo>
                  <a:lnTo>
                    <a:pt x="0" y="133555"/>
                  </a:lnTo>
                  <a:cubicBezTo>
                    <a:pt x="0" y="115379"/>
                    <a:pt x="2374" y="98935"/>
                    <a:pt x="7121" y="84231"/>
                  </a:cubicBezTo>
                  <a:cubicBezTo>
                    <a:pt x="11984" y="69528"/>
                    <a:pt x="18930" y="56965"/>
                    <a:pt x="27962" y="46542"/>
                  </a:cubicBezTo>
                  <a:cubicBezTo>
                    <a:pt x="36994" y="36007"/>
                    <a:pt x="47816" y="27957"/>
                    <a:pt x="60438" y="22403"/>
                  </a:cubicBezTo>
                  <a:cubicBezTo>
                    <a:pt x="73171" y="16843"/>
                    <a:pt x="87471" y="14066"/>
                    <a:pt x="103336" y="14066"/>
                  </a:cubicBezTo>
                  <a:cubicBezTo>
                    <a:pt x="123482" y="14066"/>
                    <a:pt x="140506" y="17772"/>
                    <a:pt x="154397" y="25180"/>
                  </a:cubicBezTo>
                  <a:cubicBezTo>
                    <a:pt x="168293" y="32592"/>
                    <a:pt x="179056" y="42836"/>
                    <a:pt x="186702" y="55919"/>
                  </a:cubicBezTo>
                  <a:cubicBezTo>
                    <a:pt x="194460" y="69003"/>
                    <a:pt x="199207" y="83998"/>
                    <a:pt x="200943" y="100900"/>
                  </a:cubicBezTo>
                  <a:lnTo>
                    <a:pt x="157524" y="100900"/>
                  </a:lnTo>
                  <a:cubicBezTo>
                    <a:pt x="156367" y="90015"/>
                    <a:pt x="153818" y="80695"/>
                    <a:pt x="149883" y="72938"/>
                  </a:cubicBezTo>
                  <a:cubicBezTo>
                    <a:pt x="146065" y="65180"/>
                    <a:pt x="140389" y="59275"/>
                    <a:pt x="132865" y="55224"/>
                  </a:cubicBezTo>
                  <a:cubicBezTo>
                    <a:pt x="125340" y="51055"/>
                    <a:pt x="115496" y="48969"/>
                    <a:pt x="103341" y="48969"/>
                  </a:cubicBezTo>
                  <a:cubicBezTo>
                    <a:pt x="93385" y="48969"/>
                    <a:pt x="84698" y="50822"/>
                    <a:pt x="77291" y="54528"/>
                  </a:cubicBezTo>
                  <a:cubicBezTo>
                    <a:pt x="69878" y="58234"/>
                    <a:pt x="63687" y="63677"/>
                    <a:pt x="58706" y="70856"/>
                  </a:cubicBezTo>
                  <a:cubicBezTo>
                    <a:pt x="53730" y="78035"/>
                    <a:pt x="49966" y="86892"/>
                    <a:pt x="47417" y="97427"/>
                  </a:cubicBezTo>
                  <a:cubicBezTo>
                    <a:pt x="44985" y="107845"/>
                    <a:pt x="43769" y="119771"/>
                    <a:pt x="43769" y="133205"/>
                  </a:cubicBezTo>
                  <a:lnTo>
                    <a:pt x="43769" y="154567"/>
                  </a:lnTo>
                  <a:cubicBezTo>
                    <a:pt x="43769" y="167305"/>
                    <a:pt x="44869" y="178881"/>
                    <a:pt x="47067" y="189304"/>
                  </a:cubicBezTo>
                  <a:cubicBezTo>
                    <a:pt x="49382" y="199611"/>
                    <a:pt x="52855" y="208468"/>
                    <a:pt x="57490" y="215875"/>
                  </a:cubicBezTo>
                  <a:cubicBezTo>
                    <a:pt x="62237" y="223288"/>
                    <a:pt x="68259" y="229017"/>
                    <a:pt x="75550" y="233069"/>
                  </a:cubicBezTo>
                  <a:cubicBezTo>
                    <a:pt x="82845" y="237120"/>
                    <a:pt x="91585" y="239149"/>
                    <a:pt x="101775" y="239149"/>
                  </a:cubicBezTo>
                  <a:cubicBezTo>
                    <a:pt x="114163" y="239149"/>
                    <a:pt x="124178" y="237179"/>
                    <a:pt x="131824" y="233244"/>
                  </a:cubicBezTo>
                  <a:cubicBezTo>
                    <a:pt x="139582" y="229304"/>
                    <a:pt x="145428" y="223575"/>
                    <a:pt x="149363" y="216050"/>
                  </a:cubicBezTo>
                  <a:cubicBezTo>
                    <a:pt x="153414" y="208409"/>
                    <a:pt x="156080" y="199090"/>
                    <a:pt x="157354" y="188088"/>
                  </a:cubicBezTo>
                  <a:close/>
                  <a:moveTo>
                    <a:pt x="313837" y="270418"/>
                  </a:moveTo>
                  <a:lnTo>
                    <a:pt x="259825" y="270418"/>
                  </a:lnTo>
                  <a:lnTo>
                    <a:pt x="260170" y="235856"/>
                  </a:lnTo>
                  <a:lnTo>
                    <a:pt x="313837" y="235856"/>
                  </a:lnTo>
                  <a:cubicBezTo>
                    <a:pt x="329469" y="235856"/>
                    <a:pt x="342553" y="232441"/>
                    <a:pt x="353088" y="225608"/>
                  </a:cubicBezTo>
                  <a:cubicBezTo>
                    <a:pt x="363740" y="218779"/>
                    <a:pt x="371731" y="208993"/>
                    <a:pt x="377057" y="196255"/>
                  </a:cubicBezTo>
                  <a:cubicBezTo>
                    <a:pt x="382499" y="183516"/>
                    <a:pt x="385218" y="168351"/>
                    <a:pt x="385218" y="150754"/>
                  </a:cubicBezTo>
                  <a:lnTo>
                    <a:pt x="385218" y="137033"/>
                  </a:lnTo>
                  <a:cubicBezTo>
                    <a:pt x="385218" y="123371"/>
                    <a:pt x="383657" y="111269"/>
                    <a:pt x="380530" y="100734"/>
                  </a:cubicBezTo>
                  <a:cubicBezTo>
                    <a:pt x="377519" y="90199"/>
                    <a:pt x="373005" y="81342"/>
                    <a:pt x="366984" y="74163"/>
                  </a:cubicBezTo>
                  <a:cubicBezTo>
                    <a:pt x="361079" y="66984"/>
                    <a:pt x="353784" y="61542"/>
                    <a:pt x="345102" y="57840"/>
                  </a:cubicBezTo>
                  <a:cubicBezTo>
                    <a:pt x="336532" y="54134"/>
                    <a:pt x="326634" y="52281"/>
                    <a:pt x="315403" y="52281"/>
                  </a:cubicBezTo>
                  <a:lnTo>
                    <a:pt x="258784" y="52281"/>
                  </a:lnTo>
                  <a:lnTo>
                    <a:pt x="258784" y="17544"/>
                  </a:lnTo>
                  <a:lnTo>
                    <a:pt x="315403" y="17544"/>
                  </a:lnTo>
                  <a:cubicBezTo>
                    <a:pt x="332193" y="17544"/>
                    <a:pt x="347534" y="20379"/>
                    <a:pt x="361429" y="26055"/>
                  </a:cubicBezTo>
                  <a:cubicBezTo>
                    <a:pt x="375325" y="31615"/>
                    <a:pt x="387310" y="39660"/>
                    <a:pt x="397383" y="50195"/>
                  </a:cubicBezTo>
                  <a:cubicBezTo>
                    <a:pt x="407572" y="60730"/>
                    <a:pt x="415389" y="73351"/>
                    <a:pt x="420826" y="88054"/>
                  </a:cubicBezTo>
                  <a:cubicBezTo>
                    <a:pt x="426269" y="102758"/>
                    <a:pt x="428988" y="119202"/>
                    <a:pt x="428988" y="137378"/>
                  </a:cubicBezTo>
                  <a:lnTo>
                    <a:pt x="428988" y="150754"/>
                  </a:lnTo>
                  <a:cubicBezTo>
                    <a:pt x="428988" y="168930"/>
                    <a:pt x="426269" y="185374"/>
                    <a:pt x="420826" y="200078"/>
                  </a:cubicBezTo>
                  <a:cubicBezTo>
                    <a:pt x="415384" y="214781"/>
                    <a:pt x="407568" y="227403"/>
                    <a:pt x="397383" y="237938"/>
                  </a:cubicBezTo>
                  <a:cubicBezTo>
                    <a:pt x="387193" y="248356"/>
                    <a:pt x="375038" y="256405"/>
                    <a:pt x="360909" y="262077"/>
                  </a:cubicBezTo>
                  <a:cubicBezTo>
                    <a:pt x="346896" y="267636"/>
                    <a:pt x="331211" y="270413"/>
                    <a:pt x="313842" y="270413"/>
                  </a:cubicBezTo>
                  <a:close/>
                  <a:moveTo>
                    <a:pt x="283964" y="17544"/>
                  </a:moveTo>
                  <a:lnTo>
                    <a:pt x="283964" y="270418"/>
                  </a:lnTo>
                  <a:lnTo>
                    <a:pt x="240369" y="270418"/>
                  </a:lnTo>
                  <a:lnTo>
                    <a:pt x="240369" y="17544"/>
                  </a:lnTo>
                  <a:lnTo>
                    <a:pt x="283964" y="17544"/>
                  </a:lnTo>
                  <a:close/>
                  <a:moveTo>
                    <a:pt x="519299" y="17544"/>
                  </a:moveTo>
                  <a:lnTo>
                    <a:pt x="519299" y="270418"/>
                  </a:lnTo>
                  <a:lnTo>
                    <a:pt x="475705" y="270418"/>
                  </a:lnTo>
                  <a:lnTo>
                    <a:pt x="475705" y="17544"/>
                  </a:lnTo>
                  <a:lnTo>
                    <a:pt x="519299" y="17544"/>
                  </a:lnTo>
                  <a:close/>
                  <a:moveTo>
                    <a:pt x="811424" y="188093"/>
                  </a:moveTo>
                  <a:lnTo>
                    <a:pt x="854843" y="188093"/>
                  </a:lnTo>
                  <a:cubicBezTo>
                    <a:pt x="853452" y="204650"/>
                    <a:pt x="848822" y="219411"/>
                    <a:pt x="840947" y="232383"/>
                  </a:cubicBezTo>
                  <a:cubicBezTo>
                    <a:pt x="833073" y="245233"/>
                    <a:pt x="822017" y="255365"/>
                    <a:pt x="807776" y="262777"/>
                  </a:cubicBezTo>
                  <a:cubicBezTo>
                    <a:pt x="793535" y="270185"/>
                    <a:pt x="776225" y="273891"/>
                    <a:pt x="755845" y="273891"/>
                  </a:cubicBezTo>
                  <a:cubicBezTo>
                    <a:pt x="740213" y="273891"/>
                    <a:pt x="726147" y="271114"/>
                    <a:pt x="713642" y="265554"/>
                  </a:cubicBezTo>
                  <a:cubicBezTo>
                    <a:pt x="701137" y="259878"/>
                    <a:pt x="690427" y="251892"/>
                    <a:pt x="681512" y="241585"/>
                  </a:cubicBezTo>
                  <a:cubicBezTo>
                    <a:pt x="672596" y="231167"/>
                    <a:pt x="665768" y="218604"/>
                    <a:pt x="661021" y="203901"/>
                  </a:cubicBezTo>
                  <a:cubicBezTo>
                    <a:pt x="656390" y="189197"/>
                    <a:pt x="654075" y="172753"/>
                    <a:pt x="654075" y="154577"/>
                  </a:cubicBezTo>
                  <a:lnTo>
                    <a:pt x="654075" y="133560"/>
                  </a:lnTo>
                  <a:cubicBezTo>
                    <a:pt x="654075" y="115384"/>
                    <a:pt x="656449" y="98940"/>
                    <a:pt x="661196" y="84236"/>
                  </a:cubicBezTo>
                  <a:cubicBezTo>
                    <a:pt x="666059" y="69533"/>
                    <a:pt x="673005" y="56970"/>
                    <a:pt x="682037" y="46547"/>
                  </a:cubicBezTo>
                  <a:cubicBezTo>
                    <a:pt x="691069" y="36012"/>
                    <a:pt x="701891" y="27962"/>
                    <a:pt x="714513" y="22408"/>
                  </a:cubicBezTo>
                  <a:cubicBezTo>
                    <a:pt x="727246" y="16848"/>
                    <a:pt x="741546" y="14071"/>
                    <a:pt x="757411" y="14071"/>
                  </a:cubicBezTo>
                  <a:cubicBezTo>
                    <a:pt x="777557" y="14071"/>
                    <a:pt x="794581" y="17777"/>
                    <a:pt x="808472" y="25185"/>
                  </a:cubicBezTo>
                  <a:cubicBezTo>
                    <a:pt x="822368" y="32597"/>
                    <a:pt x="833131" y="42840"/>
                    <a:pt x="840777" y="55924"/>
                  </a:cubicBezTo>
                  <a:cubicBezTo>
                    <a:pt x="848535" y="69008"/>
                    <a:pt x="853282" y="84003"/>
                    <a:pt x="855018" y="100905"/>
                  </a:cubicBezTo>
                  <a:lnTo>
                    <a:pt x="811599" y="100905"/>
                  </a:lnTo>
                  <a:cubicBezTo>
                    <a:pt x="810442" y="90019"/>
                    <a:pt x="807893" y="80700"/>
                    <a:pt x="803958" y="72943"/>
                  </a:cubicBezTo>
                  <a:cubicBezTo>
                    <a:pt x="800140" y="65185"/>
                    <a:pt x="794464" y="59280"/>
                    <a:pt x="786940" y="55229"/>
                  </a:cubicBezTo>
                  <a:cubicBezTo>
                    <a:pt x="779415" y="51060"/>
                    <a:pt x="769571" y="48974"/>
                    <a:pt x="757416" y="48974"/>
                  </a:cubicBezTo>
                  <a:cubicBezTo>
                    <a:pt x="747460" y="48974"/>
                    <a:pt x="738773" y="50827"/>
                    <a:pt x="731366" y="54533"/>
                  </a:cubicBezTo>
                  <a:cubicBezTo>
                    <a:pt x="723953" y="58239"/>
                    <a:pt x="717762" y="63682"/>
                    <a:pt x="712781" y="70861"/>
                  </a:cubicBezTo>
                  <a:cubicBezTo>
                    <a:pt x="707801" y="78040"/>
                    <a:pt x="704041" y="86897"/>
                    <a:pt x="701492" y="97432"/>
                  </a:cubicBezTo>
                  <a:cubicBezTo>
                    <a:pt x="699060" y="107850"/>
                    <a:pt x="697844" y="119776"/>
                    <a:pt x="697844" y="133210"/>
                  </a:cubicBezTo>
                  <a:lnTo>
                    <a:pt x="697844" y="154572"/>
                  </a:lnTo>
                  <a:cubicBezTo>
                    <a:pt x="697844" y="167310"/>
                    <a:pt x="698944" y="178886"/>
                    <a:pt x="701142" y="189309"/>
                  </a:cubicBezTo>
                  <a:cubicBezTo>
                    <a:pt x="703457" y="199616"/>
                    <a:pt x="706930" y="208473"/>
                    <a:pt x="711565" y="215880"/>
                  </a:cubicBezTo>
                  <a:cubicBezTo>
                    <a:pt x="716312" y="223293"/>
                    <a:pt x="722334" y="229022"/>
                    <a:pt x="729629" y="233074"/>
                  </a:cubicBezTo>
                  <a:cubicBezTo>
                    <a:pt x="736925" y="237125"/>
                    <a:pt x="745665" y="239154"/>
                    <a:pt x="755855" y="239154"/>
                  </a:cubicBezTo>
                  <a:cubicBezTo>
                    <a:pt x="768243" y="239154"/>
                    <a:pt x="778258" y="237184"/>
                    <a:pt x="785904" y="233249"/>
                  </a:cubicBezTo>
                  <a:cubicBezTo>
                    <a:pt x="793661" y="229309"/>
                    <a:pt x="799508" y="223580"/>
                    <a:pt x="803443" y="216055"/>
                  </a:cubicBezTo>
                  <a:cubicBezTo>
                    <a:pt x="807494" y="208414"/>
                    <a:pt x="810159" y="199095"/>
                    <a:pt x="811434" y="188093"/>
                  </a:cubicBezTo>
                  <a:close/>
                  <a:moveTo>
                    <a:pt x="882285" y="178541"/>
                  </a:moveTo>
                  <a:lnTo>
                    <a:pt x="882285" y="174548"/>
                  </a:lnTo>
                  <a:cubicBezTo>
                    <a:pt x="882285" y="161002"/>
                    <a:pt x="884255" y="148439"/>
                    <a:pt x="888190" y="136858"/>
                  </a:cubicBezTo>
                  <a:cubicBezTo>
                    <a:pt x="892124" y="125165"/>
                    <a:pt x="897800" y="115034"/>
                    <a:pt x="905208" y="106464"/>
                  </a:cubicBezTo>
                  <a:cubicBezTo>
                    <a:pt x="912732" y="97782"/>
                    <a:pt x="921881" y="91065"/>
                    <a:pt x="932650" y="86318"/>
                  </a:cubicBezTo>
                  <a:cubicBezTo>
                    <a:pt x="943535" y="81454"/>
                    <a:pt x="955806" y="79022"/>
                    <a:pt x="969469" y="79022"/>
                  </a:cubicBezTo>
                  <a:cubicBezTo>
                    <a:pt x="983131" y="79022"/>
                    <a:pt x="995519" y="81454"/>
                    <a:pt x="1006288" y="86318"/>
                  </a:cubicBezTo>
                  <a:cubicBezTo>
                    <a:pt x="1017173" y="91065"/>
                    <a:pt x="1026375" y="97782"/>
                    <a:pt x="1033899" y="106464"/>
                  </a:cubicBezTo>
                  <a:cubicBezTo>
                    <a:pt x="1041424" y="115034"/>
                    <a:pt x="1047158" y="125165"/>
                    <a:pt x="1051093" y="136858"/>
                  </a:cubicBezTo>
                  <a:cubicBezTo>
                    <a:pt x="1055028" y="148434"/>
                    <a:pt x="1056998" y="160997"/>
                    <a:pt x="1056998" y="174548"/>
                  </a:cubicBezTo>
                  <a:lnTo>
                    <a:pt x="1056998" y="178541"/>
                  </a:lnTo>
                  <a:cubicBezTo>
                    <a:pt x="1056998" y="192086"/>
                    <a:pt x="1055028" y="204650"/>
                    <a:pt x="1051093" y="216226"/>
                  </a:cubicBezTo>
                  <a:cubicBezTo>
                    <a:pt x="1047153" y="227806"/>
                    <a:pt x="1041424" y="237938"/>
                    <a:pt x="1033899" y="246619"/>
                  </a:cubicBezTo>
                  <a:cubicBezTo>
                    <a:pt x="1026375" y="255189"/>
                    <a:pt x="1017226" y="261902"/>
                    <a:pt x="1006458" y="266765"/>
                  </a:cubicBezTo>
                  <a:cubicBezTo>
                    <a:pt x="995689" y="271512"/>
                    <a:pt x="983476" y="273886"/>
                    <a:pt x="969814" y="273886"/>
                  </a:cubicBezTo>
                  <a:cubicBezTo>
                    <a:pt x="956151" y="273886"/>
                    <a:pt x="943705" y="271512"/>
                    <a:pt x="932820" y="266765"/>
                  </a:cubicBezTo>
                  <a:cubicBezTo>
                    <a:pt x="922051" y="261902"/>
                    <a:pt x="912907" y="255189"/>
                    <a:pt x="905378" y="246619"/>
                  </a:cubicBezTo>
                  <a:cubicBezTo>
                    <a:pt x="897854" y="237938"/>
                    <a:pt x="892119" y="227806"/>
                    <a:pt x="888185" y="216226"/>
                  </a:cubicBezTo>
                  <a:cubicBezTo>
                    <a:pt x="884245" y="204650"/>
                    <a:pt x="882280" y="192086"/>
                    <a:pt x="882280" y="178541"/>
                  </a:cubicBezTo>
                  <a:close/>
                  <a:moveTo>
                    <a:pt x="924143" y="174548"/>
                  </a:moveTo>
                  <a:lnTo>
                    <a:pt x="924143" y="178541"/>
                  </a:lnTo>
                  <a:cubicBezTo>
                    <a:pt x="924143" y="186994"/>
                    <a:pt x="925013" y="194980"/>
                    <a:pt x="926750" y="202510"/>
                  </a:cubicBezTo>
                  <a:cubicBezTo>
                    <a:pt x="928486" y="210034"/>
                    <a:pt x="931210" y="216634"/>
                    <a:pt x="934911" y="222310"/>
                  </a:cubicBezTo>
                  <a:cubicBezTo>
                    <a:pt x="938617" y="227981"/>
                    <a:pt x="943365" y="232441"/>
                    <a:pt x="949152" y="235681"/>
                  </a:cubicBezTo>
                  <a:cubicBezTo>
                    <a:pt x="954940" y="238925"/>
                    <a:pt x="961832" y="240545"/>
                    <a:pt x="969819" y="240545"/>
                  </a:cubicBezTo>
                  <a:cubicBezTo>
                    <a:pt x="977805" y="240545"/>
                    <a:pt x="984293" y="238925"/>
                    <a:pt x="989965" y="235681"/>
                  </a:cubicBezTo>
                  <a:cubicBezTo>
                    <a:pt x="995753" y="232441"/>
                    <a:pt x="1000500" y="227981"/>
                    <a:pt x="1004206" y="222310"/>
                  </a:cubicBezTo>
                  <a:cubicBezTo>
                    <a:pt x="1007912" y="216634"/>
                    <a:pt x="1010631" y="210039"/>
                    <a:pt x="1012367" y="202510"/>
                  </a:cubicBezTo>
                  <a:cubicBezTo>
                    <a:pt x="1014220" y="194985"/>
                    <a:pt x="1015145" y="186994"/>
                    <a:pt x="1015145" y="178541"/>
                  </a:cubicBezTo>
                  <a:lnTo>
                    <a:pt x="1015145" y="174548"/>
                  </a:lnTo>
                  <a:cubicBezTo>
                    <a:pt x="1015145" y="166211"/>
                    <a:pt x="1014220" y="158336"/>
                    <a:pt x="1012367" y="150929"/>
                  </a:cubicBezTo>
                  <a:cubicBezTo>
                    <a:pt x="1010631" y="143405"/>
                    <a:pt x="1007854" y="136746"/>
                    <a:pt x="1004031" y="130958"/>
                  </a:cubicBezTo>
                  <a:cubicBezTo>
                    <a:pt x="1000325" y="125170"/>
                    <a:pt x="995578" y="120652"/>
                    <a:pt x="989790" y="117412"/>
                  </a:cubicBezTo>
                  <a:cubicBezTo>
                    <a:pt x="984118" y="114056"/>
                    <a:pt x="977343" y="112373"/>
                    <a:pt x="969469" y="112373"/>
                  </a:cubicBezTo>
                  <a:cubicBezTo>
                    <a:pt x="961594" y="112373"/>
                    <a:pt x="954765" y="114051"/>
                    <a:pt x="948977" y="117412"/>
                  </a:cubicBezTo>
                  <a:cubicBezTo>
                    <a:pt x="943301" y="120657"/>
                    <a:pt x="938613" y="125170"/>
                    <a:pt x="934911" y="130958"/>
                  </a:cubicBezTo>
                  <a:cubicBezTo>
                    <a:pt x="931205" y="136746"/>
                    <a:pt x="928486" y="143405"/>
                    <a:pt x="926750" y="150929"/>
                  </a:cubicBezTo>
                  <a:cubicBezTo>
                    <a:pt x="925013" y="158336"/>
                    <a:pt x="924143" y="166211"/>
                    <a:pt x="924143" y="174548"/>
                  </a:cubicBezTo>
                  <a:close/>
                  <a:moveTo>
                    <a:pt x="1133598" y="122617"/>
                  </a:moveTo>
                  <a:lnTo>
                    <a:pt x="1133598" y="270418"/>
                  </a:lnTo>
                  <a:lnTo>
                    <a:pt x="1091745" y="270418"/>
                  </a:lnTo>
                  <a:lnTo>
                    <a:pt x="1091745" y="82495"/>
                  </a:lnTo>
                  <a:lnTo>
                    <a:pt x="1131171" y="82495"/>
                  </a:lnTo>
                  <a:lnTo>
                    <a:pt x="1133603" y="122617"/>
                  </a:lnTo>
                  <a:close/>
                  <a:moveTo>
                    <a:pt x="1126132" y="169509"/>
                  </a:moveTo>
                  <a:lnTo>
                    <a:pt x="1112586" y="169334"/>
                  </a:lnTo>
                  <a:cubicBezTo>
                    <a:pt x="1112703" y="156016"/>
                    <a:pt x="1114556" y="143803"/>
                    <a:pt x="1118145" y="132690"/>
                  </a:cubicBezTo>
                  <a:cubicBezTo>
                    <a:pt x="1121852" y="121576"/>
                    <a:pt x="1126944" y="112023"/>
                    <a:pt x="1133428" y="104032"/>
                  </a:cubicBezTo>
                  <a:cubicBezTo>
                    <a:pt x="1140028" y="96046"/>
                    <a:pt x="1147902" y="89908"/>
                    <a:pt x="1157046" y="85623"/>
                  </a:cubicBezTo>
                  <a:cubicBezTo>
                    <a:pt x="1166195" y="81226"/>
                    <a:pt x="1176385" y="79022"/>
                    <a:pt x="1187615" y="79022"/>
                  </a:cubicBezTo>
                  <a:cubicBezTo>
                    <a:pt x="1196647" y="79022"/>
                    <a:pt x="1204809" y="80297"/>
                    <a:pt x="1212105" y="82840"/>
                  </a:cubicBezTo>
                  <a:cubicBezTo>
                    <a:pt x="1219517" y="85272"/>
                    <a:pt x="1225825" y="89265"/>
                    <a:pt x="1231034" y="94825"/>
                  </a:cubicBezTo>
                  <a:cubicBezTo>
                    <a:pt x="1236360" y="100384"/>
                    <a:pt x="1240412" y="107617"/>
                    <a:pt x="1243189" y="116532"/>
                  </a:cubicBezTo>
                  <a:cubicBezTo>
                    <a:pt x="1245966" y="125331"/>
                    <a:pt x="1247357" y="136157"/>
                    <a:pt x="1247357" y="149008"/>
                  </a:cubicBezTo>
                  <a:lnTo>
                    <a:pt x="1247357" y="270408"/>
                  </a:lnTo>
                  <a:lnTo>
                    <a:pt x="1205329" y="270408"/>
                  </a:lnTo>
                  <a:lnTo>
                    <a:pt x="1205329" y="148833"/>
                  </a:lnTo>
                  <a:cubicBezTo>
                    <a:pt x="1205329" y="139800"/>
                    <a:pt x="1203996" y="132680"/>
                    <a:pt x="1201336" y="127471"/>
                  </a:cubicBezTo>
                  <a:cubicBezTo>
                    <a:pt x="1198787" y="122145"/>
                    <a:pt x="1195028" y="118380"/>
                    <a:pt x="1190047" y="116182"/>
                  </a:cubicBezTo>
                  <a:cubicBezTo>
                    <a:pt x="1185183" y="113867"/>
                    <a:pt x="1179104" y="112709"/>
                    <a:pt x="1171813" y="112709"/>
                  </a:cubicBezTo>
                  <a:cubicBezTo>
                    <a:pt x="1164522" y="112709"/>
                    <a:pt x="1158209" y="114212"/>
                    <a:pt x="1152533" y="117223"/>
                  </a:cubicBezTo>
                  <a:cubicBezTo>
                    <a:pt x="1146861" y="120233"/>
                    <a:pt x="1142056" y="124343"/>
                    <a:pt x="1138116" y="129552"/>
                  </a:cubicBezTo>
                  <a:cubicBezTo>
                    <a:pt x="1134293" y="134762"/>
                    <a:pt x="1131341" y="140783"/>
                    <a:pt x="1129259" y="147617"/>
                  </a:cubicBezTo>
                  <a:cubicBezTo>
                    <a:pt x="1127178" y="154445"/>
                    <a:pt x="1126132" y="161741"/>
                    <a:pt x="1126132" y="169499"/>
                  </a:cubicBezTo>
                  <a:close/>
                  <a:moveTo>
                    <a:pt x="1346701" y="270418"/>
                  </a:moveTo>
                  <a:lnTo>
                    <a:pt x="1304843" y="270418"/>
                  </a:lnTo>
                  <a:lnTo>
                    <a:pt x="1304843" y="64436"/>
                  </a:lnTo>
                  <a:cubicBezTo>
                    <a:pt x="1304843" y="50428"/>
                    <a:pt x="1307450" y="38672"/>
                    <a:pt x="1312659" y="29178"/>
                  </a:cubicBezTo>
                  <a:cubicBezTo>
                    <a:pt x="1317985" y="19567"/>
                    <a:pt x="1325567" y="12330"/>
                    <a:pt x="1335412" y="7471"/>
                  </a:cubicBezTo>
                  <a:cubicBezTo>
                    <a:pt x="1345256" y="2490"/>
                    <a:pt x="1356890" y="0"/>
                    <a:pt x="1370319" y="0"/>
                  </a:cubicBezTo>
                  <a:cubicBezTo>
                    <a:pt x="1374488" y="0"/>
                    <a:pt x="1378597" y="292"/>
                    <a:pt x="1382649" y="871"/>
                  </a:cubicBezTo>
                  <a:cubicBezTo>
                    <a:pt x="1386701" y="1333"/>
                    <a:pt x="1390640" y="2087"/>
                    <a:pt x="1394458" y="3127"/>
                  </a:cubicBezTo>
                  <a:lnTo>
                    <a:pt x="1393418" y="35433"/>
                  </a:lnTo>
                  <a:cubicBezTo>
                    <a:pt x="1391102" y="34854"/>
                    <a:pt x="1388554" y="34450"/>
                    <a:pt x="1385776" y="34217"/>
                  </a:cubicBezTo>
                  <a:cubicBezTo>
                    <a:pt x="1383116" y="33983"/>
                    <a:pt x="1380217" y="33867"/>
                    <a:pt x="1377095" y="33867"/>
                  </a:cubicBezTo>
                  <a:cubicBezTo>
                    <a:pt x="1370728" y="33867"/>
                    <a:pt x="1365227" y="35083"/>
                    <a:pt x="1360596" y="37515"/>
                  </a:cubicBezTo>
                  <a:cubicBezTo>
                    <a:pt x="1356083" y="39830"/>
                    <a:pt x="1352605" y="43244"/>
                    <a:pt x="1350178" y="47763"/>
                  </a:cubicBezTo>
                  <a:cubicBezTo>
                    <a:pt x="1347863" y="52281"/>
                    <a:pt x="1346706" y="57836"/>
                    <a:pt x="1346706" y="64436"/>
                  </a:cubicBezTo>
                  <a:lnTo>
                    <a:pt x="1346706" y="270418"/>
                  </a:lnTo>
                  <a:close/>
                  <a:moveTo>
                    <a:pt x="1385431" y="82500"/>
                  </a:moveTo>
                  <a:lnTo>
                    <a:pt x="1385431" y="113069"/>
                  </a:lnTo>
                  <a:lnTo>
                    <a:pt x="1276015" y="113069"/>
                  </a:lnTo>
                  <a:lnTo>
                    <a:pt x="1276015" y="82500"/>
                  </a:lnTo>
                  <a:lnTo>
                    <a:pt x="1385431" y="82500"/>
                  </a:lnTo>
                  <a:close/>
                </a:path>
              </a:pathLst>
            </a:custGeom>
            <a:solidFill>
              <a:schemeClr val="tx1"/>
            </a:solidFill>
            <a:ln w="4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7" name="Полилиния: фигура 46">
              <a:extLst>
                <a:ext uri="{FF2B5EF4-FFF2-40B4-BE49-F238E27FC236}">
                  <a16:creationId xmlns:a16="http://schemas.microsoft.com/office/drawing/2014/main" id="{0E6F0FB0-99D0-4190-B058-29B8184B7C5F}"/>
                </a:ext>
              </a:extLst>
            </p:cNvPr>
            <p:cNvSpPr/>
            <p:nvPr/>
          </p:nvSpPr>
          <p:spPr>
            <a:xfrm>
              <a:off x="8902858" y="5892336"/>
              <a:ext cx="774600" cy="259834"/>
            </a:xfrm>
            <a:custGeom>
              <a:avLst/>
              <a:gdLst>
                <a:gd name="connsiteX0" fmla="*/ 174372 w 774600"/>
                <a:gd name="connsiteY0" fmla="*/ 223015 h 259834"/>
                <a:gd name="connsiteX1" fmla="*/ 174372 w 774600"/>
                <a:gd name="connsiteY1" fmla="*/ 256362 h 259834"/>
                <a:gd name="connsiteX2" fmla="*/ 4859 w 774600"/>
                <a:gd name="connsiteY2" fmla="*/ 256362 h 259834"/>
                <a:gd name="connsiteX3" fmla="*/ 4859 w 774600"/>
                <a:gd name="connsiteY3" fmla="*/ 227704 h 259834"/>
                <a:gd name="connsiteX4" fmla="*/ 87193 w 774600"/>
                <a:gd name="connsiteY4" fmla="*/ 137913 h 259834"/>
                <a:gd name="connsiteX5" fmla="*/ 108541 w 774600"/>
                <a:gd name="connsiteY5" fmla="*/ 111513 h 259834"/>
                <a:gd name="connsiteX6" fmla="*/ 119499 w 774600"/>
                <a:gd name="connsiteY6" fmla="*/ 91542 h 259834"/>
                <a:gd name="connsiteX7" fmla="*/ 122797 w 774600"/>
                <a:gd name="connsiteY7" fmla="*/ 73998 h 259834"/>
                <a:gd name="connsiteX8" fmla="*/ 118278 w 774600"/>
                <a:gd name="connsiteY8" fmla="*/ 52981 h 259834"/>
                <a:gd name="connsiteX9" fmla="*/ 105413 w 774600"/>
                <a:gd name="connsiteY9" fmla="*/ 38565 h 259834"/>
                <a:gd name="connsiteX10" fmla="*/ 84752 w 774600"/>
                <a:gd name="connsiteY10" fmla="*/ 33181 h 259834"/>
                <a:gd name="connsiteX11" fmla="*/ 61138 w 774600"/>
                <a:gd name="connsiteY11" fmla="*/ 39261 h 259834"/>
                <a:gd name="connsiteX12" fmla="*/ 46712 w 774600"/>
                <a:gd name="connsiteY12" fmla="*/ 56109 h 259834"/>
                <a:gd name="connsiteX13" fmla="*/ 41853 w 774600"/>
                <a:gd name="connsiteY13" fmla="*/ 80423 h 259834"/>
                <a:gd name="connsiteX14" fmla="*/ 0 w 774600"/>
                <a:gd name="connsiteY14" fmla="*/ 80423 h 259834"/>
                <a:gd name="connsiteX15" fmla="*/ 10083 w 774600"/>
                <a:gd name="connsiteY15" fmla="*/ 40131 h 259834"/>
                <a:gd name="connsiteX16" fmla="*/ 39261 w 774600"/>
                <a:gd name="connsiteY16" fmla="*/ 10953 h 259834"/>
                <a:gd name="connsiteX17" fmla="*/ 85272 w 774600"/>
                <a:gd name="connsiteY17" fmla="*/ 10 h 259834"/>
                <a:gd name="connsiteX18" fmla="*/ 128346 w 774600"/>
                <a:gd name="connsiteY18" fmla="*/ 8521 h 259834"/>
                <a:gd name="connsiteX19" fmla="*/ 155277 w 774600"/>
                <a:gd name="connsiteY19" fmla="*/ 32660 h 259834"/>
                <a:gd name="connsiteX20" fmla="*/ 164654 w 774600"/>
                <a:gd name="connsiteY20" fmla="*/ 69655 h 259834"/>
                <a:gd name="connsiteX21" fmla="*/ 160827 w 774600"/>
                <a:gd name="connsiteY21" fmla="*/ 93103 h 259834"/>
                <a:gd name="connsiteX22" fmla="*/ 149888 w 774600"/>
                <a:gd name="connsiteY22" fmla="*/ 116376 h 259834"/>
                <a:gd name="connsiteX23" fmla="*/ 133400 w 774600"/>
                <a:gd name="connsiteY23" fmla="*/ 139475 h 259834"/>
                <a:gd name="connsiteX24" fmla="*/ 112378 w 774600"/>
                <a:gd name="connsiteY24" fmla="*/ 162748 h 259834"/>
                <a:gd name="connsiteX25" fmla="*/ 57675 w 774600"/>
                <a:gd name="connsiteY25" fmla="*/ 223015 h 259834"/>
                <a:gd name="connsiteX26" fmla="*/ 174377 w 774600"/>
                <a:gd name="connsiteY26" fmla="*/ 223015 h 259834"/>
                <a:gd name="connsiteX27" fmla="*/ 371848 w 774600"/>
                <a:gd name="connsiteY27" fmla="*/ 108735 h 259834"/>
                <a:gd name="connsiteX28" fmla="*/ 371848 w 774600"/>
                <a:gd name="connsiteY28" fmla="*/ 150068 h 259834"/>
                <a:gd name="connsiteX29" fmla="*/ 365938 w 774600"/>
                <a:gd name="connsiteY29" fmla="*/ 200783 h 259834"/>
                <a:gd name="connsiteX30" fmla="*/ 349260 w 774600"/>
                <a:gd name="connsiteY30" fmla="*/ 234650 h 259834"/>
                <a:gd name="connsiteX31" fmla="*/ 323035 w 774600"/>
                <a:gd name="connsiteY31" fmla="*/ 253755 h 259834"/>
                <a:gd name="connsiteX32" fmla="*/ 289168 w 774600"/>
                <a:gd name="connsiteY32" fmla="*/ 259834 h 259834"/>
                <a:gd name="connsiteX33" fmla="*/ 261381 w 774600"/>
                <a:gd name="connsiteY33" fmla="*/ 256011 h 259834"/>
                <a:gd name="connsiteX34" fmla="*/ 238468 w 774600"/>
                <a:gd name="connsiteY34" fmla="*/ 244027 h 259834"/>
                <a:gd name="connsiteX35" fmla="*/ 220914 w 774600"/>
                <a:gd name="connsiteY35" fmla="*/ 223011 h 259834"/>
                <a:gd name="connsiteX36" fmla="*/ 209800 w 774600"/>
                <a:gd name="connsiteY36" fmla="*/ 191921 h 259834"/>
                <a:gd name="connsiteX37" fmla="*/ 205972 w 774600"/>
                <a:gd name="connsiteY37" fmla="*/ 150063 h 259834"/>
                <a:gd name="connsiteX38" fmla="*/ 205972 w 774600"/>
                <a:gd name="connsiteY38" fmla="*/ 108730 h 259834"/>
                <a:gd name="connsiteX39" fmla="*/ 211882 w 774600"/>
                <a:gd name="connsiteY39" fmla="*/ 58366 h 259834"/>
                <a:gd name="connsiteX40" fmla="*/ 228730 w 774600"/>
                <a:gd name="connsiteY40" fmla="*/ 24844 h 259834"/>
                <a:gd name="connsiteX41" fmla="*/ 254786 w 774600"/>
                <a:gd name="connsiteY41" fmla="*/ 5914 h 259834"/>
                <a:gd name="connsiteX42" fmla="*/ 288827 w 774600"/>
                <a:gd name="connsiteY42" fmla="*/ 10 h 259834"/>
                <a:gd name="connsiteX43" fmla="*/ 316614 w 774600"/>
                <a:gd name="connsiteY43" fmla="*/ 3833 h 259834"/>
                <a:gd name="connsiteX44" fmla="*/ 339542 w 774600"/>
                <a:gd name="connsiteY44" fmla="*/ 15467 h 259834"/>
                <a:gd name="connsiteX45" fmla="*/ 356906 w 774600"/>
                <a:gd name="connsiteY45" fmla="*/ 36308 h 259834"/>
                <a:gd name="connsiteX46" fmla="*/ 368020 w 774600"/>
                <a:gd name="connsiteY46" fmla="*/ 67048 h 259834"/>
                <a:gd name="connsiteX47" fmla="*/ 371848 w 774600"/>
                <a:gd name="connsiteY47" fmla="*/ 108730 h 259834"/>
                <a:gd name="connsiteX48" fmla="*/ 329995 w 774600"/>
                <a:gd name="connsiteY48" fmla="*/ 155978 h 259834"/>
                <a:gd name="connsiteX49" fmla="*/ 329995 w 774600"/>
                <a:gd name="connsiteY49" fmla="*/ 102485 h 259834"/>
                <a:gd name="connsiteX50" fmla="*/ 328258 w 774600"/>
                <a:gd name="connsiteY50" fmla="*/ 75914 h 259834"/>
                <a:gd name="connsiteX51" fmla="*/ 323039 w 774600"/>
                <a:gd name="connsiteY51" fmla="*/ 56289 h 259834"/>
                <a:gd name="connsiteX52" fmla="*/ 314708 w 774600"/>
                <a:gd name="connsiteY52" fmla="*/ 43088 h 259834"/>
                <a:gd name="connsiteX53" fmla="*/ 303234 w 774600"/>
                <a:gd name="connsiteY53" fmla="*/ 35623 h 259834"/>
                <a:gd name="connsiteX54" fmla="*/ 288823 w 774600"/>
                <a:gd name="connsiteY54" fmla="*/ 33191 h 259834"/>
                <a:gd name="connsiteX55" fmla="*/ 271459 w 774600"/>
                <a:gd name="connsiteY55" fmla="*/ 37014 h 259834"/>
                <a:gd name="connsiteX56" fmla="*/ 258613 w 774600"/>
                <a:gd name="connsiteY56" fmla="*/ 48823 h 259834"/>
                <a:gd name="connsiteX57" fmla="*/ 250608 w 774600"/>
                <a:gd name="connsiteY57" fmla="*/ 70360 h 259834"/>
                <a:gd name="connsiteX58" fmla="*/ 248015 w 774600"/>
                <a:gd name="connsiteY58" fmla="*/ 102490 h 259834"/>
                <a:gd name="connsiteX59" fmla="*/ 248015 w 774600"/>
                <a:gd name="connsiteY59" fmla="*/ 155982 h 259834"/>
                <a:gd name="connsiteX60" fmla="*/ 249752 w 774600"/>
                <a:gd name="connsiteY60" fmla="*/ 182904 h 259834"/>
                <a:gd name="connsiteX61" fmla="*/ 254956 w 774600"/>
                <a:gd name="connsiteY61" fmla="*/ 202874 h 259834"/>
                <a:gd name="connsiteX62" fmla="*/ 263302 w 774600"/>
                <a:gd name="connsiteY62" fmla="*/ 216420 h 259834"/>
                <a:gd name="connsiteX63" fmla="*/ 274756 w 774600"/>
                <a:gd name="connsiteY63" fmla="*/ 224061 h 259834"/>
                <a:gd name="connsiteX64" fmla="*/ 289168 w 774600"/>
                <a:gd name="connsiteY64" fmla="*/ 226493 h 259834"/>
                <a:gd name="connsiteX65" fmla="*/ 306721 w 774600"/>
                <a:gd name="connsiteY65" fmla="*/ 222670 h 259834"/>
                <a:gd name="connsiteX66" fmla="*/ 319567 w 774600"/>
                <a:gd name="connsiteY66" fmla="*/ 210511 h 259834"/>
                <a:gd name="connsiteX67" fmla="*/ 327383 w 774600"/>
                <a:gd name="connsiteY67" fmla="*/ 188453 h 259834"/>
                <a:gd name="connsiteX68" fmla="*/ 329995 w 774600"/>
                <a:gd name="connsiteY68" fmla="*/ 155978 h 259834"/>
                <a:gd name="connsiteX69" fmla="*/ 578701 w 774600"/>
                <a:gd name="connsiteY69" fmla="*/ 223015 h 259834"/>
                <a:gd name="connsiteX70" fmla="*/ 578701 w 774600"/>
                <a:gd name="connsiteY70" fmla="*/ 256362 h 259834"/>
                <a:gd name="connsiteX71" fmla="*/ 409187 w 774600"/>
                <a:gd name="connsiteY71" fmla="*/ 256362 h 259834"/>
                <a:gd name="connsiteX72" fmla="*/ 409187 w 774600"/>
                <a:gd name="connsiteY72" fmla="*/ 227704 h 259834"/>
                <a:gd name="connsiteX73" fmla="*/ 491507 w 774600"/>
                <a:gd name="connsiteY73" fmla="*/ 137913 h 259834"/>
                <a:gd name="connsiteX74" fmla="*/ 512874 w 774600"/>
                <a:gd name="connsiteY74" fmla="*/ 111513 h 259834"/>
                <a:gd name="connsiteX75" fmla="*/ 523813 w 774600"/>
                <a:gd name="connsiteY75" fmla="*/ 91542 h 259834"/>
                <a:gd name="connsiteX76" fmla="*/ 527110 w 774600"/>
                <a:gd name="connsiteY76" fmla="*/ 73998 h 259834"/>
                <a:gd name="connsiteX77" fmla="*/ 522592 w 774600"/>
                <a:gd name="connsiteY77" fmla="*/ 52981 h 259834"/>
                <a:gd name="connsiteX78" fmla="*/ 509746 w 774600"/>
                <a:gd name="connsiteY78" fmla="*/ 38565 h 259834"/>
                <a:gd name="connsiteX79" fmla="*/ 489085 w 774600"/>
                <a:gd name="connsiteY79" fmla="*/ 33181 h 259834"/>
                <a:gd name="connsiteX80" fmla="*/ 465452 w 774600"/>
                <a:gd name="connsiteY80" fmla="*/ 39261 h 259834"/>
                <a:gd name="connsiteX81" fmla="*/ 451040 w 774600"/>
                <a:gd name="connsiteY81" fmla="*/ 56109 h 259834"/>
                <a:gd name="connsiteX82" fmla="*/ 446181 w 774600"/>
                <a:gd name="connsiteY82" fmla="*/ 80423 h 259834"/>
                <a:gd name="connsiteX83" fmla="*/ 404328 w 774600"/>
                <a:gd name="connsiteY83" fmla="*/ 80423 h 259834"/>
                <a:gd name="connsiteX84" fmla="*/ 414391 w 774600"/>
                <a:gd name="connsiteY84" fmla="*/ 40131 h 259834"/>
                <a:gd name="connsiteX85" fmla="*/ 443569 w 774600"/>
                <a:gd name="connsiteY85" fmla="*/ 10953 h 259834"/>
                <a:gd name="connsiteX86" fmla="*/ 489596 w 774600"/>
                <a:gd name="connsiteY86" fmla="*/ 10 h 259834"/>
                <a:gd name="connsiteX87" fmla="*/ 532670 w 774600"/>
                <a:gd name="connsiteY87" fmla="*/ 8521 h 259834"/>
                <a:gd name="connsiteX88" fmla="*/ 559581 w 774600"/>
                <a:gd name="connsiteY88" fmla="*/ 32660 h 259834"/>
                <a:gd name="connsiteX89" fmla="*/ 568958 w 774600"/>
                <a:gd name="connsiteY89" fmla="*/ 69655 h 259834"/>
                <a:gd name="connsiteX90" fmla="*/ 565145 w 774600"/>
                <a:gd name="connsiteY90" fmla="*/ 93103 h 259834"/>
                <a:gd name="connsiteX91" fmla="*/ 554207 w 774600"/>
                <a:gd name="connsiteY91" fmla="*/ 116376 h 259834"/>
                <a:gd name="connsiteX92" fmla="*/ 537704 w 774600"/>
                <a:gd name="connsiteY92" fmla="*/ 139475 h 259834"/>
                <a:gd name="connsiteX93" fmla="*/ 516697 w 774600"/>
                <a:gd name="connsiteY93" fmla="*/ 162748 h 259834"/>
                <a:gd name="connsiteX94" fmla="*/ 461979 w 774600"/>
                <a:gd name="connsiteY94" fmla="*/ 223015 h 259834"/>
                <a:gd name="connsiteX95" fmla="*/ 578701 w 774600"/>
                <a:gd name="connsiteY95" fmla="*/ 223015 h 259834"/>
                <a:gd name="connsiteX96" fmla="*/ 660505 w 774600"/>
                <a:gd name="connsiteY96" fmla="*/ 110992 h 259834"/>
                <a:gd name="connsiteX97" fmla="*/ 685510 w 774600"/>
                <a:gd name="connsiteY97" fmla="*/ 110992 h 259834"/>
                <a:gd name="connsiteX98" fmla="*/ 709639 w 774600"/>
                <a:gd name="connsiteY98" fmla="*/ 105953 h 259834"/>
                <a:gd name="connsiteX99" fmla="*/ 724065 w 774600"/>
                <a:gd name="connsiteY99" fmla="*/ 92057 h 259834"/>
                <a:gd name="connsiteX100" fmla="*/ 728754 w 774600"/>
                <a:gd name="connsiteY100" fmla="*/ 71736 h 259834"/>
                <a:gd name="connsiteX101" fmla="*/ 724411 w 774600"/>
                <a:gd name="connsiteY101" fmla="*/ 51240 h 259834"/>
                <a:gd name="connsiteX102" fmla="*/ 711565 w 774600"/>
                <a:gd name="connsiteY102" fmla="*/ 37865 h 259834"/>
                <a:gd name="connsiteX103" fmla="*/ 689858 w 774600"/>
                <a:gd name="connsiteY103" fmla="*/ 33176 h 259834"/>
                <a:gd name="connsiteX104" fmla="*/ 669712 w 774600"/>
                <a:gd name="connsiteY104" fmla="*/ 37690 h 259834"/>
                <a:gd name="connsiteX105" fmla="*/ 655626 w 774600"/>
                <a:gd name="connsiteY105" fmla="*/ 50195 h 259834"/>
                <a:gd name="connsiteX106" fmla="*/ 650422 w 774600"/>
                <a:gd name="connsiteY106" fmla="*/ 69300 h 259834"/>
                <a:gd name="connsiteX107" fmla="*/ 608394 w 774600"/>
                <a:gd name="connsiteY107" fmla="*/ 69300 h 259834"/>
                <a:gd name="connsiteX108" fmla="*/ 618992 w 774600"/>
                <a:gd name="connsiteY108" fmla="*/ 33521 h 259834"/>
                <a:gd name="connsiteX109" fmla="*/ 647810 w 774600"/>
                <a:gd name="connsiteY109" fmla="*/ 9032 h 259834"/>
                <a:gd name="connsiteX110" fmla="*/ 689148 w 774600"/>
                <a:gd name="connsiteY110" fmla="*/ 0 h 259834"/>
                <a:gd name="connsiteX111" fmla="*/ 731876 w 774600"/>
                <a:gd name="connsiteY111" fmla="*/ 8161 h 259834"/>
                <a:gd name="connsiteX112" fmla="*/ 760524 w 774600"/>
                <a:gd name="connsiteY112" fmla="*/ 32130 h 259834"/>
                <a:gd name="connsiteX113" fmla="*/ 770777 w 774600"/>
                <a:gd name="connsiteY113" fmla="*/ 71731 h 259834"/>
                <a:gd name="connsiteX114" fmla="*/ 765743 w 774600"/>
                <a:gd name="connsiteY114" fmla="*/ 93614 h 259834"/>
                <a:gd name="connsiteX115" fmla="*/ 750802 w 774600"/>
                <a:gd name="connsiteY115" fmla="*/ 113935 h 259834"/>
                <a:gd name="connsiteX116" fmla="*/ 726137 w 774600"/>
                <a:gd name="connsiteY116" fmla="*/ 128696 h 259834"/>
                <a:gd name="connsiteX117" fmla="*/ 691925 w 774600"/>
                <a:gd name="connsiteY117" fmla="*/ 134256 h 259834"/>
                <a:gd name="connsiteX118" fmla="*/ 660495 w 774600"/>
                <a:gd name="connsiteY118" fmla="*/ 134256 h 259834"/>
                <a:gd name="connsiteX119" fmla="*/ 660495 w 774600"/>
                <a:gd name="connsiteY119" fmla="*/ 110982 h 259834"/>
                <a:gd name="connsiteX120" fmla="*/ 660505 w 774600"/>
                <a:gd name="connsiteY120" fmla="*/ 143643 h 259834"/>
                <a:gd name="connsiteX121" fmla="*/ 660505 w 774600"/>
                <a:gd name="connsiteY121" fmla="*/ 120715 h 259834"/>
                <a:gd name="connsiteX122" fmla="*/ 691935 w 774600"/>
                <a:gd name="connsiteY122" fmla="*/ 120715 h 259834"/>
                <a:gd name="connsiteX123" fmla="*/ 729790 w 774600"/>
                <a:gd name="connsiteY123" fmla="*/ 125924 h 259834"/>
                <a:gd name="connsiteX124" fmla="*/ 755500 w 774600"/>
                <a:gd name="connsiteY124" fmla="*/ 140340 h 259834"/>
                <a:gd name="connsiteX125" fmla="*/ 769911 w 774600"/>
                <a:gd name="connsiteY125" fmla="*/ 161007 h 259834"/>
                <a:gd name="connsiteX126" fmla="*/ 774600 w 774600"/>
                <a:gd name="connsiteY126" fmla="*/ 185671 h 259834"/>
                <a:gd name="connsiteX127" fmla="*/ 768175 w 774600"/>
                <a:gd name="connsiteY127" fmla="*/ 217281 h 259834"/>
                <a:gd name="connsiteX128" fmla="*/ 750296 w 774600"/>
                <a:gd name="connsiteY128" fmla="*/ 240554 h 259834"/>
                <a:gd name="connsiteX129" fmla="*/ 723024 w 774600"/>
                <a:gd name="connsiteY129" fmla="*/ 254971 h 259834"/>
                <a:gd name="connsiteX130" fmla="*/ 689328 w 774600"/>
                <a:gd name="connsiteY130" fmla="*/ 259834 h 259834"/>
                <a:gd name="connsiteX131" fmla="*/ 658068 w 774600"/>
                <a:gd name="connsiteY131" fmla="*/ 255316 h 259834"/>
                <a:gd name="connsiteX132" fmla="*/ 631327 w 774600"/>
                <a:gd name="connsiteY132" fmla="*/ 241945 h 259834"/>
                <a:gd name="connsiteX133" fmla="*/ 612572 w 774600"/>
                <a:gd name="connsiteY133" fmla="*/ 219543 h 259834"/>
                <a:gd name="connsiteX134" fmla="*/ 605787 w 774600"/>
                <a:gd name="connsiteY134" fmla="*/ 188283 h 259834"/>
                <a:gd name="connsiteX135" fmla="*/ 647640 w 774600"/>
                <a:gd name="connsiteY135" fmla="*/ 188283 h 259834"/>
                <a:gd name="connsiteX136" fmla="*/ 652859 w 774600"/>
                <a:gd name="connsiteY136" fmla="*/ 208254 h 259834"/>
                <a:gd name="connsiteX137" fmla="*/ 667786 w 774600"/>
                <a:gd name="connsiteY137" fmla="*/ 221624 h 259834"/>
                <a:gd name="connsiteX138" fmla="*/ 690028 w 774600"/>
                <a:gd name="connsiteY138" fmla="*/ 226488 h 259834"/>
                <a:gd name="connsiteX139" fmla="*/ 712767 w 774600"/>
                <a:gd name="connsiteY139" fmla="*/ 221799 h 259834"/>
                <a:gd name="connsiteX140" fmla="*/ 727363 w 774600"/>
                <a:gd name="connsiteY140" fmla="*/ 207904 h 259834"/>
                <a:gd name="connsiteX141" fmla="*/ 732567 w 774600"/>
                <a:gd name="connsiteY141" fmla="*/ 185671 h 259834"/>
                <a:gd name="connsiteX142" fmla="*/ 726847 w 774600"/>
                <a:gd name="connsiteY142" fmla="*/ 161702 h 259834"/>
                <a:gd name="connsiteX143" fmla="*/ 710515 w 774600"/>
                <a:gd name="connsiteY143" fmla="*/ 148157 h 259834"/>
                <a:gd name="connsiteX144" fmla="*/ 685510 w 774600"/>
                <a:gd name="connsiteY144" fmla="*/ 143643 h 259834"/>
                <a:gd name="connsiteX145" fmla="*/ 660505 w 774600"/>
                <a:gd name="connsiteY145" fmla="*/ 143643 h 2598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</a:cxnLst>
              <a:rect l="l" t="t" r="r" b="b"/>
              <a:pathLst>
                <a:path w="774600" h="259834">
                  <a:moveTo>
                    <a:pt x="174372" y="223015"/>
                  </a:moveTo>
                  <a:lnTo>
                    <a:pt x="174372" y="256362"/>
                  </a:lnTo>
                  <a:lnTo>
                    <a:pt x="4859" y="256362"/>
                  </a:lnTo>
                  <a:lnTo>
                    <a:pt x="4859" y="227704"/>
                  </a:lnTo>
                  <a:lnTo>
                    <a:pt x="87193" y="137913"/>
                  </a:lnTo>
                  <a:cubicBezTo>
                    <a:pt x="96211" y="127724"/>
                    <a:pt x="103336" y="118925"/>
                    <a:pt x="108541" y="111513"/>
                  </a:cubicBezTo>
                  <a:cubicBezTo>
                    <a:pt x="113760" y="104100"/>
                    <a:pt x="117403" y="97446"/>
                    <a:pt x="119499" y="91542"/>
                  </a:cubicBezTo>
                  <a:cubicBezTo>
                    <a:pt x="121697" y="85520"/>
                    <a:pt x="122797" y="79674"/>
                    <a:pt x="122797" y="73998"/>
                  </a:cubicBezTo>
                  <a:cubicBezTo>
                    <a:pt x="122797" y="66012"/>
                    <a:pt x="121284" y="59003"/>
                    <a:pt x="118278" y="52981"/>
                  </a:cubicBezTo>
                  <a:cubicBezTo>
                    <a:pt x="115374" y="46843"/>
                    <a:pt x="111099" y="42038"/>
                    <a:pt x="105413" y="38565"/>
                  </a:cubicBezTo>
                  <a:cubicBezTo>
                    <a:pt x="99747" y="34976"/>
                    <a:pt x="92860" y="33181"/>
                    <a:pt x="84752" y="33181"/>
                  </a:cubicBezTo>
                  <a:cubicBezTo>
                    <a:pt x="75374" y="33181"/>
                    <a:pt x="67510" y="35209"/>
                    <a:pt x="61138" y="39261"/>
                  </a:cubicBezTo>
                  <a:cubicBezTo>
                    <a:pt x="54766" y="43312"/>
                    <a:pt x="49956" y="48930"/>
                    <a:pt x="46712" y="56109"/>
                  </a:cubicBezTo>
                  <a:cubicBezTo>
                    <a:pt x="43482" y="63171"/>
                    <a:pt x="41853" y="71279"/>
                    <a:pt x="41853" y="80423"/>
                  </a:cubicBezTo>
                  <a:lnTo>
                    <a:pt x="0" y="80423"/>
                  </a:lnTo>
                  <a:cubicBezTo>
                    <a:pt x="0" y="65720"/>
                    <a:pt x="3366" y="52286"/>
                    <a:pt x="10083" y="40131"/>
                  </a:cubicBezTo>
                  <a:cubicBezTo>
                    <a:pt x="16800" y="27860"/>
                    <a:pt x="26517" y="18132"/>
                    <a:pt x="39261" y="10953"/>
                  </a:cubicBezTo>
                  <a:cubicBezTo>
                    <a:pt x="51989" y="3658"/>
                    <a:pt x="67325" y="10"/>
                    <a:pt x="85272" y="10"/>
                  </a:cubicBezTo>
                  <a:cubicBezTo>
                    <a:pt x="102189" y="10"/>
                    <a:pt x="116546" y="2845"/>
                    <a:pt x="128346" y="8521"/>
                  </a:cubicBezTo>
                  <a:cubicBezTo>
                    <a:pt x="140160" y="14193"/>
                    <a:pt x="149129" y="22242"/>
                    <a:pt x="155277" y="32660"/>
                  </a:cubicBezTo>
                  <a:cubicBezTo>
                    <a:pt x="161527" y="43079"/>
                    <a:pt x="164654" y="55413"/>
                    <a:pt x="164654" y="69655"/>
                  </a:cubicBezTo>
                  <a:cubicBezTo>
                    <a:pt x="164654" y="77529"/>
                    <a:pt x="163385" y="85345"/>
                    <a:pt x="160827" y="93103"/>
                  </a:cubicBezTo>
                  <a:cubicBezTo>
                    <a:pt x="158283" y="100861"/>
                    <a:pt x="154645" y="108619"/>
                    <a:pt x="149888" y="116376"/>
                  </a:cubicBezTo>
                  <a:cubicBezTo>
                    <a:pt x="145267" y="124017"/>
                    <a:pt x="139757" y="131717"/>
                    <a:pt x="133400" y="139475"/>
                  </a:cubicBezTo>
                  <a:cubicBezTo>
                    <a:pt x="127028" y="147116"/>
                    <a:pt x="120019" y="154873"/>
                    <a:pt x="112378" y="162748"/>
                  </a:cubicBezTo>
                  <a:lnTo>
                    <a:pt x="57675" y="223015"/>
                  </a:lnTo>
                  <a:lnTo>
                    <a:pt x="174377" y="223015"/>
                  </a:lnTo>
                  <a:close/>
                  <a:moveTo>
                    <a:pt x="371848" y="108735"/>
                  </a:moveTo>
                  <a:lnTo>
                    <a:pt x="371848" y="150068"/>
                  </a:lnTo>
                  <a:cubicBezTo>
                    <a:pt x="371848" y="169869"/>
                    <a:pt x="369873" y="186770"/>
                    <a:pt x="365938" y="200783"/>
                  </a:cubicBezTo>
                  <a:cubicBezTo>
                    <a:pt x="362125" y="214674"/>
                    <a:pt x="356561" y="225963"/>
                    <a:pt x="349260" y="234650"/>
                  </a:cubicBezTo>
                  <a:cubicBezTo>
                    <a:pt x="341960" y="243332"/>
                    <a:pt x="333219" y="249703"/>
                    <a:pt x="323035" y="253755"/>
                  </a:cubicBezTo>
                  <a:cubicBezTo>
                    <a:pt x="312971" y="257806"/>
                    <a:pt x="301668" y="259834"/>
                    <a:pt x="289168" y="259834"/>
                  </a:cubicBezTo>
                  <a:cubicBezTo>
                    <a:pt x="279221" y="259834"/>
                    <a:pt x="269951" y="258560"/>
                    <a:pt x="261381" y="256011"/>
                  </a:cubicBezTo>
                  <a:cubicBezTo>
                    <a:pt x="252933" y="253463"/>
                    <a:pt x="245287" y="249470"/>
                    <a:pt x="238468" y="244027"/>
                  </a:cubicBezTo>
                  <a:cubicBezTo>
                    <a:pt x="231634" y="238584"/>
                    <a:pt x="225773" y="231581"/>
                    <a:pt x="220914" y="223011"/>
                  </a:cubicBezTo>
                  <a:cubicBezTo>
                    <a:pt x="216172" y="214329"/>
                    <a:pt x="212466" y="203964"/>
                    <a:pt x="209800" y="191921"/>
                  </a:cubicBezTo>
                  <a:cubicBezTo>
                    <a:pt x="207256" y="179878"/>
                    <a:pt x="205972" y="165929"/>
                    <a:pt x="205972" y="150063"/>
                  </a:cubicBezTo>
                  <a:lnTo>
                    <a:pt x="205972" y="108730"/>
                  </a:lnTo>
                  <a:cubicBezTo>
                    <a:pt x="205972" y="88813"/>
                    <a:pt x="207947" y="72028"/>
                    <a:pt x="211882" y="58366"/>
                  </a:cubicBezTo>
                  <a:cubicBezTo>
                    <a:pt x="215831" y="44587"/>
                    <a:pt x="221430" y="33414"/>
                    <a:pt x="228730" y="24844"/>
                  </a:cubicBezTo>
                  <a:cubicBezTo>
                    <a:pt x="236031" y="16162"/>
                    <a:pt x="244722" y="9849"/>
                    <a:pt x="254786" y="5914"/>
                  </a:cubicBezTo>
                  <a:cubicBezTo>
                    <a:pt x="264970" y="1980"/>
                    <a:pt x="276323" y="10"/>
                    <a:pt x="288827" y="10"/>
                  </a:cubicBezTo>
                  <a:cubicBezTo>
                    <a:pt x="298910" y="10"/>
                    <a:pt x="308166" y="1284"/>
                    <a:pt x="316614" y="3833"/>
                  </a:cubicBezTo>
                  <a:cubicBezTo>
                    <a:pt x="325184" y="6265"/>
                    <a:pt x="332825" y="10141"/>
                    <a:pt x="339542" y="15467"/>
                  </a:cubicBezTo>
                  <a:cubicBezTo>
                    <a:pt x="346376" y="20793"/>
                    <a:pt x="352164" y="27743"/>
                    <a:pt x="356906" y="36308"/>
                  </a:cubicBezTo>
                  <a:cubicBezTo>
                    <a:pt x="361765" y="44762"/>
                    <a:pt x="365476" y="55010"/>
                    <a:pt x="368020" y="67048"/>
                  </a:cubicBezTo>
                  <a:cubicBezTo>
                    <a:pt x="370578" y="78974"/>
                    <a:pt x="371848" y="92870"/>
                    <a:pt x="371848" y="108730"/>
                  </a:cubicBezTo>
                  <a:close/>
                  <a:moveTo>
                    <a:pt x="329995" y="155978"/>
                  </a:moveTo>
                  <a:lnTo>
                    <a:pt x="329995" y="102485"/>
                  </a:lnTo>
                  <a:cubicBezTo>
                    <a:pt x="329995" y="92412"/>
                    <a:pt x="329411" y="83555"/>
                    <a:pt x="328258" y="75914"/>
                  </a:cubicBezTo>
                  <a:cubicBezTo>
                    <a:pt x="327091" y="68157"/>
                    <a:pt x="325355" y="61615"/>
                    <a:pt x="323039" y="56289"/>
                  </a:cubicBezTo>
                  <a:cubicBezTo>
                    <a:pt x="320841" y="50846"/>
                    <a:pt x="318059" y="46445"/>
                    <a:pt x="314708" y="43088"/>
                  </a:cubicBezTo>
                  <a:cubicBezTo>
                    <a:pt x="311342" y="39616"/>
                    <a:pt x="307529" y="37125"/>
                    <a:pt x="303234" y="35623"/>
                  </a:cubicBezTo>
                  <a:cubicBezTo>
                    <a:pt x="298959" y="34003"/>
                    <a:pt x="294148" y="33191"/>
                    <a:pt x="288823" y="33191"/>
                  </a:cubicBezTo>
                  <a:cubicBezTo>
                    <a:pt x="282349" y="33191"/>
                    <a:pt x="276542" y="34465"/>
                    <a:pt x="271459" y="37014"/>
                  </a:cubicBezTo>
                  <a:cubicBezTo>
                    <a:pt x="266357" y="39445"/>
                    <a:pt x="262081" y="43380"/>
                    <a:pt x="258613" y="48823"/>
                  </a:cubicBezTo>
                  <a:cubicBezTo>
                    <a:pt x="255126" y="54266"/>
                    <a:pt x="252466" y="61445"/>
                    <a:pt x="250608" y="70360"/>
                  </a:cubicBezTo>
                  <a:cubicBezTo>
                    <a:pt x="248871" y="79159"/>
                    <a:pt x="248015" y="89869"/>
                    <a:pt x="248015" y="102490"/>
                  </a:cubicBezTo>
                  <a:lnTo>
                    <a:pt x="248015" y="155982"/>
                  </a:lnTo>
                  <a:cubicBezTo>
                    <a:pt x="248015" y="166172"/>
                    <a:pt x="248584" y="175146"/>
                    <a:pt x="249752" y="182904"/>
                  </a:cubicBezTo>
                  <a:cubicBezTo>
                    <a:pt x="250904" y="190661"/>
                    <a:pt x="252636" y="197320"/>
                    <a:pt x="254956" y="202874"/>
                  </a:cubicBezTo>
                  <a:cubicBezTo>
                    <a:pt x="257276" y="208317"/>
                    <a:pt x="260058" y="212831"/>
                    <a:pt x="263302" y="216420"/>
                  </a:cubicBezTo>
                  <a:cubicBezTo>
                    <a:pt x="266653" y="219893"/>
                    <a:pt x="270481" y="222441"/>
                    <a:pt x="274756" y="224061"/>
                  </a:cubicBezTo>
                  <a:cubicBezTo>
                    <a:pt x="279153" y="225681"/>
                    <a:pt x="283964" y="226493"/>
                    <a:pt x="289168" y="226493"/>
                  </a:cubicBezTo>
                  <a:cubicBezTo>
                    <a:pt x="295778" y="226493"/>
                    <a:pt x="301619" y="225219"/>
                    <a:pt x="306721" y="222670"/>
                  </a:cubicBezTo>
                  <a:cubicBezTo>
                    <a:pt x="311804" y="220121"/>
                    <a:pt x="316099" y="216070"/>
                    <a:pt x="319567" y="210511"/>
                  </a:cubicBezTo>
                  <a:cubicBezTo>
                    <a:pt x="323035" y="204839"/>
                    <a:pt x="325646" y="197485"/>
                    <a:pt x="327383" y="188453"/>
                  </a:cubicBezTo>
                  <a:cubicBezTo>
                    <a:pt x="329119" y="179421"/>
                    <a:pt x="329995" y="168594"/>
                    <a:pt x="329995" y="155978"/>
                  </a:cubicBezTo>
                  <a:close/>
                  <a:moveTo>
                    <a:pt x="578701" y="223015"/>
                  </a:moveTo>
                  <a:lnTo>
                    <a:pt x="578701" y="256362"/>
                  </a:lnTo>
                  <a:lnTo>
                    <a:pt x="409187" y="256362"/>
                  </a:lnTo>
                  <a:lnTo>
                    <a:pt x="409187" y="227704"/>
                  </a:lnTo>
                  <a:lnTo>
                    <a:pt x="491507" y="137913"/>
                  </a:lnTo>
                  <a:cubicBezTo>
                    <a:pt x="500539" y="127724"/>
                    <a:pt x="507670" y="118925"/>
                    <a:pt x="512874" y="111513"/>
                  </a:cubicBezTo>
                  <a:cubicBezTo>
                    <a:pt x="518078" y="104100"/>
                    <a:pt x="521736" y="97446"/>
                    <a:pt x="523813" y="91542"/>
                  </a:cubicBezTo>
                  <a:cubicBezTo>
                    <a:pt x="526011" y="85520"/>
                    <a:pt x="527110" y="79674"/>
                    <a:pt x="527110" y="73998"/>
                  </a:cubicBezTo>
                  <a:cubicBezTo>
                    <a:pt x="527110" y="66012"/>
                    <a:pt x="525617" y="59003"/>
                    <a:pt x="522592" y="52981"/>
                  </a:cubicBezTo>
                  <a:cubicBezTo>
                    <a:pt x="519708" y="46843"/>
                    <a:pt x="515413" y="42038"/>
                    <a:pt x="509746" y="38565"/>
                  </a:cubicBezTo>
                  <a:cubicBezTo>
                    <a:pt x="504080" y="34976"/>
                    <a:pt x="497193" y="33181"/>
                    <a:pt x="489085" y="33181"/>
                  </a:cubicBezTo>
                  <a:cubicBezTo>
                    <a:pt x="479708" y="33181"/>
                    <a:pt x="471823" y="35209"/>
                    <a:pt x="465452" y="39261"/>
                  </a:cubicBezTo>
                  <a:cubicBezTo>
                    <a:pt x="459095" y="43312"/>
                    <a:pt x="454289" y="48930"/>
                    <a:pt x="451040" y="56109"/>
                  </a:cubicBezTo>
                  <a:cubicBezTo>
                    <a:pt x="447796" y="63171"/>
                    <a:pt x="446181" y="71279"/>
                    <a:pt x="446181" y="80423"/>
                  </a:cubicBezTo>
                  <a:lnTo>
                    <a:pt x="404328" y="80423"/>
                  </a:lnTo>
                  <a:cubicBezTo>
                    <a:pt x="404328" y="65720"/>
                    <a:pt x="407679" y="52286"/>
                    <a:pt x="414391" y="40131"/>
                  </a:cubicBezTo>
                  <a:cubicBezTo>
                    <a:pt x="421108" y="27860"/>
                    <a:pt x="430846" y="18132"/>
                    <a:pt x="443569" y="10953"/>
                  </a:cubicBezTo>
                  <a:cubicBezTo>
                    <a:pt x="456313" y="3658"/>
                    <a:pt x="471648" y="10"/>
                    <a:pt x="489596" y="10"/>
                  </a:cubicBezTo>
                  <a:cubicBezTo>
                    <a:pt x="506497" y="10"/>
                    <a:pt x="520855" y="2845"/>
                    <a:pt x="532670" y="8521"/>
                  </a:cubicBezTo>
                  <a:cubicBezTo>
                    <a:pt x="544484" y="14193"/>
                    <a:pt x="553453" y="22242"/>
                    <a:pt x="559581" y="32660"/>
                  </a:cubicBezTo>
                  <a:cubicBezTo>
                    <a:pt x="565831" y="43079"/>
                    <a:pt x="568958" y="55413"/>
                    <a:pt x="568958" y="69655"/>
                  </a:cubicBezTo>
                  <a:cubicBezTo>
                    <a:pt x="568958" y="77529"/>
                    <a:pt x="567689" y="85345"/>
                    <a:pt x="565145" y="93103"/>
                  </a:cubicBezTo>
                  <a:cubicBezTo>
                    <a:pt x="562601" y="100861"/>
                    <a:pt x="558944" y="108619"/>
                    <a:pt x="554207" y="116376"/>
                  </a:cubicBezTo>
                  <a:cubicBezTo>
                    <a:pt x="549571" y="124017"/>
                    <a:pt x="544075" y="131717"/>
                    <a:pt x="537704" y="139475"/>
                  </a:cubicBezTo>
                  <a:cubicBezTo>
                    <a:pt x="531332" y="147116"/>
                    <a:pt x="524323" y="154873"/>
                    <a:pt x="516697" y="162748"/>
                  </a:cubicBezTo>
                  <a:lnTo>
                    <a:pt x="461979" y="223015"/>
                  </a:lnTo>
                  <a:lnTo>
                    <a:pt x="578701" y="223015"/>
                  </a:lnTo>
                  <a:close/>
                  <a:moveTo>
                    <a:pt x="660505" y="110992"/>
                  </a:moveTo>
                  <a:lnTo>
                    <a:pt x="685510" y="110992"/>
                  </a:lnTo>
                  <a:cubicBezTo>
                    <a:pt x="695233" y="110992"/>
                    <a:pt x="703287" y="109314"/>
                    <a:pt x="709639" y="105953"/>
                  </a:cubicBezTo>
                  <a:cubicBezTo>
                    <a:pt x="716132" y="102597"/>
                    <a:pt x="720943" y="97962"/>
                    <a:pt x="724065" y="92057"/>
                  </a:cubicBezTo>
                  <a:cubicBezTo>
                    <a:pt x="727188" y="86153"/>
                    <a:pt x="728754" y="79377"/>
                    <a:pt x="728754" y="71736"/>
                  </a:cubicBezTo>
                  <a:cubicBezTo>
                    <a:pt x="728754" y="64095"/>
                    <a:pt x="727295" y="56916"/>
                    <a:pt x="724411" y="51240"/>
                  </a:cubicBezTo>
                  <a:cubicBezTo>
                    <a:pt x="721628" y="45452"/>
                    <a:pt x="717353" y="40992"/>
                    <a:pt x="711565" y="37865"/>
                  </a:cubicBezTo>
                  <a:cubicBezTo>
                    <a:pt x="705879" y="34737"/>
                    <a:pt x="698652" y="33176"/>
                    <a:pt x="689858" y="33176"/>
                  </a:cubicBezTo>
                  <a:cubicBezTo>
                    <a:pt x="682441" y="33176"/>
                    <a:pt x="675724" y="34684"/>
                    <a:pt x="669712" y="37690"/>
                  </a:cubicBezTo>
                  <a:cubicBezTo>
                    <a:pt x="663803" y="40584"/>
                    <a:pt x="659114" y="44752"/>
                    <a:pt x="655626" y="50195"/>
                  </a:cubicBezTo>
                  <a:cubicBezTo>
                    <a:pt x="652159" y="55520"/>
                    <a:pt x="650422" y="61887"/>
                    <a:pt x="650422" y="69300"/>
                  </a:cubicBezTo>
                  <a:lnTo>
                    <a:pt x="608394" y="69300"/>
                  </a:lnTo>
                  <a:cubicBezTo>
                    <a:pt x="608394" y="55871"/>
                    <a:pt x="611916" y="43945"/>
                    <a:pt x="618992" y="33521"/>
                  </a:cubicBezTo>
                  <a:cubicBezTo>
                    <a:pt x="626050" y="23103"/>
                    <a:pt x="635670" y="14937"/>
                    <a:pt x="647810" y="9032"/>
                  </a:cubicBezTo>
                  <a:cubicBezTo>
                    <a:pt x="660092" y="3011"/>
                    <a:pt x="673866" y="0"/>
                    <a:pt x="689148" y="0"/>
                  </a:cubicBezTo>
                  <a:cubicBezTo>
                    <a:pt x="705480" y="0"/>
                    <a:pt x="719717" y="2724"/>
                    <a:pt x="731876" y="8161"/>
                  </a:cubicBezTo>
                  <a:cubicBezTo>
                    <a:pt x="744138" y="13487"/>
                    <a:pt x="753705" y="21479"/>
                    <a:pt x="760524" y="32130"/>
                  </a:cubicBezTo>
                  <a:cubicBezTo>
                    <a:pt x="767358" y="42782"/>
                    <a:pt x="770777" y="55982"/>
                    <a:pt x="770777" y="71731"/>
                  </a:cubicBezTo>
                  <a:cubicBezTo>
                    <a:pt x="770777" y="78910"/>
                    <a:pt x="769094" y="86206"/>
                    <a:pt x="765743" y="93614"/>
                  </a:cubicBezTo>
                  <a:cubicBezTo>
                    <a:pt x="762378" y="101026"/>
                    <a:pt x="757397" y="107797"/>
                    <a:pt x="750802" y="113935"/>
                  </a:cubicBezTo>
                  <a:cubicBezTo>
                    <a:pt x="744206" y="119956"/>
                    <a:pt x="735982" y="124873"/>
                    <a:pt x="726137" y="128696"/>
                  </a:cubicBezTo>
                  <a:cubicBezTo>
                    <a:pt x="716298" y="132403"/>
                    <a:pt x="704892" y="134256"/>
                    <a:pt x="691925" y="134256"/>
                  </a:cubicBezTo>
                  <a:lnTo>
                    <a:pt x="660495" y="134256"/>
                  </a:lnTo>
                  <a:lnTo>
                    <a:pt x="660495" y="110982"/>
                  </a:lnTo>
                  <a:close/>
                  <a:moveTo>
                    <a:pt x="660505" y="143643"/>
                  </a:moveTo>
                  <a:lnTo>
                    <a:pt x="660505" y="120715"/>
                  </a:lnTo>
                  <a:lnTo>
                    <a:pt x="691935" y="120715"/>
                  </a:lnTo>
                  <a:cubicBezTo>
                    <a:pt x="706755" y="120715"/>
                    <a:pt x="719381" y="122451"/>
                    <a:pt x="729790" y="125924"/>
                  </a:cubicBezTo>
                  <a:cubicBezTo>
                    <a:pt x="740335" y="129397"/>
                    <a:pt x="748905" y="134202"/>
                    <a:pt x="755500" y="140340"/>
                  </a:cubicBezTo>
                  <a:cubicBezTo>
                    <a:pt x="762095" y="146362"/>
                    <a:pt x="766906" y="153249"/>
                    <a:pt x="769911" y="161007"/>
                  </a:cubicBezTo>
                  <a:cubicBezTo>
                    <a:pt x="773039" y="168764"/>
                    <a:pt x="774600" y="176984"/>
                    <a:pt x="774600" y="185671"/>
                  </a:cubicBezTo>
                  <a:cubicBezTo>
                    <a:pt x="774600" y="197480"/>
                    <a:pt x="772470" y="208015"/>
                    <a:pt x="768175" y="217281"/>
                  </a:cubicBezTo>
                  <a:cubicBezTo>
                    <a:pt x="764016" y="226430"/>
                    <a:pt x="758044" y="234188"/>
                    <a:pt x="750296" y="240554"/>
                  </a:cubicBezTo>
                  <a:cubicBezTo>
                    <a:pt x="742533" y="246921"/>
                    <a:pt x="733447" y="251726"/>
                    <a:pt x="723024" y="254971"/>
                  </a:cubicBezTo>
                  <a:cubicBezTo>
                    <a:pt x="712718" y="258215"/>
                    <a:pt x="701487" y="259834"/>
                    <a:pt x="689328" y="259834"/>
                  </a:cubicBezTo>
                  <a:cubicBezTo>
                    <a:pt x="678457" y="259834"/>
                    <a:pt x="668029" y="258327"/>
                    <a:pt x="658068" y="255316"/>
                  </a:cubicBezTo>
                  <a:cubicBezTo>
                    <a:pt x="648107" y="252305"/>
                    <a:pt x="639192" y="247850"/>
                    <a:pt x="631327" y="241945"/>
                  </a:cubicBezTo>
                  <a:cubicBezTo>
                    <a:pt x="623443" y="235924"/>
                    <a:pt x="617193" y="228458"/>
                    <a:pt x="612572" y="219543"/>
                  </a:cubicBezTo>
                  <a:cubicBezTo>
                    <a:pt x="608054" y="210511"/>
                    <a:pt x="605787" y="200092"/>
                    <a:pt x="605787" y="188283"/>
                  </a:cubicBezTo>
                  <a:lnTo>
                    <a:pt x="647640" y="188283"/>
                  </a:lnTo>
                  <a:cubicBezTo>
                    <a:pt x="647640" y="195807"/>
                    <a:pt x="649377" y="202466"/>
                    <a:pt x="652859" y="208254"/>
                  </a:cubicBezTo>
                  <a:cubicBezTo>
                    <a:pt x="656449" y="213925"/>
                    <a:pt x="661429" y="218385"/>
                    <a:pt x="667786" y="221624"/>
                  </a:cubicBezTo>
                  <a:cubicBezTo>
                    <a:pt x="674279" y="224869"/>
                    <a:pt x="681682" y="226488"/>
                    <a:pt x="690028" y="226488"/>
                  </a:cubicBezTo>
                  <a:cubicBezTo>
                    <a:pt x="698822" y="226488"/>
                    <a:pt x="706415" y="224927"/>
                    <a:pt x="712767" y="221799"/>
                  </a:cubicBezTo>
                  <a:cubicBezTo>
                    <a:pt x="719138" y="218672"/>
                    <a:pt x="723997" y="214042"/>
                    <a:pt x="727363" y="207904"/>
                  </a:cubicBezTo>
                  <a:cubicBezTo>
                    <a:pt x="730831" y="201765"/>
                    <a:pt x="732567" y="194358"/>
                    <a:pt x="732567" y="185671"/>
                  </a:cubicBezTo>
                  <a:cubicBezTo>
                    <a:pt x="732567" y="175827"/>
                    <a:pt x="730660" y="167840"/>
                    <a:pt x="726847" y="161702"/>
                  </a:cubicBezTo>
                  <a:cubicBezTo>
                    <a:pt x="723019" y="155564"/>
                    <a:pt x="717572" y="151050"/>
                    <a:pt x="710515" y="148157"/>
                  </a:cubicBezTo>
                  <a:cubicBezTo>
                    <a:pt x="703457" y="145146"/>
                    <a:pt x="695111" y="143643"/>
                    <a:pt x="685510" y="143643"/>
                  </a:cubicBezTo>
                  <a:lnTo>
                    <a:pt x="660505" y="143643"/>
                  </a:lnTo>
                  <a:close/>
                </a:path>
              </a:pathLst>
            </a:custGeom>
            <a:solidFill>
              <a:srgbClr val="EE3431"/>
            </a:solidFill>
            <a:ln w="4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8" name="Полилиния: фигура 47">
              <a:extLst>
                <a:ext uri="{FF2B5EF4-FFF2-40B4-BE49-F238E27FC236}">
                  <a16:creationId xmlns:a16="http://schemas.microsoft.com/office/drawing/2014/main" id="{C3ADAD60-17B9-4A06-AE0E-BCB35AB4E7E8}"/>
                </a:ext>
              </a:extLst>
            </p:cNvPr>
            <p:cNvSpPr/>
            <p:nvPr/>
          </p:nvSpPr>
          <p:spPr>
            <a:xfrm>
              <a:off x="8902858" y="5870060"/>
              <a:ext cx="774600" cy="259829"/>
            </a:xfrm>
            <a:custGeom>
              <a:avLst/>
              <a:gdLst>
                <a:gd name="connsiteX0" fmla="*/ 174372 w 774600"/>
                <a:gd name="connsiteY0" fmla="*/ 223011 h 259829"/>
                <a:gd name="connsiteX1" fmla="*/ 174372 w 774600"/>
                <a:gd name="connsiteY1" fmla="*/ 256357 h 259829"/>
                <a:gd name="connsiteX2" fmla="*/ 4859 w 774600"/>
                <a:gd name="connsiteY2" fmla="*/ 256357 h 259829"/>
                <a:gd name="connsiteX3" fmla="*/ 4859 w 774600"/>
                <a:gd name="connsiteY3" fmla="*/ 227699 h 259829"/>
                <a:gd name="connsiteX4" fmla="*/ 87193 w 774600"/>
                <a:gd name="connsiteY4" fmla="*/ 137908 h 259829"/>
                <a:gd name="connsiteX5" fmla="*/ 108541 w 774600"/>
                <a:gd name="connsiteY5" fmla="*/ 111508 h 259829"/>
                <a:gd name="connsiteX6" fmla="*/ 119499 w 774600"/>
                <a:gd name="connsiteY6" fmla="*/ 91537 h 259829"/>
                <a:gd name="connsiteX7" fmla="*/ 122797 w 774600"/>
                <a:gd name="connsiteY7" fmla="*/ 73993 h 259829"/>
                <a:gd name="connsiteX8" fmla="*/ 118278 w 774600"/>
                <a:gd name="connsiteY8" fmla="*/ 52977 h 259829"/>
                <a:gd name="connsiteX9" fmla="*/ 105413 w 774600"/>
                <a:gd name="connsiteY9" fmla="*/ 38560 h 259829"/>
                <a:gd name="connsiteX10" fmla="*/ 84752 w 774600"/>
                <a:gd name="connsiteY10" fmla="*/ 33176 h 259829"/>
                <a:gd name="connsiteX11" fmla="*/ 61138 w 774600"/>
                <a:gd name="connsiteY11" fmla="*/ 39256 h 259829"/>
                <a:gd name="connsiteX12" fmla="*/ 46712 w 774600"/>
                <a:gd name="connsiteY12" fmla="*/ 56104 h 259829"/>
                <a:gd name="connsiteX13" fmla="*/ 41853 w 774600"/>
                <a:gd name="connsiteY13" fmla="*/ 80418 h 259829"/>
                <a:gd name="connsiteX14" fmla="*/ 0 w 774600"/>
                <a:gd name="connsiteY14" fmla="*/ 80418 h 259829"/>
                <a:gd name="connsiteX15" fmla="*/ 10083 w 774600"/>
                <a:gd name="connsiteY15" fmla="*/ 40126 h 259829"/>
                <a:gd name="connsiteX16" fmla="*/ 39261 w 774600"/>
                <a:gd name="connsiteY16" fmla="*/ 10948 h 259829"/>
                <a:gd name="connsiteX17" fmla="*/ 85272 w 774600"/>
                <a:gd name="connsiteY17" fmla="*/ 5 h 259829"/>
                <a:gd name="connsiteX18" fmla="*/ 128346 w 774600"/>
                <a:gd name="connsiteY18" fmla="*/ 8517 h 259829"/>
                <a:gd name="connsiteX19" fmla="*/ 155277 w 774600"/>
                <a:gd name="connsiteY19" fmla="*/ 32660 h 259829"/>
                <a:gd name="connsiteX20" fmla="*/ 164654 w 774600"/>
                <a:gd name="connsiteY20" fmla="*/ 69655 h 259829"/>
                <a:gd name="connsiteX21" fmla="*/ 160827 w 774600"/>
                <a:gd name="connsiteY21" fmla="*/ 93103 h 259829"/>
                <a:gd name="connsiteX22" fmla="*/ 149888 w 774600"/>
                <a:gd name="connsiteY22" fmla="*/ 116376 h 259829"/>
                <a:gd name="connsiteX23" fmla="*/ 133400 w 774600"/>
                <a:gd name="connsiteY23" fmla="*/ 139475 h 259829"/>
                <a:gd name="connsiteX24" fmla="*/ 112378 w 774600"/>
                <a:gd name="connsiteY24" fmla="*/ 162748 h 259829"/>
                <a:gd name="connsiteX25" fmla="*/ 57675 w 774600"/>
                <a:gd name="connsiteY25" fmla="*/ 223015 h 259829"/>
                <a:gd name="connsiteX26" fmla="*/ 174377 w 774600"/>
                <a:gd name="connsiteY26" fmla="*/ 223015 h 259829"/>
                <a:gd name="connsiteX27" fmla="*/ 371848 w 774600"/>
                <a:gd name="connsiteY27" fmla="*/ 108730 h 259829"/>
                <a:gd name="connsiteX28" fmla="*/ 371848 w 774600"/>
                <a:gd name="connsiteY28" fmla="*/ 150063 h 259829"/>
                <a:gd name="connsiteX29" fmla="*/ 365938 w 774600"/>
                <a:gd name="connsiteY29" fmla="*/ 200778 h 259829"/>
                <a:gd name="connsiteX30" fmla="*/ 349260 w 774600"/>
                <a:gd name="connsiteY30" fmla="*/ 234645 h 259829"/>
                <a:gd name="connsiteX31" fmla="*/ 323035 w 774600"/>
                <a:gd name="connsiteY31" fmla="*/ 253750 h 259829"/>
                <a:gd name="connsiteX32" fmla="*/ 289168 w 774600"/>
                <a:gd name="connsiteY32" fmla="*/ 259830 h 259829"/>
                <a:gd name="connsiteX33" fmla="*/ 261381 w 774600"/>
                <a:gd name="connsiteY33" fmla="*/ 256011 h 259829"/>
                <a:gd name="connsiteX34" fmla="*/ 238468 w 774600"/>
                <a:gd name="connsiteY34" fmla="*/ 244027 h 259829"/>
                <a:gd name="connsiteX35" fmla="*/ 220914 w 774600"/>
                <a:gd name="connsiteY35" fmla="*/ 223011 h 259829"/>
                <a:gd name="connsiteX36" fmla="*/ 209800 w 774600"/>
                <a:gd name="connsiteY36" fmla="*/ 191921 h 259829"/>
                <a:gd name="connsiteX37" fmla="*/ 205972 w 774600"/>
                <a:gd name="connsiteY37" fmla="*/ 150063 h 259829"/>
                <a:gd name="connsiteX38" fmla="*/ 205972 w 774600"/>
                <a:gd name="connsiteY38" fmla="*/ 108730 h 259829"/>
                <a:gd name="connsiteX39" fmla="*/ 211882 w 774600"/>
                <a:gd name="connsiteY39" fmla="*/ 58366 h 259829"/>
                <a:gd name="connsiteX40" fmla="*/ 228730 w 774600"/>
                <a:gd name="connsiteY40" fmla="*/ 24844 h 259829"/>
                <a:gd name="connsiteX41" fmla="*/ 254786 w 774600"/>
                <a:gd name="connsiteY41" fmla="*/ 5914 h 259829"/>
                <a:gd name="connsiteX42" fmla="*/ 288827 w 774600"/>
                <a:gd name="connsiteY42" fmla="*/ 10 h 259829"/>
                <a:gd name="connsiteX43" fmla="*/ 316614 w 774600"/>
                <a:gd name="connsiteY43" fmla="*/ 3833 h 259829"/>
                <a:gd name="connsiteX44" fmla="*/ 339542 w 774600"/>
                <a:gd name="connsiteY44" fmla="*/ 15467 h 259829"/>
                <a:gd name="connsiteX45" fmla="*/ 356906 w 774600"/>
                <a:gd name="connsiteY45" fmla="*/ 36308 h 259829"/>
                <a:gd name="connsiteX46" fmla="*/ 368020 w 774600"/>
                <a:gd name="connsiteY46" fmla="*/ 67048 h 259829"/>
                <a:gd name="connsiteX47" fmla="*/ 371848 w 774600"/>
                <a:gd name="connsiteY47" fmla="*/ 108730 h 259829"/>
                <a:gd name="connsiteX48" fmla="*/ 329995 w 774600"/>
                <a:gd name="connsiteY48" fmla="*/ 155968 h 259829"/>
                <a:gd name="connsiteX49" fmla="*/ 329995 w 774600"/>
                <a:gd name="connsiteY49" fmla="*/ 102476 h 259829"/>
                <a:gd name="connsiteX50" fmla="*/ 328258 w 774600"/>
                <a:gd name="connsiteY50" fmla="*/ 75905 h 259829"/>
                <a:gd name="connsiteX51" fmla="*/ 323039 w 774600"/>
                <a:gd name="connsiteY51" fmla="*/ 56279 h 259829"/>
                <a:gd name="connsiteX52" fmla="*/ 314708 w 774600"/>
                <a:gd name="connsiteY52" fmla="*/ 43079 h 259829"/>
                <a:gd name="connsiteX53" fmla="*/ 303234 w 774600"/>
                <a:gd name="connsiteY53" fmla="*/ 35613 h 259829"/>
                <a:gd name="connsiteX54" fmla="*/ 288823 w 774600"/>
                <a:gd name="connsiteY54" fmla="*/ 33181 h 259829"/>
                <a:gd name="connsiteX55" fmla="*/ 271459 w 774600"/>
                <a:gd name="connsiteY55" fmla="*/ 37004 h 259829"/>
                <a:gd name="connsiteX56" fmla="*/ 258613 w 774600"/>
                <a:gd name="connsiteY56" fmla="*/ 48813 h 259829"/>
                <a:gd name="connsiteX57" fmla="*/ 250608 w 774600"/>
                <a:gd name="connsiteY57" fmla="*/ 70350 h 259829"/>
                <a:gd name="connsiteX58" fmla="*/ 248015 w 774600"/>
                <a:gd name="connsiteY58" fmla="*/ 102480 h 259829"/>
                <a:gd name="connsiteX59" fmla="*/ 248015 w 774600"/>
                <a:gd name="connsiteY59" fmla="*/ 155973 h 259829"/>
                <a:gd name="connsiteX60" fmla="*/ 249752 w 774600"/>
                <a:gd name="connsiteY60" fmla="*/ 182894 h 259829"/>
                <a:gd name="connsiteX61" fmla="*/ 254956 w 774600"/>
                <a:gd name="connsiteY61" fmla="*/ 202865 h 259829"/>
                <a:gd name="connsiteX62" fmla="*/ 263302 w 774600"/>
                <a:gd name="connsiteY62" fmla="*/ 216410 h 259829"/>
                <a:gd name="connsiteX63" fmla="*/ 274756 w 774600"/>
                <a:gd name="connsiteY63" fmla="*/ 224051 h 259829"/>
                <a:gd name="connsiteX64" fmla="*/ 289168 w 774600"/>
                <a:gd name="connsiteY64" fmla="*/ 226483 h 259829"/>
                <a:gd name="connsiteX65" fmla="*/ 306721 w 774600"/>
                <a:gd name="connsiteY65" fmla="*/ 222660 h 259829"/>
                <a:gd name="connsiteX66" fmla="*/ 319567 w 774600"/>
                <a:gd name="connsiteY66" fmla="*/ 210501 h 259829"/>
                <a:gd name="connsiteX67" fmla="*/ 327383 w 774600"/>
                <a:gd name="connsiteY67" fmla="*/ 188443 h 259829"/>
                <a:gd name="connsiteX68" fmla="*/ 329995 w 774600"/>
                <a:gd name="connsiteY68" fmla="*/ 155963 h 259829"/>
                <a:gd name="connsiteX69" fmla="*/ 578701 w 774600"/>
                <a:gd name="connsiteY69" fmla="*/ 223006 h 259829"/>
                <a:gd name="connsiteX70" fmla="*/ 578701 w 774600"/>
                <a:gd name="connsiteY70" fmla="*/ 256352 h 259829"/>
                <a:gd name="connsiteX71" fmla="*/ 409187 w 774600"/>
                <a:gd name="connsiteY71" fmla="*/ 256352 h 259829"/>
                <a:gd name="connsiteX72" fmla="*/ 409187 w 774600"/>
                <a:gd name="connsiteY72" fmla="*/ 227694 h 259829"/>
                <a:gd name="connsiteX73" fmla="*/ 491507 w 774600"/>
                <a:gd name="connsiteY73" fmla="*/ 137904 h 259829"/>
                <a:gd name="connsiteX74" fmla="*/ 512874 w 774600"/>
                <a:gd name="connsiteY74" fmla="*/ 111503 h 259829"/>
                <a:gd name="connsiteX75" fmla="*/ 523813 w 774600"/>
                <a:gd name="connsiteY75" fmla="*/ 91532 h 259829"/>
                <a:gd name="connsiteX76" fmla="*/ 527110 w 774600"/>
                <a:gd name="connsiteY76" fmla="*/ 73988 h 259829"/>
                <a:gd name="connsiteX77" fmla="*/ 522592 w 774600"/>
                <a:gd name="connsiteY77" fmla="*/ 52972 h 259829"/>
                <a:gd name="connsiteX78" fmla="*/ 509746 w 774600"/>
                <a:gd name="connsiteY78" fmla="*/ 38555 h 259829"/>
                <a:gd name="connsiteX79" fmla="*/ 489085 w 774600"/>
                <a:gd name="connsiteY79" fmla="*/ 33171 h 259829"/>
                <a:gd name="connsiteX80" fmla="*/ 465452 w 774600"/>
                <a:gd name="connsiteY80" fmla="*/ 39251 h 259829"/>
                <a:gd name="connsiteX81" fmla="*/ 451040 w 774600"/>
                <a:gd name="connsiteY81" fmla="*/ 56099 h 259829"/>
                <a:gd name="connsiteX82" fmla="*/ 446181 w 774600"/>
                <a:gd name="connsiteY82" fmla="*/ 80413 h 259829"/>
                <a:gd name="connsiteX83" fmla="*/ 404328 w 774600"/>
                <a:gd name="connsiteY83" fmla="*/ 80413 h 259829"/>
                <a:gd name="connsiteX84" fmla="*/ 414391 w 774600"/>
                <a:gd name="connsiteY84" fmla="*/ 40122 h 259829"/>
                <a:gd name="connsiteX85" fmla="*/ 443569 w 774600"/>
                <a:gd name="connsiteY85" fmla="*/ 10944 h 259829"/>
                <a:gd name="connsiteX86" fmla="*/ 489596 w 774600"/>
                <a:gd name="connsiteY86" fmla="*/ 0 h 259829"/>
                <a:gd name="connsiteX87" fmla="*/ 532670 w 774600"/>
                <a:gd name="connsiteY87" fmla="*/ 8512 h 259829"/>
                <a:gd name="connsiteX88" fmla="*/ 559581 w 774600"/>
                <a:gd name="connsiteY88" fmla="*/ 32656 h 259829"/>
                <a:gd name="connsiteX89" fmla="*/ 568958 w 774600"/>
                <a:gd name="connsiteY89" fmla="*/ 69650 h 259829"/>
                <a:gd name="connsiteX90" fmla="*/ 565145 w 774600"/>
                <a:gd name="connsiteY90" fmla="*/ 93098 h 259829"/>
                <a:gd name="connsiteX91" fmla="*/ 554207 w 774600"/>
                <a:gd name="connsiteY91" fmla="*/ 116372 h 259829"/>
                <a:gd name="connsiteX92" fmla="*/ 537704 w 774600"/>
                <a:gd name="connsiteY92" fmla="*/ 139470 h 259829"/>
                <a:gd name="connsiteX93" fmla="*/ 516697 w 774600"/>
                <a:gd name="connsiteY93" fmla="*/ 162743 h 259829"/>
                <a:gd name="connsiteX94" fmla="*/ 461979 w 774600"/>
                <a:gd name="connsiteY94" fmla="*/ 223011 h 259829"/>
                <a:gd name="connsiteX95" fmla="*/ 578701 w 774600"/>
                <a:gd name="connsiteY95" fmla="*/ 223011 h 259829"/>
                <a:gd name="connsiteX96" fmla="*/ 660505 w 774600"/>
                <a:gd name="connsiteY96" fmla="*/ 110982 h 259829"/>
                <a:gd name="connsiteX97" fmla="*/ 685510 w 774600"/>
                <a:gd name="connsiteY97" fmla="*/ 110982 h 259829"/>
                <a:gd name="connsiteX98" fmla="*/ 709639 w 774600"/>
                <a:gd name="connsiteY98" fmla="*/ 105948 h 259829"/>
                <a:gd name="connsiteX99" fmla="*/ 724065 w 774600"/>
                <a:gd name="connsiteY99" fmla="*/ 92052 h 259829"/>
                <a:gd name="connsiteX100" fmla="*/ 728754 w 774600"/>
                <a:gd name="connsiteY100" fmla="*/ 71731 h 259829"/>
                <a:gd name="connsiteX101" fmla="*/ 724411 w 774600"/>
                <a:gd name="connsiteY101" fmla="*/ 51240 h 259829"/>
                <a:gd name="connsiteX102" fmla="*/ 711565 w 774600"/>
                <a:gd name="connsiteY102" fmla="*/ 37865 h 259829"/>
                <a:gd name="connsiteX103" fmla="*/ 689858 w 774600"/>
                <a:gd name="connsiteY103" fmla="*/ 33176 h 259829"/>
                <a:gd name="connsiteX104" fmla="*/ 669712 w 774600"/>
                <a:gd name="connsiteY104" fmla="*/ 37690 h 259829"/>
                <a:gd name="connsiteX105" fmla="*/ 655626 w 774600"/>
                <a:gd name="connsiteY105" fmla="*/ 50195 h 259829"/>
                <a:gd name="connsiteX106" fmla="*/ 650422 w 774600"/>
                <a:gd name="connsiteY106" fmla="*/ 69300 h 259829"/>
                <a:gd name="connsiteX107" fmla="*/ 608394 w 774600"/>
                <a:gd name="connsiteY107" fmla="*/ 69300 h 259829"/>
                <a:gd name="connsiteX108" fmla="*/ 618992 w 774600"/>
                <a:gd name="connsiteY108" fmla="*/ 33521 h 259829"/>
                <a:gd name="connsiteX109" fmla="*/ 647810 w 774600"/>
                <a:gd name="connsiteY109" fmla="*/ 9032 h 259829"/>
                <a:gd name="connsiteX110" fmla="*/ 689148 w 774600"/>
                <a:gd name="connsiteY110" fmla="*/ 0 h 259829"/>
                <a:gd name="connsiteX111" fmla="*/ 731876 w 774600"/>
                <a:gd name="connsiteY111" fmla="*/ 8161 h 259829"/>
                <a:gd name="connsiteX112" fmla="*/ 760524 w 774600"/>
                <a:gd name="connsiteY112" fmla="*/ 32130 h 259829"/>
                <a:gd name="connsiteX113" fmla="*/ 770777 w 774600"/>
                <a:gd name="connsiteY113" fmla="*/ 71727 h 259829"/>
                <a:gd name="connsiteX114" fmla="*/ 765743 w 774600"/>
                <a:gd name="connsiteY114" fmla="*/ 93609 h 259829"/>
                <a:gd name="connsiteX115" fmla="*/ 750802 w 774600"/>
                <a:gd name="connsiteY115" fmla="*/ 113930 h 259829"/>
                <a:gd name="connsiteX116" fmla="*/ 726137 w 774600"/>
                <a:gd name="connsiteY116" fmla="*/ 128692 h 259829"/>
                <a:gd name="connsiteX117" fmla="*/ 691925 w 774600"/>
                <a:gd name="connsiteY117" fmla="*/ 134251 h 259829"/>
                <a:gd name="connsiteX118" fmla="*/ 660495 w 774600"/>
                <a:gd name="connsiteY118" fmla="*/ 134251 h 259829"/>
                <a:gd name="connsiteX119" fmla="*/ 660495 w 774600"/>
                <a:gd name="connsiteY119" fmla="*/ 110978 h 259829"/>
                <a:gd name="connsiteX120" fmla="*/ 660505 w 774600"/>
                <a:gd name="connsiteY120" fmla="*/ 143633 h 259829"/>
                <a:gd name="connsiteX121" fmla="*/ 660505 w 774600"/>
                <a:gd name="connsiteY121" fmla="*/ 120705 h 259829"/>
                <a:gd name="connsiteX122" fmla="*/ 691935 w 774600"/>
                <a:gd name="connsiteY122" fmla="*/ 120705 h 259829"/>
                <a:gd name="connsiteX123" fmla="*/ 729790 w 774600"/>
                <a:gd name="connsiteY123" fmla="*/ 125914 h 259829"/>
                <a:gd name="connsiteX124" fmla="*/ 755500 w 774600"/>
                <a:gd name="connsiteY124" fmla="*/ 140331 h 259829"/>
                <a:gd name="connsiteX125" fmla="*/ 769911 w 774600"/>
                <a:gd name="connsiteY125" fmla="*/ 160997 h 259829"/>
                <a:gd name="connsiteX126" fmla="*/ 774600 w 774600"/>
                <a:gd name="connsiteY126" fmla="*/ 185661 h 259829"/>
                <a:gd name="connsiteX127" fmla="*/ 768175 w 774600"/>
                <a:gd name="connsiteY127" fmla="*/ 217271 h 259829"/>
                <a:gd name="connsiteX128" fmla="*/ 750296 w 774600"/>
                <a:gd name="connsiteY128" fmla="*/ 240545 h 259829"/>
                <a:gd name="connsiteX129" fmla="*/ 723024 w 774600"/>
                <a:gd name="connsiteY129" fmla="*/ 254961 h 259829"/>
                <a:gd name="connsiteX130" fmla="*/ 689328 w 774600"/>
                <a:gd name="connsiteY130" fmla="*/ 259825 h 259829"/>
                <a:gd name="connsiteX131" fmla="*/ 658068 w 774600"/>
                <a:gd name="connsiteY131" fmla="*/ 255311 h 259829"/>
                <a:gd name="connsiteX132" fmla="*/ 631327 w 774600"/>
                <a:gd name="connsiteY132" fmla="*/ 241940 h 259829"/>
                <a:gd name="connsiteX133" fmla="*/ 612572 w 774600"/>
                <a:gd name="connsiteY133" fmla="*/ 219538 h 259829"/>
                <a:gd name="connsiteX134" fmla="*/ 605787 w 774600"/>
                <a:gd name="connsiteY134" fmla="*/ 188273 h 259829"/>
                <a:gd name="connsiteX135" fmla="*/ 647640 w 774600"/>
                <a:gd name="connsiteY135" fmla="*/ 188273 h 259829"/>
                <a:gd name="connsiteX136" fmla="*/ 652859 w 774600"/>
                <a:gd name="connsiteY136" fmla="*/ 208249 h 259829"/>
                <a:gd name="connsiteX137" fmla="*/ 667786 w 774600"/>
                <a:gd name="connsiteY137" fmla="*/ 221619 h 259829"/>
                <a:gd name="connsiteX138" fmla="*/ 690028 w 774600"/>
                <a:gd name="connsiteY138" fmla="*/ 226483 h 259829"/>
                <a:gd name="connsiteX139" fmla="*/ 712767 w 774600"/>
                <a:gd name="connsiteY139" fmla="*/ 221795 h 259829"/>
                <a:gd name="connsiteX140" fmla="*/ 727363 w 774600"/>
                <a:gd name="connsiteY140" fmla="*/ 207899 h 259829"/>
                <a:gd name="connsiteX141" fmla="*/ 732567 w 774600"/>
                <a:gd name="connsiteY141" fmla="*/ 185671 h 259829"/>
                <a:gd name="connsiteX142" fmla="*/ 726847 w 774600"/>
                <a:gd name="connsiteY142" fmla="*/ 161702 h 259829"/>
                <a:gd name="connsiteX143" fmla="*/ 710515 w 774600"/>
                <a:gd name="connsiteY143" fmla="*/ 148157 h 259829"/>
                <a:gd name="connsiteX144" fmla="*/ 685510 w 774600"/>
                <a:gd name="connsiteY144" fmla="*/ 143643 h 259829"/>
                <a:gd name="connsiteX145" fmla="*/ 660505 w 774600"/>
                <a:gd name="connsiteY145" fmla="*/ 143643 h 2598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</a:cxnLst>
              <a:rect l="l" t="t" r="r" b="b"/>
              <a:pathLst>
                <a:path w="774600" h="259829">
                  <a:moveTo>
                    <a:pt x="174372" y="223011"/>
                  </a:moveTo>
                  <a:lnTo>
                    <a:pt x="174372" y="256357"/>
                  </a:lnTo>
                  <a:lnTo>
                    <a:pt x="4859" y="256357"/>
                  </a:lnTo>
                  <a:lnTo>
                    <a:pt x="4859" y="227699"/>
                  </a:lnTo>
                  <a:lnTo>
                    <a:pt x="87193" y="137908"/>
                  </a:lnTo>
                  <a:cubicBezTo>
                    <a:pt x="96211" y="127719"/>
                    <a:pt x="103336" y="118920"/>
                    <a:pt x="108541" y="111508"/>
                  </a:cubicBezTo>
                  <a:cubicBezTo>
                    <a:pt x="113760" y="104095"/>
                    <a:pt x="117403" y="97442"/>
                    <a:pt x="119499" y="91537"/>
                  </a:cubicBezTo>
                  <a:cubicBezTo>
                    <a:pt x="121697" y="85516"/>
                    <a:pt x="122797" y="79669"/>
                    <a:pt x="122797" y="73993"/>
                  </a:cubicBezTo>
                  <a:cubicBezTo>
                    <a:pt x="122797" y="66002"/>
                    <a:pt x="121284" y="58998"/>
                    <a:pt x="118278" y="52977"/>
                  </a:cubicBezTo>
                  <a:cubicBezTo>
                    <a:pt x="115374" y="46838"/>
                    <a:pt x="111099" y="42033"/>
                    <a:pt x="105413" y="38560"/>
                  </a:cubicBezTo>
                  <a:cubicBezTo>
                    <a:pt x="99747" y="34971"/>
                    <a:pt x="92860" y="33176"/>
                    <a:pt x="84752" y="33176"/>
                  </a:cubicBezTo>
                  <a:cubicBezTo>
                    <a:pt x="75374" y="33176"/>
                    <a:pt x="67510" y="35204"/>
                    <a:pt x="61138" y="39256"/>
                  </a:cubicBezTo>
                  <a:cubicBezTo>
                    <a:pt x="54766" y="43307"/>
                    <a:pt x="49956" y="48925"/>
                    <a:pt x="46712" y="56104"/>
                  </a:cubicBezTo>
                  <a:cubicBezTo>
                    <a:pt x="43482" y="63166"/>
                    <a:pt x="41853" y="71274"/>
                    <a:pt x="41853" y="80418"/>
                  </a:cubicBezTo>
                  <a:lnTo>
                    <a:pt x="0" y="80418"/>
                  </a:lnTo>
                  <a:cubicBezTo>
                    <a:pt x="0" y="65715"/>
                    <a:pt x="3366" y="52281"/>
                    <a:pt x="10083" y="40126"/>
                  </a:cubicBezTo>
                  <a:cubicBezTo>
                    <a:pt x="16800" y="27855"/>
                    <a:pt x="26517" y="18127"/>
                    <a:pt x="39261" y="10948"/>
                  </a:cubicBezTo>
                  <a:cubicBezTo>
                    <a:pt x="51989" y="3653"/>
                    <a:pt x="67325" y="5"/>
                    <a:pt x="85272" y="5"/>
                  </a:cubicBezTo>
                  <a:cubicBezTo>
                    <a:pt x="102189" y="5"/>
                    <a:pt x="116546" y="2840"/>
                    <a:pt x="128346" y="8517"/>
                  </a:cubicBezTo>
                  <a:cubicBezTo>
                    <a:pt x="140160" y="14193"/>
                    <a:pt x="149129" y="22237"/>
                    <a:pt x="155277" y="32660"/>
                  </a:cubicBezTo>
                  <a:cubicBezTo>
                    <a:pt x="161527" y="43079"/>
                    <a:pt x="164654" y="55413"/>
                    <a:pt x="164654" y="69655"/>
                  </a:cubicBezTo>
                  <a:cubicBezTo>
                    <a:pt x="164654" y="77529"/>
                    <a:pt x="163385" y="85345"/>
                    <a:pt x="160827" y="93103"/>
                  </a:cubicBezTo>
                  <a:cubicBezTo>
                    <a:pt x="158283" y="100861"/>
                    <a:pt x="154645" y="108619"/>
                    <a:pt x="149888" y="116376"/>
                  </a:cubicBezTo>
                  <a:cubicBezTo>
                    <a:pt x="145267" y="124017"/>
                    <a:pt x="139757" y="131717"/>
                    <a:pt x="133400" y="139475"/>
                  </a:cubicBezTo>
                  <a:cubicBezTo>
                    <a:pt x="127028" y="147116"/>
                    <a:pt x="120019" y="154873"/>
                    <a:pt x="112378" y="162748"/>
                  </a:cubicBezTo>
                  <a:lnTo>
                    <a:pt x="57675" y="223015"/>
                  </a:lnTo>
                  <a:lnTo>
                    <a:pt x="174377" y="223015"/>
                  </a:lnTo>
                  <a:close/>
                  <a:moveTo>
                    <a:pt x="371848" y="108730"/>
                  </a:moveTo>
                  <a:lnTo>
                    <a:pt x="371848" y="150063"/>
                  </a:lnTo>
                  <a:cubicBezTo>
                    <a:pt x="371848" y="169864"/>
                    <a:pt x="369873" y="186765"/>
                    <a:pt x="365938" y="200778"/>
                  </a:cubicBezTo>
                  <a:cubicBezTo>
                    <a:pt x="362125" y="214674"/>
                    <a:pt x="356561" y="225963"/>
                    <a:pt x="349260" y="234645"/>
                  </a:cubicBezTo>
                  <a:cubicBezTo>
                    <a:pt x="341960" y="243327"/>
                    <a:pt x="333219" y="249698"/>
                    <a:pt x="323035" y="253750"/>
                  </a:cubicBezTo>
                  <a:cubicBezTo>
                    <a:pt x="312971" y="257801"/>
                    <a:pt x="301668" y="259830"/>
                    <a:pt x="289168" y="259830"/>
                  </a:cubicBezTo>
                  <a:cubicBezTo>
                    <a:pt x="279221" y="259830"/>
                    <a:pt x="269951" y="258555"/>
                    <a:pt x="261381" y="256011"/>
                  </a:cubicBezTo>
                  <a:cubicBezTo>
                    <a:pt x="252933" y="253463"/>
                    <a:pt x="245287" y="249470"/>
                    <a:pt x="238468" y="244027"/>
                  </a:cubicBezTo>
                  <a:cubicBezTo>
                    <a:pt x="231634" y="238584"/>
                    <a:pt x="225773" y="231581"/>
                    <a:pt x="220914" y="223011"/>
                  </a:cubicBezTo>
                  <a:cubicBezTo>
                    <a:pt x="216172" y="214329"/>
                    <a:pt x="212466" y="203964"/>
                    <a:pt x="209800" y="191921"/>
                  </a:cubicBezTo>
                  <a:cubicBezTo>
                    <a:pt x="207256" y="179878"/>
                    <a:pt x="205972" y="165929"/>
                    <a:pt x="205972" y="150063"/>
                  </a:cubicBezTo>
                  <a:lnTo>
                    <a:pt x="205972" y="108730"/>
                  </a:lnTo>
                  <a:cubicBezTo>
                    <a:pt x="205972" y="88813"/>
                    <a:pt x="207947" y="72028"/>
                    <a:pt x="211882" y="58366"/>
                  </a:cubicBezTo>
                  <a:cubicBezTo>
                    <a:pt x="215831" y="44587"/>
                    <a:pt x="221430" y="33414"/>
                    <a:pt x="228730" y="24844"/>
                  </a:cubicBezTo>
                  <a:cubicBezTo>
                    <a:pt x="236031" y="16162"/>
                    <a:pt x="244722" y="9849"/>
                    <a:pt x="254786" y="5914"/>
                  </a:cubicBezTo>
                  <a:cubicBezTo>
                    <a:pt x="264970" y="1975"/>
                    <a:pt x="276323" y="10"/>
                    <a:pt x="288827" y="10"/>
                  </a:cubicBezTo>
                  <a:cubicBezTo>
                    <a:pt x="298910" y="10"/>
                    <a:pt x="308166" y="1284"/>
                    <a:pt x="316614" y="3833"/>
                  </a:cubicBezTo>
                  <a:cubicBezTo>
                    <a:pt x="325184" y="6265"/>
                    <a:pt x="332825" y="10141"/>
                    <a:pt x="339542" y="15467"/>
                  </a:cubicBezTo>
                  <a:cubicBezTo>
                    <a:pt x="346376" y="20793"/>
                    <a:pt x="352164" y="27738"/>
                    <a:pt x="356906" y="36308"/>
                  </a:cubicBezTo>
                  <a:cubicBezTo>
                    <a:pt x="361765" y="44762"/>
                    <a:pt x="365476" y="55010"/>
                    <a:pt x="368020" y="67048"/>
                  </a:cubicBezTo>
                  <a:cubicBezTo>
                    <a:pt x="370578" y="78974"/>
                    <a:pt x="371848" y="92870"/>
                    <a:pt x="371848" y="108730"/>
                  </a:cubicBezTo>
                  <a:close/>
                  <a:moveTo>
                    <a:pt x="329995" y="155968"/>
                  </a:moveTo>
                  <a:lnTo>
                    <a:pt x="329995" y="102476"/>
                  </a:lnTo>
                  <a:cubicBezTo>
                    <a:pt x="329995" y="92403"/>
                    <a:pt x="329411" y="83546"/>
                    <a:pt x="328258" y="75905"/>
                  </a:cubicBezTo>
                  <a:cubicBezTo>
                    <a:pt x="327091" y="68147"/>
                    <a:pt x="325355" y="61605"/>
                    <a:pt x="323039" y="56279"/>
                  </a:cubicBezTo>
                  <a:cubicBezTo>
                    <a:pt x="320841" y="50837"/>
                    <a:pt x="318059" y="46440"/>
                    <a:pt x="314708" y="43079"/>
                  </a:cubicBezTo>
                  <a:cubicBezTo>
                    <a:pt x="311342" y="39606"/>
                    <a:pt x="307529" y="37116"/>
                    <a:pt x="303234" y="35613"/>
                  </a:cubicBezTo>
                  <a:cubicBezTo>
                    <a:pt x="298959" y="33993"/>
                    <a:pt x="294148" y="33181"/>
                    <a:pt x="288823" y="33181"/>
                  </a:cubicBezTo>
                  <a:cubicBezTo>
                    <a:pt x="282349" y="33181"/>
                    <a:pt x="276542" y="34455"/>
                    <a:pt x="271459" y="37004"/>
                  </a:cubicBezTo>
                  <a:cubicBezTo>
                    <a:pt x="266357" y="39436"/>
                    <a:pt x="262081" y="43371"/>
                    <a:pt x="258613" y="48813"/>
                  </a:cubicBezTo>
                  <a:cubicBezTo>
                    <a:pt x="255126" y="54256"/>
                    <a:pt x="252466" y="61435"/>
                    <a:pt x="250608" y="70350"/>
                  </a:cubicBezTo>
                  <a:cubicBezTo>
                    <a:pt x="248871" y="79149"/>
                    <a:pt x="248015" y="89859"/>
                    <a:pt x="248015" y="102480"/>
                  </a:cubicBezTo>
                  <a:lnTo>
                    <a:pt x="248015" y="155973"/>
                  </a:lnTo>
                  <a:cubicBezTo>
                    <a:pt x="248015" y="166162"/>
                    <a:pt x="248584" y="175136"/>
                    <a:pt x="249752" y="182894"/>
                  </a:cubicBezTo>
                  <a:cubicBezTo>
                    <a:pt x="250904" y="190652"/>
                    <a:pt x="252636" y="197310"/>
                    <a:pt x="254956" y="202865"/>
                  </a:cubicBezTo>
                  <a:cubicBezTo>
                    <a:pt x="257276" y="208307"/>
                    <a:pt x="260058" y="212821"/>
                    <a:pt x="263302" y="216410"/>
                  </a:cubicBezTo>
                  <a:cubicBezTo>
                    <a:pt x="266653" y="219883"/>
                    <a:pt x="270481" y="222432"/>
                    <a:pt x="274756" y="224051"/>
                  </a:cubicBezTo>
                  <a:cubicBezTo>
                    <a:pt x="279153" y="225671"/>
                    <a:pt x="283964" y="226483"/>
                    <a:pt x="289168" y="226483"/>
                  </a:cubicBezTo>
                  <a:cubicBezTo>
                    <a:pt x="295778" y="226483"/>
                    <a:pt x="301619" y="225209"/>
                    <a:pt x="306721" y="222660"/>
                  </a:cubicBezTo>
                  <a:cubicBezTo>
                    <a:pt x="311804" y="220112"/>
                    <a:pt x="316099" y="216060"/>
                    <a:pt x="319567" y="210501"/>
                  </a:cubicBezTo>
                  <a:cubicBezTo>
                    <a:pt x="323035" y="204830"/>
                    <a:pt x="325646" y="197476"/>
                    <a:pt x="327383" y="188443"/>
                  </a:cubicBezTo>
                  <a:cubicBezTo>
                    <a:pt x="329119" y="179411"/>
                    <a:pt x="329995" y="168585"/>
                    <a:pt x="329995" y="155963"/>
                  </a:cubicBezTo>
                  <a:close/>
                  <a:moveTo>
                    <a:pt x="578701" y="223006"/>
                  </a:moveTo>
                  <a:lnTo>
                    <a:pt x="578701" y="256352"/>
                  </a:lnTo>
                  <a:lnTo>
                    <a:pt x="409187" y="256352"/>
                  </a:lnTo>
                  <a:lnTo>
                    <a:pt x="409187" y="227694"/>
                  </a:lnTo>
                  <a:lnTo>
                    <a:pt x="491507" y="137904"/>
                  </a:lnTo>
                  <a:cubicBezTo>
                    <a:pt x="500539" y="127714"/>
                    <a:pt x="507670" y="118915"/>
                    <a:pt x="512874" y="111503"/>
                  </a:cubicBezTo>
                  <a:cubicBezTo>
                    <a:pt x="518078" y="104090"/>
                    <a:pt x="521736" y="97437"/>
                    <a:pt x="523813" y="91532"/>
                  </a:cubicBezTo>
                  <a:cubicBezTo>
                    <a:pt x="526011" y="85511"/>
                    <a:pt x="527110" y="79664"/>
                    <a:pt x="527110" y="73988"/>
                  </a:cubicBezTo>
                  <a:cubicBezTo>
                    <a:pt x="527110" y="65997"/>
                    <a:pt x="525617" y="58993"/>
                    <a:pt x="522592" y="52972"/>
                  </a:cubicBezTo>
                  <a:cubicBezTo>
                    <a:pt x="519708" y="46834"/>
                    <a:pt x="515413" y="42028"/>
                    <a:pt x="509746" y="38555"/>
                  </a:cubicBezTo>
                  <a:cubicBezTo>
                    <a:pt x="504080" y="34966"/>
                    <a:pt x="497193" y="33171"/>
                    <a:pt x="489085" y="33171"/>
                  </a:cubicBezTo>
                  <a:cubicBezTo>
                    <a:pt x="479708" y="33171"/>
                    <a:pt x="471823" y="35199"/>
                    <a:pt x="465452" y="39251"/>
                  </a:cubicBezTo>
                  <a:cubicBezTo>
                    <a:pt x="459095" y="43302"/>
                    <a:pt x="454289" y="48920"/>
                    <a:pt x="451040" y="56099"/>
                  </a:cubicBezTo>
                  <a:cubicBezTo>
                    <a:pt x="447796" y="63161"/>
                    <a:pt x="446181" y="71269"/>
                    <a:pt x="446181" y="80413"/>
                  </a:cubicBezTo>
                  <a:lnTo>
                    <a:pt x="404328" y="80413"/>
                  </a:lnTo>
                  <a:cubicBezTo>
                    <a:pt x="404328" y="65710"/>
                    <a:pt x="407679" y="52276"/>
                    <a:pt x="414391" y="40122"/>
                  </a:cubicBezTo>
                  <a:cubicBezTo>
                    <a:pt x="421108" y="27850"/>
                    <a:pt x="430846" y="18123"/>
                    <a:pt x="443569" y="10944"/>
                  </a:cubicBezTo>
                  <a:cubicBezTo>
                    <a:pt x="456313" y="3648"/>
                    <a:pt x="471648" y="0"/>
                    <a:pt x="489596" y="0"/>
                  </a:cubicBezTo>
                  <a:cubicBezTo>
                    <a:pt x="506497" y="0"/>
                    <a:pt x="520855" y="2836"/>
                    <a:pt x="532670" y="8512"/>
                  </a:cubicBezTo>
                  <a:cubicBezTo>
                    <a:pt x="544484" y="14188"/>
                    <a:pt x="553453" y="22232"/>
                    <a:pt x="559581" y="32656"/>
                  </a:cubicBezTo>
                  <a:cubicBezTo>
                    <a:pt x="565831" y="43074"/>
                    <a:pt x="568958" y="55409"/>
                    <a:pt x="568958" y="69650"/>
                  </a:cubicBezTo>
                  <a:cubicBezTo>
                    <a:pt x="568958" y="77524"/>
                    <a:pt x="567689" y="85340"/>
                    <a:pt x="565145" y="93098"/>
                  </a:cubicBezTo>
                  <a:cubicBezTo>
                    <a:pt x="562601" y="100856"/>
                    <a:pt x="558944" y="108614"/>
                    <a:pt x="554207" y="116372"/>
                  </a:cubicBezTo>
                  <a:cubicBezTo>
                    <a:pt x="549571" y="124013"/>
                    <a:pt x="544075" y="131712"/>
                    <a:pt x="537704" y="139470"/>
                  </a:cubicBezTo>
                  <a:cubicBezTo>
                    <a:pt x="531332" y="147111"/>
                    <a:pt x="524323" y="154869"/>
                    <a:pt x="516697" y="162743"/>
                  </a:cubicBezTo>
                  <a:lnTo>
                    <a:pt x="461979" y="223011"/>
                  </a:lnTo>
                  <a:lnTo>
                    <a:pt x="578701" y="223011"/>
                  </a:lnTo>
                  <a:close/>
                  <a:moveTo>
                    <a:pt x="660505" y="110982"/>
                  </a:moveTo>
                  <a:lnTo>
                    <a:pt x="685510" y="110982"/>
                  </a:lnTo>
                  <a:cubicBezTo>
                    <a:pt x="695233" y="110982"/>
                    <a:pt x="703287" y="109304"/>
                    <a:pt x="709639" y="105948"/>
                  </a:cubicBezTo>
                  <a:cubicBezTo>
                    <a:pt x="716132" y="102592"/>
                    <a:pt x="720943" y="97957"/>
                    <a:pt x="724065" y="92052"/>
                  </a:cubicBezTo>
                  <a:cubicBezTo>
                    <a:pt x="727193" y="86148"/>
                    <a:pt x="728754" y="79373"/>
                    <a:pt x="728754" y="71731"/>
                  </a:cubicBezTo>
                  <a:cubicBezTo>
                    <a:pt x="728754" y="64090"/>
                    <a:pt x="727295" y="56911"/>
                    <a:pt x="724411" y="51240"/>
                  </a:cubicBezTo>
                  <a:cubicBezTo>
                    <a:pt x="721628" y="45452"/>
                    <a:pt x="717353" y="40992"/>
                    <a:pt x="711565" y="37865"/>
                  </a:cubicBezTo>
                  <a:cubicBezTo>
                    <a:pt x="705879" y="34737"/>
                    <a:pt x="698652" y="33176"/>
                    <a:pt x="689858" y="33176"/>
                  </a:cubicBezTo>
                  <a:cubicBezTo>
                    <a:pt x="682441" y="33176"/>
                    <a:pt x="675724" y="34679"/>
                    <a:pt x="669712" y="37690"/>
                  </a:cubicBezTo>
                  <a:cubicBezTo>
                    <a:pt x="663803" y="40584"/>
                    <a:pt x="659114" y="44752"/>
                    <a:pt x="655626" y="50195"/>
                  </a:cubicBezTo>
                  <a:cubicBezTo>
                    <a:pt x="652159" y="55520"/>
                    <a:pt x="650422" y="61887"/>
                    <a:pt x="650422" y="69300"/>
                  </a:cubicBezTo>
                  <a:lnTo>
                    <a:pt x="608394" y="69300"/>
                  </a:lnTo>
                  <a:cubicBezTo>
                    <a:pt x="608394" y="55866"/>
                    <a:pt x="611916" y="43945"/>
                    <a:pt x="618992" y="33521"/>
                  </a:cubicBezTo>
                  <a:cubicBezTo>
                    <a:pt x="626050" y="23103"/>
                    <a:pt x="635670" y="14937"/>
                    <a:pt x="647810" y="9032"/>
                  </a:cubicBezTo>
                  <a:cubicBezTo>
                    <a:pt x="660092" y="3011"/>
                    <a:pt x="673866" y="0"/>
                    <a:pt x="689148" y="0"/>
                  </a:cubicBezTo>
                  <a:cubicBezTo>
                    <a:pt x="705480" y="0"/>
                    <a:pt x="719717" y="2724"/>
                    <a:pt x="731876" y="8161"/>
                  </a:cubicBezTo>
                  <a:cubicBezTo>
                    <a:pt x="744138" y="13487"/>
                    <a:pt x="753705" y="21479"/>
                    <a:pt x="760524" y="32130"/>
                  </a:cubicBezTo>
                  <a:cubicBezTo>
                    <a:pt x="767358" y="42782"/>
                    <a:pt x="770777" y="55982"/>
                    <a:pt x="770777" y="71727"/>
                  </a:cubicBezTo>
                  <a:cubicBezTo>
                    <a:pt x="770777" y="78906"/>
                    <a:pt x="769094" y="86201"/>
                    <a:pt x="765743" y="93609"/>
                  </a:cubicBezTo>
                  <a:cubicBezTo>
                    <a:pt x="762378" y="101021"/>
                    <a:pt x="757397" y="107792"/>
                    <a:pt x="750802" y="113930"/>
                  </a:cubicBezTo>
                  <a:cubicBezTo>
                    <a:pt x="744206" y="119951"/>
                    <a:pt x="735982" y="124869"/>
                    <a:pt x="726137" y="128692"/>
                  </a:cubicBezTo>
                  <a:cubicBezTo>
                    <a:pt x="716298" y="132398"/>
                    <a:pt x="704892" y="134251"/>
                    <a:pt x="691925" y="134251"/>
                  </a:cubicBezTo>
                  <a:lnTo>
                    <a:pt x="660495" y="134251"/>
                  </a:lnTo>
                  <a:lnTo>
                    <a:pt x="660495" y="110978"/>
                  </a:lnTo>
                  <a:close/>
                  <a:moveTo>
                    <a:pt x="660505" y="143633"/>
                  </a:moveTo>
                  <a:lnTo>
                    <a:pt x="660505" y="120705"/>
                  </a:lnTo>
                  <a:lnTo>
                    <a:pt x="691935" y="120705"/>
                  </a:lnTo>
                  <a:cubicBezTo>
                    <a:pt x="706755" y="120705"/>
                    <a:pt x="719381" y="122442"/>
                    <a:pt x="729790" y="125914"/>
                  </a:cubicBezTo>
                  <a:cubicBezTo>
                    <a:pt x="740335" y="129387"/>
                    <a:pt x="748905" y="134193"/>
                    <a:pt x="755500" y="140331"/>
                  </a:cubicBezTo>
                  <a:cubicBezTo>
                    <a:pt x="762095" y="146352"/>
                    <a:pt x="766906" y="153239"/>
                    <a:pt x="769911" y="160997"/>
                  </a:cubicBezTo>
                  <a:cubicBezTo>
                    <a:pt x="773039" y="168755"/>
                    <a:pt x="774600" y="176975"/>
                    <a:pt x="774600" y="185661"/>
                  </a:cubicBezTo>
                  <a:cubicBezTo>
                    <a:pt x="774600" y="197471"/>
                    <a:pt x="772470" y="208006"/>
                    <a:pt x="768175" y="217271"/>
                  </a:cubicBezTo>
                  <a:cubicBezTo>
                    <a:pt x="764016" y="226420"/>
                    <a:pt x="758044" y="234178"/>
                    <a:pt x="750296" y="240545"/>
                  </a:cubicBezTo>
                  <a:cubicBezTo>
                    <a:pt x="742533" y="246911"/>
                    <a:pt x="733447" y="251717"/>
                    <a:pt x="723024" y="254961"/>
                  </a:cubicBezTo>
                  <a:cubicBezTo>
                    <a:pt x="712718" y="258205"/>
                    <a:pt x="701487" y="259825"/>
                    <a:pt x="689328" y="259825"/>
                  </a:cubicBezTo>
                  <a:cubicBezTo>
                    <a:pt x="678457" y="259825"/>
                    <a:pt x="668029" y="258322"/>
                    <a:pt x="658068" y="255311"/>
                  </a:cubicBezTo>
                  <a:cubicBezTo>
                    <a:pt x="648107" y="252300"/>
                    <a:pt x="639192" y="247845"/>
                    <a:pt x="631327" y="241940"/>
                  </a:cubicBezTo>
                  <a:cubicBezTo>
                    <a:pt x="623443" y="235919"/>
                    <a:pt x="617193" y="228453"/>
                    <a:pt x="612572" y="219538"/>
                  </a:cubicBezTo>
                  <a:cubicBezTo>
                    <a:pt x="608054" y="210506"/>
                    <a:pt x="605787" y="200087"/>
                    <a:pt x="605787" y="188273"/>
                  </a:cubicBezTo>
                  <a:lnTo>
                    <a:pt x="647640" y="188273"/>
                  </a:lnTo>
                  <a:cubicBezTo>
                    <a:pt x="647640" y="195802"/>
                    <a:pt x="649377" y="202456"/>
                    <a:pt x="652859" y="208249"/>
                  </a:cubicBezTo>
                  <a:cubicBezTo>
                    <a:pt x="656449" y="213920"/>
                    <a:pt x="661429" y="218380"/>
                    <a:pt x="667786" y="221619"/>
                  </a:cubicBezTo>
                  <a:cubicBezTo>
                    <a:pt x="674279" y="224864"/>
                    <a:pt x="681682" y="226483"/>
                    <a:pt x="690028" y="226483"/>
                  </a:cubicBezTo>
                  <a:cubicBezTo>
                    <a:pt x="698822" y="226483"/>
                    <a:pt x="706415" y="224922"/>
                    <a:pt x="712767" y="221795"/>
                  </a:cubicBezTo>
                  <a:cubicBezTo>
                    <a:pt x="719138" y="218667"/>
                    <a:pt x="723997" y="214037"/>
                    <a:pt x="727363" y="207899"/>
                  </a:cubicBezTo>
                  <a:cubicBezTo>
                    <a:pt x="730831" y="201761"/>
                    <a:pt x="732567" y="194353"/>
                    <a:pt x="732567" y="185671"/>
                  </a:cubicBezTo>
                  <a:cubicBezTo>
                    <a:pt x="732567" y="175827"/>
                    <a:pt x="730660" y="167840"/>
                    <a:pt x="726847" y="161702"/>
                  </a:cubicBezTo>
                  <a:cubicBezTo>
                    <a:pt x="723019" y="155564"/>
                    <a:pt x="717572" y="151050"/>
                    <a:pt x="710515" y="148157"/>
                  </a:cubicBezTo>
                  <a:cubicBezTo>
                    <a:pt x="703457" y="145146"/>
                    <a:pt x="695111" y="143643"/>
                    <a:pt x="685510" y="143643"/>
                  </a:cubicBezTo>
                  <a:lnTo>
                    <a:pt x="660505" y="143643"/>
                  </a:lnTo>
                  <a:close/>
                </a:path>
              </a:pathLst>
            </a:custGeom>
            <a:solidFill>
              <a:schemeClr val="tx1"/>
            </a:solidFill>
            <a:ln w="4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pic>
        <p:nvPicPr>
          <p:cNvPr id="327" name="Рисунок 326">
            <a:extLst>
              <a:ext uri="{FF2B5EF4-FFF2-40B4-BE49-F238E27FC236}">
                <a16:creationId xmlns:a16="http://schemas.microsoft.com/office/drawing/2014/main" id="{5FBFD731-DA0C-468F-932D-BEB32E313CC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503721" y="6049020"/>
            <a:ext cx="1688608" cy="472507"/>
          </a:xfrm>
          <a:prstGeom prst="rect">
            <a:avLst/>
          </a:prstGeom>
        </p:spPr>
      </p:pic>
      <p:sp>
        <p:nvSpPr>
          <p:cNvPr id="817" name="Shape_фон">
            <a:extLst>
              <a:ext uri="{FF2B5EF4-FFF2-40B4-BE49-F238E27FC236}">
                <a16:creationId xmlns:a16="http://schemas.microsoft.com/office/drawing/2014/main" id="{8C3218E2-A51F-4FB1-BED8-CDE77873EB75}"/>
              </a:ext>
            </a:extLst>
          </p:cNvPr>
          <p:cNvSpPr/>
          <p:nvPr/>
        </p:nvSpPr>
        <p:spPr>
          <a:xfrm>
            <a:off x="5635014" y="1677316"/>
            <a:ext cx="6428342" cy="2822898"/>
          </a:xfrm>
          <a:prstGeom prst="roundRect">
            <a:avLst>
              <a:gd name="adj" fmla="val 8571"/>
            </a:avLst>
          </a:prstGeom>
          <a:solidFill>
            <a:schemeClr val="bg1"/>
          </a:solidFill>
          <a:ln w="12700" cap="flat">
            <a:noFill/>
            <a:prstDash val="solid"/>
            <a:miter/>
          </a:ln>
          <a:effectLst>
            <a:outerShdw blurRad="1003300" sx="102000" sy="102000" algn="ctr" rotWithShape="0">
              <a:schemeClr val="tx1">
                <a:alpha val="20000"/>
              </a:schemeClr>
            </a:outerShdw>
          </a:effectLst>
        </p:spPr>
        <p:txBody>
          <a:bodyPr lIns="0" tIns="0" rIns="0" bIns="0" anchor="ctr"/>
          <a:lstStyle/>
          <a:p>
            <a:pPr marL="0" marR="0" lvl="0" indent="0" algn="ctr" defTabSz="309563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itchFamily="2" charset="0"/>
                <a:ea typeface="Roboto" pitchFamily="2" charset="0"/>
                <a:cs typeface="Poppins Bold"/>
                <a:sym typeface="Poppins Bold"/>
              </a:rPr>
              <a:t> 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" pitchFamily="2" charset="0"/>
              <a:ea typeface="Roboto" pitchFamily="2" charset="0"/>
              <a:cs typeface="Poppins Bold"/>
              <a:sym typeface="Poppins Bold"/>
            </a:endParaRPr>
          </a:p>
        </p:txBody>
      </p:sp>
      <p:sp>
        <p:nvSpPr>
          <p:cNvPr id="328" name="Заголовок">
            <a:extLst>
              <a:ext uri="{FF2B5EF4-FFF2-40B4-BE49-F238E27FC236}">
                <a16:creationId xmlns:a16="http://schemas.microsoft.com/office/drawing/2014/main" id="{0D424A7E-5ED8-4606-A34F-F807A4E10376}"/>
              </a:ext>
            </a:extLst>
          </p:cNvPr>
          <p:cNvSpPr txBox="1"/>
          <p:nvPr/>
        </p:nvSpPr>
        <p:spPr>
          <a:xfrm>
            <a:off x="5849024" y="2168261"/>
            <a:ext cx="596197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3600" dirty="0">
                <a:solidFill>
                  <a:schemeClr val="bg2"/>
                </a:solidFill>
                <a:latin typeface="SB Sans Text Medium" panose="020B0603040504020204" pitchFamily="34" charset="-52"/>
                <a:ea typeface="Roboto" pitchFamily="2" charset="0"/>
                <a:cs typeface="SB Sans Text Medium" panose="020B0603040504020204" pitchFamily="34" charset="-52"/>
              </a:rPr>
              <a:t>Данные туда и обратно</a:t>
            </a:r>
          </a:p>
        </p:txBody>
      </p:sp>
      <p:sp>
        <p:nvSpPr>
          <p:cNvPr id="329" name="Motion design">
            <a:extLst>
              <a:ext uri="{FF2B5EF4-FFF2-40B4-BE49-F238E27FC236}">
                <a16:creationId xmlns:a16="http://schemas.microsoft.com/office/drawing/2014/main" id="{CDE623FD-5797-42BF-A4A5-135CFD69E616}"/>
              </a:ext>
            </a:extLst>
          </p:cNvPr>
          <p:cNvSpPr txBox="1"/>
          <p:nvPr/>
        </p:nvSpPr>
        <p:spPr>
          <a:xfrm>
            <a:off x="5943136" y="2946403"/>
            <a:ext cx="5961975" cy="76694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0" tIns="0" rIns="0" bIns="0" anchor="ctr">
            <a:spAutoFit/>
          </a:bodyPr>
          <a:lstStyle>
            <a:lvl1pPr>
              <a:lnSpc>
                <a:spcPct val="130000"/>
              </a:lnSpc>
              <a:defRPr sz="3000">
                <a:latin typeface="+mn-lt"/>
                <a:ea typeface="+mn-ea"/>
                <a:cs typeface="+mn-cs"/>
                <a:sym typeface="Poppins SemiBold"/>
              </a:defRPr>
            </a:lvl1pPr>
          </a:lstStyle>
          <a:p>
            <a:pPr defTabSz="309563" hangingPunct="0">
              <a:buClrTx/>
              <a:defRPr/>
            </a:pPr>
            <a:r>
              <a:rPr lang="ru-RU" sz="2000" dirty="0">
                <a:solidFill>
                  <a:srgbClr val="0D0D0D"/>
                </a:solidFill>
                <a:latin typeface="SB Sans Text Light" panose="020B0303040504020204" pitchFamily="34" charset="-52"/>
                <a:ea typeface="Roboto Light" panose="02000000000000000000" pitchFamily="2" charset="0"/>
                <a:cs typeface="SB Sans Text Light" panose="020B0303040504020204" pitchFamily="34" charset="-52"/>
              </a:rPr>
              <a:t>Но не только НПФ отправляет данные в банк. Банк тоже присылает актуальную информацию:</a:t>
            </a:r>
          </a:p>
        </p:txBody>
      </p:sp>
      <p:sp>
        <p:nvSpPr>
          <p:cNvPr id="330" name="Заголовок">
            <a:extLst>
              <a:ext uri="{FF2B5EF4-FFF2-40B4-BE49-F238E27FC236}">
                <a16:creationId xmlns:a16="http://schemas.microsoft.com/office/drawing/2014/main" id="{12CD9A50-719D-46FF-822B-53E886D3F915}"/>
              </a:ext>
            </a:extLst>
          </p:cNvPr>
          <p:cNvSpPr txBox="1"/>
          <p:nvPr/>
        </p:nvSpPr>
        <p:spPr>
          <a:xfrm>
            <a:off x="13140372" y="1974020"/>
            <a:ext cx="580394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3600" dirty="0">
                <a:solidFill>
                  <a:schemeClr val="bg2"/>
                </a:solidFill>
                <a:latin typeface="SB Sans Text Medium" panose="020B0603040504020204" pitchFamily="34" charset="-52"/>
                <a:ea typeface="Roboto" pitchFamily="2" charset="0"/>
                <a:cs typeface="SB Sans Text Medium" panose="020B0603040504020204" pitchFamily="34" charset="-52"/>
              </a:rPr>
              <a:t>Дополнительный </a:t>
            </a:r>
            <a:r>
              <a:rPr lang="ru-RU" sz="3600" dirty="0" err="1">
                <a:solidFill>
                  <a:schemeClr val="bg2"/>
                </a:solidFill>
                <a:latin typeface="SB Sans Text Medium" panose="020B0603040504020204" pitchFamily="34" charset="-52"/>
                <a:ea typeface="Roboto" pitchFamily="2" charset="0"/>
                <a:cs typeface="SB Sans Text Medium" panose="020B0603040504020204" pitchFamily="34" charset="-52"/>
              </a:rPr>
              <a:t>дедап</a:t>
            </a:r>
            <a:endParaRPr lang="ru-RU" sz="3600" dirty="0">
              <a:solidFill>
                <a:schemeClr val="bg2"/>
              </a:solidFill>
              <a:latin typeface="SB Sans Text Medium" panose="020B0603040504020204" pitchFamily="34" charset="-52"/>
              <a:ea typeface="Roboto" pitchFamily="2" charset="0"/>
              <a:cs typeface="SB Sans Text Medium" panose="020B0603040504020204" pitchFamily="34" charset="-52"/>
            </a:endParaRPr>
          </a:p>
        </p:txBody>
      </p:sp>
      <p:sp>
        <p:nvSpPr>
          <p:cNvPr id="331" name="Motion design">
            <a:extLst>
              <a:ext uri="{FF2B5EF4-FFF2-40B4-BE49-F238E27FC236}">
                <a16:creationId xmlns:a16="http://schemas.microsoft.com/office/drawing/2014/main" id="{4D89375E-C7BF-4A9A-BD42-8D7566DFD5E9}"/>
              </a:ext>
            </a:extLst>
          </p:cNvPr>
          <p:cNvSpPr txBox="1"/>
          <p:nvPr/>
        </p:nvSpPr>
        <p:spPr>
          <a:xfrm>
            <a:off x="13276330" y="3704522"/>
            <a:ext cx="5667986" cy="116442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0" tIns="0" rIns="0" bIns="0" anchor="ctr">
            <a:spAutoFit/>
          </a:bodyPr>
          <a:lstStyle>
            <a:lvl1pPr>
              <a:lnSpc>
                <a:spcPct val="130000"/>
              </a:lnSpc>
              <a:defRPr sz="3000">
                <a:latin typeface="+mn-lt"/>
                <a:ea typeface="+mn-ea"/>
                <a:cs typeface="+mn-cs"/>
                <a:sym typeface="Poppins SemiBold"/>
              </a:defRPr>
            </a:lvl1pPr>
          </a:lstStyle>
          <a:p>
            <a:pPr defTabSz="309563" hangingPunct="0">
              <a:buClrTx/>
              <a:defRPr/>
            </a:pPr>
            <a:r>
              <a:rPr lang="ru-RU" sz="2000" dirty="0">
                <a:solidFill>
                  <a:schemeClr val="bg2"/>
                </a:solidFill>
                <a:latin typeface="SB Sans Text Light" panose="020B0303040504020204" pitchFamily="34" charset="-52"/>
                <a:ea typeface="Roboto Light" panose="02000000000000000000" pitchFamily="2" charset="0"/>
                <a:cs typeface="SB Sans Text Light" panose="020B0303040504020204" pitchFamily="34" charset="-52"/>
              </a:rPr>
              <a:t>тем самым обогащает клиентов НПФ </a:t>
            </a:r>
            <a:br>
              <a:rPr lang="ru-RU" sz="2000" dirty="0">
                <a:solidFill>
                  <a:schemeClr val="bg2"/>
                </a:solidFill>
                <a:latin typeface="SB Sans Text Light" panose="020B0303040504020204" pitchFamily="34" charset="-52"/>
                <a:ea typeface="Roboto Light" panose="02000000000000000000" pitchFamily="2" charset="0"/>
                <a:cs typeface="SB Sans Text Light" panose="020B0303040504020204" pitchFamily="34" charset="-52"/>
              </a:rPr>
            </a:br>
            <a:r>
              <a:rPr lang="ru-RU" sz="2000" dirty="0">
                <a:solidFill>
                  <a:schemeClr val="bg2"/>
                </a:solidFill>
                <a:latin typeface="SB Sans Text Light" panose="020B0303040504020204" pitchFamily="34" charset="-52"/>
                <a:ea typeface="Roboto Light" panose="02000000000000000000" pitchFamily="2" charset="0"/>
                <a:cs typeface="SB Sans Text Light" panose="020B0303040504020204" pitchFamily="34" charset="-52"/>
              </a:rPr>
              <a:t>и позволяет проводить дополнительное объединение. </a:t>
            </a:r>
          </a:p>
        </p:txBody>
      </p:sp>
      <p:grpSp>
        <p:nvGrpSpPr>
          <p:cNvPr id="3" name="Группа 2">
            <a:extLst>
              <a:ext uri="{FF2B5EF4-FFF2-40B4-BE49-F238E27FC236}">
                <a16:creationId xmlns:a16="http://schemas.microsoft.com/office/drawing/2014/main" id="{7AE0D003-1827-4F7E-8D94-530478EB7019}"/>
              </a:ext>
            </a:extLst>
          </p:cNvPr>
          <p:cNvGrpSpPr/>
          <p:nvPr/>
        </p:nvGrpSpPr>
        <p:grpSpPr>
          <a:xfrm>
            <a:off x="1560390" y="716966"/>
            <a:ext cx="2114300" cy="2097626"/>
            <a:chOff x="1385147" y="1331374"/>
            <a:chExt cx="2114300" cy="2097626"/>
          </a:xfrm>
        </p:grpSpPr>
        <p:sp>
          <p:nvSpPr>
            <p:cNvPr id="332" name="Shape_фон">
              <a:extLst>
                <a:ext uri="{FF2B5EF4-FFF2-40B4-BE49-F238E27FC236}">
                  <a16:creationId xmlns:a16="http://schemas.microsoft.com/office/drawing/2014/main" id="{B8B8ED4A-6671-449E-8894-D389D7BBFB63}"/>
                </a:ext>
              </a:extLst>
            </p:cNvPr>
            <p:cNvSpPr/>
            <p:nvPr/>
          </p:nvSpPr>
          <p:spPr>
            <a:xfrm>
              <a:off x="1385147" y="1331374"/>
              <a:ext cx="2114300" cy="2097626"/>
            </a:xfrm>
            <a:prstGeom prst="roundRect">
              <a:avLst>
                <a:gd name="adj" fmla="val 8571"/>
              </a:avLst>
            </a:prstGeom>
            <a:solidFill>
              <a:schemeClr val="bg1"/>
            </a:solidFill>
            <a:ln w="12700" cap="flat">
              <a:noFill/>
              <a:prstDash val="solid"/>
              <a:miter/>
            </a:ln>
            <a:effectLst>
              <a:outerShdw blurRad="1003300" sx="102000" sy="102000" algn="ctr" rotWithShape="0">
                <a:schemeClr val="tx1">
                  <a:alpha val="20000"/>
                </a:schemeClr>
              </a:outerShdw>
            </a:effectLst>
          </p:spPr>
          <p:txBody>
            <a:bodyPr lIns="0" tIns="0" rIns="0" bIns="0" anchor="ctr"/>
            <a:lstStyle/>
            <a:p>
              <a:pPr marL="0" marR="0" lvl="0" indent="0" algn="ctr" defTabSz="309563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Roboto" pitchFamily="2" charset="0"/>
                  <a:ea typeface="Roboto" pitchFamily="2" charset="0"/>
                  <a:cs typeface="Poppins Bold"/>
                  <a:sym typeface="Poppins Bold"/>
                </a:rPr>
                <a:t> </a:t>
              </a:r>
              <a:endPara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itchFamily="2" charset="0"/>
                <a:ea typeface="Roboto" pitchFamily="2" charset="0"/>
                <a:cs typeface="Poppins Bold"/>
                <a:sym typeface="Poppins Bold"/>
              </a:endParaRPr>
            </a:p>
          </p:txBody>
        </p:sp>
        <p:pic>
          <p:nvPicPr>
            <p:cNvPr id="2" name="Рисунок 1">
              <a:extLst>
                <a:ext uri="{FF2B5EF4-FFF2-40B4-BE49-F238E27FC236}">
                  <a16:creationId xmlns:a16="http://schemas.microsoft.com/office/drawing/2014/main" id="{A367797F-6463-4767-91CC-D063060BB6BC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1716984" y="1711898"/>
              <a:ext cx="1450626" cy="1336102"/>
            </a:xfrm>
            <a:prstGeom prst="rect">
              <a:avLst/>
            </a:prstGeom>
          </p:spPr>
        </p:pic>
      </p:grpSp>
      <p:grpSp>
        <p:nvGrpSpPr>
          <p:cNvPr id="333" name="Группа 332">
            <a:extLst>
              <a:ext uri="{FF2B5EF4-FFF2-40B4-BE49-F238E27FC236}">
                <a16:creationId xmlns:a16="http://schemas.microsoft.com/office/drawing/2014/main" id="{E751B0D4-A448-457A-892A-EDC3405C34DD}"/>
              </a:ext>
            </a:extLst>
          </p:cNvPr>
          <p:cNvGrpSpPr/>
          <p:nvPr/>
        </p:nvGrpSpPr>
        <p:grpSpPr>
          <a:xfrm>
            <a:off x="1560390" y="3402084"/>
            <a:ext cx="2114300" cy="2097626"/>
            <a:chOff x="1385147" y="1331374"/>
            <a:chExt cx="2114300" cy="2097626"/>
          </a:xfrm>
        </p:grpSpPr>
        <p:sp>
          <p:nvSpPr>
            <p:cNvPr id="334" name="Shape_фон">
              <a:extLst>
                <a:ext uri="{FF2B5EF4-FFF2-40B4-BE49-F238E27FC236}">
                  <a16:creationId xmlns:a16="http://schemas.microsoft.com/office/drawing/2014/main" id="{B3270D3B-823A-4E9C-B029-1A4CE99A635E}"/>
                </a:ext>
              </a:extLst>
            </p:cNvPr>
            <p:cNvSpPr/>
            <p:nvPr/>
          </p:nvSpPr>
          <p:spPr>
            <a:xfrm>
              <a:off x="1385147" y="1331374"/>
              <a:ext cx="2114300" cy="2097626"/>
            </a:xfrm>
            <a:prstGeom prst="roundRect">
              <a:avLst>
                <a:gd name="adj" fmla="val 8571"/>
              </a:avLst>
            </a:prstGeom>
            <a:solidFill>
              <a:schemeClr val="bg1"/>
            </a:solidFill>
            <a:ln w="12700" cap="flat">
              <a:noFill/>
              <a:prstDash val="solid"/>
              <a:miter/>
            </a:ln>
            <a:effectLst>
              <a:outerShdw blurRad="1003300" sx="102000" sy="102000" algn="ctr" rotWithShape="0">
                <a:schemeClr val="tx1">
                  <a:alpha val="20000"/>
                </a:schemeClr>
              </a:outerShdw>
            </a:effectLst>
          </p:spPr>
          <p:txBody>
            <a:bodyPr lIns="0" tIns="0" rIns="0" bIns="0" anchor="ctr"/>
            <a:lstStyle/>
            <a:p>
              <a:pPr marL="0" marR="0" lvl="0" indent="0" algn="ctr" defTabSz="309563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Roboto" pitchFamily="2" charset="0"/>
                  <a:ea typeface="Roboto" pitchFamily="2" charset="0"/>
                  <a:cs typeface="Poppins Bold"/>
                  <a:sym typeface="Poppins Bold"/>
                </a:rPr>
                <a:t> </a:t>
              </a:r>
              <a:endPara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itchFamily="2" charset="0"/>
                <a:ea typeface="Roboto" pitchFamily="2" charset="0"/>
                <a:cs typeface="Poppins Bold"/>
                <a:sym typeface="Poppins Bold"/>
              </a:endParaRPr>
            </a:p>
          </p:txBody>
        </p:sp>
        <p:pic>
          <p:nvPicPr>
            <p:cNvPr id="335" name="Рисунок 334">
              <a:extLst>
                <a:ext uri="{FF2B5EF4-FFF2-40B4-BE49-F238E27FC236}">
                  <a16:creationId xmlns:a16="http://schemas.microsoft.com/office/drawing/2014/main" id="{0B44526E-F9F3-4161-B63B-57E3587726F0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rcRect/>
            <a:stretch/>
          </p:blipFill>
          <p:spPr>
            <a:xfrm>
              <a:off x="2017994" y="1711898"/>
              <a:ext cx="848605" cy="1336102"/>
            </a:xfrm>
            <a:prstGeom prst="rect">
              <a:avLst/>
            </a:prstGeom>
          </p:spPr>
        </p:pic>
      </p:grpSp>
      <p:sp>
        <p:nvSpPr>
          <p:cNvPr id="11" name="Полилиния: фигура 10">
            <a:extLst>
              <a:ext uri="{FF2B5EF4-FFF2-40B4-BE49-F238E27FC236}">
                <a16:creationId xmlns:a16="http://schemas.microsoft.com/office/drawing/2014/main" id="{BCD41B94-9A53-4ACB-80E5-3AA30FB51BEF}"/>
              </a:ext>
            </a:extLst>
          </p:cNvPr>
          <p:cNvSpPr/>
          <p:nvPr/>
        </p:nvSpPr>
        <p:spPr>
          <a:xfrm rot="20593362">
            <a:off x="583513" y="2355628"/>
            <a:ext cx="899868" cy="1481602"/>
          </a:xfrm>
          <a:custGeom>
            <a:avLst/>
            <a:gdLst>
              <a:gd name="connsiteX0" fmla="*/ 238840 w 1248408"/>
              <a:gd name="connsiteY0" fmla="*/ 1752004 h 2055465"/>
              <a:gd name="connsiteX1" fmla="*/ 279480 w 1248408"/>
              <a:gd name="connsiteY1" fmla="*/ 1800343 h 2055465"/>
              <a:gd name="connsiteX2" fmla="*/ 158454 w 1248408"/>
              <a:gd name="connsiteY2" fmla="*/ 1865153 h 2055465"/>
              <a:gd name="connsiteX3" fmla="*/ 720797 w 1248408"/>
              <a:gd name="connsiteY3" fmla="*/ 2055466 h 2055465"/>
              <a:gd name="connsiteX4" fmla="*/ 530485 w 1248408"/>
              <a:gd name="connsiteY4" fmla="*/ 1510488 h 2055465"/>
              <a:gd name="connsiteX5" fmla="*/ 461199 w 1248408"/>
              <a:gd name="connsiteY5" fmla="*/ 1601258 h 2055465"/>
              <a:gd name="connsiteX6" fmla="*/ 461199 w 1248408"/>
              <a:gd name="connsiteY6" fmla="*/ 571817 h 2055465"/>
              <a:gd name="connsiteX7" fmla="*/ 1248408 w 1248408"/>
              <a:gd name="connsiteY7" fmla="*/ 269071 h 2055465"/>
              <a:gd name="connsiteX8" fmla="*/ 1166232 w 1248408"/>
              <a:gd name="connsiteY8" fmla="*/ 879 h 2055465"/>
              <a:gd name="connsiteX9" fmla="*/ 136791 w 1248408"/>
              <a:gd name="connsiteY9" fmla="*/ 558926 h 2055465"/>
              <a:gd name="connsiteX10" fmla="*/ 238840 w 1248408"/>
              <a:gd name="connsiteY10" fmla="*/ 1752004 h 20554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248408" h="2055465">
                <a:moveTo>
                  <a:pt x="238840" y="1752004"/>
                </a:moveTo>
                <a:lnTo>
                  <a:pt x="279480" y="1800343"/>
                </a:lnTo>
                <a:lnTo>
                  <a:pt x="158454" y="1865153"/>
                </a:lnTo>
                <a:lnTo>
                  <a:pt x="720797" y="2055466"/>
                </a:lnTo>
                <a:lnTo>
                  <a:pt x="530485" y="1510488"/>
                </a:lnTo>
                <a:lnTo>
                  <a:pt x="461199" y="1601258"/>
                </a:lnTo>
                <a:cubicBezTo>
                  <a:pt x="461199" y="1601258"/>
                  <a:pt x="97403" y="961035"/>
                  <a:pt x="461199" y="571817"/>
                </a:cubicBezTo>
                <a:cubicBezTo>
                  <a:pt x="822488" y="185284"/>
                  <a:pt x="1248408" y="269071"/>
                  <a:pt x="1248408" y="269071"/>
                </a:cubicBezTo>
                <a:lnTo>
                  <a:pt x="1166232" y="879"/>
                </a:lnTo>
                <a:cubicBezTo>
                  <a:pt x="1166232" y="879"/>
                  <a:pt x="495931" y="-46743"/>
                  <a:pt x="136791" y="558926"/>
                </a:cubicBezTo>
                <a:cubicBezTo>
                  <a:pt x="-222171" y="1164417"/>
                  <a:pt x="238840" y="1752004"/>
                  <a:pt x="238840" y="1752004"/>
                </a:cubicBezTo>
                <a:close/>
              </a:path>
            </a:pathLst>
          </a:custGeom>
          <a:solidFill>
            <a:srgbClr val="FFFFFF"/>
          </a:solidFill>
          <a:ln w="17869" cap="flat">
            <a:solidFill>
              <a:schemeClr val="bg2"/>
            </a:solidFill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346" name="Полилиния: фигура 345">
            <a:extLst>
              <a:ext uri="{FF2B5EF4-FFF2-40B4-BE49-F238E27FC236}">
                <a16:creationId xmlns:a16="http://schemas.microsoft.com/office/drawing/2014/main" id="{E2FF451D-9667-42B0-8DB4-96D2F8CC7185}"/>
              </a:ext>
            </a:extLst>
          </p:cNvPr>
          <p:cNvSpPr/>
          <p:nvPr/>
        </p:nvSpPr>
        <p:spPr>
          <a:xfrm rot="9925370">
            <a:off x="3774417" y="2355628"/>
            <a:ext cx="899868" cy="1481602"/>
          </a:xfrm>
          <a:custGeom>
            <a:avLst/>
            <a:gdLst>
              <a:gd name="connsiteX0" fmla="*/ 238840 w 1248408"/>
              <a:gd name="connsiteY0" fmla="*/ 1752004 h 2055465"/>
              <a:gd name="connsiteX1" fmla="*/ 279480 w 1248408"/>
              <a:gd name="connsiteY1" fmla="*/ 1800343 h 2055465"/>
              <a:gd name="connsiteX2" fmla="*/ 158454 w 1248408"/>
              <a:gd name="connsiteY2" fmla="*/ 1865153 h 2055465"/>
              <a:gd name="connsiteX3" fmla="*/ 720797 w 1248408"/>
              <a:gd name="connsiteY3" fmla="*/ 2055466 h 2055465"/>
              <a:gd name="connsiteX4" fmla="*/ 530485 w 1248408"/>
              <a:gd name="connsiteY4" fmla="*/ 1510488 h 2055465"/>
              <a:gd name="connsiteX5" fmla="*/ 461199 w 1248408"/>
              <a:gd name="connsiteY5" fmla="*/ 1601258 h 2055465"/>
              <a:gd name="connsiteX6" fmla="*/ 461199 w 1248408"/>
              <a:gd name="connsiteY6" fmla="*/ 571817 h 2055465"/>
              <a:gd name="connsiteX7" fmla="*/ 1248408 w 1248408"/>
              <a:gd name="connsiteY7" fmla="*/ 269071 h 2055465"/>
              <a:gd name="connsiteX8" fmla="*/ 1166232 w 1248408"/>
              <a:gd name="connsiteY8" fmla="*/ 879 h 2055465"/>
              <a:gd name="connsiteX9" fmla="*/ 136791 w 1248408"/>
              <a:gd name="connsiteY9" fmla="*/ 558926 h 2055465"/>
              <a:gd name="connsiteX10" fmla="*/ 238840 w 1248408"/>
              <a:gd name="connsiteY10" fmla="*/ 1752004 h 20554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248408" h="2055465">
                <a:moveTo>
                  <a:pt x="238840" y="1752004"/>
                </a:moveTo>
                <a:lnTo>
                  <a:pt x="279480" y="1800343"/>
                </a:lnTo>
                <a:lnTo>
                  <a:pt x="158454" y="1865153"/>
                </a:lnTo>
                <a:lnTo>
                  <a:pt x="720797" y="2055466"/>
                </a:lnTo>
                <a:lnTo>
                  <a:pt x="530485" y="1510488"/>
                </a:lnTo>
                <a:lnTo>
                  <a:pt x="461199" y="1601258"/>
                </a:lnTo>
                <a:cubicBezTo>
                  <a:pt x="461199" y="1601258"/>
                  <a:pt x="97403" y="961035"/>
                  <a:pt x="461199" y="571817"/>
                </a:cubicBezTo>
                <a:cubicBezTo>
                  <a:pt x="822488" y="185284"/>
                  <a:pt x="1248408" y="269071"/>
                  <a:pt x="1248408" y="269071"/>
                </a:cubicBezTo>
                <a:lnTo>
                  <a:pt x="1166232" y="879"/>
                </a:lnTo>
                <a:cubicBezTo>
                  <a:pt x="1166232" y="879"/>
                  <a:pt x="495931" y="-46743"/>
                  <a:pt x="136791" y="558926"/>
                </a:cubicBezTo>
                <a:cubicBezTo>
                  <a:pt x="-222171" y="1164417"/>
                  <a:pt x="238840" y="1752004"/>
                  <a:pt x="238840" y="1752004"/>
                </a:cubicBezTo>
                <a:close/>
              </a:path>
            </a:pathLst>
          </a:custGeom>
          <a:solidFill>
            <a:schemeClr val="bg2"/>
          </a:solidFill>
          <a:ln w="17869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349" name="Полилиния: фигура 348">
            <a:extLst>
              <a:ext uri="{FF2B5EF4-FFF2-40B4-BE49-F238E27FC236}">
                <a16:creationId xmlns:a16="http://schemas.microsoft.com/office/drawing/2014/main" id="{32F3B182-2FD2-44B1-9CC6-A8A5E690E215}"/>
              </a:ext>
            </a:extLst>
          </p:cNvPr>
          <p:cNvSpPr/>
          <p:nvPr/>
        </p:nvSpPr>
        <p:spPr>
          <a:xfrm>
            <a:off x="2079968" y="2589858"/>
            <a:ext cx="1075142" cy="1075142"/>
          </a:xfrm>
          <a:custGeom>
            <a:avLst/>
            <a:gdLst>
              <a:gd name="connsiteX0" fmla="*/ 549307 w 885348"/>
              <a:gd name="connsiteY0" fmla="*/ 789432 h 885348"/>
              <a:gd name="connsiteX1" fmla="*/ 454628 w 885348"/>
              <a:gd name="connsiteY1" fmla="*/ 805243 h 885348"/>
              <a:gd name="connsiteX2" fmla="*/ 415957 w 885348"/>
              <a:gd name="connsiteY2" fmla="*/ 885349 h 885348"/>
              <a:gd name="connsiteX3" fmla="*/ 272510 w 885348"/>
              <a:gd name="connsiteY3" fmla="*/ 852202 h 885348"/>
              <a:gd name="connsiteX4" fmla="*/ 272891 w 885348"/>
              <a:gd name="connsiteY4" fmla="*/ 763238 h 885348"/>
              <a:gd name="connsiteX5" fmla="*/ 194691 w 885348"/>
              <a:gd name="connsiteY5" fmla="*/ 707517 h 885348"/>
              <a:gd name="connsiteX6" fmla="*/ 110680 w 885348"/>
              <a:gd name="connsiteY6" fmla="*/ 736759 h 885348"/>
              <a:gd name="connsiteX7" fmla="*/ 32671 w 885348"/>
              <a:gd name="connsiteY7" fmla="*/ 611886 h 885348"/>
              <a:gd name="connsiteX8" fmla="*/ 95821 w 885348"/>
              <a:gd name="connsiteY8" fmla="*/ 549307 h 885348"/>
              <a:gd name="connsiteX9" fmla="*/ 80105 w 885348"/>
              <a:gd name="connsiteY9" fmla="*/ 454628 h 885348"/>
              <a:gd name="connsiteX10" fmla="*/ 0 w 885348"/>
              <a:gd name="connsiteY10" fmla="*/ 415861 h 885348"/>
              <a:gd name="connsiteX11" fmla="*/ 33147 w 885348"/>
              <a:gd name="connsiteY11" fmla="*/ 272415 h 885348"/>
              <a:gd name="connsiteX12" fmla="*/ 122111 w 885348"/>
              <a:gd name="connsiteY12" fmla="*/ 272796 h 885348"/>
              <a:gd name="connsiteX13" fmla="*/ 177832 w 885348"/>
              <a:gd name="connsiteY13" fmla="*/ 194691 h 885348"/>
              <a:gd name="connsiteX14" fmla="*/ 148495 w 885348"/>
              <a:gd name="connsiteY14" fmla="*/ 110680 h 885348"/>
              <a:gd name="connsiteX15" fmla="*/ 273367 w 885348"/>
              <a:gd name="connsiteY15" fmla="*/ 32671 h 885348"/>
              <a:gd name="connsiteX16" fmla="*/ 335947 w 885348"/>
              <a:gd name="connsiteY16" fmla="*/ 95917 h 885348"/>
              <a:gd name="connsiteX17" fmla="*/ 430625 w 885348"/>
              <a:gd name="connsiteY17" fmla="*/ 80105 h 885348"/>
              <a:gd name="connsiteX18" fmla="*/ 469392 w 885348"/>
              <a:gd name="connsiteY18" fmla="*/ 0 h 885348"/>
              <a:gd name="connsiteX19" fmla="*/ 612838 w 885348"/>
              <a:gd name="connsiteY19" fmla="*/ 33147 h 885348"/>
              <a:gd name="connsiteX20" fmla="*/ 612457 w 885348"/>
              <a:gd name="connsiteY20" fmla="*/ 122206 h 885348"/>
              <a:gd name="connsiteX21" fmla="*/ 690563 w 885348"/>
              <a:gd name="connsiteY21" fmla="*/ 177927 h 885348"/>
              <a:gd name="connsiteX22" fmla="*/ 774573 w 885348"/>
              <a:gd name="connsiteY22" fmla="*/ 148685 h 885348"/>
              <a:gd name="connsiteX23" fmla="*/ 852583 w 885348"/>
              <a:gd name="connsiteY23" fmla="*/ 273558 h 885348"/>
              <a:gd name="connsiteX24" fmla="*/ 789432 w 885348"/>
              <a:gd name="connsiteY24" fmla="*/ 336137 h 885348"/>
              <a:gd name="connsiteX25" fmla="*/ 805243 w 885348"/>
              <a:gd name="connsiteY25" fmla="*/ 430816 h 885348"/>
              <a:gd name="connsiteX26" fmla="*/ 885349 w 885348"/>
              <a:gd name="connsiteY26" fmla="*/ 469582 h 885348"/>
              <a:gd name="connsiteX27" fmla="*/ 852202 w 885348"/>
              <a:gd name="connsiteY27" fmla="*/ 613029 h 885348"/>
              <a:gd name="connsiteX28" fmla="*/ 763143 w 885348"/>
              <a:gd name="connsiteY28" fmla="*/ 612648 h 885348"/>
              <a:gd name="connsiteX29" fmla="*/ 707422 w 885348"/>
              <a:gd name="connsiteY29" fmla="*/ 690848 h 885348"/>
              <a:gd name="connsiteX30" fmla="*/ 736663 w 885348"/>
              <a:gd name="connsiteY30" fmla="*/ 774859 h 885348"/>
              <a:gd name="connsiteX31" fmla="*/ 611791 w 885348"/>
              <a:gd name="connsiteY31" fmla="*/ 852868 h 885348"/>
              <a:gd name="connsiteX32" fmla="*/ 549116 w 885348"/>
              <a:gd name="connsiteY32" fmla="*/ 789718 h 885348"/>
              <a:gd name="connsiteX33" fmla="*/ 549116 w 885348"/>
              <a:gd name="connsiteY33" fmla="*/ 789718 h 885348"/>
              <a:gd name="connsiteX34" fmla="*/ 520732 w 885348"/>
              <a:gd name="connsiteY34" fmla="*/ 580072 h 885348"/>
              <a:gd name="connsiteX35" fmla="*/ 571119 w 885348"/>
              <a:gd name="connsiteY35" fmla="*/ 362426 h 885348"/>
              <a:gd name="connsiteX36" fmla="*/ 353473 w 885348"/>
              <a:gd name="connsiteY36" fmla="*/ 312039 h 885348"/>
              <a:gd name="connsiteX37" fmla="*/ 303086 w 885348"/>
              <a:gd name="connsiteY37" fmla="*/ 529685 h 885348"/>
              <a:gd name="connsiteX38" fmla="*/ 520732 w 885348"/>
              <a:gd name="connsiteY38" fmla="*/ 580072 h 8853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</a:cxnLst>
            <a:rect l="l" t="t" r="r" b="b"/>
            <a:pathLst>
              <a:path w="885348" h="885348">
                <a:moveTo>
                  <a:pt x="549307" y="789432"/>
                </a:moveTo>
                <a:cubicBezTo>
                  <a:pt x="518255" y="798957"/>
                  <a:pt x="486346" y="804196"/>
                  <a:pt x="454628" y="805243"/>
                </a:cubicBezTo>
                <a:lnTo>
                  <a:pt x="415957" y="885349"/>
                </a:lnTo>
                <a:lnTo>
                  <a:pt x="272510" y="852202"/>
                </a:lnTo>
                <a:lnTo>
                  <a:pt x="272891" y="763238"/>
                </a:lnTo>
                <a:cubicBezTo>
                  <a:pt x="244792" y="748379"/>
                  <a:pt x="218504" y="729710"/>
                  <a:pt x="194691" y="707517"/>
                </a:cubicBezTo>
                <a:lnTo>
                  <a:pt x="110680" y="736759"/>
                </a:lnTo>
                <a:lnTo>
                  <a:pt x="32671" y="611886"/>
                </a:lnTo>
                <a:lnTo>
                  <a:pt x="95821" y="549307"/>
                </a:lnTo>
                <a:cubicBezTo>
                  <a:pt x="86201" y="518255"/>
                  <a:pt x="81058" y="486346"/>
                  <a:pt x="80105" y="454628"/>
                </a:cubicBezTo>
                <a:lnTo>
                  <a:pt x="0" y="415861"/>
                </a:lnTo>
                <a:lnTo>
                  <a:pt x="33147" y="272415"/>
                </a:lnTo>
                <a:lnTo>
                  <a:pt x="122111" y="272796"/>
                </a:lnTo>
                <a:cubicBezTo>
                  <a:pt x="136970" y="244697"/>
                  <a:pt x="155638" y="218408"/>
                  <a:pt x="177832" y="194691"/>
                </a:cubicBezTo>
                <a:lnTo>
                  <a:pt x="148495" y="110680"/>
                </a:lnTo>
                <a:lnTo>
                  <a:pt x="273367" y="32671"/>
                </a:lnTo>
                <a:lnTo>
                  <a:pt x="335947" y="95917"/>
                </a:lnTo>
                <a:cubicBezTo>
                  <a:pt x="366998" y="86296"/>
                  <a:pt x="398907" y="81153"/>
                  <a:pt x="430625" y="80105"/>
                </a:cubicBezTo>
                <a:lnTo>
                  <a:pt x="469392" y="0"/>
                </a:lnTo>
                <a:lnTo>
                  <a:pt x="612838" y="33147"/>
                </a:lnTo>
                <a:lnTo>
                  <a:pt x="612457" y="122206"/>
                </a:lnTo>
                <a:cubicBezTo>
                  <a:pt x="640556" y="137065"/>
                  <a:pt x="666845" y="155734"/>
                  <a:pt x="690563" y="177927"/>
                </a:cubicBezTo>
                <a:lnTo>
                  <a:pt x="774573" y="148685"/>
                </a:lnTo>
                <a:lnTo>
                  <a:pt x="852583" y="273558"/>
                </a:lnTo>
                <a:lnTo>
                  <a:pt x="789432" y="336137"/>
                </a:lnTo>
                <a:cubicBezTo>
                  <a:pt x="799052" y="367189"/>
                  <a:pt x="804196" y="399098"/>
                  <a:pt x="805243" y="430816"/>
                </a:cubicBezTo>
                <a:lnTo>
                  <a:pt x="885349" y="469582"/>
                </a:lnTo>
                <a:lnTo>
                  <a:pt x="852202" y="613029"/>
                </a:lnTo>
                <a:lnTo>
                  <a:pt x="763143" y="612648"/>
                </a:lnTo>
                <a:cubicBezTo>
                  <a:pt x="748284" y="640747"/>
                  <a:pt x="729615" y="667036"/>
                  <a:pt x="707422" y="690848"/>
                </a:cubicBezTo>
                <a:lnTo>
                  <a:pt x="736663" y="774859"/>
                </a:lnTo>
                <a:lnTo>
                  <a:pt x="611791" y="852868"/>
                </a:lnTo>
                <a:lnTo>
                  <a:pt x="549116" y="789718"/>
                </a:lnTo>
                <a:lnTo>
                  <a:pt x="549116" y="789718"/>
                </a:lnTo>
                <a:close/>
                <a:moveTo>
                  <a:pt x="520732" y="580072"/>
                </a:moveTo>
                <a:cubicBezTo>
                  <a:pt x="594741" y="533876"/>
                  <a:pt x="617315" y="436436"/>
                  <a:pt x="571119" y="362426"/>
                </a:cubicBezTo>
                <a:cubicBezTo>
                  <a:pt x="524923" y="288417"/>
                  <a:pt x="427482" y="265843"/>
                  <a:pt x="353473" y="312039"/>
                </a:cubicBezTo>
                <a:cubicBezTo>
                  <a:pt x="279463" y="358235"/>
                  <a:pt x="256889" y="455676"/>
                  <a:pt x="303086" y="529685"/>
                </a:cubicBezTo>
                <a:cubicBezTo>
                  <a:pt x="349282" y="603695"/>
                  <a:pt x="446722" y="626269"/>
                  <a:pt x="520732" y="580072"/>
                </a:cubicBezTo>
                <a:close/>
              </a:path>
            </a:pathLst>
          </a:custGeom>
          <a:solidFill>
            <a:schemeClr val="bg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ru-RU" dirty="0">
              <a:latin typeface="Akrobat Bold" panose="00000800000000000000" pitchFamily="50" charset="-52"/>
            </a:endParaRPr>
          </a:p>
        </p:txBody>
      </p:sp>
    </p:spTree>
    <p:extLst>
      <p:ext uri="{BB962C8B-B14F-4D97-AF65-F5344CB8AC3E}">
        <p14:creationId xmlns:p14="http://schemas.microsoft.com/office/powerpoint/2010/main" val="1013225336"/>
      </p:ext>
    </p:extLst>
  </p:cSld>
  <p:clrMapOvr>
    <a:masterClrMapping/>
  </p:clrMapOvr>
  <p:transition spd="slow">
    <p:push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8" presetClass="emph" presetSubtype="0" repeatCount="indefinite" accel="45000" decel="48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6" dur="2250" fill="hold"/>
                                        <p:tgtEl>
                                          <p:spTgt spid="349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49" grpId="0" animBg="1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5" name="Rounded Rectangle">
            <a:extLst>
              <a:ext uri="{FF2B5EF4-FFF2-40B4-BE49-F238E27FC236}">
                <a16:creationId xmlns:a16="http://schemas.microsoft.com/office/drawing/2014/main" id="{4DD5ED71-02C0-4175-A2ED-A33D6EEAEE19}"/>
              </a:ext>
            </a:extLst>
          </p:cNvPr>
          <p:cNvSpPr/>
          <p:nvPr/>
        </p:nvSpPr>
        <p:spPr>
          <a:xfrm>
            <a:off x="0" y="2579435"/>
            <a:ext cx="12192000" cy="1785141"/>
          </a:xfrm>
          <a:prstGeom prst="roundRect">
            <a:avLst>
              <a:gd name="adj" fmla="val 0"/>
            </a:avLst>
          </a:prstGeom>
          <a:solidFill>
            <a:schemeClr val="bg1">
              <a:alpha val="96000"/>
            </a:schemeClr>
          </a:solidFill>
          <a:ln w="12700" cap="flat">
            <a:noFill/>
            <a:prstDash val="solid"/>
            <a:miter/>
          </a:ln>
          <a:effectLst>
            <a:outerShdw blurRad="1003300" sx="102000" sy="102000" algn="ctr" rotWithShape="0">
              <a:schemeClr val="tx1">
                <a:alpha val="20000"/>
              </a:schemeClr>
            </a:outerShdw>
          </a:effectLst>
        </p:spPr>
        <p:txBody>
          <a:bodyPr lIns="0" tIns="0" rIns="0" bIns="0" anchor="ctr"/>
          <a:lstStyle/>
          <a:p>
            <a:pPr marL="0" marR="0" lvl="0" indent="0" algn="ctr" defTabSz="309563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" pitchFamily="2" charset="0"/>
              <a:ea typeface="Roboto" pitchFamily="2" charset="0"/>
              <a:cs typeface="Poppins Bold"/>
              <a:sym typeface="Poppins Bold"/>
            </a:endParaRPr>
          </a:p>
        </p:txBody>
      </p:sp>
      <p:sp>
        <p:nvSpPr>
          <p:cNvPr id="41" name="Заголовок">
            <a:extLst>
              <a:ext uri="{FF2B5EF4-FFF2-40B4-BE49-F238E27FC236}">
                <a16:creationId xmlns:a16="http://schemas.microsoft.com/office/drawing/2014/main" id="{C2DC1C9A-4F65-42B1-86E3-6E4D91075984}"/>
              </a:ext>
            </a:extLst>
          </p:cNvPr>
          <p:cNvSpPr txBox="1"/>
          <p:nvPr/>
        </p:nvSpPr>
        <p:spPr>
          <a:xfrm>
            <a:off x="507066" y="376044"/>
            <a:ext cx="2739789" cy="76944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4400" dirty="0">
                <a:solidFill>
                  <a:srgbClr val="0D0D0D">
                    <a:lumMod val="75000"/>
                    <a:lumOff val="25000"/>
                  </a:srgbClr>
                </a:solidFill>
                <a:latin typeface="SB Sans Text Medium" panose="020B0603040504020204" pitchFamily="34" charset="-52"/>
                <a:ea typeface="Roboto" pitchFamily="2" charset="0"/>
                <a:cs typeface="SB Sans Text Medium" panose="020B0603040504020204" pitchFamily="34" charset="-52"/>
              </a:rPr>
              <a:t>Спикеры</a:t>
            </a:r>
          </a:p>
        </p:txBody>
      </p:sp>
      <p:grpSp>
        <p:nvGrpSpPr>
          <p:cNvPr id="42" name="CDIConf_Black">
            <a:extLst>
              <a:ext uri="{FF2B5EF4-FFF2-40B4-BE49-F238E27FC236}">
                <a16:creationId xmlns:a16="http://schemas.microsoft.com/office/drawing/2014/main" id="{F3F1710A-CB9B-4080-B969-0477C48F22E5}"/>
              </a:ext>
            </a:extLst>
          </p:cNvPr>
          <p:cNvGrpSpPr/>
          <p:nvPr/>
        </p:nvGrpSpPr>
        <p:grpSpPr>
          <a:xfrm>
            <a:off x="9291334" y="6129083"/>
            <a:ext cx="2270483" cy="296171"/>
            <a:chOff x="7406975" y="5855999"/>
            <a:chExt cx="2270483" cy="296171"/>
          </a:xfrm>
        </p:grpSpPr>
        <p:sp>
          <p:nvSpPr>
            <p:cNvPr id="45" name="Полилиния: фигура 44">
              <a:extLst>
                <a:ext uri="{FF2B5EF4-FFF2-40B4-BE49-F238E27FC236}">
                  <a16:creationId xmlns:a16="http://schemas.microsoft.com/office/drawing/2014/main" id="{13A11B35-F320-4F31-908D-85B2D024FD4B}"/>
                </a:ext>
              </a:extLst>
            </p:cNvPr>
            <p:cNvSpPr/>
            <p:nvPr/>
          </p:nvSpPr>
          <p:spPr>
            <a:xfrm>
              <a:off x="7406975" y="5878280"/>
              <a:ext cx="1394458" cy="273890"/>
            </a:xfrm>
            <a:custGeom>
              <a:avLst/>
              <a:gdLst>
                <a:gd name="connsiteX0" fmla="*/ 157354 w 1394458"/>
                <a:gd name="connsiteY0" fmla="*/ 188093 h 273890"/>
                <a:gd name="connsiteX1" fmla="*/ 200773 w 1394458"/>
                <a:gd name="connsiteY1" fmla="*/ 188093 h 273890"/>
                <a:gd name="connsiteX2" fmla="*/ 186877 w 1394458"/>
                <a:gd name="connsiteY2" fmla="*/ 232383 h 273890"/>
                <a:gd name="connsiteX3" fmla="*/ 153706 w 1394458"/>
                <a:gd name="connsiteY3" fmla="*/ 262777 h 273890"/>
                <a:gd name="connsiteX4" fmla="*/ 101775 w 1394458"/>
                <a:gd name="connsiteY4" fmla="*/ 273891 h 273890"/>
                <a:gd name="connsiteX5" fmla="*/ 59572 w 1394458"/>
                <a:gd name="connsiteY5" fmla="*/ 265554 h 273890"/>
                <a:gd name="connsiteX6" fmla="*/ 27442 w 1394458"/>
                <a:gd name="connsiteY6" fmla="*/ 241585 h 273890"/>
                <a:gd name="connsiteX7" fmla="*/ 6950 w 1394458"/>
                <a:gd name="connsiteY7" fmla="*/ 203896 h 273890"/>
                <a:gd name="connsiteX8" fmla="*/ 0 w 1394458"/>
                <a:gd name="connsiteY8" fmla="*/ 154577 h 273890"/>
                <a:gd name="connsiteX9" fmla="*/ 0 w 1394458"/>
                <a:gd name="connsiteY9" fmla="*/ 133560 h 273890"/>
                <a:gd name="connsiteX10" fmla="*/ 7121 w 1394458"/>
                <a:gd name="connsiteY10" fmla="*/ 84236 h 273890"/>
                <a:gd name="connsiteX11" fmla="*/ 27962 w 1394458"/>
                <a:gd name="connsiteY11" fmla="*/ 46552 h 273890"/>
                <a:gd name="connsiteX12" fmla="*/ 60438 w 1394458"/>
                <a:gd name="connsiteY12" fmla="*/ 22408 h 273890"/>
                <a:gd name="connsiteX13" fmla="*/ 103336 w 1394458"/>
                <a:gd name="connsiteY13" fmla="*/ 14071 h 273890"/>
                <a:gd name="connsiteX14" fmla="*/ 154397 w 1394458"/>
                <a:gd name="connsiteY14" fmla="*/ 25185 h 273890"/>
                <a:gd name="connsiteX15" fmla="*/ 186702 w 1394458"/>
                <a:gd name="connsiteY15" fmla="*/ 55924 h 273890"/>
                <a:gd name="connsiteX16" fmla="*/ 200943 w 1394458"/>
                <a:gd name="connsiteY16" fmla="*/ 100905 h 273890"/>
                <a:gd name="connsiteX17" fmla="*/ 157524 w 1394458"/>
                <a:gd name="connsiteY17" fmla="*/ 100905 h 273890"/>
                <a:gd name="connsiteX18" fmla="*/ 149883 w 1394458"/>
                <a:gd name="connsiteY18" fmla="*/ 72943 h 273890"/>
                <a:gd name="connsiteX19" fmla="*/ 132865 w 1394458"/>
                <a:gd name="connsiteY19" fmla="*/ 55229 h 273890"/>
                <a:gd name="connsiteX20" fmla="*/ 103341 w 1394458"/>
                <a:gd name="connsiteY20" fmla="*/ 48974 h 273890"/>
                <a:gd name="connsiteX21" fmla="*/ 77291 w 1394458"/>
                <a:gd name="connsiteY21" fmla="*/ 54533 h 273890"/>
                <a:gd name="connsiteX22" fmla="*/ 58706 w 1394458"/>
                <a:gd name="connsiteY22" fmla="*/ 70861 h 273890"/>
                <a:gd name="connsiteX23" fmla="*/ 47417 w 1394458"/>
                <a:gd name="connsiteY23" fmla="*/ 97432 h 273890"/>
                <a:gd name="connsiteX24" fmla="*/ 43769 w 1394458"/>
                <a:gd name="connsiteY24" fmla="*/ 133210 h 273890"/>
                <a:gd name="connsiteX25" fmla="*/ 43769 w 1394458"/>
                <a:gd name="connsiteY25" fmla="*/ 154572 h 273890"/>
                <a:gd name="connsiteX26" fmla="*/ 47067 w 1394458"/>
                <a:gd name="connsiteY26" fmla="*/ 189304 h 273890"/>
                <a:gd name="connsiteX27" fmla="*/ 57490 w 1394458"/>
                <a:gd name="connsiteY27" fmla="*/ 215875 h 273890"/>
                <a:gd name="connsiteX28" fmla="*/ 75550 w 1394458"/>
                <a:gd name="connsiteY28" fmla="*/ 233069 h 273890"/>
                <a:gd name="connsiteX29" fmla="*/ 101775 w 1394458"/>
                <a:gd name="connsiteY29" fmla="*/ 239149 h 273890"/>
                <a:gd name="connsiteX30" fmla="*/ 131824 w 1394458"/>
                <a:gd name="connsiteY30" fmla="*/ 233244 h 273890"/>
                <a:gd name="connsiteX31" fmla="*/ 149363 w 1394458"/>
                <a:gd name="connsiteY31" fmla="*/ 216050 h 273890"/>
                <a:gd name="connsiteX32" fmla="*/ 157354 w 1394458"/>
                <a:gd name="connsiteY32" fmla="*/ 188088 h 273890"/>
                <a:gd name="connsiteX33" fmla="*/ 313837 w 1394458"/>
                <a:gd name="connsiteY33" fmla="*/ 270418 h 273890"/>
                <a:gd name="connsiteX34" fmla="*/ 259825 w 1394458"/>
                <a:gd name="connsiteY34" fmla="*/ 270418 h 273890"/>
                <a:gd name="connsiteX35" fmla="*/ 260170 w 1394458"/>
                <a:gd name="connsiteY35" fmla="*/ 235856 h 273890"/>
                <a:gd name="connsiteX36" fmla="*/ 313837 w 1394458"/>
                <a:gd name="connsiteY36" fmla="*/ 235856 h 273890"/>
                <a:gd name="connsiteX37" fmla="*/ 353088 w 1394458"/>
                <a:gd name="connsiteY37" fmla="*/ 225608 h 273890"/>
                <a:gd name="connsiteX38" fmla="*/ 377057 w 1394458"/>
                <a:gd name="connsiteY38" fmla="*/ 196255 h 273890"/>
                <a:gd name="connsiteX39" fmla="*/ 385218 w 1394458"/>
                <a:gd name="connsiteY39" fmla="*/ 150754 h 273890"/>
                <a:gd name="connsiteX40" fmla="*/ 385218 w 1394458"/>
                <a:gd name="connsiteY40" fmla="*/ 137033 h 273890"/>
                <a:gd name="connsiteX41" fmla="*/ 380530 w 1394458"/>
                <a:gd name="connsiteY41" fmla="*/ 100734 h 273890"/>
                <a:gd name="connsiteX42" fmla="*/ 366984 w 1394458"/>
                <a:gd name="connsiteY42" fmla="*/ 74163 h 273890"/>
                <a:gd name="connsiteX43" fmla="*/ 345102 w 1394458"/>
                <a:gd name="connsiteY43" fmla="*/ 57840 h 273890"/>
                <a:gd name="connsiteX44" fmla="*/ 315403 w 1394458"/>
                <a:gd name="connsiteY44" fmla="*/ 52281 h 273890"/>
                <a:gd name="connsiteX45" fmla="*/ 258784 w 1394458"/>
                <a:gd name="connsiteY45" fmla="*/ 52281 h 273890"/>
                <a:gd name="connsiteX46" fmla="*/ 258784 w 1394458"/>
                <a:gd name="connsiteY46" fmla="*/ 17544 h 273890"/>
                <a:gd name="connsiteX47" fmla="*/ 315403 w 1394458"/>
                <a:gd name="connsiteY47" fmla="*/ 17544 h 273890"/>
                <a:gd name="connsiteX48" fmla="*/ 361429 w 1394458"/>
                <a:gd name="connsiteY48" fmla="*/ 26055 h 273890"/>
                <a:gd name="connsiteX49" fmla="*/ 397383 w 1394458"/>
                <a:gd name="connsiteY49" fmla="*/ 50195 h 273890"/>
                <a:gd name="connsiteX50" fmla="*/ 420826 w 1394458"/>
                <a:gd name="connsiteY50" fmla="*/ 88054 h 273890"/>
                <a:gd name="connsiteX51" fmla="*/ 428988 w 1394458"/>
                <a:gd name="connsiteY51" fmla="*/ 137378 h 273890"/>
                <a:gd name="connsiteX52" fmla="*/ 428988 w 1394458"/>
                <a:gd name="connsiteY52" fmla="*/ 150754 h 273890"/>
                <a:gd name="connsiteX53" fmla="*/ 420826 w 1394458"/>
                <a:gd name="connsiteY53" fmla="*/ 200078 h 273890"/>
                <a:gd name="connsiteX54" fmla="*/ 397383 w 1394458"/>
                <a:gd name="connsiteY54" fmla="*/ 237938 h 273890"/>
                <a:gd name="connsiteX55" fmla="*/ 360909 w 1394458"/>
                <a:gd name="connsiteY55" fmla="*/ 262077 h 273890"/>
                <a:gd name="connsiteX56" fmla="*/ 313842 w 1394458"/>
                <a:gd name="connsiteY56" fmla="*/ 270413 h 273890"/>
                <a:gd name="connsiteX57" fmla="*/ 283964 w 1394458"/>
                <a:gd name="connsiteY57" fmla="*/ 17544 h 273890"/>
                <a:gd name="connsiteX58" fmla="*/ 283964 w 1394458"/>
                <a:gd name="connsiteY58" fmla="*/ 270418 h 273890"/>
                <a:gd name="connsiteX59" fmla="*/ 240369 w 1394458"/>
                <a:gd name="connsiteY59" fmla="*/ 270418 h 273890"/>
                <a:gd name="connsiteX60" fmla="*/ 240369 w 1394458"/>
                <a:gd name="connsiteY60" fmla="*/ 17544 h 273890"/>
                <a:gd name="connsiteX61" fmla="*/ 283964 w 1394458"/>
                <a:gd name="connsiteY61" fmla="*/ 17544 h 273890"/>
                <a:gd name="connsiteX62" fmla="*/ 519299 w 1394458"/>
                <a:gd name="connsiteY62" fmla="*/ 17544 h 273890"/>
                <a:gd name="connsiteX63" fmla="*/ 519299 w 1394458"/>
                <a:gd name="connsiteY63" fmla="*/ 270418 h 273890"/>
                <a:gd name="connsiteX64" fmla="*/ 475705 w 1394458"/>
                <a:gd name="connsiteY64" fmla="*/ 270418 h 273890"/>
                <a:gd name="connsiteX65" fmla="*/ 475705 w 1394458"/>
                <a:gd name="connsiteY65" fmla="*/ 17544 h 273890"/>
                <a:gd name="connsiteX66" fmla="*/ 519299 w 1394458"/>
                <a:gd name="connsiteY66" fmla="*/ 17544 h 273890"/>
                <a:gd name="connsiteX67" fmla="*/ 811424 w 1394458"/>
                <a:gd name="connsiteY67" fmla="*/ 188093 h 273890"/>
                <a:gd name="connsiteX68" fmla="*/ 854843 w 1394458"/>
                <a:gd name="connsiteY68" fmla="*/ 188093 h 273890"/>
                <a:gd name="connsiteX69" fmla="*/ 840947 w 1394458"/>
                <a:gd name="connsiteY69" fmla="*/ 232383 h 273890"/>
                <a:gd name="connsiteX70" fmla="*/ 807776 w 1394458"/>
                <a:gd name="connsiteY70" fmla="*/ 262777 h 273890"/>
                <a:gd name="connsiteX71" fmla="*/ 755845 w 1394458"/>
                <a:gd name="connsiteY71" fmla="*/ 273891 h 273890"/>
                <a:gd name="connsiteX72" fmla="*/ 713642 w 1394458"/>
                <a:gd name="connsiteY72" fmla="*/ 265554 h 273890"/>
                <a:gd name="connsiteX73" fmla="*/ 681512 w 1394458"/>
                <a:gd name="connsiteY73" fmla="*/ 241585 h 273890"/>
                <a:gd name="connsiteX74" fmla="*/ 661021 w 1394458"/>
                <a:gd name="connsiteY74" fmla="*/ 203896 h 273890"/>
                <a:gd name="connsiteX75" fmla="*/ 654075 w 1394458"/>
                <a:gd name="connsiteY75" fmla="*/ 154572 h 273890"/>
                <a:gd name="connsiteX76" fmla="*/ 654075 w 1394458"/>
                <a:gd name="connsiteY76" fmla="*/ 133555 h 273890"/>
                <a:gd name="connsiteX77" fmla="*/ 661196 w 1394458"/>
                <a:gd name="connsiteY77" fmla="*/ 84231 h 273890"/>
                <a:gd name="connsiteX78" fmla="*/ 682037 w 1394458"/>
                <a:gd name="connsiteY78" fmla="*/ 46547 h 273890"/>
                <a:gd name="connsiteX79" fmla="*/ 714513 w 1394458"/>
                <a:gd name="connsiteY79" fmla="*/ 22403 h 273890"/>
                <a:gd name="connsiteX80" fmla="*/ 757411 w 1394458"/>
                <a:gd name="connsiteY80" fmla="*/ 14066 h 273890"/>
                <a:gd name="connsiteX81" fmla="*/ 808472 w 1394458"/>
                <a:gd name="connsiteY81" fmla="*/ 25180 h 273890"/>
                <a:gd name="connsiteX82" fmla="*/ 840777 w 1394458"/>
                <a:gd name="connsiteY82" fmla="*/ 55919 h 273890"/>
                <a:gd name="connsiteX83" fmla="*/ 855018 w 1394458"/>
                <a:gd name="connsiteY83" fmla="*/ 100900 h 273890"/>
                <a:gd name="connsiteX84" fmla="*/ 811599 w 1394458"/>
                <a:gd name="connsiteY84" fmla="*/ 100900 h 273890"/>
                <a:gd name="connsiteX85" fmla="*/ 803958 w 1394458"/>
                <a:gd name="connsiteY85" fmla="*/ 72938 h 273890"/>
                <a:gd name="connsiteX86" fmla="*/ 786940 w 1394458"/>
                <a:gd name="connsiteY86" fmla="*/ 55224 h 273890"/>
                <a:gd name="connsiteX87" fmla="*/ 757416 w 1394458"/>
                <a:gd name="connsiteY87" fmla="*/ 48969 h 273890"/>
                <a:gd name="connsiteX88" fmla="*/ 731366 w 1394458"/>
                <a:gd name="connsiteY88" fmla="*/ 54528 h 273890"/>
                <a:gd name="connsiteX89" fmla="*/ 712781 w 1394458"/>
                <a:gd name="connsiteY89" fmla="*/ 70856 h 273890"/>
                <a:gd name="connsiteX90" fmla="*/ 701492 w 1394458"/>
                <a:gd name="connsiteY90" fmla="*/ 97427 h 273890"/>
                <a:gd name="connsiteX91" fmla="*/ 697844 w 1394458"/>
                <a:gd name="connsiteY91" fmla="*/ 133205 h 273890"/>
                <a:gd name="connsiteX92" fmla="*/ 697844 w 1394458"/>
                <a:gd name="connsiteY92" fmla="*/ 154567 h 273890"/>
                <a:gd name="connsiteX93" fmla="*/ 701142 w 1394458"/>
                <a:gd name="connsiteY93" fmla="*/ 189299 h 273890"/>
                <a:gd name="connsiteX94" fmla="*/ 711565 w 1394458"/>
                <a:gd name="connsiteY94" fmla="*/ 215870 h 273890"/>
                <a:gd name="connsiteX95" fmla="*/ 729629 w 1394458"/>
                <a:gd name="connsiteY95" fmla="*/ 233064 h 273890"/>
                <a:gd name="connsiteX96" fmla="*/ 755855 w 1394458"/>
                <a:gd name="connsiteY96" fmla="*/ 239144 h 273890"/>
                <a:gd name="connsiteX97" fmla="*/ 785904 w 1394458"/>
                <a:gd name="connsiteY97" fmla="*/ 233239 h 273890"/>
                <a:gd name="connsiteX98" fmla="*/ 803443 w 1394458"/>
                <a:gd name="connsiteY98" fmla="*/ 216046 h 273890"/>
                <a:gd name="connsiteX99" fmla="*/ 811434 w 1394458"/>
                <a:gd name="connsiteY99" fmla="*/ 188084 h 273890"/>
                <a:gd name="connsiteX100" fmla="*/ 882285 w 1394458"/>
                <a:gd name="connsiteY100" fmla="*/ 178541 h 273890"/>
                <a:gd name="connsiteX101" fmla="*/ 882285 w 1394458"/>
                <a:gd name="connsiteY101" fmla="*/ 174548 h 273890"/>
                <a:gd name="connsiteX102" fmla="*/ 888190 w 1394458"/>
                <a:gd name="connsiteY102" fmla="*/ 136858 h 273890"/>
                <a:gd name="connsiteX103" fmla="*/ 905208 w 1394458"/>
                <a:gd name="connsiteY103" fmla="*/ 106464 h 273890"/>
                <a:gd name="connsiteX104" fmla="*/ 932650 w 1394458"/>
                <a:gd name="connsiteY104" fmla="*/ 86318 h 273890"/>
                <a:gd name="connsiteX105" fmla="*/ 969469 w 1394458"/>
                <a:gd name="connsiteY105" fmla="*/ 79022 h 273890"/>
                <a:gd name="connsiteX106" fmla="*/ 1006288 w 1394458"/>
                <a:gd name="connsiteY106" fmla="*/ 86318 h 273890"/>
                <a:gd name="connsiteX107" fmla="*/ 1033899 w 1394458"/>
                <a:gd name="connsiteY107" fmla="*/ 106464 h 273890"/>
                <a:gd name="connsiteX108" fmla="*/ 1051093 w 1394458"/>
                <a:gd name="connsiteY108" fmla="*/ 136858 h 273890"/>
                <a:gd name="connsiteX109" fmla="*/ 1056998 w 1394458"/>
                <a:gd name="connsiteY109" fmla="*/ 174548 h 273890"/>
                <a:gd name="connsiteX110" fmla="*/ 1056998 w 1394458"/>
                <a:gd name="connsiteY110" fmla="*/ 178541 h 273890"/>
                <a:gd name="connsiteX111" fmla="*/ 1051093 w 1394458"/>
                <a:gd name="connsiteY111" fmla="*/ 216230 h 273890"/>
                <a:gd name="connsiteX112" fmla="*/ 1033899 w 1394458"/>
                <a:gd name="connsiteY112" fmla="*/ 246624 h 273890"/>
                <a:gd name="connsiteX113" fmla="*/ 1006458 w 1394458"/>
                <a:gd name="connsiteY113" fmla="*/ 266770 h 273890"/>
                <a:gd name="connsiteX114" fmla="*/ 969814 w 1394458"/>
                <a:gd name="connsiteY114" fmla="*/ 273891 h 273890"/>
                <a:gd name="connsiteX115" fmla="*/ 932820 w 1394458"/>
                <a:gd name="connsiteY115" fmla="*/ 266770 h 273890"/>
                <a:gd name="connsiteX116" fmla="*/ 905378 w 1394458"/>
                <a:gd name="connsiteY116" fmla="*/ 246624 h 273890"/>
                <a:gd name="connsiteX117" fmla="*/ 888185 w 1394458"/>
                <a:gd name="connsiteY117" fmla="*/ 216230 h 273890"/>
                <a:gd name="connsiteX118" fmla="*/ 882280 w 1394458"/>
                <a:gd name="connsiteY118" fmla="*/ 178541 h 273890"/>
                <a:gd name="connsiteX119" fmla="*/ 924143 w 1394458"/>
                <a:gd name="connsiteY119" fmla="*/ 174548 h 273890"/>
                <a:gd name="connsiteX120" fmla="*/ 924143 w 1394458"/>
                <a:gd name="connsiteY120" fmla="*/ 178541 h 273890"/>
                <a:gd name="connsiteX121" fmla="*/ 926750 w 1394458"/>
                <a:gd name="connsiteY121" fmla="*/ 202510 h 273890"/>
                <a:gd name="connsiteX122" fmla="*/ 934911 w 1394458"/>
                <a:gd name="connsiteY122" fmla="*/ 222310 h 273890"/>
                <a:gd name="connsiteX123" fmla="*/ 949152 w 1394458"/>
                <a:gd name="connsiteY123" fmla="*/ 235681 h 273890"/>
                <a:gd name="connsiteX124" fmla="*/ 969819 w 1394458"/>
                <a:gd name="connsiteY124" fmla="*/ 240545 h 273890"/>
                <a:gd name="connsiteX125" fmla="*/ 989965 w 1394458"/>
                <a:gd name="connsiteY125" fmla="*/ 235681 h 273890"/>
                <a:gd name="connsiteX126" fmla="*/ 1004206 w 1394458"/>
                <a:gd name="connsiteY126" fmla="*/ 222310 h 273890"/>
                <a:gd name="connsiteX127" fmla="*/ 1012367 w 1394458"/>
                <a:gd name="connsiteY127" fmla="*/ 202510 h 273890"/>
                <a:gd name="connsiteX128" fmla="*/ 1015145 w 1394458"/>
                <a:gd name="connsiteY128" fmla="*/ 178541 h 273890"/>
                <a:gd name="connsiteX129" fmla="*/ 1015145 w 1394458"/>
                <a:gd name="connsiteY129" fmla="*/ 174548 h 273890"/>
                <a:gd name="connsiteX130" fmla="*/ 1012367 w 1394458"/>
                <a:gd name="connsiteY130" fmla="*/ 150929 h 273890"/>
                <a:gd name="connsiteX131" fmla="*/ 1004031 w 1394458"/>
                <a:gd name="connsiteY131" fmla="*/ 130958 h 273890"/>
                <a:gd name="connsiteX132" fmla="*/ 989790 w 1394458"/>
                <a:gd name="connsiteY132" fmla="*/ 117412 h 273890"/>
                <a:gd name="connsiteX133" fmla="*/ 969469 w 1394458"/>
                <a:gd name="connsiteY133" fmla="*/ 112378 h 273890"/>
                <a:gd name="connsiteX134" fmla="*/ 948977 w 1394458"/>
                <a:gd name="connsiteY134" fmla="*/ 117412 h 273890"/>
                <a:gd name="connsiteX135" fmla="*/ 934911 w 1394458"/>
                <a:gd name="connsiteY135" fmla="*/ 130958 h 273890"/>
                <a:gd name="connsiteX136" fmla="*/ 926750 w 1394458"/>
                <a:gd name="connsiteY136" fmla="*/ 150929 h 273890"/>
                <a:gd name="connsiteX137" fmla="*/ 924143 w 1394458"/>
                <a:gd name="connsiteY137" fmla="*/ 174548 h 273890"/>
                <a:gd name="connsiteX138" fmla="*/ 1133598 w 1394458"/>
                <a:gd name="connsiteY138" fmla="*/ 122617 h 273890"/>
                <a:gd name="connsiteX139" fmla="*/ 1133598 w 1394458"/>
                <a:gd name="connsiteY139" fmla="*/ 270418 h 273890"/>
                <a:gd name="connsiteX140" fmla="*/ 1091745 w 1394458"/>
                <a:gd name="connsiteY140" fmla="*/ 270418 h 273890"/>
                <a:gd name="connsiteX141" fmla="*/ 1091745 w 1394458"/>
                <a:gd name="connsiteY141" fmla="*/ 82495 h 273890"/>
                <a:gd name="connsiteX142" fmla="*/ 1131171 w 1394458"/>
                <a:gd name="connsiteY142" fmla="*/ 82495 h 273890"/>
                <a:gd name="connsiteX143" fmla="*/ 1133603 w 1394458"/>
                <a:gd name="connsiteY143" fmla="*/ 122617 h 273890"/>
                <a:gd name="connsiteX144" fmla="*/ 1126132 w 1394458"/>
                <a:gd name="connsiteY144" fmla="*/ 169509 h 273890"/>
                <a:gd name="connsiteX145" fmla="*/ 1112586 w 1394458"/>
                <a:gd name="connsiteY145" fmla="*/ 169334 h 273890"/>
                <a:gd name="connsiteX146" fmla="*/ 1118145 w 1394458"/>
                <a:gd name="connsiteY146" fmla="*/ 132690 h 273890"/>
                <a:gd name="connsiteX147" fmla="*/ 1133428 w 1394458"/>
                <a:gd name="connsiteY147" fmla="*/ 104032 h 273890"/>
                <a:gd name="connsiteX148" fmla="*/ 1157046 w 1394458"/>
                <a:gd name="connsiteY148" fmla="*/ 85623 h 273890"/>
                <a:gd name="connsiteX149" fmla="*/ 1187615 w 1394458"/>
                <a:gd name="connsiteY149" fmla="*/ 79022 h 273890"/>
                <a:gd name="connsiteX150" fmla="*/ 1212105 w 1394458"/>
                <a:gd name="connsiteY150" fmla="*/ 82840 h 273890"/>
                <a:gd name="connsiteX151" fmla="*/ 1231034 w 1394458"/>
                <a:gd name="connsiteY151" fmla="*/ 94825 h 273890"/>
                <a:gd name="connsiteX152" fmla="*/ 1243189 w 1394458"/>
                <a:gd name="connsiteY152" fmla="*/ 116532 h 273890"/>
                <a:gd name="connsiteX153" fmla="*/ 1247357 w 1394458"/>
                <a:gd name="connsiteY153" fmla="*/ 149013 h 273890"/>
                <a:gd name="connsiteX154" fmla="*/ 1247357 w 1394458"/>
                <a:gd name="connsiteY154" fmla="*/ 270413 h 273890"/>
                <a:gd name="connsiteX155" fmla="*/ 1205329 w 1394458"/>
                <a:gd name="connsiteY155" fmla="*/ 270413 h 273890"/>
                <a:gd name="connsiteX156" fmla="*/ 1205329 w 1394458"/>
                <a:gd name="connsiteY156" fmla="*/ 148837 h 273890"/>
                <a:gd name="connsiteX157" fmla="*/ 1201336 w 1394458"/>
                <a:gd name="connsiteY157" fmla="*/ 127476 h 273890"/>
                <a:gd name="connsiteX158" fmla="*/ 1190047 w 1394458"/>
                <a:gd name="connsiteY158" fmla="*/ 116187 h 273890"/>
                <a:gd name="connsiteX159" fmla="*/ 1171813 w 1394458"/>
                <a:gd name="connsiteY159" fmla="*/ 112714 h 273890"/>
                <a:gd name="connsiteX160" fmla="*/ 1152533 w 1394458"/>
                <a:gd name="connsiteY160" fmla="*/ 117228 h 273890"/>
                <a:gd name="connsiteX161" fmla="*/ 1138116 w 1394458"/>
                <a:gd name="connsiteY161" fmla="*/ 129557 h 273890"/>
                <a:gd name="connsiteX162" fmla="*/ 1129259 w 1394458"/>
                <a:gd name="connsiteY162" fmla="*/ 147621 h 273890"/>
                <a:gd name="connsiteX163" fmla="*/ 1126132 w 1394458"/>
                <a:gd name="connsiteY163" fmla="*/ 169504 h 273890"/>
                <a:gd name="connsiteX164" fmla="*/ 1346701 w 1394458"/>
                <a:gd name="connsiteY164" fmla="*/ 270418 h 273890"/>
                <a:gd name="connsiteX165" fmla="*/ 1304843 w 1394458"/>
                <a:gd name="connsiteY165" fmla="*/ 270418 h 273890"/>
                <a:gd name="connsiteX166" fmla="*/ 1304843 w 1394458"/>
                <a:gd name="connsiteY166" fmla="*/ 64436 h 273890"/>
                <a:gd name="connsiteX167" fmla="*/ 1312659 w 1394458"/>
                <a:gd name="connsiteY167" fmla="*/ 29178 h 273890"/>
                <a:gd name="connsiteX168" fmla="*/ 1335412 w 1394458"/>
                <a:gd name="connsiteY168" fmla="*/ 7471 h 273890"/>
                <a:gd name="connsiteX169" fmla="*/ 1370319 w 1394458"/>
                <a:gd name="connsiteY169" fmla="*/ 0 h 273890"/>
                <a:gd name="connsiteX170" fmla="*/ 1382649 w 1394458"/>
                <a:gd name="connsiteY170" fmla="*/ 871 h 273890"/>
                <a:gd name="connsiteX171" fmla="*/ 1394458 w 1394458"/>
                <a:gd name="connsiteY171" fmla="*/ 3127 h 273890"/>
                <a:gd name="connsiteX172" fmla="*/ 1393418 w 1394458"/>
                <a:gd name="connsiteY172" fmla="*/ 35433 h 273890"/>
                <a:gd name="connsiteX173" fmla="*/ 1385776 w 1394458"/>
                <a:gd name="connsiteY173" fmla="*/ 34217 h 273890"/>
                <a:gd name="connsiteX174" fmla="*/ 1377095 w 1394458"/>
                <a:gd name="connsiteY174" fmla="*/ 33872 h 273890"/>
                <a:gd name="connsiteX175" fmla="*/ 1360596 w 1394458"/>
                <a:gd name="connsiteY175" fmla="*/ 37519 h 273890"/>
                <a:gd name="connsiteX176" fmla="*/ 1350178 w 1394458"/>
                <a:gd name="connsiteY176" fmla="*/ 47767 h 273890"/>
                <a:gd name="connsiteX177" fmla="*/ 1346706 w 1394458"/>
                <a:gd name="connsiteY177" fmla="*/ 64441 h 273890"/>
                <a:gd name="connsiteX178" fmla="*/ 1346706 w 1394458"/>
                <a:gd name="connsiteY178" fmla="*/ 270423 h 273890"/>
                <a:gd name="connsiteX179" fmla="*/ 1385431 w 1394458"/>
                <a:gd name="connsiteY179" fmla="*/ 82500 h 273890"/>
                <a:gd name="connsiteX180" fmla="*/ 1385431 w 1394458"/>
                <a:gd name="connsiteY180" fmla="*/ 113069 h 273890"/>
                <a:gd name="connsiteX181" fmla="*/ 1276015 w 1394458"/>
                <a:gd name="connsiteY181" fmla="*/ 113069 h 273890"/>
                <a:gd name="connsiteX182" fmla="*/ 1276015 w 1394458"/>
                <a:gd name="connsiteY182" fmla="*/ 82500 h 273890"/>
                <a:gd name="connsiteX183" fmla="*/ 1385431 w 1394458"/>
                <a:gd name="connsiteY183" fmla="*/ 82500 h 2738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</a:cxnLst>
              <a:rect l="l" t="t" r="r" b="b"/>
              <a:pathLst>
                <a:path w="1394458" h="273890">
                  <a:moveTo>
                    <a:pt x="157354" y="188093"/>
                  </a:moveTo>
                  <a:lnTo>
                    <a:pt x="200773" y="188093"/>
                  </a:lnTo>
                  <a:cubicBezTo>
                    <a:pt x="199382" y="204650"/>
                    <a:pt x="194752" y="219411"/>
                    <a:pt x="186877" y="232383"/>
                  </a:cubicBezTo>
                  <a:cubicBezTo>
                    <a:pt x="179003" y="245233"/>
                    <a:pt x="167947" y="255365"/>
                    <a:pt x="153706" y="262777"/>
                  </a:cubicBezTo>
                  <a:cubicBezTo>
                    <a:pt x="139465" y="270185"/>
                    <a:pt x="122155" y="273891"/>
                    <a:pt x="101775" y="273891"/>
                  </a:cubicBezTo>
                  <a:cubicBezTo>
                    <a:pt x="86143" y="273891"/>
                    <a:pt x="72077" y="271114"/>
                    <a:pt x="59572" y="265554"/>
                  </a:cubicBezTo>
                  <a:cubicBezTo>
                    <a:pt x="47067" y="259878"/>
                    <a:pt x="36357" y="251892"/>
                    <a:pt x="27442" y="241585"/>
                  </a:cubicBezTo>
                  <a:cubicBezTo>
                    <a:pt x="18526" y="231162"/>
                    <a:pt x="11697" y="218604"/>
                    <a:pt x="6950" y="203896"/>
                  </a:cubicBezTo>
                  <a:cubicBezTo>
                    <a:pt x="2315" y="189192"/>
                    <a:pt x="0" y="172753"/>
                    <a:pt x="0" y="154577"/>
                  </a:cubicBezTo>
                  <a:lnTo>
                    <a:pt x="0" y="133560"/>
                  </a:lnTo>
                  <a:cubicBezTo>
                    <a:pt x="0" y="115379"/>
                    <a:pt x="2374" y="98940"/>
                    <a:pt x="7121" y="84236"/>
                  </a:cubicBezTo>
                  <a:cubicBezTo>
                    <a:pt x="11984" y="69533"/>
                    <a:pt x="18930" y="56970"/>
                    <a:pt x="27962" y="46552"/>
                  </a:cubicBezTo>
                  <a:cubicBezTo>
                    <a:pt x="36994" y="36017"/>
                    <a:pt x="47816" y="27967"/>
                    <a:pt x="60438" y="22408"/>
                  </a:cubicBezTo>
                  <a:cubicBezTo>
                    <a:pt x="73171" y="16848"/>
                    <a:pt x="87471" y="14071"/>
                    <a:pt x="103336" y="14071"/>
                  </a:cubicBezTo>
                  <a:cubicBezTo>
                    <a:pt x="123482" y="14071"/>
                    <a:pt x="140506" y="17777"/>
                    <a:pt x="154397" y="25185"/>
                  </a:cubicBezTo>
                  <a:cubicBezTo>
                    <a:pt x="168293" y="32597"/>
                    <a:pt x="179056" y="42840"/>
                    <a:pt x="186702" y="55924"/>
                  </a:cubicBezTo>
                  <a:cubicBezTo>
                    <a:pt x="194460" y="69008"/>
                    <a:pt x="199207" y="84003"/>
                    <a:pt x="200943" y="100905"/>
                  </a:cubicBezTo>
                  <a:lnTo>
                    <a:pt x="157524" y="100905"/>
                  </a:lnTo>
                  <a:cubicBezTo>
                    <a:pt x="156367" y="90019"/>
                    <a:pt x="153818" y="80700"/>
                    <a:pt x="149883" y="72943"/>
                  </a:cubicBezTo>
                  <a:cubicBezTo>
                    <a:pt x="146065" y="65185"/>
                    <a:pt x="140389" y="59280"/>
                    <a:pt x="132865" y="55229"/>
                  </a:cubicBezTo>
                  <a:cubicBezTo>
                    <a:pt x="125340" y="51060"/>
                    <a:pt x="115496" y="48974"/>
                    <a:pt x="103341" y="48974"/>
                  </a:cubicBezTo>
                  <a:cubicBezTo>
                    <a:pt x="93385" y="48974"/>
                    <a:pt x="84698" y="50827"/>
                    <a:pt x="77291" y="54533"/>
                  </a:cubicBezTo>
                  <a:cubicBezTo>
                    <a:pt x="69878" y="58239"/>
                    <a:pt x="63687" y="63682"/>
                    <a:pt x="58706" y="70861"/>
                  </a:cubicBezTo>
                  <a:cubicBezTo>
                    <a:pt x="53730" y="78040"/>
                    <a:pt x="49966" y="86897"/>
                    <a:pt x="47417" y="97432"/>
                  </a:cubicBezTo>
                  <a:cubicBezTo>
                    <a:pt x="44985" y="107850"/>
                    <a:pt x="43769" y="119776"/>
                    <a:pt x="43769" y="133210"/>
                  </a:cubicBezTo>
                  <a:lnTo>
                    <a:pt x="43769" y="154572"/>
                  </a:lnTo>
                  <a:cubicBezTo>
                    <a:pt x="43769" y="167305"/>
                    <a:pt x="44869" y="178886"/>
                    <a:pt x="47067" y="189304"/>
                  </a:cubicBezTo>
                  <a:cubicBezTo>
                    <a:pt x="49382" y="199611"/>
                    <a:pt x="52855" y="208468"/>
                    <a:pt x="57490" y="215875"/>
                  </a:cubicBezTo>
                  <a:cubicBezTo>
                    <a:pt x="62237" y="223288"/>
                    <a:pt x="68259" y="229017"/>
                    <a:pt x="75550" y="233069"/>
                  </a:cubicBezTo>
                  <a:cubicBezTo>
                    <a:pt x="82845" y="237120"/>
                    <a:pt x="91585" y="239149"/>
                    <a:pt x="101775" y="239149"/>
                  </a:cubicBezTo>
                  <a:cubicBezTo>
                    <a:pt x="114163" y="239149"/>
                    <a:pt x="124178" y="237179"/>
                    <a:pt x="131824" y="233244"/>
                  </a:cubicBezTo>
                  <a:cubicBezTo>
                    <a:pt x="139582" y="229309"/>
                    <a:pt x="145428" y="223575"/>
                    <a:pt x="149363" y="216050"/>
                  </a:cubicBezTo>
                  <a:cubicBezTo>
                    <a:pt x="153414" y="208409"/>
                    <a:pt x="156080" y="199090"/>
                    <a:pt x="157354" y="188088"/>
                  </a:cubicBezTo>
                  <a:close/>
                  <a:moveTo>
                    <a:pt x="313837" y="270418"/>
                  </a:moveTo>
                  <a:lnTo>
                    <a:pt x="259825" y="270418"/>
                  </a:lnTo>
                  <a:lnTo>
                    <a:pt x="260170" y="235856"/>
                  </a:lnTo>
                  <a:lnTo>
                    <a:pt x="313837" y="235856"/>
                  </a:lnTo>
                  <a:cubicBezTo>
                    <a:pt x="329469" y="235856"/>
                    <a:pt x="342553" y="232441"/>
                    <a:pt x="353088" y="225608"/>
                  </a:cubicBezTo>
                  <a:cubicBezTo>
                    <a:pt x="363740" y="218779"/>
                    <a:pt x="371731" y="208993"/>
                    <a:pt x="377057" y="196255"/>
                  </a:cubicBezTo>
                  <a:cubicBezTo>
                    <a:pt x="382499" y="183521"/>
                    <a:pt x="385218" y="168351"/>
                    <a:pt x="385218" y="150754"/>
                  </a:cubicBezTo>
                  <a:lnTo>
                    <a:pt x="385218" y="137033"/>
                  </a:lnTo>
                  <a:cubicBezTo>
                    <a:pt x="385218" y="123371"/>
                    <a:pt x="383657" y="111269"/>
                    <a:pt x="380530" y="100734"/>
                  </a:cubicBezTo>
                  <a:cubicBezTo>
                    <a:pt x="377519" y="90199"/>
                    <a:pt x="373005" y="81342"/>
                    <a:pt x="366984" y="74163"/>
                  </a:cubicBezTo>
                  <a:cubicBezTo>
                    <a:pt x="361079" y="66984"/>
                    <a:pt x="353784" y="61542"/>
                    <a:pt x="345102" y="57840"/>
                  </a:cubicBezTo>
                  <a:cubicBezTo>
                    <a:pt x="336532" y="54134"/>
                    <a:pt x="326634" y="52281"/>
                    <a:pt x="315403" y="52281"/>
                  </a:cubicBezTo>
                  <a:lnTo>
                    <a:pt x="258784" y="52281"/>
                  </a:lnTo>
                  <a:lnTo>
                    <a:pt x="258784" y="17544"/>
                  </a:lnTo>
                  <a:lnTo>
                    <a:pt x="315403" y="17544"/>
                  </a:lnTo>
                  <a:cubicBezTo>
                    <a:pt x="332193" y="17544"/>
                    <a:pt x="347534" y="20379"/>
                    <a:pt x="361429" y="26055"/>
                  </a:cubicBezTo>
                  <a:cubicBezTo>
                    <a:pt x="375325" y="31615"/>
                    <a:pt x="387310" y="39660"/>
                    <a:pt x="397383" y="50195"/>
                  </a:cubicBezTo>
                  <a:cubicBezTo>
                    <a:pt x="407572" y="60730"/>
                    <a:pt x="415389" y="73351"/>
                    <a:pt x="420826" y="88054"/>
                  </a:cubicBezTo>
                  <a:cubicBezTo>
                    <a:pt x="426269" y="102758"/>
                    <a:pt x="428988" y="119202"/>
                    <a:pt x="428988" y="137378"/>
                  </a:cubicBezTo>
                  <a:lnTo>
                    <a:pt x="428988" y="150754"/>
                  </a:lnTo>
                  <a:cubicBezTo>
                    <a:pt x="428988" y="168930"/>
                    <a:pt x="426269" y="185374"/>
                    <a:pt x="420826" y="200078"/>
                  </a:cubicBezTo>
                  <a:cubicBezTo>
                    <a:pt x="415384" y="214781"/>
                    <a:pt x="407568" y="227403"/>
                    <a:pt x="397383" y="237938"/>
                  </a:cubicBezTo>
                  <a:cubicBezTo>
                    <a:pt x="387193" y="248356"/>
                    <a:pt x="375038" y="256405"/>
                    <a:pt x="360909" y="262077"/>
                  </a:cubicBezTo>
                  <a:cubicBezTo>
                    <a:pt x="346896" y="267636"/>
                    <a:pt x="331211" y="270413"/>
                    <a:pt x="313842" y="270413"/>
                  </a:cubicBezTo>
                  <a:close/>
                  <a:moveTo>
                    <a:pt x="283964" y="17544"/>
                  </a:moveTo>
                  <a:lnTo>
                    <a:pt x="283964" y="270418"/>
                  </a:lnTo>
                  <a:lnTo>
                    <a:pt x="240369" y="270418"/>
                  </a:lnTo>
                  <a:lnTo>
                    <a:pt x="240369" y="17544"/>
                  </a:lnTo>
                  <a:lnTo>
                    <a:pt x="283964" y="17544"/>
                  </a:lnTo>
                  <a:close/>
                  <a:moveTo>
                    <a:pt x="519299" y="17544"/>
                  </a:moveTo>
                  <a:lnTo>
                    <a:pt x="519299" y="270418"/>
                  </a:lnTo>
                  <a:lnTo>
                    <a:pt x="475705" y="270418"/>
                  </a:lnTo>
                  <a:lnTo>
                    <a:pt x="475705" y="17544"/>
                  </a:lnTo>
                  <a:lnTo>
                    <a:pt x="519299" y="17544"/>
                  </a:lnTo>
                  <a:close/>
                  <a:moveTo>
                    <a:pt x="811424" y="188093"/>
                  </a:moveTo>
                  <a:lnTo>
                    <a:pt x="854843" y="188093"/>
                  </a:lnTo>
                  <a:cubicBezTo>
                    <a:pt x="853452" y="204650"/>
                    <a:pt x="848822" y="219411"/>
                    <a:pt x="840947" y="232383"/>
                  </a:cubicBezTo>
                  <a:cubicBezTo>
                    <a:pt x="833073" y="245233"/>
                    <a:pt x="822017" y="255365"/>
                    <a:pt x="807776" y="262777"/>
                  </a:cubicBezTo>
                  <a:cubicBezTo>
                    <a:pt x="793535" y="270185"/>
                    <a:pt x="776225" y="273891"/>
                    <a:pt x="755845" y="273891"/>
                  </a:cubicBezTo>
                  <a:cubicBezTo>
                    <a:pt x="740213" y="273891"/>
                    <a:pt x="726147" y="271114"/>
                    <a:pt x="713642" y="265554"/>
                  </a:cubicBezTo>
                  <a:cubicBezTo>
                    <a:pt x="701137" y="259878"/>
                    <a:pt x="690427" y="251892"/>
                    <a:pt x="681512" y="241585"/>
                  </a:cubicBezTo>
                  <a:cubicBezTo>
                    <a:pt x="672596" y="231162"/>
                    <a:pt x="665768" y="218604"/>
                    <a:pt x="661021" y="203896"/>
                  </a:cubicBezTo>
                  <a:cubicBezTo>
                    <a:pt x="656390" y="189192"/>
                    <a:pt x="654075" y="172748"/>
                    <a:pt x="654075" y="154572"/>
                  </a:cubicBezTo>
                  <a:lnTo>
                    <a:pt x="654075" y="133555"/>
                  </a:lnTo>
                  <a:cubicBezTo>
                    <a:pt x="654075" y="115374"/>
                    <a:pt x="656449" y="98935"/>
                    <a:pt x="661196" y="84231"/>
                  </a:cubicBezTo>
                  <a:cubicBezTo>
                    <a:pt x="666059" y="69528"/>
                    <a:pt x="673005" y="56965"/>
                    <a:pt x="682037" y="46547"/>
                  </a:cubicBezTo>
                  <a:cubicBezTo>
                    <a:pt x="691069" y="36012"/>
                    <a:pt x="701891" y="27962"/>
                    <a:pt x="714513" y="22403"/>
                  </a:cubicBezTo>
                  <a:cubicBezTo>
                    <a:pt x="727246" y="16843"/>
                    <a:pt x="741546" y="14066"/>
                    <a:pt x="757411" y="14066"/>
                  </a:cubicBezTo>
                  <a:cubicBezTo>
                    <a:pt x="777557" y="14066"/>
                    <a:pt x="794581" y="17772"/>
                    <a:pt x="808472" y="25180"/>
                  </a:cubicBezTo>
                  <a:cubicBezTo>
                    <a:pt x="822368" y="32592"/>
                    <a:pt x="833131" y="42836"/>
                    <a:pt x="840777" y="55919"/>
                  </a:cubicBezTo>
                  <a:cubicBezTo>
                    <a:pt x="848535" y="69003"/>
                    <a:pt x="853282" y="83998"/>
                    <a:pt x="855018" y="100900"/>
                  </a:cubicBezTo>
                  <a:lnTo>
                    <a:pt x="811599" y="100900"/>
                  </a:lnTo>
                  <a:cubicBezTo>
                    <a:pt x="810442" y="90015"/>
                    <a:pt x="807893" y="80695"/>
                    <a:pt x="803958" y="72938"/>
                  </a:cubicBezTo>
                  <a:cubicBezTo>
                    <a:pt x="800140" y="65180"/>
                    <a:pt x="794464" y="59275"/>
                    <a:pt x="786940" y="55224"/>
                  </a:cubicBezTo>
                  <a:cubicBezTo>
                    <a:pt x="779415" y="51055"/>
                    <a:pt x="769571" y="48969"/>
                    <a:pt x="757416" y="48969"/>
                  </a:cubicBezTo>
                  <a:cubicBezTo>
                    <a:pt x="747460" y="48969"/>
                    <a:pt x="738773" y="50822"/>
                    <a:pt x="731366" y="54528"/>
                  </a:cubicBezTo>
                  <a:cubicBezTo>
                    <a:pt x="723953" y="58234"/>
                    <a:pt x="717762" y="63677"/>
                    <a:pt x="712781" y="70856"/>
                  </a:cubicBezTo>
                  <a:cubicBezTo>
                    <a:pt x="707801" y="78035"/>
                    <a:pt x="704041" y="86892"/>
                    <a:pt x="701492" y="97427"/>
                  </a:cubicBezTo>
                  <a:cubicBezTo>
                    <a:pt x="699060" y="107845"/>
                    <a:pt x="697844" y="119771"/>
                    <a:pt x="697844" y="133205"/>
                  </a:cubicBezTo>
                  <a:lnTo>
                    <a:pt x="697844" y="154567"/>
                  </a:lnTo>
                  <a:cubicBezTo>
                    <a:pt x="697844" y="167300"/>
                    <a:pt x="698944" y="178881"/>
                    <a:pt x="701142" y="189299"/>
                  </a:cubicBezTo>
                  <a:cubicBezTo>
                    <a:pt x="703457" y="199606"/>
                    <a:pt x="706930" y="208463"/>
                    <a:pt x="711565" y="215870"/>
                  </a:cubicBezTo>
                  <a:cubicBezTo>
                    <a:pt x="716312" y="223283"/>
                    <a:pt x="722334" y="229012"/>
                    <a:pt x="729629" y="233064"/>
                  </a:cubicBezTo>
                  <a:cubicBezTo>
                    <a:pt x="736925" y="237116"/>
                    <a:pt x="745665" y="239144"/>
                    <a:pt x="755855" y="239144"/>
                  </a:cubicBezTo>
                  <a:cubicBezTo>
                    <a:pt x="768243" y="239144"/>
                    <a:pt x="778258" y="237174"/>
                    <a:pt x="785904" y="233239"/>
                  </a:cubicBezTo>
                  <a:cubicBezTo>
                    <a:pt x="793661" y="229304"/>
                    <a:pt x="799508" y="223570"/>
                    <a:pt x="803443" y="216046"/>
                  </a:cubicBezTo>
                  <a:cubicBezTo>
                    <a:pt x="807494" y="208405"/>
                    <a:pt x="810159" y="199085"/>
                    <a:pt x="811434" y="188084"/>
                  </a:cubicBezTo>
                  <a:close/>
                  <a:moveTo>
                    <a:pt x="882285" y="178541"/>
                  </a:moveTo>
                  <a:lnTo>
                    <a:pt x="882285" y="174548"/>
                  </a:lnTo>
                  <a:cubicBezTo>
                    <a:pt x="882285" y="161002"/>
                    <a:pt x="884255" y="148439"/>
                    <a:pt x="888190" y="136858"/>
                  </a:cubicBezTo>
                  <a:cubicBezTo>
                    <a:pt x="892124" y="125165"/>
                    <a:pt x="897800" y="115034"/>
                    <a:pt x="905208" y="106464"/>
                  </a:cubicBezTo>
                  <a:cubicBezTo>
                    <a:pt x="912732" y="97782"/>
                    <a:pt x="921881" y="91065"/>
                    <a:pt x="932650" y="86318"/>
                  </a:cubicBezTo>
                  <a:cubicBezTo>
                    <a:pt x="943535" y="81454"/>
                    <a:pt x="955806" y="79022"/>
                    <a:pt x="969469" y="79022"/>
                  </a:cubicBezTo>
                  <a:cubicBezTo>
                    <a:pt x="983131" y="79022"/>
                    <a:pt x="995519" y="81454"/>
                    <a:pt x="1006288" y="86318"/>
                  </a:cubicBezTo>
                  <a:cubicBezTo>
                    <a:pt x="1017173" y="91065"/>
                    <a:pt x="1026375" y="97782"/>
                    <a:pt x="1033899" y="106464"/>
                  </a:cubicBezTo>
                  <a:cubicBezTo>
                    <a:pt x="1041424" y="115034"/>
                    <a:pt x="1047158" y="125165"/>
                    <a:pt x="1051093" y="136858"/>
                  </a:cubicBezTo>
                  <a:cubicBezTo>
                    <a:pt x="1055028" y="148439"/>
                    <a:pt x="1056998" y="160997"/>
                    <a:pt x="1056998" y="174548"/>
                  </a:cubicBezTo>
                  <a:lnTo>
                    <a:pt x="1056998" y="178541"/>
                  </a:lnTo>
                  <a:cubicBezTo>
                    <a:pt x="1056998" y="192086"/>
                    <a:pt x="1055028" y="204650"/>
                    <a:pt x="1051093" y="216230"/>
                  </a:cubicBezTo>
                  <a:cubicBezTo>
                    <a:pt x="1047153" y="227806"/>
                    <a:pt x="1041424" y="237938"/>
                    <a:pt x="1033899" y="246624"/>
                  </a:cubicBezTo>
                  <a:cubicBezTo>
                    <a:pt x="1026375" y="255194"/>
                    <a:pt x="1017226" y="261906"/>
                    <a:pt x="1006458" y="266770"/>
                  </a:cubicBezTo>
                  <a:cubicBezTo>
                    <a:pt x="995689" y="271517"/>
                    <a:pt x="983476" y="273891"/>
                    <a:pt x="969814" y="273891"/>
                  </a:cubicBezTo>
                  <a:cubicBezTo>
                    <a:pt x="956151" y="273891"/>
                    <a:pt x="943705" y="271517"/>
                    <a:pt x="932820" y="266770"/>
                  </a:cubicBezTo>
                  <a:cubicBezTo>
                    <a:pt x="922051" y="261906"/>
                    <a:pt x="912907" y="255189"/>
                    <a:pt x="905378" y="246624"/>
                  </a:cubicBezTo>
                  <a:cubicBezTo>
                    <a:pt x="897854" y="237942"/>
                    <a:pt x="892119" y="227811"/>
                    <a:pt x="888185" y="216230"/>
                  </a:cubicBezTo>
                  <a:cubicBezTo>
                    <a:pt x="884245" y="204650"/>
                    <a:pt x="882280" y="192086"/>
                    <a:pt x="882280" y="178541"/>
                  </a:cubicBezTo>
                  <a:close/>
                  <a:moveTo>
                    <a:pt x="924143" y="174548"/>
                  </a:moveTo>
                  <a:lnTo>
                    <a:pt x="924143" y="178541"/>
                  </a:lnTo>
                  <a:cubicBezTo>
                    <a:pt x="924143" y="186994"/>
                    <a:pt x="925013" y="194980"/>
                    <a:pt x="926750" y="202510"/>
                  </a:cubicBezTo>
                  <a:cubicBezTo>
                    <a:pt x="928486" y="210034"/>
                    <a:pt x="931210" y="216634"/>
                    <a:pt x="934911" y="222310"/>
                  </a:cubicBezTo>
                  <a:cubicBezTo>
                    <a:pt x="938617" y="227981"/>
                    <a:pt x="943365" y="232441"/>
                    <a:pt x="949152" y="235681"/>
                  </a:cubicBezTo>
                  <a:cubicBezTo>
                    <a:pt x="954940" y="238925"/>
                    <a:pt x="961832" y="240545"/>
                    <a:pt x="969819" y="240545"/>
                  </a:cubicBezTo>
                  <a:cubicBezTo>
                    <a:pt x="977805" y="240545"/>
                    <a:pt x="984293" y="238925"/>
                    <a:pt x="989965" y="235681"/>
                  </a:cubicBezTo>
                  <a:cubicBezTo>
                    <a:pt x="995753" y="232441"/>
                    <a:pt x="1000500" y="227981"/>
                    <a:pt x="1004206" y="222310"/>
                  </a:cubicBezTo>
                  <a:cubicBezTo>
                    <a:pt x="1007912" y="216634"/>
                    <a:pt x="1010631" y="210039"/>
                    <a:pt x="1012367" y="202510"/>
                  </a:cubicBezTo>
                  <a:cubicBezTo>
                    <a:pt x="1014220" y="194985"/>
                    <a:pt x="1015145" y="186994"/>
                    <a:pt x="1015145" y="178541"/>
                  </a:cubicBezTo>
                  <a:lnTo>
                    <a:pt x="1015145" y="174548"/>
                  </a:lnTo>
                  <a:cubicBezTo>
                    <a:pt x="1015145" y="166211"/>
                    <a:pt x="1014220" y="158336"/>
                    <a:pt x="1012367" y="150929"/>
                  </a:cubicBezTo>
                  <a:cubicBezTo>
                    <a:pt x="1010631" y="143405"/>
                    <a:pt x="1007854" y="136746"/>
                    <a:pt x="1004031" y="130958"/>
                  </a:cubicBezTo>
                  <a:cubicBezTo>
                    <a:pt x="1000325" y="125170"/>
                    <a:pt x="995578" y="120652"/>
                    <a:pt x="989790" y="117412"/>
                  </a:cubicBezTo>
                  <a:cubicBezTo>
                    <a:pt x="984118" y="114056"/>
                    <a:pt x="977343" y="112378"/>
                    <a:pt x="969469" y="112378"/>
                  </a:cubicBezTo>
                  <a:cubicBezTo>
                    <a:pt x="961594" y="112378"/>
                    <a:pt x="954765" y="114056"/>
                    <a:pt x="948977" y="117412"/>
                  </a:cubicBezTo>
                  <a:cubicBezTo>
                    <a:pt x="943301" y="120657"/>
                    <a:pt x="938613" y="125170"/>
                    <a:pt x="934911" y="130958"/>
                  </a:cubicBezTo>
                  <a:cubicBezTo>
                    <a:pt x="931205" y="136746"/>
                    <a:pt x="928486" y="143405"/>
                    <a:pt x="926750" y="150929"/>
                  </a:cubicBezTo>
                  <a:cubicBezTo>
                    <a:pt x="925013" y="158341"/>
                    <a:pt x="924143" y="166211"/>
                    <a:pt x="924143" y="174548"/>
                  </a:cubicBezTo>
                  <a:close/>
                  <a:moveTo>
                    <a:pt x="1133598" y="122617"/>
                  </a:moveTo>
                  <a:lnTo>
                    <a:pt x="1133598" y="270418"/>
                  </a:lnTo>
                  <a:lnTo>
                    <a:pt x="1091745" y="270418"/>
                  </a:lnTo>
                  <a:lnTo>
                    <a:pt x="1091745" y="82495"/>
                  </a:lnTo>
                  <a:lnTo>
                    <a:pt x="1131171" y="82495"/>
                  </a:lnTo>
                  <a:lnTo>
                    <a:pt x="1133603" y="122617"/>
                  </a:lnTo>
                  <a:close/>
                  <a:moveTo>
                    <a:pt x="1126132" y="169509"/>
                  </a:moveTo>
                  <a:lnTo>
                    <a:pt x="1112586" y="169334"/>
                  </a:lnTo>
                  <a:cubicBezTo>
                    <a:pt x="1112703" y="156016"/>
                    <a:pt x="1114556" y="143803"/>
                    <a:pt x="1118145" y="132690"/>
                  </a:cubicBezTo>
                  <a:cubicBezTo>
                    <a:pt x="1121852" y="121576"/>
                    <a:pt x="1126944" y="112023"/>
                    <a:pt x="1133428" y="104032"/>
                  </a:cubicBezTo>
                  <a:cubicBezTo>
                    <a:pt x="1140028" y="96041"/>
                    <a:pt x="1147902" y="89908"/>
                    <a:pt x="1157046" y="85623"/>
                  </a:cubicBezTo>
                  <a:cubicBezTo>
                    <a:pt x="1166195" y="81226"/>
                    <a:pt x="1176385" y="79022"/>
                    <a:pt x="1187615" y="79022"/>
                  </a:cubicBezTo>
                  <a:cubicBezTo>
                    <a:pt x="1196647" y="79022"/>
                    <a:pt x="1204809" y="80297"/>
                    <a:pt x="1212105" y="82840"/>
                  </a:cubicBezTo>
                  <a:cubicBezTo>
                    <a:pt x="1219517" y="85272"/>
                    <a:pt x="1225825" y="89265"/>
                    <a:pt x="1231034" y="94825"/>
                  </a:cubicBezTo>
                  <a:cubicBezTo>
                    <a:pt x="1236360" y="100384"/>
                    <a:pt x="1240412" y="107617"/>
                    <a:pt x="1243189" y="116532"/>
                  </a:cubicBezTo>
                  <a:cubicBezTo>
                    <a:pt x="1245966" y="125331"/>
                    <a:pt x="1247357" y="136157"/>
                    <a:pt x="1247357" y="149013"/>
                  </a:cubicBezTo>
                  <a:lnTo>
                    <a:pt x="1247357" y="270413"/>
                  </a:lnTo>
                  <a:lnTo>
                    <a:pt x="1205329" y="270413"/>
                  </a:lnTo>
                  <a:lnTo>
                    <a:pt x="1205329" y="148837"/>
                  </a:lnTo>
                  <a:cubicBezTo>
                    <a:pt x="1205329" y="139805"/>
                    <a:pt x="1203996" y="132685"/>
                    <a:pt x="1201336" y="127476"/>
                  </a:cubicBezTo>
                  <a:cubicBezTo>
                    <a:pt x="1198787" y="122150"/>
                    <a:pt x="1195028" y="118385"/>
                    <a:pt x="1190047" y="116187"/>
                  </a:cubicBezTo>
                  <a:cubicBezTo>
                    <a:pt x="1185183" y="113872"/>
                    <a:pt x="1179104" y="112714"/>
                    <a:pt x="1171813" y="112714"/>
                  </a:cubicBezTo>
                  <a:cubicBezTo>
                    <a:pt x="1164522" y="112714"/>
                    <a:pt x="1158209" y="114217"/>
                    <a:pt x="1152533" y="117228"/>
                  </a:cubicBezTo>
                  <a:cubicBezTo>
                    <a:pt x="1146861" y="120238"/>
                    <a:pt x="1142056" y="124348"/>
                    <a:pt x="1138116" y="129557"/>
                  </a:cubicBezTo>
                  <a:cubicBezTo>
                    <a:pt x="1134293" y="134766"/>
                    <a:pt x="1131341" y="140788"/>
                    <a:pt x="1129259" y="147621"/>
                  </a:cubicBezTo>
                  <a:cubicBezTo>
                    <a:pt x="1127178" y="154450"/>
                    <a:pt x="1126132" y="161746"/>
                    <a:pt x="1126132" y="169504"/>
                  </a:cubicBezTo>
                  <a:close/>
                  <a:moveTo>
                    <a:pt x="1346701" y="270418"/>
                  </a:moveTo>
                  <a:lnTo>
                    <a:pt x="1304843" y="270418"/>
                  </a:lnTo>
                  <a:lnTo>
                    <a:pt x="1304843" y="64436"/>
                  </a:lnTo>
                  <a:cubicBezTo>
                    <a:pt x="1304843" y="50428"/>
                    <a:pt x="1307450" y="38672"/>
                    <a:pt x="1312659" y="29178"/>
                  </a:cubicBezTo>
                  <a:cubicBezTo>
                    <a:pt x="1317985" y="19567"/>
                    <a:pt x="1325567" y="12330"/>
                    <a:pt x="1335412" y="7471"/>
                  </a:cubicBezTo>
                  <a:cubicBezTo>
                    <a:pt x="1345256" y="2490"/>
                    <a:pt x="1356890" y="0"/>
                    <a:pt x="1370319" y="0"/>
                  </a:cubicBezTo>
                  <a:cubicBezTo>
                    <a:pt x="1374488" y="0"/>
                    <a:pt x="1378597" y="292"/>
                    <a:pt x="1382649" y="871"/>
                  </a:cubicBezTo>
                  <a:cubicBezTo>
                    <a:pt x="1386701" y="1333"/>
                    <a:pt x="1390640" y="2087"/>
                    <a:pt x="1394458" y="3127"/>
                  </a:cubicBezTo>
                  <a:lnTo>
                    <a:pt x="1393418" y="35433"/>
                  </a:lnTo>
                  <a:cubicBezTo>
                    <a:pt x="1391102" y="34854"/>
                    <a:pt x="1388554" y="34450"/>
                    <a:pt x="1385776" y="34217"/>
                  </a:cubicBezTo>
                  <a:cubicBezTo>
                    <a:pt x="1383116" y="33983"/>
                    <a:pt x="1380217" y="33872"/>
                    <a:pt x="1377095" y="33872"/>
                  </a:cubicBezTo>
                  <a:cubicBezTo>
                    <a:pt x="1370728" y="33872"/>
                    <a:pt x="1365227" y="35088"/>
                    <a:pt x="1360596" y="37519"/>
                  </a:cubicBezTo>
                  <a:cubicBezTo>
                    <a:pt x="1356083" y="39835"/>
                    <a:pt x="1352605" y="43249"/>
                    <a:pt x="1350178" y="47767"/>
                  </a:cubicBezTo>
                  <a:cubicBezTo>
                    <a:pt x="1347863" y="52286"/>
                    <a:pt x="1346706" y="57840"/>
                    <a:pt x="1346706" y="64441"/>
                  </a:cubicBezTo>
                  <a:lnTo>
                    <a:pt x="1346706" y="270423"/>
                  </a:lnTo>
                  <a:close/>
                  <a:moveTo>
                    <a:pt x="1385431" y="82500"/>
                  </a:moveTo>
                  <a:lnTo>
                    <a:pt x="1385431" y="113069"/>
                  </a:lnTo>
                  <a:lnTo>
                    <a:pt x="1276015" y="113069"/>
                  </a:lnTo>
                  <a:lnTo>
                    <a:pt x="1276015" y="82500"/>
                  </a:lnTo>
                  <a:lnTo>
                    <a:pt x="1385431" y="82500"/>
                  </a:lnTo>
                  <a:close/>
                </a:path>
              </a:pathLst>
            </a:custGeom>
            <a:solidFill>
              <a:srgbClr val="EE3431"/>
            </a:solidFill>
            <a:ln w="4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6" name="Полилиния: фигура 45">
              <a:extLst>
                <a:ext uri="{FF2B5EF4-FFF2-40B4-BE49-F238E27FC236}">
                  <a16:creationId xmlns:a16="http://schemas.microsoft.com/office/drawing/2014/main" id="{EB80AEA3-6D76-4813-B83E-E98064CA7762}"/>
                </a:ext>
              </a:extLst>
            </p:cNvPr>
            <p:cNvSpPr/>
            <p:nvPr/>
          </p:nvSpPr>
          <p:spPr>
            <a:xfrm>
              <a:off x="7406975" y="5855999"/>
              <a:ext cx="1394458" cy="273890"/>
            </a:xfrm>
            <a:custGeom>
              <a:avLst/>
              <a:gdLst>
                <a:gd name="connsiteX0" fmla="*/ 157354 w 1394458"/>
                <a:gd name="connsiteY0" fmla="*/ 188093 h 273890"/>
                <a:gd name="connsiteX1" fmla="*/ 200773 w 1394458"/>
                <a:gd name="connsiteY1" fmla="*/ 188093 h 273890"/>
                <a:gd name="connsiteX2" fmla="*/ 186877 w 1394458"/>
                <a:gd name="connsiteY2" fmla="*/ 232383 h 273890"/>
                <a:gd name="connsiteX3" fmla="*/ 153706 w 1394458"/>
                <a:gd name="connsiteY3" fmla="*/ 262777 h 273890"/>
                <a:gd name="connsiteX4" fmla="*/ 101775 w 1394458"/>
                <a:gd name="connsiteY4" fmla="*/ 273891 h 273890"/>
                <a:gd name="connsiteX5" fmla="*/ 59572 w 1394458"/>
                <a:gd name="connsiteY5" fmla="*/ 265554 h 273890"/>
                <a:gd name="connsiteX6" fmla="*/ 27442 w 1394458"/>
                <a:gd name="connsiteY6" fmla="*/ 241585 h 273890"/>
                <a:gd name="connsiteX7" fmla="*/ 6950 w 1394458"/>
                <a:gd name="connsiteY7" fmla="*/ 203901 h 273890"/>
                <a:gd name="connsiteX8" fmla="*/ 0 w 1394458"/>
                <a:gd name="connsiteY8" fmla="*/ 154572 h 273890"/>
                <a:gd name="connsiteX9" fmla="*/ 0 w 1394458"/>
                <a:gd name="connsiteY9" fmla="*/ 133555 h 273890"/>
                <a:gd name="connsiteX10" fmla="*/ 7121 w 1394458"/>
                <a:gd name="connsiteY10" fmla="*/ 84231 h 273890"/>
                <a:gd name="connsiteX11" fmla="*/ 27962 w 1394458"/>
                <a:gd name="connsiteY11" fmla="*/ 46542 h 273890"/>
                <a:gd name="connsiteX12" fmla="*/ 60438 w 1394458"/>
                <a:gd name="connsiteY12" fmla="*/ 22403 h 273890"/>
                <a:gd name="connsiteX13" fmla="*/ 103336 w 1394458"/>
                <a:gd name="connsiteY13" fmla="*/ 14066 h 273890"/>
                <a:gd name="connsiteX14" fmla="*/ 154397 w 1394458"/>
                <a:gd name="connsiteY14" fmla="*/ 25180 h 273890"/>
                <a:gd name="connsiteX15" fmla="*/ 186702 w 1394458"/>
                <a:gd name="connsiteY15" fmla="*/ 55919 h 273890"/>
                <a:gd name="connsiteX16" fmla="*/ 200943 w 1394458"/>
                <a:gd name="connsiteY16" fmla="*/ 100900 h 273890"/>
                <a:gd name="connsiteX17" fmla="*/ 157524 w 1394458"/>
                <a:gd name="connsiteY17" fmla="*/ 100900 h 273890"/>
                <a:gd name="connsiteX18" fmla="*/ 149883 w 1394458"/>
                <a:gd name="connsiteY18" fmla="*/ 72938 h 273890"/>
                <a:gd name="connsiteX19" fmla="*/ 132865 w 1394458"/>
                <a:gd name="connsiteY19" fmla="*/ 55224 h 273890"/>
                <a:gd name="connsiteX20" fmla="*/ 103341 w 1394458"/>
                <a:gd name="connsiteY20" fmla="*/ 48969 h 273890"/>
                <a:gd name="connsiteX21" fmla="*/ 77291 w 1394458"/>
                <a:gd name="connsiteY21" fmla="*/ 54528 h 273890"/>
                <a:gd name="connsiteX22" fmla="*/ 58706 w 1394458"/>
                <a:gd name="connsiteY22" fmla="*/ 70856 h 273890"/>
                <a:gd name="connsiteX23" fmla="*/ 47417 w 1394458"/>
                <a:gd name="connsiteY23" fmla="*/ 97427 h 273890"/>
                <a:gd name="connsiteX24" fmla="*/ 43769 w 1394458"/>
                <a:gd name="connsiteY24" fmla="*/ 133205 h 273890"/>
                <a:gd name="connsiteX25" fmla="*/ 43769 w 1394458"/>
                <a:gd name="connsiteY25" fmla="*/ 154567 h 273890"/>
                <a:gd name="connsiteX26" fmla="*/ 47067 w 1394458"/>
                <a:gd name="connsiteY26" fmla="*/ 189304 h 273890"/>
                <a:gd name="connsiteX27" fmla="*/ 57490 w 1394458"/>
                <a:gd name="connsiteY27" fmla="*/ 215875 h 273890"/>
                <a:gd name="connsiteX28" fmla="*/ 75550 w 1394458"/>
                <a:gd name="connsiteY28" fmla="*/ 233069 h 273890"/>
                <a:gd name="connsiteX29" fmla="*/ 101775 w 1394458"/>
                <a:gd name="connsiteY29" fmla="*/ 239149 h 273890"/>
                <a:gd name="connsiteX30" fmla="*/ 131824 w 1394458"/>
                <a:gd name="connsiteY30" fmla="*/ 233244 h 273890"/>
                <a:gd name="connsiteX31" fmla="*/ 149363 w 1394458"/>
                <a:gd name="connsiteY31" fmla="*/ 216050 h 273890"/>
                <a:gd name="connsiteX32" fmla="*/ 157354 w 1394458"/>
                <a:gd name="connsiteY32" fmla="*/ 188088 h 273890"/>
                <a:gd name="connsiteX33" fmla="*/ 313837 w 1394458"/>
                <a:gd name="connsiteY33" fmla="*/ 270418 h 273890"/>
                <a:gd name="connsiteX34" fmla="*/ 259825 w 1394458"/>
                <a:gd name="connsiteY34" fmla="*/ 270418 h 273890"/>
                <a:gd name="connsiteX35" fmla="*/ 260170 w 1394458"/>
                <a:gd name="connsiteY35" fmla="*/ 235856 h 273890"/>
                <a:gd name="connsiteX36" fmla="*/ 313837 w 1394458"/>
                <a:gd name="connsiteY36" fmla="*/ 235856 h 273890"/>
                <a:gd name="connsiteX37" fmla="*/ 353088 w 1394458"/>
                <a:gd name="connsiteY37" fmla="*/ 225608 h 273890"/>
                <a:gd name="connsiteX38" fmla="*/ 377057 w 1394458"/>
                <a:gd name="connsiteY38" fmla="*/ 196255 h 273890"/>
                <a:gd name="connsiteX39" fmla="*/ 385218 w 1394458"/>
                <a:gd name="connsiteY39" fmla="*/ 150754 h 273890"/>
                <a:gd name="connsiteX40" fmla="*/ 385218 w 1394458"/>
                <a:gd name="connsiteY40" fmla="*/ 137033 h 273890"/>
                <a:gd name="connsiteX41" fmla="*/ 380530 w 1394458"/>
                <a:gd name="connsiteY41" fmla="*/ 100734 h 273890"/>
                <a:gd name="connsiteX42" fmla="*/ 366984 w 1394458"/>
                <a:gd name="connsiteY42" fmla="*/ 74163 h 273890"/>
                <a:gd name="connsiteX43" fmla="*/ 345102 w 1394458"/>
                <a:gd name="connsiteY43" fmla="*/ 57840 h 273890"/>
                <a:gd name="connsiteX44" fmla="*/ 315403 w 1394458"/>
                <a:gd name="connsiteY44" fmla="*/ 52281 h 273890"/>
                <a:gd name="connsiteX45" fmla="*/ 258784 w 1394458"/>
                <a:gd name="connsiteY45" fmla="*/ 52281 h 273890"/>
                <a:gd name="connsiteX46" fmla="*/ 258784 w 1394458"/>
                <a:gd name="connsiteY46" fmla="*/ 17544 h 273890"/>
                <a:gd name="connsiteX47" fmla="*/ 315403 w 1394458"/>
                <a:gd name="connsiteY47" fmla="*/ 17544 h 273890"/>
                <a:gd name="connsiteX48" fmla="*/ 361429 w 1394458"/>
                <a:gd name="connsiteY48" fmla="*/ 26055 h 273890"/>
                <a:gd name="connsiteX49" fmla="*/ 397383 w 1394458"/>
                <a:gd name="connsiteY49" fmla="*/ 50195 h 273890"/>
                <a:gd name="connsiteX50" fmla="*/ 420826 w 1394458"/>
                <a:gd name="connsiteY50" fmla="*/ 88054 h 273890"/>
                <a:gd name="connsiteX51" fmla="*/ 428988 w 1394458"/>
                <a:gd name="connsiteY51" fmla="*/ 137378 h 273890"/>
                <a:gd name="connsiteX52" fmla="*/ 428988 w 1394458"/>
                <a:gd name="connsiteY52" fmla="*/ 150754 h 273890"/>
                <a:gd name="connsiteX53" fmla="*/ 420826 w 1394458"/>
                <a:gd name="connsiteY53" fmla="*/ 200078 h 273890"/>
                <a:gd name="connsiteX54" fmla="*/ 397383 w 1394458"/>
                <a:gd name="connsiteY54" fmla="*/ 237938 h 273890"/>
                <a:gd name="connsiteX55" fmla="*/ 360909 w 1394458"/>
                <a:gd name="connsiteY55" fmla="*/ 262077 h 273890"/>
                <a:gd name="connsiteX56" fmla="*/ 313842 w 1394458"/>
                <a:gd name="connsiteY56" fmla="*/ 270413 h 273890"/>
                <a:gd name="connsiteX57" fmla="*/ 283964 w 1394458"/>
                <a:gd name="connsiteY57" fmla="*/ 17544 h 273890"/>
                <a:gd name="connsiteX58" fmla="*/ 283964 w 1394458"/>
                <a:gd name="connsiteY58" fmla="*/ 270418 h 273890"/>
                <a:gd name="connsiteX59" fmla="*/ 240369 w 1394458"/>
                <a:gd name="connsiteY59" fmla="*/ 270418 h 273890"/>
                <a:gd name="connsiteX60" fmla="*/ 240369 w 1394458"/>
                <a:gd name="connsiteY60" fmla="*/ 17544 h 273890"/>
                <a:gd name="connsiteX61" fmla="*/ 283964 w 1394458"/>
                <a:gd name="connsiteY61" fmla="*/ 17544 h 273890"/>
                <a:gd name="connsiteX62" fmla="*/ 519299 w 1394458"/>
                <a:gd name="connsiteY62" fmla="*/ 17544 h 273890"/>
                <a:gd name="connsiteX63" fmla="*/ 519299 w 1394458"/>
                <a:gd name="connsiteY63" fmla="*/ 270418 h 273890"/>
                <a:gd name="connsiteX64" fmla="*/ 475705 w 1394458"/>
                <a:gd name="connsiteY64" fmla="*/ 270418 h 273890"/>
                <a:gd name="connsiteX65" fmla="*/ 475705 w 1394458"/>
                <a:gd name="connsiteY65" fmla="*/ 17544 h 273890"/>
                <a:gd name="connsiteX66" fmla="*/ 519299 w 1394458"/>
                <a:gd name="connsiteY66" fmla="*/ 17544 h 273890"/>
                <a:gd name="connsiteX67" fmla="*/ 811424 w 1394458"/>
                <a:gd name="connsiteY67" fmla="*/ 188093 h 273890"/>
                <a:gd name="connsiteX68" fmla="*/ 854843 w 1394458"/>
                <a:gd name="connsiteY68" fmla="*/ 188093 h 273890"/>
                <a:gd name="connsiteX69" fmla="*/ 840947 w 1394458"/>
                <a:gd name="connsiteY69" fmla="*/ 232383 h 273890"/>
                <a:gd name="connsiteX70" fmla="*/ 807776 w 1394458"/>
                <a:gd name="connsiteY70" fmla="*/ 262777 h 273890"/>
                <a:gd name="connsiteX71" fmla="*/ 755845 w 1394458"/>
                <a:gd name="connsiteY71" fmla="*/ 273891 h 273890"/>
                <a:gd name="connsiteX72" fmla="*/ 713642 w 1394458"/>
                <a:gd name="connsiteY72" fmla="*/ 265554 h 273890"/>
                <a:gd name="connsiteX73" fmla="*/ 681512 w 1394458"/>
                <a:gd name="connsiteY73" fmla="*/ 241585 h 273890"/>
                <a:gd name="connsiteX74" fmla="*/ 661021 w 1394458"/>
                <a:gd name="connsiteY74" fmla="*/ 203901 h 273890"/>
                <a:gd name="connsiteX75" fmla="*/ 654075 w 1394458"/>
                <a:gd name="connsiteY75" fmla="*/ 154577 h 273890"/>
                <a:gd name="connsiteX76" fmla="*/ 654075 w 1394458"/>
                <a:gd name="connsiteY76" fmla="*/ 133560 h 273890"/>
                <a:gd name="connsiteX77" fmla="*/ 661196 w 1394458"/>
                <a:gd name="connsiteY77" fmla="*/ 84236 h 273890"/>
                <a:gd name="connsiteX78" fmla="*/ 682037 w 1394458"/>
                <a:gd name="connsiteY78" fmla="*/ 46547 h 273890"/>
                <a:gd name="connsiteX79" fmla="*/ 714513 w 1394458"/>
                <a:gd name="connsiteY79" fmla="*/ 22408 h 273890"/>
                <a:gd name="connsiteX80" fmla="*/ 757411 w 1394458"/>
                <a:gd name="connsiteY80" fmla="*/ 14071 h 273890"/>
                <a:gd name="connsiteX81" fmla="*/ 808472 w 1394458"/>
                <a:gd name="connsiteY81" fmla="*/ 25185 h 273890"/>
                <a:gd name="connsiteX82" fmla="*/ 840777 w 1394458"/>
                <a:gd name="connsiteY82" fmla="*/ 55924 h 273890"/>
                <a:gd name="connsiteX83" fmla="*/ 855018 w 1394458"/>
                <a:gd name="connsiteY83" fmla="*/ 100905 h 273890"/>
                <a:gd name="connsiteX84" fmla="*/ 811599 w 1394458"/>
                <a:gd name="connsiteY84" fmla="*/ 100905 h 273890"/>
                <a:gd name="connsiteX85" fmla="*/ 803958 w 1394458"/>
                <a:gd name="connsiteY85" fmla="*/ 72943 h 273890"/>
                <a:gd name="connsiteX86" fmla="*/ 786940 w 1394458"/>
                <a:gd name="connsiteY86" fmla="*/ 55229 h 273890"/>
                <a:gd name="connsiteX87" fmla="*/ 757416 w 1394458"/>
                <a:gd name="connsiteY87" fmla="*/ 48974 h 273890"/>
                <a:gd name="connsiteX88" fmla="*/ 731366 w 1394458"/>
                <a:gd name="connsiteY88" fmla="*/ 54533 h 273890"/>
                <a:gd name="connsiteX89" fmla="*/ 712781 w 1394458"/>
                <a:gd name="connsiteY89" fmla="*/ 70861 h 273890"/>
                <a:gd name="connsiteX90" fmla="*/ 701492 w 1394458"/>
                <a:gd name="connsiteY90" fmla="*/ 97432 h 273890"/>
                <a:gd name="connsiteX91" fmla="*/ 697844 w 1394458"/>
                <a:gd name="connsiteY91" fmla="*/ 133210 h 273890"/>
                <a:gd name="connsiteX92" fmla="*/ 697844 w 1394458"/>
                <a:gd name="connsiteY92" fmla="*/ 154572 h 273890"/>
                <a:gd name="connsiteX93" fmla="*/ 701142 w 1394458"/>
                <a:gd name="connsiteY93" fmla="*/ 189309 h 273890"/>
                <a:gd name="connsiteX94" fmla="*/ 711565 w 1394458"/>
                <a:gd name="connsiteY94" fmla="*/ 215880 h 273890"/>
                <a:gd name="connsiteX95" fmla="*/ 729629 w 1394458"/>
                <a:gd name="connsiteY95" fmla="*/ 233074 h 273890"/>
                <a:gd name="connsiteX96" fmla="*/ 755855 w 1394458"/>
                <a:gd name="connsiteY96" fmla="*/ 239154 h 273890"/>
                <a:gd name="connsiteX97" fmla="*/ 785904 w 1394458"/>
                <a:gd name="connsiteY97" fmla="*/ 233249 h 273890"/>
                <a:gd name="connsiteX98" fmla="*/ 803443 w 1394458"/>
                <a:gd name="connsiteY98" fmla="*/ 216055 h 273890"/>
                <a:gd name="connsiteX99" fmla="*/ 811434 w 1394458"/>
                <a:gd name="connsiteY99" fmla="*/ 188093 h 273890"/>
                <a:gd name="connsiteX100" fmla="*/ 882285 w 1394458"/>
                <a:gd name="connsiteY100" fmla="*/ 178541 h 273890"/>
                <a:gd name="connsiteX101" fmla="*/ 882285 w 1394458"/>
                <a:gd name="connsiteY101" fmla="*/ 174548 h 273890"/>
                <a:gd name="connsiteX102" fmla="*/ 888190 w 1394458"/>
                <a:gd name="connsiteY102" fmla="*/ 136858 h 273890"/>
                <a:gd name="connsiteX103" fmla="*/ 905208 w 1394458"/>
                <a:gd name="connsiteY103" fmla="*/ 106464 h 273890"/>
                <a:gd name="connsiteX104" fmla="*/ 932650 w 1394458"/>
                <a:gd name="connsiteY104" fmla="*/ 86318 h 273890"/>
                <a:gd name="connsiteX105" fmla="*/ 969469 w 1394458"/>
                <a:gd name="connsiteY105" fmla="*/ 79022 h 273890"/>
                <a:gd name="connsiteX106" fmla="*/ 1006288 w 1394458"/>
                <a:gd name="connsiteY106" fmla="*/ 86318 h 273890"/>
                <a:gd name="connsiteX107" fmla="*/ 1033899 w 1394458"/>
                <a:gd name="connsiteY107" fmla="*/ 106464 h 273890"/>
                <a:gd name="connsiteX108" fmla="*/ 1051093 w 1394458"/>
                <a:gd name="connsiteY108" fmla="*/ 136858 h 273890"/>
                <a:gd name="connsiteX109" fmla="*/ 1056998 w 1394458"/>
                <a:gd name="connsiteY109" fmla="*/ 174548 h 273890"/>
                <a:gd name="connsiteX110" fmla="*/ 1056998 w 1394458"/>
                <a:gd name="connsiteY110" fmla="*/ 178541 h 273890"/>
                <a:gd name="connsiteX111" fmla="*/ 1051093 w 1394458"/>
                <a:gd name="connsiteY111" fmla="*/ 216226 h 273890"/>
                <a:gd name="connsiteX112" fmla="*/ 1033899 w 1394458"/>
                <a:gd name="connsiteY112" fmla="*/ 246619 h 273890"/>
                <a:gd name="connsiteX113" fmla="*/ 1006458 w 1394458"/>
                <a:gd name="connsiteY113" fmla="*/ 266765 h 273890"/>
                <a:gd name="connsiteX114" fmla="*/ 969814 w 1394458"/>
                <a:gd name="connsiteY114" fmla="*/ 273886 h 273890"/>
                <a:gd name="connsiteX115" fmla="*/ 932820 w 1394458"/>
                <a:gd name="connsiteY115" fmla="*/ 266765 h 273890"/>
                <a:gd name="connsiteX116" fmla="*/ 905378 w 1394458"/>
                <a:gd name="connsiteY116" fmla="*/ 246619 h 273890"/>
                <a:gd name="connsiteX117" fmla="*/ 888185 w 1394458"/>
                <a:gd name="connsiteY117" fmla="*/ 216226 h 273890"/>
                <a:gd name="connsiteX118" fmla="*/ 882280 w 1394458"/>
                <a:gd name="connsiteY118" fmla="*/ 178541 h 273890"/>
                <a:gd name="connsiteX119" fmla="*/ 924143 w 1394458"/>
                <a:gd name="connsiteY119" fmla="*/ 174548 h 273890"/>
                <a:gd name="connsiteX120" fmla="*/ 924143 w 1394458"/>
                <a:gd name="connsiteY120" fmla="*/ 178541 h 273890"/>
                <a:gd name="connsiteX121" fmla="*/ 926750 w 1394458"/>
                <a:gd name="connsiteY121" fmla="*/ 202510 h 273890"/>
                <a:gd name="connsiteX122" fmla="*/ 934911 w 1394458"/>
                <a:gd name="connsiteY122" fmla="*/ 222310 h 273890"/>
                <a:gd name="connsiteX123" fmla="*/ 949152 w 1394458"/>
                <a:gd name="connsiteY123" fmla="*/ 235681 h 273890"/>
                <a:gd name="connsiteX124" fmla="*/ 969819 w 1394458"/>
                <a:gd name="connsiteY124" fmla="*/ 240545 h 273890"/>
                <a:gd name="connsiteX125" fmla="*/ 989965 w 1394458"/>
                <a:gd name="connsiteY125" fmla="*/ 235681 h 273890"/>
                <a:gd name="connsiteX126" fmla="*/ 1004206 w 1394458"/>
                <a:gd name="connsiteY126" fmla="*/ 222310 h 273890"/>
                <a:gd name="connsiteX127" fmla="*/ 1012367 w 1394458"/>
                <a:gd name="connsiteY127" fmla="*/ 202510 h 273890"/>
                <a:gd name="connsiteX128" fmla="*/ 1015145 w 1394458"/>
                <a:gd name="connsiteY128" fmla="*/ 178541 h 273890"/>
                <a:gd name="connsiteX129" fmla="*/ 1015145 w 1394458"/>
                <a:gd name="connsiteY129" fmla="*/ 174548 h 273890"/>
                <a:gd name="connsiteX130" fmla="*/ 1012367 w 1394458"/>
                <a:gd name="connsiteY130" fmla="*/ 150929 h 273890"/>
                <a:gd name="connsiteX131" fmla="*/ 1004031 w 1394458"/>
                <a:gd name="connsiteY131" fmla="*/ 130958 h 273890"/>
                <a:gd name="connsiteX132" fmla="*/ 989790 w 1394458"/>
                <a:gd name="connsiteY132" fmla="*/ 117412 h 273890"/>
                <a:gd name="connsiteX133" fmla="*/ 969469 w 1394458"/>
                <a:gd name="connsiteY133" fmla="*/ 112373 h 273890"/>
                <a:gd name="connsiteX134" fmla="*/ 948977 w 1394458"/>
                <a:gd name="connsiteY134" fmla="*/ 117412 h 273890"/>
                <a:gd name="connsiteX135" fmla="*/ 934911 w 1394458"/>
                <a:gd name="connsiteY135" fmla="*/ 130958 h 273890"/>
                <a:gd name="connsiteX136" fmla="*/ 926750 w 1394458"/>
                <a:gd name="connsiteY136" fmla="*/ 150929 h 273890"/>
                <a:gd name="connsiteX137" fmla="*/ 924143 w 1394458"/>
                <a:gd name="connsiteY137" fmla="*/ 174548 h 273890"/>
                <a:gd name="connsiteX138" fmla="*/ 1133598 w 1394458"/>
                <a:gd name="connsiteY138" fmla="*/ 122617 h 273890"/>
                <a:gd name="connsiteX139" fmla="*/ 1133598 w 1394458"/>
                <a:gd name="connsiteY139" fmla="*/ 270418 h 273890"/>
                <a:gd name="connsiteX140" fmla="*/ 1091745 w 1394458"/>
                <a:gd name="connsiteY140" fmla="*/ 270418 h 273890"/>
                <a:gd name="connsiteX141" fmla="*/ 1091745 w 1394458"/>
                <a:gd name="connsiteY141" fmla="*/ 82495 h 273890"/>
                <a:gd name="connsiteX142" fmla="*/ 1131171 w 1394458"/>
                <a:gd name="connsiteY142" fmla="*/ 82495 h 273890"/>
                <a:gd name="connsiteX143" fmla="*/ 1133603 w 1394458"/>
                <a:gd name="connsiteY143" fmla="*/ 122617 h 273890"/>
                <a:gd name="connsiteX144" fmla="*/ 1126132 w 1394458"/>
                <a:gd name="connsiteY144" fmla="*/ 169509 h 273890"/>
                <a:gd name="connsiteX145" fmla="*/ 1112586 w 1394458"/>
                <a:gd name="connsiteY145" fmla="*/ 169334 h 273890"/>
                <a:gd name="connsiteX146" fmla="*/ 1118145 w 1394458"/>
                <a:gd name="connsiteY146" fmla="*/ 132690 h 273890"/>
                <a:gd name="connsiteX147" fmla="*/ 1133428 w 1394458"/>
                <a:gd name="connsiteY147" fmla="*/ 104032 h 273890"/>
                <a:gd name="connsiteX148" fmla="*/ 1157046 w 1394458"/>
                <a:gd name="connsiteY148" fmla="*/ 85623 h 273890"/>
                <a:gd name="connsiteX149" fmla="*/ 1187615 w 1394458"/>
                <a:gd name="connsiteY149" fmla="*/ 79022 h 273890"/>
                <a:gd name="connsiteX150" fmla="*/ 1212105 w 1394458"/>
                <a:gd name="connsiteY150" fmla="*/ 82840 h 273890"/>
                <a:gd name="connsiteX151" fmla="*/ 1231034 w 1394458"/>
                <a:gd name="connsiteY151" fmla="*/ 94825 h 273890"/>
                <a:gd name="connsiteX152" fmla="*/ 1243189 w 1394458"/>
                <a:gd name="connsiteY152" fmla="*/ 116532 h 273890"/>
                <a:gd name="connsiteX153" fmla="*/ 1247357 w 1394458"/>
                <a:gd name="connsiteY153" fmla="*/ 149008 h 273890"/>
                <a:gd name="connsiteX154" fmla="*/ 1247357 w 1394458"/>
                <a:gd name="connsiteY154" fmla="*/ 270408 h 273890"/>
                <a:gd name="connsiteX155" fmla="*/ 1205329 w 1394458"/>
                <a:gd name="connsiteY155" fmla="*/ 270408 h 273890"/>
                <a:gd name="connsiteX156" fmla="*/ 1205329 w 1394458"/>
                <a:gd name="connsiteY156" fmla="*/ 148833 h 273890"/>
                <a:gd name="connsiteX157" fmla="*/ 1201336 w 1394458"/>
                <a:gd name="connsiteY157" fmla="*/ 127471 h 273890"/>
                <a:gd name="connsiteX158" fmla="*/ 1190047 w 1394458"/>
                <a:gd name="connsiteY158" fmla="*/ 116182 h 273890"/>
                <a:gd name="connsiteX159" fmla="*/ 1171813 w 1394458"/>
                <a:gd name="connsiteY159" fmla="*/ 112709 h 273890"/>
                <a:gd name="connsiteX160" fmla="*/ 1152533 w 1394458"/>
                <a:gd name="connsiteY160" fmla="*/ 117223 h 273890"/>
                <a:gd name="connsiteX161" fmla="*/ 1138116 w 1394458"/>
                <a:gd name="connsiteY161" fmla="*/ 129552 h 273890"/>
                <a:gd name="connsiteX162" fmla="*/ 1129259 w 1394458"/>
                <a:gd name="connsiteY162" fmla="*/ 147617 h 273890"/>
                <a:gd name="connsiteX163" fmla="*/ 1126132 w 1394458"/>
                <a:gd name="connsiteY163" fmla="*/ 169499 h 273890"/>
                <a:gd name="connsiteX164" fmla="*/ 1346701 w 1394458"/>
                <a:gd name="connsiteY164" fmla="*/ 270418 h 273890"/>
                <a:gd name="connsiteX165" fmla="*/ 1304843 w 1394458"/>
                <a:gd name="connsiteY165" fmla="*/ 270418 h 273890"/>
                <a:gd name="connsiteX166" fmla="*/ 1304843 w 1394458"/>
                <a:gd name="connsiteY166" fmla="*/ 64436 h 273890"/>
                <a:gd name="connsiteX167" fmla="*/ 1312659 w 1394458"/>
                <a:gd name="connsiteY167" fmla="*/ 29178 h 273890"/>
                <a:gd name="connsiteX168" fmla="*/ 1335412 w 1394458"/>
                <a:gd name="connsiteY168" fmla="*/ 7471 h 273890"/>
                <a:gd name="connsiteX169" fmla="*/ 1370319 w 1394458"/>
                <a:gd name="connsiteY169" fmla="*/ 0 h 273890"/>
                <a:gd name="connsiteX170" fmla="*/ 1382649 w 1394458"/>
                <a:gd name="connsiteY170" fmla="*/ 871 h 273890"/>
                <a:gd name="connsiteX171" fmla="*/ 1394458 w 1394458"/>
                <a:gd name="connsiteY171" fmla="*/ 3127 h 273890"/>
                <a:gd name="connsiteX172" fmla="*/ 1393418 w 1394458"/>
                <a:gd name="connsiteY172" fmla="*/ 35433 h 273890"/>
                <a:gd name="connsiteX173" fmla="*/ 1385776 w 1394458"/>
                <a:gd name="connsiteY173" fmla="*/ 34217 h 273890"/>
                <a:gd name="connsiteX174" fmla="*/ 1377095 w 1394458"/>
                <a:gd name="connsiteY174" fmla="*/ 33867 h 273890"/>
                <a:gd name="connsiteX175" fmla="*/ 1360596 w 1394458"/>
                <a:gd name="connsiteY175" fmla="*/ 37515 h 273890"/>
                <a:gd name="connsiteX176" fmla="*/ 1350178 w 1394458"/>
                <a:gd name="connsiteY176" fmla="*/ 47763 h 273890"/>
                <a:gd name="connsiteX177" fmla="*/ 1346706 w 1394458"/>
                <a:gd name="connsiteY177" fmla="*/ 64436 h 273890"/>
                <a:gd name="connsiteX178" fmla="*/ 1346706 w 1394458"/>
                <a:gd name="connsiteY178" fmla="*/ 270418 h 273890"/>
                <a:gd name="connsiteX179" fmla="*/ 1385431 w 1394458"/>
                <a:gd name="connsiteY179" fmla="*/ 82500 h 273890"/>
                <a:gd name="connsiteX180" fmla="*/ 1385431 w 1394458"/>
                <a:gd name="connsiteY180" fmla="*/ 113069 h 273890"/>
                <a:gd name="connsiteX181" fmla="*/ 1276015 w 1394458"/>
                <a:gd name="connsiteY181" fmla="*/ 113069 h 273890"/>
                <a:gd name="connsiteX182" fmla="*/ 1276015 w 1394458"/>
                <a:gd name="connsiteY182" fmla="*/ 82500 h 273890"/>
                <a:gd name="connsiteX183" fmla="*/ 1385431 w 1394458"/>
                <a:gd name="connsiteY183" fmla="*/ 82500 h 2738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</a:cxnLst>
              <a:rect l="l" t="t" r="r" b="b"/>
              <a:pathLst>
                <a:path w="1394458" h="273890">
                  <a:moveTo>
                    <a:pt x="157354" y="188093"/>
                  </a:moveTo>
                  <a:lnTo>
                    <a:pt x="200773" y="188093"/>
                  </a:lnTo>
                  <a:cubicBezTo>
                    <a:pt x="199382" y="204650"/>
                    <a:pt x="194752" y="219411"/>
                    <a:pt x="186877" y="232383"/>
                  </a:cubicBezTo>
                  <a:cubicBezTo>
                    <a:pt x="179003" y="245233"/>
                    <a:pt x="167947" y="255365"/>
                    <a:pt x="153706" y="262777"/>
                  </a:cubicBezTo>
                  <a:cubicBezTo>
                    <a:pt x="139465" y="270185"/>
                    <a:pt x="122155" y="273891"/>
                    <a:pt x="101775" y="273891"/>
                  </a:cubicBezTo>
                  <a:cubicBezTo>
                    <a:pt x="86143" y="273891"/>
                    <a:pt x="72077" y="271114"/>
                    <a:pt x="59572" y="265554"/>
                  </a:cubicBezTo>
                  <a:cubicBezTo>
                    <a:pt x="47067" y="259878"/>
                    <a:pt x="36357" y="251892"/>
                    <a:pt x="27442" y="241585"/>
                  </a:cubicBezTo>
                  <a:cubicBezTo>
                    <a:pt x="18526" y="231167"/>
                    <a:pt x="11697" y="218604"/>
                    <a:pt x="6950" y="203901"/>
                  </a:cubicBezTo>
                  <a:cubicBezTo>
                    <a:pt x="2315" y="189192"/>
                    <a:pt x="0" y="172753"/>
                    <a:pt x="0" y="154572"/>
                  </a:cubicBezTo>
                  <a:lnTo>
                    <a:pt x="0" y="133555"/>
                  </a:lnTo>
                  <a:cubicBezTo>
                    <a:pt x="0" y="115379"/>
                    <a:pt x="2374" y="98935"/>
                    <a:pt x="7121" y="84231"/>
                  </a:cubicBezTo>
                  <a:cubicBezTo>
                    <a:pt x="11984" y="69528"/>
                    <a:pt x="18930" y="56965"/>
                    <a:pt x="27962" y="46542"/>
                  </a:cubicBezTo>
                  <a:cubicBezTo>
                    <a:pt x="36994" y="36007"/>
                    <a:pt x="47816" y="27957"/>
                    <a:pt x="60438" y="22403"/>
                  </a:cubicBezTo>
                  <a:cubicBezTo>
                    <a:pt x="73171" y="16843"/>
                    <a:pt x="87471" y="14066"/>
                    <a:pt x="103336" y="14066"/>
                  </a:cubicBezTo>
                  <a:cubicBezTo>
                    <a:pt x="123482" y="14066"/>
                    <a:pt x="140506" y="17772"/>
                    <a:pt x="154397" y="25180"/>
                  </a:cubicBezTo>
                  <a:cubicBezTo>
                    <a:pt x="168293" y="32592"/>
                    <a:pt x="179056" y="42836"/>
                    <a:pt x="186702" y="55919"/>
                  </a:cubicBezTo>
                  <a:cubicBezTo>
                    <a:pt x="194460" y="69003"/>
                    <a:pt x="199207" y="83998"/>
                    <a:pt x="200943" y="100900"/>
                  </a:cubicBezTo>
                  <a:lnTo>
                    <a:pt x="157524" y="100900"/>
                  </a:lnTo>
                  <a:cubicBezTo>
                    <a:pt x="156367" y="90015"/>
                    <a:pt x="153818" y="80695"/>
                    <a:pt x="149883" y="72938"/>
                  </a:cubicBezTo>
                  <a:cubicBezTo>
                    <a:pt x="146065" y="65180"/>
                    <a:pt x="140389" y="59275"/>
                    <a:pt x="132865" y="55224"/>
                  </a:cubicBezTo>
                  <a:cubicBezTo>
                    <a:pt x="125340" y="51055"/>
                    <a:pt x="115496" y="48969"/>
                    <a:pt x="103341" y="48969"/>
                  </a:cubicBezTo>
                  <a:cubicBezTo>
                    <a:pt x="93385" y="48969"/>
                    <a:pt x="84698" y="50822"/>
                    <a:pt x="77291" y="54528"/>
                  </a:cubicBezTo>
                  <a:cubicBezTo>
                    <a:pt x="69878" y="58234"/>
                    <a:pt x="63687" y="63677"/>
                    <a:pt x="58706" y="70856"/>
                  </a:cubicBezTo>
                  <a:cubicBezTo>
                    <a:pt x="53730" y="78035"/>
                    <a:pt x="49966" y="86892"/>
                    <a:pt x="47417" y="97427"/>
                  </a:cubicBezTo>
                  <a:cubicBezTo>
                    <a:pt x="44985" y="107845"/>
                    <a:pt x="43769" y="119771"/>
                    <a:pt x="43769" y="133205"/>
                  </a:cubicBezTo>
                  <a:lnTo>
                    <a:pt x="43769" y="154567"/>
                  </a:lnTo>
                  <a:cubicBezTo>
                    <a:pt x="43769" y="167305"/>
                    <a:pt x="44869" y="178881"/>
                    <a:pt x="47067" y="189304"/>
                  </a:cubicBezTo>
                  <a:cubicBezTo>
                    <a:pt x="49382" y="199611"/>
                    <a:pt x="52855" y="208468"/>
                    <a:pt x="57490" y="215875"/>
                  </a:cubicBezTo>
                  <a:cubicBezTo>
                    <a:pt x="62237" y="223288"/>
                    <a:pt x="68259" y="229017"/>
                    <a:pt x="75550" y="233069"/>
                  </a:cubicBezTo>
                  <a:cubicBezTo>
                    <a:pt x="82845" y="237120"/>
                    <a:pt x="91585" y="239149"/>
                    <a:pt x="101775" y="239149"/>
                  </a:cubicBezTo>
                  <a:cubicBezTo>
                    <a:pt x="114163" y="239149"/>
                    <a:pt x="124178" y="237179"/>
                    <a:pt x="131824" y="233244"/>
                  </a:cubicBezTo>
                  <a:cubicBezTo>
                    <a:pt x="139582" y="229304"/>
                    <a:pt x="145428" y="223575"/>
                    <a:pt x="149363" y="216050"/>
                  </a:cubicBezTo>
                  <a:cubicBezTo>
                    <a:pt x="153414" y="208409"/>
                    <a:pt x="156080" y="199090"/>
                    <a:pt x="157354" y="188088"/>
                  </a:cubicBezTo>
                  <a:close/>
                  <a:moveTo>
                    <a:pt x="313837" y="270418"/>
                  </a:moveTo>
                  <a:lnTo>
                    <a:pt x="259825" y="270418"/>
                  </a:lnTo>
                  <a:lnTo>
                    <a:pt x="260170" y="235856"/>
                  </a:lnTo>
                  <a:lnTo>
                    <a:pt x="313837" y="235856"/>
                  </a:lnTo>
                  <a:cubicBezTo>
                    <a:pt x="329469" y="235856"/>
                    <a:pt x="342553" y="232441"/>
                    <a:pt x="353088" y="225608"/>
                  </a:cubicBezTo>
                  <a:cubicBezTo>
                    <a:pt x="363740" y="218779"/>
                    <a:pt x="371731" y="208993"/>
                    <a:pt x="377057" y="196255"/>
                  </a:cubicBezTo>
                  <a:cubicBezTo>
                    <a:pt x="382499" y="183516"/>
                    <a:pt x="385218" y="168351"/>
                    <a:pt x="385218" y="150754"/>
                  </a:cubicBezTo>
                  <a:lnTo>
                    <a:pt x="385218" y="137033"/>
                  </a:lnTo>
                  <a:cubicBezTo>
                    <a:pt x="385218" y="123371"/>
                    <a:pt x="383657" y="111269"/>
                    <a:pt x="380530" y="100734"/>
                  </a:cubicBezTo>
                  <a:cubicBezTo>
                    <a:pt x="377519" y="90199"/>
                    <a:pt x="373005" y="81342"/>
                    <a:pt x="366984" y="74163"/>
                  </a:cubicBezTo>
                  <a:cubicBezTo>
                    <a:pt x="361079" y="66984"/>
                    <a:pt x="353784" y="61542"/>
                    <a:pt x="345102" y="57840"/>
                  </a:cubicBezTo>
                  <a:cubicBezTo>
                    <a:pt x="336532" y="54134"/>
                    <a:pt x="326634" y="52281"/>
                    <a:pt x="315403" y="52281"/>
                  </a:cubicBezTo>
                  <a:lnTo>
                    <a:pt x="258784" y="52281"/>
                  </a:lnTo>
                  <a:lnTo>
                    <a:pt x="258784" y="17544"/>
                  </a:lnTo>
                  <a:lnTo>
                    <a:pt x="315403" y="17544"/>
                  </a:lnTo>
                  <a:cubicBezTo>
                    <a:pt x="332193" y="17544"/>
                    <a:pt x="347534" y="20379"/>
                    <a:pt x="361429" y="26055"/>
                  </a:cubicBezTo>
                  <a:cubicBezTo>
                    <a:pt x="375325" y="31615"/>
                    <a:pt x="387310" y="39660"/>
                    <a:pt x="397383" y="50195"/>
                  </a:cubicBezTo>
                  <a:cubicBezTo>
                    <a:pt x="407572" y="60730"/>
                    <a:pt x="415389" y="73351"/>
                    <a:pt x="420826" y="88054"/>
                  </a:cubicBezTo>
                  <a:cubicBezTo>
                    <a:pt x="426269" y="102758"/>
                    <a:pt x="428988" y="119202"/>
                    <a:pt x="428988" y="137378"/>
                  </a:cubicBezTo>
                  <a:lnTo>
                    <a:pt x="428988" y="150754"/>
                  </a:lnTo>
                  <a:cubicBezTo>
                    <a:pt x="428988" y="168930"/>
                    <a:pt x="426269" y="185374"/>
                    <a:pt x="420826" y="200078"/>
                  </a:cubicBezTo>
                  <a:cubicBezTo>
                    <a:pt x="415384" y="214781"/>
                    <a:pt x="407568" y="227403"/>
                    <a:pt x="397383" y="237938"/>
                  </a:cubicBezTo>
                  <a:cubicBezTo>
                    <a:pt x="387193" y="248356"/>
                    <a:pt x="375038" y="256405"/>
                    <a:pt x="360909" y="262077"/>
                  </a:cubicBezTo>
                  <a:cubicBezTo>
                    <a:pt x="346896" y="267636"/>
                    <a:pt x="331211" y="270413"/>
                    <a:pt x="313842" y="270413"/>
                  </a:cubicBezTo>
                  <a:close/>
                  <a:moveTo>
                    <a:pt x="283964" y="17544"/>
                  </a:moveTo>
                  <a:lnTo>
                    <a:pt x="283964" y="270418"/>
                  </a:lnTo>
                  <a:lnTo>
                    <a:pt x="240369" y="270418"/>
                  </a:lnTo>
                  <a:lnTo>
                    <a:pt x="240369" y="17544"/>
                  </a:lnTo>
                  <a:lnTo>
                    <a:pt x="283964" y="17544"/>
                  </a:lnTo>
                  <a:close/>
                  <a:moveTo>
                    <a:pt x="519299" y="17544"/>
                  </a:moveTo>
                  <a:lnTo>
                    <a:pt x="519299" y="270418"/>
                  </a:lnTo>
                  <a:lnTo>
                    <a:pt x="475705" y="270418"/>
                  </a:lnTo>
                  <a:lnTo>
                    <a:pt x="475705" y="17544"/>
                  </a:lnTo>
                  <a:lnTo>
                    <a:pt x="519299" y="17544"/>
                  </a:lnTo>
                  <a:close/>
                  <a:moveTo>
                    <a:pt x="811424" y="188093"/>
                  </a:moveTo>
                  <a:lnTo>
                    <a:pt x="854843" y="188093"/>
                  </a:lnTo>
                  <a:cubicBezTo>
                    <a:pt x="853452" y="204650"/>
                    <a:pt x="848822" y="219411"/>
                    <a:pt x="840947" y="232383"/>
                  </a:cubicBezTo>
                  <a:cubicBezTo>
                    <a:pt x="833073" y="245233"/>
                    <a:pt x="822017" y="255365"/>
                    <a:pt x="807776" y="262777"/>
                  </a:cubicBezTo>
                  <a:cubicBezTo>
                    <a:pt x="793535" y="270185"/>
                    <a:pt x="776225" y="273891"/>
                    <a:pt x="755845" y="273891"/>
                  </a:cubicBezTo>
                  <a:cubicBezTo>
                    <a:pt x="740213" y="273891"/>
                    <a:pt x="726147" y="271114"/>
                    <a:pt x="713642" y="265554"/>
                  </a:cubicBezTo>
                  <a:cubicBezTo>
                    <a:pt x="701137" y="259878"/>
                    <a:pt x="690427" y="251892"/>
                    <a:pt x="681512" y="241585"/>
                  </a:cubicBezTo>
                  <a:cubicBezTo>
                    <a:pt x="672596" y="231167"/>
                    <a:pt x="665768" y="218604"/>
                    <a:pt x="661021" y="203901"/>
                  </a:cubicBezTo>
                  <a:cubicBezTo>
                    <a:pt x="656390" y="189197"/>
                    <a:pt x="654075" y="172753"/>
                    <a:pt x="654075" y="154577"/>
                  </a:cubicBezTo>
                  <a:lnTo>
                    <a:pt x="654075" y="133560"/>
                  </a:lnTo>
                  <a:cubicBezTo>
                    <a:pt x="654075" y="115384"/>
                    <a:pt x="656449" y="98940"/>
                    <a:pt x="661196" y="84236"/>
                  </a:cubicBezTo>
                  <a:cubicBezTo>
                    <a:pt x="666059" y="69533"/>
                    <a:pt x="673005" y="56970"/>
                    <a:pt x="682037" y="46547"/>
                  </a:cubicBezTo>
                  <a:cubicBezTo>
                    <a:pt x="691069" y="36012"/>
                    <a:pt x="701891" y="27962"/>
                    <a:pt x="714513" y="22408"/>
                  </a:cubicBezTo>
                  <a:cubicBezTo>
                    <a:pt x="727246" y="16848"/>
                    <a:pt x="741546" y="14071"/>
                    <a:pt x="757411" y="14071"/>
                  </a:cubicBezTo>
                  <a:cubicBezTo>
                    <a:pt x="777557" y="14071"/>
                    <a:pt x="794581" y="17777"/>
                    <a:pt x="808472" y="25185"/>
                  </a:cubicBezTo>
                  <a:cubicBezTo>
                    <a:pt x="822368" y="32597"/>
                    <a:pt x="833131" y="42840"/>
                    <a:pt x="840777" y="55924"/>
                  </a:cubicBezTo>
                  <a:cubicBezTo>
                    <a:pt x="848535" y="69008"/>
                    <a:pt x="853282" y="84003"/>
                    <a:pt x="855018" y="100905"/>
                  </a:cubicBezTo>
                  <a:lnTo>
                    <a:pt x="811599" y="100905"/>
                  </a:lnTo>
                  <a:cubicBezTo>
                    <a:pt x="810442" y="90019"/>
                    <a:pt x="807893" y="80700"/>
                    <a:pt x="803958" y="72943"/>
                  </a:cubicBezTo>
                  <a:cubicBezTo>
                    <a:pt x="800140" y="65185"/>
                    <a:pt x="794464" y="59280"/>
                    <a:pt x="786940" y="55229"/>
                  </a:cubicBezTo>
                  <a:cubicBezTo>
                    <a:pt x="779415" y="51060"/>
                    <a:pt x="769571" y="48974"/>
                    <a:pt x="757416" y="48974"/>
                  </a:cubicBezTo>
                  <a:cubicBezTo>
                    <a:pt x="747460" y="48974"/>
                    <a:pt x="738773" y="50827"/>
                    <a:pt x="731366" y="54533"/>
                  </a:cubicBezTo>
                  <a:cubicBezTo>
                    <a:pt x="723953" y="58239"/>
                    <a:pt x="717762" y="63682"/>
                    <a:pt x="712781" y="70861"/>
                  </a:cubicBezTo>
                  <a:cubicBezTo>
                    <a:pt x="707801" y="78040"/>
                    <a:pt x="704041" y="86897"/>
                    <a:pt x="701492" y="97432"/>
                  </a:cubicBezTo>
                  <a:cubicBezTo>
                    <a:pt x="699060" y="107850"/>
                    <a:pt x="697844" y="119776"/>
                    <a:pt x="697844" y="133210"/>
                  </a:cubicBezTo>
                  <a:lnTo>
                    <a:pt x="697844" y="154572"/>
                  </a:lnTo>
                  <a:cubicBezTo>
                    <a:pt x="697844" y="167310"/>
                    <a:pt x="698944" y="178886"/>
                    <a:pt x="701142" y="189309"/>
                  </a:cubicBezTo>
                  <a:cubicBezTo>
                    <a:pt x="703457" y="199616"/>
                    <a:pt x="706930" y="208473"/>
                    <a:pt x="711565" y="215880"/>
                  </a:cubicBezTo>
                  <a:cubicBezTo>
                    <a:pt x="716312" y="223293"/>
                    <a:pt x="722334" y="229022"/>
                    <a:pt x="729629" y="233074"/>
                  </a:cubicBezTo>
                  <a:cubicBezTo>
                    <a:pt x="736925" y="237125"/>
                    <a:pt x="745665" y="239154"/>
                    <a:pt x="755855" y="239154"/>
                  </a:cubicBezTo>
                  <a:cubicBezTo>
                    <a:pt x="768243" y="239154"/>
                    <a:pt x="778258" y="237184"/>
                    <a:pt x="785904" y="233249"/>
                  </a:cubicBezTo>
                  <a:cubicBezTo>
                    <a:pt x="793661" y="229309"/>
                    <a:pt x="799508" y="223580"/>
                    <a:pt x="803443" y="216055"/>
                  </a:cubicBezTo>
                  <a:cubicBezTo>
                    <a:pt x="807494" y="208414"/>
                    <a:pt x="810159" y="199095"/>
                    <a:pt x="811434" y="188093"/>
                  </a:cubicBezTo>
                  <a:close/>
                  <a:moveTo>
                    <a:pt x="882285" y="178541"/>
                  </a:moveTo>
                  <a:lnTo>
                    <a:pt x="882285" y="174548"/>
                  </a:lnTo>
                  <a:cubicBezTo>
                    <a:pt x="882285" y="161002"/>
                    <a:pt x="884255" y="148439"/>
                    <a:pt x="888190" y="136858"/>
                  </a:cubicBezTo>
                  <a:cubicBezTo>
                    <a:pt x="892124" y="125165"/>
                    <a:pt x="897800" y="115034"/>
                    <a:pt x="905208" y="106464"/>
                  </a:cubicBezTo>
                  <a:cubicBezTo>
                    <a:pt x="912732" y="97782"/>
                    <a:pt x="921881" y="91065"/>
                    <a:pt x="932650" y="86318"/>
                  </a:cubicBezTo>
                  <a:cubicBezTo>
                    <a:pt x="943535" y="81454"/>
                    <a:pt x="955806" y="79022"/>
                    <a:pt x="969469" y="79022"/>
                  </a:cubicBezTo>
                  <a:cubicBezTo>
                    <a:pt x="983131" y="79022"/>
                    <a:pt x="995519" y="81454"/>
                    <a:pt x="1006288" y="86318"/>
                  </a:cubicBezTo>
                  <a:cubicBezTo>
                    <a:pt x="1017173" y="91065"/>
                    <a:pt x="1026375" y="97782"/>
                    <a:pt x="1033899" y="106464"/>
                  </a:cubicBezTo>
                  <a:cubicBezTo>
                    <a:pt x="1041424" y="115034"/>
                    <a:pt x="1047158" y="125165"/>
                    <a:pt x="1051093" y="136858"/>
                  </a:cubicBezTo>
                  <a:cubicBezTo>
                    <a:pt x="1055028" y="148434"/>
                    <a:pt x="1056998" y="160997"/>
                    <a:pt x="1056998" y="174548"/>
                  </a:cubicBezTo>
                  <a:lnTo>
                    <a:pt x="1056998" y="178541"/>
                  </a:lnTo>
                  <a:cubicBezTo>
                    <a:pt x="1056998" y="192086"/>
                    <a:pt x="1055028" y="204650"/>
                    <a:pt x="1051093" y="216226"/>
                  </a:cubicBezTo>
                  <a:cubicBezTo>
                    <a:pt x="1047153" y="227806"/>
                    <a:pt x="1041424" y="237938"/>
                    <a:pt x="1033899" y="246619"/>
                  </a:cubicBezTo>
                  <a:cubicBezTo>
                    <a:pt x="1026375" y="255189"/>
                    <a:pt x="1017226" y="261902"/>
                    <a:pt x="1006458" y="266765"/>
                  </a:cubicBezTo>
                  <a:cubicBezTo>
                    <a:pt x="995689" y="271512"/>
                    <a:pt x="983476" y="273886"/>
                    <a:pt x="969814" y="273886"/>
                  </a:cubicBezTo>
                  <a:cubicBezTo>
                    <a:pt x="956151" y="273886"/>
                    <a:pt x="943705" y="271512"/>
                    <a:pt x="932820" y="266765"/>
                  </a:cubicBezTo>
                  <a:cubicBezTo>
                    <a:pt x="922051" y="261902"/>
                    <a:pt x="912907" y="255189"/>
                    <a:pt x="905378" y="246619"/>
                  </a:cubicBezTo>
                  <a:cubicBezTo>
                    <a:pt x="897854" y="237938"/>
                    <a:pt x="892119" y="227806"/>
                    <a:pt x="888185" y="216226"/>
                  </a:cubicBezTo>
                  <a:cubicBezTo>
                    <a:pt x="884245" y="204650"/>
                    <a:pt x="882280" y="192086"/>
                    <a:pt x="882280" y="178541"/>
                  </a:cubicBezTo>
                  <a:close/>
                  <a:moveTo>
                    <a:pt x="924143" y="174548"/>
                  </a:moveTo>
                  <a:lnTo>
                    <a:pt x="924143" y="178541"/>
                  </a:lnTo>
                  <a:cubicBezTo>
                    <a:pt x="924143" y="186994"/>
                    <a:pt x="925013" y="194980"/>
                    <a:pt x="926750" y="202510"/>
                  </a:cubicBezTo>
                  <a:cubicBezTo>
                    <a:pt x="928486" y="210034"/>
                    <a:pt x="931210" y="216634"/>
                    <a:pt x="934911" y="222310"/>
                  </a:cubicBezTo>
                  <a:cubicBezTo>
                    <a:pt x="938617" y="227981"/>
                    <a:pt x="943365" y="232441"/>
                    <a:pt x="949152" y="235681"/>
                  </a:cubicBezTo>
                  <a:cubicBezTo>
                    <a:pt x="954940" y="238925"/>
                    <a:pt x="961832" y="240545"/>
                    <a:pt x="969819" y="240545"/>
                  </a:cubicBezTo>
                  <a:cubicBezTo>
                    <a:pt x="977805" y="240545"/>
                    <a:pt x="984293" y="238925"/>
                    <a:pt x="989965" y="235681"/>
                  </a:cubicBezTo>
                  <a:cubicBezTo>
                    <a:pt x="995753" y="232441"/>
                    <a:pt x="1000500" y="227981"/>
                    <a:pt x="1004206" y="222310"/>
                  </a:cubicBezTo>
                  <a:cubicBezTo>
                    <a:pt x="1007912" y="216634"/>
                    <a:pt x="1010631" y="210039"/>
                    <a:pt x="1012367" y="202510"/>
                  </a:cubicBezTo>
                  <a:cubicBezTo>
                    <a:pt x="1014220" y="194985"/>
                    <a:pt x="1015145" y="186994"/>
                    <a:pt x="1015145" y="178541"/>
                  </a:cubicBezTo>
                  <a:lnTo>
                    <a:pt x="1015145" y="174548"/>
                  </a:lnTo>
                  <a:cubicBezTo>
                    <a:pt x="1015145" y="166211"/>
                    <a:pt x="1014220" y="158336"/>
                    <a:pt x="1012367" y="150929"/>
                  </a:cubicBezTo>
                  <a:cubicBezTo>
                    <a:pt x="1010631" y="143405"/>
                    <a:pt x="1007854" y="136746"/>
                    <a:pt x="1004031" y="130958"/>
                  </a:cubicBezTo>
                  <a:cubicBezTo>
                    <a:pt x="1000325" y="125170"/>
                    <a:pt x="995578" y="120652"/>
                    <a:pt x="989790" y="117412"/>
                  </a:cubicBezTo>
                  <a:cubicBezTo>
                    <a:pt x="984118" y="114056"/>
                    <a:pt x="977343" y="112373"/>
                    <a:pt x="969469" y="112373"/>
                  </a:cubicBezTo>
                  <a:cubicBezTo>
                    <a:pt x="961594" y="112373"/>
                    <a:pt x="954765" y="114051"/>
                    <a:pt x="948977" y="117412"/>
                  </a:cubicBezTo>
                  <a:cubicBezTo>
                    <a:pt x="943301" y="120657"/>
                    <a:pt x="938613" y="125170"/>
                    <a:pt x="934911" y="130958"/>
                  </a:cubicBezTo>
                  <a:cubicBezTo>
                    <a:pt x="931205" y="136746"/>
                    <a:pt x="928486" y="143405"/>
                    <a:pt x="926750" y="150929"/>
                  </a:cubicBezTo>
                  <a:cubicBezTo>
                    <a:pt x="925013" y="158336"/>
                    <a:pt x="924143" y="166211"/>
                    <a:pt x="924143" y="174548"/>
                  </a:cubicBezTo>
                  <a:close/>
                  <a:moveTo>
                    <a:pt x="1133598" y="122617"/>
                  </a:moveTo>
                  <a:lnTo>
                    <a:pt x="1133598" y="270418"/>
                  </a:lnTo>
                  <a:lnTo>
                    <a:pt x="1091745" y="270418"/>
                  </a:lnTo>
                  <a:lnTo>
                    <a:pt x="1091745" y="82495"/>
                  </a:lnTo>
                  <a:lnTo>
                    <a:pt x="1131171" y="82495"/>
                  </a:lnTo>
                  <a:lnTo>
                    <a:pt x="1133603" y="122617"/>
                  </a:lnTo>
                  <a:close/>
                  <a:moveTo>
                    <a:pt x="1126132" y="169509"/>
                  </a:moveTo>
                  <a:lnTo>
                    <a:pt x="1112586" y="169334"/>
                  </a:lnTo>
                  <a:cubicBezTo>
                    <a:pt x="1112703" y="156016"/>
                    <a:pt x="1114556" y="143803"/>
                    <a:pt x="1118145" y="132690"/>
                  </a:cubicBezTo>
                  <a:cubicBezTo>
                    <a:pt x="1121852" y="121576"/>
                    <a:pt x="1126944" y="112023"/>
                    <a:pt x="1133428" y="104032"/>
                  </a:cubicBezTo>
                  <a:cubicBezTo>
                    <a:pt x="1140028" y="96046"/>
                    <a:pt x="1147902" y="89908"/>
                    <a:pt x="1157046" y="85623"/>
                  </a:cubicBezTo>
                  <a:cubicBezTo>
                    <a:pt x="1166195" y="81226"/>
                    <a:pt x="1176385" y="79022"/>
                    <a:pt x="1187615" y="79022"/>
                  </a:cubicBezTo>
                  <a:cubicBezTo>
                    <a:pt x="1196647" y="79022"/>
                    <a:pt x="1204809" y="80297"/>
                    <a:pt x="1212105" y="82840"/>
                  </a:cubicBezTo>
                  <a:cubicBezTo>
                    <a:pt x="1219517" y="85272"/>
                    <a:pt x="1225825" y="89265"/>
                    <a:pt x="1231034" y="94825"/>
                  </a:cubicBezTo>
                  <a:cubicBezTo>
                    <a:pt x="1236360" y="100384"/>
                    <a:pt x="1240412" y="107617"/>
                    <a:pt x="1243189" y="116532"/>
                  </a:cubicBezTo>
                  <a:cubicBezTo>
                    <a:pt x="1245966" y="125331"/>
                    <a:pt x="1247357" y="136157"/>
                    <a:pt x="1247357" y="149008"/>
                  </a:cubicBezTo>
                  <a:lnTo>
                    <a:pt x="1247357" y="270408"/>
                  </a:lnTo>
                  <a:lnTo>
                    <a:pt x="1205329" y="270408"/>
                  </a:lnTo>
                  <a:lnTo>
                    <a:pt x="1205329" y="148833"/>
                  </a:lnTo>
                  <a:cubicBezTo>
                    <a:pt x="1205329" y="139800"/>
                    <a:pt x="1203996" y="132680"/>
                    <a:pt x="1201336" y="127471"/>
                  </a:cubicBezTo>
                  <a:cubicBezTo>
                    <a:pt x="1198787" y="122145"/>
                    <a:pt x="1195028" y="118380"/>
                    <a:pt x="1190047" y="116182"/>
                  </a:cubicBezTo>
                  <a:cubicBezTo>
                    <a:pt x="1185183" y="113867"/>
                    <a:pt x="1179104" y="112709"/>
                    <a:pt x="1171813" y="112709"/>
                  </a:cubicBezTo>
                  <a:cubicBezTo>
                    <a:pt x="1164522" y="112709"/>
                    <a:pt x="1158209" y="114212"/>
                    <a:pt x="1152533" y="117223"/>
                  </a:cubicBezTo>
                  <a:cubicBezTo>
                    <a:pt x="1146861" y="120233"/>
                    <a:pt x="1142056" y="124343"/>
                    <a:pt x="1138116" y="129552"/>
                  </a:cubicBezTo>
                  <a:cubicBezTo>
                    <a:pt x="1134293" y="134762"/>
                    <a:pt x="1131341" y="140783"/>
                    <a:pt x="1129259" y="147617"/>
                  </a:cubicBezTo>
                  <a:cubicBezTo>
                    <a:pt x="1127178" y="154445"/>
                    <a:pt x="1126132" y="161741"/>
                    <a:pt x="1126132" y="169499"/>
                  </a:cubicBezTo>
                  <a:close/>
                  <a:moveTo>
                    <a:pt x="1346701" y="270418"/>
                  </a:moveTo>
                  <a:lnTo>
                    <a:pt x="1304843" y="270418"/>
                  </a:lnTo>
                  <a:lnTo>
                    <a:pt x="1304843" y="64436"/>
                  </a:lnTo>
                  <a:cubicBezTo>
                    <a:pt x="1304843" y="50428"/>
                    <a:pt x="1307450" y="38672"/>
                    <a:pt x="1312659" y="29178"/>
                  </a:cubicBezTo>
                  <a:cubicBezTo>
                    <a:pt x="1317985" y="19567"/>
                    <a:pt x="1325567" y="12330"/>
                    <a:pt x="1335412" y="7471"/>
                  </a:cubicBezTo>
                  <a:cubicBezTo>
                    <a:pt x="1345256" y="2490"/>
                    <a:pt x="1356890" y="0"/>
                    <a:pt x="1370319" y="0"/>
                  </a:cubicBezTo>
                  <a:cubicBezTo>
                    <a:pt x="1374488" y="0"/>
                    <a:pt x="1378597" y="292"/>
                    <a:pt x="1382649" y="871"/>
                  </a:cubicBezTo>
                  <a:cubicBezTo>
                    <a:pt x="1386701" y="1333"/>
                    <a:pt x="1390640" y="2087"/>
                    <a:pt x="1394458" y="3127"/>
                  </a:cubicBezTo>
                  <a:lnTo>
                    <a:pt x="1393418" y="35433"/>
                  </a:lnTo>
                  <a:cubicBezTo>
                    <a:pt x="1391102" y="34854"/>
                    <a:pt x="1388554" y="34450"/>
                    <a:pt x="1385776" y="34217"/>
                  </a:cubicBezTo>
                  <a:cubicBezTo>
                    <a:pt x="1383116" y="33983"/>
                    <a:pt x="1380217" y="33867"/>
                    <a:pt x="1377095" y="33867"/>
                  </a:cubicBezTo>
                  <a:cubicBezTo>
                    <a:pt x="1370728" y="33867"/>
                    <a:pt x="1365227" y="35083"/>
                    <a:pt x="1360596" y="37515"/>
                  </a:cubicBezTo>
                  <a:cubicBezTo>
                    <a:pt x="1356083" y="39830"/>
                    <a:pt x="1352605" y="43244"/>
                    <a:pt x="1350178" y="47763"/>
                  </a:cubicBezTo>
                  <a:cubicBezTo>
                    <a:pt x="1347863" y="52281"/>
                    <a:pt x="1346706" y="57836"/>
                    <a:pt x="1346706" y="64436"/>
                  </a:cubicBezTo>
                  <a:lnTo>
                    <a:pt x="1346706" y="270418"/>
                  </a:lnTo>
                  <a:close/>
                  <a:moveTo>
                    <a:pt x="1385431" y="82500"/>
                  </a:moveTo>
                  <a:lnTo>
                    <a:pt x="1385431" y="113069"/>
                  </a:lnTo>
                  <a:lnTo>
                    <a:pt x="1276015" y="113069"/>
                  </a:lnTo>
                  <a:lnTo>
                    <a:pt x="1276015" y="82500"/>
                  </a:lnTo>
                  <a:lnTo>
                    <a:pt x="1385431" y="82500"/>
                  </a:lnTo>
                  <a:close/>
                </a:path>
              </a:pathLst>
            </a:custGeom>
            <a:solidFill>
              <a:schemeClr val="tx1"/>
            </a:solidFill>
            <a:ln w="4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7" name="Полилиния: фигура 46">
              <a:extLst>
                <a:ext uri="{FF2B5EF4-FFF2-40B4-BE49-F238E27FC236}">
                  <a16:creationId xmlns:a16="http://schemas.microsoft.com/office/drawing/2014/main" id="{0E6F0FB0-99D0-4190-B058-29B8184B7C5F}"/>
                </a:ext>
              </a:extLst>
            </p:cNvPr>
            <p:cNvSpPr/>
            <p:nvPr/>
          </p:nvSpPr>
          <p:spPr>
            <a:xfrm>
              <a:off x="8902858" y="5892336"/>
              <a:ext cx="774600" cy="259834"/>
            </a:xfrm>
            <a:custGeom>
              <a:avLst/>
              <a:gdLst>
                <a:gd name="connsiteX0" fmla="*/ 174372 w 774600"/>
                <a:gd name="connsiteY0" fmla="*/ 223015 h 259834"/>
                <a:gd name="connsiteX1" fmla="*/ 174372 w 774600"/>
                <a:gd name="connsiteY1" fmla="*/ 256362 h 259834"/>
                <a:gd name="connsiteX2" fmla="*/ 4859 w 774600"/>
                <a:gd name="connsiteY2" fmla="*/ 256362 h 259834"/>
                <a:gd name="connsiteX3" fmla="*/ 4859 w 774600"/>
                <a:gd name="connsiteY3" fmla="*/ 227704 h 259834"/>
                <a:gd name="connsiteX4" fmla="*/ 87193 w 774600"/>
                <a:gd name="connsiteY4" fmla="*/ 137913 h 259834"/>
                <a:gd name="connsiteX5" fmla="*/ 108541 w 774600"/>
                <a:gd name="connsiteY5" fmla="*/ 111513 h 259834"/>
                <a:gd name="connsiteX6" fmla="*/ 119499 w 774600"/>
                <a:gd name="connsiteY6" fmla="*/ 91542 h 259834"/>
                <a:gd name="connsiteX7" fmla="*/ 122797 w 774600"/>
                <a:gd name="connsiteY7" fmla="*/ 73998 h 259834"/>
                <a:gd name="connsiteX8" fmla="*/ 118278 w 774600"/>
                <a:gd name="connsiteY8" fmla="*/ 52981 h 259834"/>
                <a:gd name="connsiteX9" fmla="*/ 105413 w 774600"/>
                <a:gd name="connsiteY9" fmla="*/ 38565 h 259834"/>
                <a:gd name="connsiteX10" fmla="*/ 84752 w 774600"/>
                <a:gd name="connsiteY10" fmla="*/ 33181 h 259834"/>
                <a:gd name="connsiteX11" fmla="*/ 61138 w 774600"/>
                <a:gd name="connsiteY11" fmla="*/ 39261 h 259834"/>
                <a:gd name="connsiteX12" fmla="*/ 46712 w 774600"/>
                <a:gd name="connsiteY12" fmla="*/ 56109 h 259834"/>
                <a:gd name="connsiteX13" fmla="*/ 41853 w 774600"/>
                <a:gd name="connsiteY13" fmla="*/ 80423 h 259834"/>
                <a:gd name="connsiteX14" fmla="*/ 0 w 774600"/>
                <a:gd name="connsiteY14" fmla="*/ 80423 h 259834"/>
                <a:gd name="connsiteX15" fmla="*/ 10083 w 774600"/>
                <a:gd name="connsiteY15" fmla="*/ 40131 h 259834"/>
                <a:gd name="connsiteX16" fmla="*/ 39261 w 774600"/>
                <a:gd name="connsiteY16" fmla="*/ 10953 h 259834"/>
                <a:gd name="connsiteX17" fmla="*/ 85272 w 774600"/>
                <a:gd name="connsiteY17" fmla="*/ 10 h 259834"/>
                <a:gd name="connsiteX18" fmla="*/ 128346 w 774600"/>
                <a:gd name="connsiteY18" fmla="*/ 8521 h 259834"/>
                <a:gd name="connsiteX19" fmla="*/ 155277 w 774600"/>
                <a:gd name="connsiteY19" fmla="*/ 32660 h 259834"/>
                <a:gd name="connsiteX20" fmla="*/ 164654 w 774600"/>
                <a:gd name="connsiteY20" fmla="*/ 69655 h 259834"/>
                <a:gd name="connsiteX21" fmla="*/ 160827 w 774600"/>
                <a:gd name="connsiteY21" fmla="*/ 93103 h 259834"/>
                <a:gd name="connsiteX22" fmla="*/ 149888 w 774600"/>
                <a:gd name="connsiteY22" fmla="*/ 116376 h 259834"/>
                <a:gd name="connsiteX23" fmla="*/ 133400 w 774600"/>
                <a:gd name="connsiteY23" fmla="*/ 139475 h 259834"/>
                <a:gd name="connsiteX24" fmla="*/ 112378 w 774600"/>
                <a:gd name="connsiteY24" fmla="*/ 162748 h 259834"/>
                <a:gd name="connsiteX25" fmla="*/ 57675 w 774600"/>
                <a:gd name="connsiteY25" fmla="*/ 223015 h 259834"/>
                <a:gd name="connsiteX26" fmla="*/ 174377 w 774600"/>
                <a:gd name="connsiteY26" fmla="*/ 223015 h 259834"/>
                <a:gd name="connsiteX27" fmla="*/ 371848 w 774600"/>
                <a:gd name="connsiteY27" fmla="*/ 108735 h 259834"/>
                <a:gd name="connsiteX28" fmla="*/ 371848 w 774600"/>
                <a:gd name="connsiteY28" fmla="*/ 150068 h 259834"/>
                <a:gd name="connsiteX29" fmla="*/ 365938 w 774600"/>
                <a:gd name="connsiteY29" fmla="*/ 200783 h 259834"/>
                <a:gd name="connsiteX30" fmla="*/ 349260 w 774600"/>
                <a:gd name="connsiteY30" fmla="*/ 234650 h 259834"/>
                <a:gd name="connsiteX31" fmla="*/ 323035 w 774600"/>
                <a:gd name="connsiteY31" fmla="*/ 253755 h 259834"/>
                <a:gd name="connsiteX32" fmla="*/ 289168 w 774600"/>
                <a:gd name="connsiteY32" fmla="*/ 259834 h 259834"/>
                <a:gd name="connsiteX33" fmla="*/ 261381 w 774600"/>
                <a:gd name="connsiteY33" fmla="*/ 256011 h 259834"/>
                <a:gd name="connsiteX34" fmla="*/ 238468 w 774600"/>
                <a:gd name="connsiteY34" fmla="*/ 244027 h 259834"/>
                <a:gd name="connsiteX35" fmla="*/ 220914 w 774600"/>
                <a:gd name="connsiteY35" fmla="*/ 223011 h 259834"/>
                <a:gd name="connsiteX36" fmla="*/ 209800 w 774600"/>
                <a:gd name="connsiteY36" fmla="*/ 191921 h 259834"/>
                <a:gd name="connsiteX37" fmla="*/ 205972 w 774600"/>
                <a:gd name="connsiteY37" fmla="*/ 150063 h 259834"/>
                <a:gd name="connsiteX38" fmla="*/ 205972 w 774600"/>
                <a:gd name="connsiteY38" fmla="*/ 108730 h 259834"/>
                <a:gd name="connsiteX39" fmla="*/ 211882 w 774600"/>
                <a:gd name="connsiteY39" fmla="*/ 58366 h 259834"/>
                <a:gd name="connsiteX40" fmla="*/ 228730 w 774600"/>
                <a:gd name="connsiteY40" fmla="*/ 24844 h 259834"/>
                <a:gd name="connsiteX41" fmla="*/ 254786 w 774600"/>
                <a:gd name="connsiteY41" fmla="*/ 5914 h 259834"/>
                <a:gd name="connsiteX42" fmla="*/ 288827 w 774600"/>
                <a:gd name="connsiteY42" fmla="*/ 10 h 259834"/>
                <a:gd name="connsiteX43" fmla="*/ 316614 w 774600"/>
                <a:gd name="connsiteY43" fmla="*/ 3833 h 259834"/>
                <a:gd name="connsiteX44" fmla="*/ 339542 w 774600"/>
                <a:gd name="connsiteY44" fmla="*/ 15467 h 259834"/>
                <a:gd name="connsiteX45" fmla="*/ 356906 w 774600"/>
                <a:gd name="connsiteY45" fmla="*/ 36308 h 259834"/>
                <a:gd name="connsiteX46" fmla="*/ 368020 w 774600"/>
                <a:gd name="connsiteY46" fmla="*/ 67048 h 259834"/>
                <a:gd name="connsiteX47" fmla="*/ 371848 w 774600"/>
                <a:gd name="connsiteY47" fmla="*/ 108730 h 259834"/>
                <a:gd name="connsiteX48" fmla="*/ 329995 w 774600"/>
                <a:gd name="connsiteY48" fmla="*/ 155978 h 259834"/>
                <a:gd name="connsiteX49" fmla="*/ 329995 w 774600"/>
                <a:gd name="connsiteY49" fmla="*/ 102485 h 259834"/>
                <a:gd name="connsiteX50" fmla="*/ 328258 w 774600"/>
                <a:gd name="connsiteY50" fmla="*/ 75914 h 259834"/>
                <a:gd name="connsiteX51" fmla="*/ 323039 w 774600"/>
                <a:gd name="connsiteY51" fmla="*/ 56289 h 259834"/>
                <a:gd name="connsiteX52" fmla="*/ 314708 w 774600"/>
                <a:gd name="connsiteY52" fmla="*/ 43088 h 259834"/>
                <a:gd name="connsiteX53" fmla="*/ 303234 w 774600"/>
                <a:gd name="connsiteY53" fmla="*/ 35623 h 259834"/>
                <a:gd name="connsiteX54" fmla="*/ 288823 w 774600"/>
                <a:gd name="connsiteY54" fmla="*/ 33191 h 259834"/>
                <a:gd name="connsiteX55" fmla="*/ 271459 w 774600"/>
                <a:gd name="connsiteY55" fmla="*/ 37014 h 259834"/>
                <a:gd name="connsiteX56" fmla="*/ 258613 w 774600"/>
                <a:gd name="connsiteY56" fmla="*/ 48823 h 259834"/>
                <a:gd name="connsiteX57" fmla="*/ 250608 w 774600"/>
                <a:gd name="connsiteY57" fmla="*/ 70360 h 259834"/>
                <a:gd name="connsiteX58" fmla="*/ 248015 w 774600"/>
                <a:gd name="connsiteY58" fmla="*/ 102490 h 259834"/>
                <a:gd name="connsiteX59" fmla="*/ 248015 w 774600"/>
                <a:gd name="connsiteY59" fmla="*/ 155982 h 259834"/>
                <a:gd name="connsiteX60" fmla="*/ 249752 w 774600"/>
                <a:gd name="connsiteY60" fmla="*/ 182904 h 259834"/>
                <a:gd name="connsiteX61" fmla="*/ 254956 w 774600"/>
                <a:gd name="connsiteY61" fmla="*/ 202874 h 259834"/>
                <a:gd name="connsiteX62" fmla="*/ 263302 w 774600"/>
                <a:gd name="connsiteY62" fmla="*/ 216420 h 259834"/>
                <a:gd name="connsiteX63" fmla="*/ 274756 w 774600"/>
                <a:gd name="connsiteY63" fmla="*/ 224061 h 259834"/>
                <a:gd name="connsiteX64" fmla="*/ 289168 w 774600"/>
                <a:gd name="connsiteY64" fmla="*/ 226493 h 259834"/>
                <a:gd name="connsiteX65" fmla="*/ 306721 w 774600"/>
                <a:gd name="connsiteY65" fmla="*/ 222670 h 259834"/>
                <a:gd name="connsiteX66" fmla="*/ 319567 w 774600"/>
                <a:gd name="connsiteY66" fmla="*/ 210511 h 259834"/>
                <a:gd name="connsiteX67" fmla="*/ 327383 w 774600"/>
                <a:gd name="connsiteY67" fmla="*/ 188453 h 259834"/>
                <a:gd name="connsiteX68" fmla="*/ 329995 w 774600"/>
                <a:gd name="connsiteY68" fmla="*/ 155978 h 259834"/>
                <a:gd name="connsiteX69" fmla="*/ 578701 w 774600"/>
                <a:gd name="connsiteY69" fmla="*/ 223015 h 259834"/>
                <a:gd name="connsiteX70" fmla="*/ 578701 w 774600"/>
                <a:gd name="connsiteY70" fmla="*/ 256362 h 259834"/>
                <a:gd name="connsiteX71" fmla="*/ 409187 w 774600"/>
                <a:gd name="connsiteY71" fmla="*/ 256362 h 259834"/>
                <a:gd name="connsiteX72" fmla="*/ 409187 w 774600"/>
                <a:gd name="connsiteY72" fmla="*/ 227704 h 259834"/>
                <a:gd name="connsiteX73" fmla="*/ 491507 w 774600"/>
                <a:gd name="connsiteY73" fmla="*/ 137913 h 259834"/>
                <a:gd name="connsiteX74" fmla="*/ 512874 w 774600"/>
                <a:gd name="connsiteY74" fmla="*/ 111513 h 259834"/>
                <a:gd name="connsiteX75" fmla="*/ 523813 w 774600"/>
                <a:gd name="connsiteY75" fmla="*/ 91542 h 259834"/>
                <a:gd name="connsiteX76" fmla="*/ 527110 w 774600"/>
                <a:gd name="connsiteY76" fmla="*/ 73998 h 259834"/>
                <a:gd name="connsiteX77" fmla="*/ 522592 w 774600"/>
                <a:gd name="connsiteY77" fmla="*/ 52981 h 259834"/>
                <a:gd name="connsiteX78" fmla="*/ 509746 w 774600"/>
                <a:gd name="connsiteY78" fmla="*/ 38565 h 259834"/>
                <a:gd name="connsiteX79" fmla="*/ 489085 w 774600"/>
                <a:gd name="connsiteY79" fmla="*/ 33181 h 259834"/>
                <a:gd name="connsiteX80" fmla="*/ 465452 w 774600"/>
                <a:gd name="connsiteY80" fmla="*/ 39261 h 259834"/>
                <a:gd name="connsiteX81" fmla="*/ 451040 w 774600"/>
                <a:gd name="connsiteY81" fmla="*/ 56109 h 259834"/>
                <a:gd name="connsiteX82" fmla="*/ 446181 w 774600"/>
                <a:gd name="connsiteY82" fmla="*/ 80423 h 259834"/>
                <a:gd name="connsiteX83" fmla="*/ 404328 w 774600"/>
                <a:gd name="connsiteY83" fmla="*/ 80423 h 259834"/>
                <a:gd name="connsiteX84" fmla="*/ 414391 w 774600"/>
                <a:gd name="connsiteY84" fmla="*/ 40131 h 259834"/>
                <a:gd name="connsiteX85" fmla="*/ 443569 w 774600"/>
                <a:gd name="connsiteY85" fmla="*/ 10953 h 259834"/>
                <a:gd name="connsiteX86" fmla="*/ 489596 w 774600"/>
                <a:gd name="connsiteY86" fmla="*/ 10 h 259834"/>
                <a:gd name="connsiteX87" fmla="*/ 532670 w 774600"/>
                <a:gd name="connsiteY87" fmla="*/ 8521 h 259834"/>
                <a:gd name="connsiteX88" fmla="*/ 559581 w 774600"/>
                <a:gd name="connsiteY88" fmla="*/ 32660 h 259834"/>
                <a:gd name="connsiteX89" fmla="*/ 568958 w 774600"/>
                <a:gd name="connsiteY89" fmla="*/ 69655 h 259834"/>
                <a:gd name="connsiteX90" fmla="*/ 565145 w 774600"/>
                <a:gd name="connsiteY90" fmla="*/ 93103 h 259834"/>
                <a:gd name="connsiteX91" fmla="*/ 554207 w 774600"/>
                <a:gd name="connsiteY91" fmla="*/ 116376 h 259834"/>
                <a:gd name="connsiteX92" fmla="*/ 537704 w 774600"/>
                <a:gd name="connsiteY92" fmla="*/ 139475 h 259834"/>
                <a:gd name="connsiteX93" fmla="*/ 516697 w 774600"/>
                <a:gd name="connsiteY93" fmla="*/ 162748 h 259834"/>
                <a:gd name="connsiteX94" fmla="*/ 461979 w 774600"/>
                <a:gd name="connsiteY94" fmla="*/ 223015 h 259834"/>
                <a:gd name="connsiteX95" fmla="*/ 578701 w 774600"/>
                <a:gd name="connsiteY95" fmla="*/ 223015 h 259834"/>
                <a:gd name="connsiteX96" fmla="*/ 660505 w 774600"/>
                <a:gd name="connsiteY96" fmla="*/ 110992 h 259834"/>
                <a:gd name="connsiteX97" fmla="*/ 685510 w 774600"/>
                <a:gd name="connsiteY97" fmla="*/ 110992 h 259834"/>
                <a:gd name="connsiteX98" fmla="*/ 709639 w 774600"/>
                <a:gd name="connsiteY98" fmla="*/ 105953 h 259834"/>
                <a:gd name="connsiteX99" fmla="*/ 724065 w 774600"/>
                <a:gd name="connsiteY99" fmla="*/ 92057 h 259834"/>
                <a:gd name="connsiteX100" fmla="*/ 728754 w 774600"/>
                <a:gd name="connsiteY100" fmla="*/ 71736 h 259834"/>
                <a:gd name="connsiteX101" fmla="*/ 724411 w 774600"/>
                <a:gd name="connsiteY101" fmla="*/ 51240 h 259834"/>
                <a:gd name="connsiteX102" fmla="*/ 711565 w 774600"/>
                <a:gd name="connsiteY102" fmla="*/ 37865 h 259834"/>
                <a:gd name="connsiteX103" fmla="*/ 689858 w 774600"/>
                <a:gd name="connsiteY103" fmla="*/ 33176 h 259834"/>
                <a:gd name="connsiteX104" fmla="*/ 669712 w 774600"/>
                <a:gd name="connsiteY104" fmla="*/ 37690 h 259834"/>
                <a:gd name="connsiteX105" fmla="*/ 655626 w 774600"/>
                <a:gd name="connsiteY105" fmla="*/ 50195 h 259834"/>
                <a:gd name="connsiteX106" fmla="*/ 650422 w 774600"/>
                <a:gd name="connsiteY106" fmla="*/ 69300 h 259834"/>
                <a:gd name="connsiteX107" fmla="*/ 608394 w 774600"/>
                <a:gd name="connsiteY107" fmla="*/ 69300 h 259834"/>
                <a:gd name="connsiteX108" fmla="*/ 618992 w 774600"/>
                <a:gd name="connsiteY108" fmla="*/ 33521 h 259834"/>
                <a:gd name="connsiteX109" fmla="*/ 647810 w 774600"/>
                <a:gd name="connsiteY109" fmla="*/ 9032 h 259834"/>
                <a:gd name="connsiteX110" fmla="*/ 689148 w 774600"/>
                <a:gd name="connsiteY110" fmla="*/ 0 h 259834"/>
                <a:gd name="connsiteX111" fmla="*/ 731876 w 774600"/>
                <a:gd name="connsiteY111" fmla="*/ 8161 h 259834"/>
                <a:gd name="connsiteX112" fmla="*/ 760524 w 774600"/>
                <a:gd name="connsiteY112" fmla="*/ 32130 h 259834"/>
                <a:gd name="connsiteX113" fmla="*/ 770777 w 774600"/>
                <a:gd name="connsiteY113" fmla="*/ 71731 h 259834"/>
                <a:gd name="connsiteX114" fmla="*/ 765743 w 774600"/>
                <a:gd name="connsiteY114" fmla="*/ 93614 h 259834"/>
                <a:gd name="connsiteX115" fmla="*/ 750802 w 774600"/>
                <a:gd name="connsiteY115" fmla="*/ 113935 h 259834"/>
                <a:gd name="connsiteX116" fmla="*/ 726137 w 774600"/>
                <a:gd name="connsiteY116" fmla="*/ 128696 h 259834"/>
                <a:gd name="connsiteX117" fmla="*/ 691925 w 774600"/>
                <a:gd name="connsiteY117" fmla="*/ 134256 h 259834"/>
                <a:gd name="connsiteX118" fmla="*/ 660495 w 774600"/>
                <a:gd name="connsiteY118" fmla="*/ 134256 h 259834"/>
                <a:gd name="connsiteX119" fmla="*/ 660495 w 774600"/>
                <a:gd name="connsiteY119" fmla="*/ 110982 h 259834"/>
                <a:gd name="connsiteX120" fmla="*/ 660505 w 774600"/>
                <a:gd name="connsiteY120" fmla="*/ 143643 h 259834"/>
                <a:gd name="connsiteX121" fmla="*/ 660505 w 774600"/>
                <a:gd name="connsiteY121" fmla="*/ 120715 h 259834"/>
                <a:gd name="connsiteX122" fmla="*/ 691935 w 774600"/>
                <a:gd name="connsiteY122" fmla="*/ 120715 h 259834"/>
                <a:gd name="connsiteX123" fmla="*/ 729790 w 774600"/>
                <a:gd name="connsiteY123" fmla="*/ 125924 h 259834"/>
                <a:gd name="connsiteX124" fmla="*/ 755500 w 774600"/>
                <a:gd name="connsiteY124" fmla="*/ 140340 h 259834"/>
                <a:gd name="connsiteX125" fmla="*/ 769911 w 774600"/>
                <a:gd name="connsiteY125" fmla="*/ 161007 h 259834"/>
                <a:gd name="connsiteX126" fmla="*/ 774600 w 774600"/>
                <a:gd name="connsiteY126" fmla="*/ 185671 h 259834"/>
                <a:gd name="connsiteX127" fmla="*/ 768175 w 774600"/>
                <a:gd name="connsiteY127" fmla="*/ 217281 h 259834"/>
                <a:gd name="connsiteX128" fmla="*/ 750296 w 774600"/>
                <a:gd name="connsiteY128" fmla="*/ 240554 h 259834"/>
                <a:gd name="connsiteX129" fmla="*/ 723024 w 774600"/>
                <a:gd name="connsiteY129" fmla="*/ 254971 h 259834"/>
                <a:gd name="connsiteX130" fmla="*/ 689328 w 774600"/>
                <a:gd name="connsiteY130" fmla="*/ 259834 h 259834"/>
                <a:gd name="connsiteX131" fmla="*/ 658068 w 774600"/>
                <a:gd name="connsiteY131" fmla="*/ 255316 h 259834"/>
                <a:gd name="connsiteX132" fmla="*/ 631327 w 774600"/>
                <a:gd name="connsiteY132" fmla="*/ 241945 h 259834"/>
                <a:gd name="connsiteX133" fmla="*/ 612572 w 774600"/>
                <a:gd name="connsiteY133" fmla="*/ 219543 h 259834"/>
                <a:gd name="connsiteX134" fmla="*/ 605787 w 774600"/>
                <a:gd name="connsiteY134" fmla="*/ 188283 h 259834"/>
                <a:gd name="connsiteX135" fmla="*/ 647640 w 774600"/>
                <a:gd name="connsiteY135" fmla="*/ 188283 h 259834"/>
                <a:gd name="connsiteX136" fmla="*/ 652859 w 774600"/>
                <a:gd name="connsiteY136" fmla="*/ 208254 h 259834"/>
                <a:gd name="connsiteX137" fmla="*/ 667786 w 774600"/>
                <a:gd name="connsiteY137" fmla="*/ 221624 h 259834"/>
                <a:gd name="connsiteX138" fmla="*/ 690028 w 774600"/>
                <a:gd name="connsiteY138" fmla="*/ 226488 h 259834"/>
                <a:gd name="connsiteX139" fmla="*/ 712767 w 774600"/>
                <a:gd name="connsiteY139" fmla="*/ 221799 h 259834"/>
                <a:gd name="connsiteX140" fmla="*/ 727363 w 774600"/>
                <a:gd name="connsiteY140" fmla="*/ 207904 h 259834"/>
                <a:gd name="connsiteX141" fmla="*/ 732567 w 774600"/>
                <a:gd name="connsiteY141" fmla="*/ 185671 h 259834"/>
                <a:gd name="connsiteX142" fmla="*/ 726847 w 774600"/>
                <a:gd name="connsiteY142" fmla="*/ 161702 h 259834"/>
                <a:gd name="connsiteX143" fmla="*/ 710515 w 774600"/>
                <a:gd name="connsiteY143" fmla="*/ 148157 h 259834"/>
                <a:gd name="connsiteX144" fmla="*/ 685510 w 774600"/>
                <a:gd name="connsiteY144" fmla="*/ 143643 h 259834"/>
                <a:gd name="connsiteX145" fmla="*/ 660505 w 774600"/>
                <a:gd name="connsiteY145" fmla="*/ 143643 h 2598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</a:cxnLst>
              <a:rect l="l" t="t" r="r" b="b"/>
              <a:pathLst>
                <a:path w="774600" h="259834">
                  <a:moveTo>
                    <a:pt x="174372" y="223015"/>
                  </a:moveTo>
                  <a:lnTo>
                    <a:pt x="174372" y="256362"/>
                  </a:lnTo>
                  <a:lnTo>
                    <a:pt x="4859" y="256362"/>
                  </a:lnTo>
                  <a:lnTo>
                    <a:pt x="4859" y="227704"/>
                  </a:lnTo>
                  <a:lnTo>
                    <a:pt x="87193" y="137913"/>
                  </a:lnTo>
                  <a:cubicBezTo>
                    <a:pt x="96211" y="127724"/>
                    <a:pt x="103336" y="118925"/>
                    <a:pt x="108541" y="111513"/>
                  </a:cubicBezTo>
                  <a:cubicBezTo>
                    <a:pt x="113760" y="104100"/>
                    <a:pt x="117403" y="97446"/>
                    <a:pt x="119499" y="91542"/>
                  </a:cubicBezTo>
                  <a:cubicBezTo>
                    <a:pt x="121697" y="85520"/>
                    <a:pt x="122797" y="79674"/>
                    <a:pt x="122797" y="73998"/>
                  </a:cubicBezTo>
                  <a:cubicBezTo>
                    <a:pt x="122797" y="66012"/>
                    <a:pt x="121284" y="59003"/>
                    <a:pt x="118278" y="52981"/>
                  </a:cubicBezTo>
                  <a:cubicBezTo>
                    <a:pt x="115374" y="46843"/>
                    <a:pt x="111099" y="42038"/>
                    <a:pt x="105413" y="38565"/>
                  </a:cubicBezTo>
                  <a:cubicBezTo>
                    <a:pt x="99747" y="34976"/>
                    <a:pt x="92860" y="33181"/>
                    <a:pt x="84752" y="33181"/>
                  </a:cubicBezTo>
                  <a:cubicBezTo>
                    <a:pt x="75374" y="33181"/>
                    <a:pt x="67510" y="35209"/>
                    <a:pt x="61138" y="39261"/>
                  </a:cubicBezTo>
                  <a:cubicBezTo>
                    <a:pt x="54766" y="43312"/>
                    <a:pt x="49956" y="48930"/>
                    <a:pt x="46712" y="56109"/>
                  </a:cubicBezTo>
                  <a:cubicBezTo>
                    <a:pt x="43482" y="63171"/>
                    <a:pt x="41853" y="71279"/>
                    <a:pt x="41853" y="80423"/>
                  </a:cubicBezTo>
                  <a:lnTo>
                    <a:pt x="0" y="80423"/>
                  </a:lnTo>
                  <a:cubicBezTo>
                    <a:pt x="0" y="65720"/>
                    <a:pt x="3366" y="52286"/>
                    <a:pt x="10083" y="40131"/>
                  </a:cubicBezTo>
                  <a:cubicBezTo>
                    <a:pt x="16800" y="27860"/>
                    <a:pt x="26517" y="18132"/>
                    <a:pt x="39261" y="10953"/>
                  </a:cubicBezTo>
                  <a:cubicBezTo>
                    <a:pt x="51989" y="3658"/>
                    <a:pt x="67325" y="10"/>
                    <a:pt x="85272" y="10"/>
                  </a:cubicBezTo>
                  <a:cubicBezTo>
                    <a:pt x="102189" y="10"/>
                    <a:pt x="116546" y="2845"/>
                    <a:pt x="128346" y="8521"/>
                  </a:cubicBezTo>
                  <a:cubicBezTo>
                    <a:pt x="140160" y="14193"/>
                    <a:pt x="149129" y="22242"/>
                    <a:pt x="155277" y="32660"/>
                  </a:cubicBezTo>
                  <a:cubicBezTo>
                    <a:pt x="161527" y="43079"/>
                    <a:pt x="164654" y="55413"/>
                    <a:pt x="164654" y="69655"/>
                  </a:cubicBezTo>
                  <a:cubicBezTo>
                    <a:pt x="164654" y="77529"/>
                    <a:pt x="163385" y="85345"/>
                    <a:pt x="160827" y="93103"/>
                  </a:cubicBezTo>
                  <a:cubicBezTo>
                    <a:pt x="158283" y="100861"/>
                    <a:pt x="154645" y="108619"/>
                    <a:pt x="149888" y="116376"/>
                  </a:cubicBezTo>
                  <a:cubicBezTo>
                    <a:pt x="145267" y="124017"/>
                    <a:pt x="139757" y="131717"/>
                    <a:pt x="133400" y="139475"/>
                  </a:cubicBezTo>
                  <a:cubicBezTo>
                    <a:pt x="127028" y="147116"/>
                    <a:pt x="120019" y="154873"/>
                    <a:pt x="112378" y="162748"/>
                  </a:cubicBezTo>
                  <a:lnTo>
                    <a:pt x="57675" y="223015"/>
                  </a:lnTo>
                  <a:lnTo>
                    <a:pt x="174377" y="223015"/>
                  </a:lnTo>
                  <a:close/>
                  <a:moveTo>
                    <a:pt x="371848" y="108735"/>
                  </a:moveTo>
                  <a:lnTo>
                    <a:pt x="371848" y="150068"/>
                  </a:lnTo>
                  <a:cubicBezTo>
                    <a:pt x="371848" y="169869"/>
                    <a:pt x="369873" y="186770"/>
                    <a:pt x="365938" y="200783"/>
                  </a:cubicBezTo>
                  <a:cubicBezTo>
                    <a:pt x="362125" y="214674"/>
                    <a:pt x="356561" y="225963"/>
                    <a:pt x="349260" y="234650"/>
                  </a:cubicBezTo>
                  <a:cubicBezTo>
                    <a:pt x="341960" y="243332"/>
                    <a:pt x="333219" y="249703"/>
                    <a:pt x="323035" y="253755"/>
                  </a:cubicBezTo>
                  <a:cubicBezTo>
                    <a:pt x="312971" y="257806"/>
                    <a:pt x="301668" y="259834"/>
                    <a:pt x="289168" y="259834"/>
                  </a:cubicBezTo>
                  <a:cubicBezTo>
                    <a:pt x="279221" y="259834"/>
                    <a:pt x="269951" y="258560"/>
                    <a:pt x="261381" y="256011"/>
                  </a:cubicBezTo>
                  <a:cubicBezTo>
                    <a:pt x="252933" y="253463"/>
                    <a:pt x="245287" y="249470"/>
                    <a:pt x="238468" y="244027"/>
                  </a:cubicBezTo>
                  <a:cubicBezTo>
                    <a:pt x="231634" y="238584"/>
                    <a:pt x="225773" y="231581"/>
                    <a:pt x="220914" y="223011"/>
                  </a:cubicBezTo>
                  <a:cubicBezTo>
                    <a:pt x="216172" y="214329"/>
                    <a:pt x="212466" y="203964"/>
                    <a:pt x="209800" y="191921"/>
                  </a:cubicBezTo>
                  <a:cubicBezTo>
                    <a:pt x="207256" y="179878"/>
                    <a:pt x="205972" y="165929"/>
                    <a:pt x="205972" y="150063"/>
                  </a:cubicBezTo>
                  <a:lnTo>
                    <a:pt x="205972" y="108730"/>
                  </a:lnTo>
                  <a:cubicBezTo>
                    <a:pt x="205972" y="88813"/>
                    <a:pt x="207947" y="72028"/>
                    <a:pt x="211882" y="58366"/>
                  </a:cubicBezTo>
                  <a:cubicBezTo>
                    <a:pt x="215831" y="44587"/>
                    <a:pt x="221430" y="33414"/>
                    <a:pt x="228730" y="24844"/>
                  </a:cubicBezTo>
                  <a:cubicBezTo>
                    <a:pt x="236031" y="16162"/>
                    <a:pt x="244722" y="9849"/>
                    <a:pt x="254786" y="5914"/>
                  </a:cubicBezTo>
                  <a:cubicBezTo>
                    <a:pt x="264970" y="1980"/>
                    <a:pt x="276323" y="10"/>
                    <a:pt x="288827" y="10"/>
                  </a:cubicBezTo>
                  <a:cubicBezTo>
                    <a:pt x="298910" y="10"/>
                    <a:pt x="308166" y="1284"/>
                    <a:pt x="316614" y="3833"/>
                  </a:cubicBezTo>
                  <a:cubicBezTo>
                    <a:pt x="325184" y="6265"/>
                    <a:pt x="332825" y="10141"/>
                    <a:pt x="339542" y="15467"/>
                  </a:cubicBezTo>
                  <a:cubicBezTo>
                    <a:pt x="346376" y="20793"/>
                    <a:pt x="352164" y="27743"/>
                    <a:pt x="356906" y="36308"/>
                  </a:cubicBezTo>
                  <a:cubicBezTo>
                    <a:pt x="361765" y="44762"/>
                    <a:pt x="365476" y="55010"/>
                    <a:pt x="368020" y="67048"/>
                  </a:cubicBezTo>
                  <a:cubicBezTo>
                    <a:pt x="370578" y="78974"/>
                    <a:pt x="371848" y="92870"/>
                    <a:pt x="371848" y="108730"/>
                  </a:cubicBezTo>
                  <a:close/>
                  <a:moveTo>
                    <a:pt x="329995" y="155978"/>
                  </a:moveTo>
                  <a:lnTo>
                    <a:pt x="329995" y="102485"/>
                  </a:lnTo>
                  <a:cubicBezTo>
                    <a:pt x="329995" y="92412"/>
                    <a:pt x="329411" y="83555"/>
                    <a:pt x="328258" y="75914"/>
                  </a:cubicBezTo>
                  <a:cubicBezTo>
                    <a:pt x="327091" y="68157"/>
                    <a:pt x="325355" y="61615"/>
                    <a:pt x="323039" y="56289"/>
                  </a:cubicBezTo>
                  <a:cubicBezTo>
                    <a:pt x="320841" y="50846"/>
                    <a:pt x="318059" y="46445"/>
                    <a:pt x="314708" y="43088"/>
                  </a:cubicBezTo>
                  <a:cubicBezTo>
                    <a:pt x="311342" y="39616"/>
                    <a:pt x="307529" y="37125"/>
                    <a:pt x="303234" y="35623"/>
                  </a:cubicBezTo>
                  <a:cubicBezTo>
                    <a:pt x="298959" y="34003"/>
                    <a:pt x="294148" y="33191"/>
                    <a:pt x="288823" y="33191"/>
                  </a:cubicBezTo>
                  <a:cubicBezTo>
                    <a:pt x="282349" y="33191"/>
                    <a:pt x="276542" y="34465"/>
                    <a:pt x="271459" y="37014"/>
                  </a:cubicBezTo>
                  <a:cubicBezTo>
                    <a:pt x="266357" y="39445"/>
                    <a:pt x="262081" y="43380"/>
                    <a:pt x="258613" y="48823"/>
                  </a:cubicBezTo>
                  <a:cubicBezTo>
                    <a:pt x="255126" y="54266"/>
                    <a:pt x="252466" y="61445"/>
                    <a:pt x="250608" y="70360"/>
                  </a:cubicBezTo>
                  <a:cubicBezTo>
                    <a:pt x="248871" y="79159"/>
                    <a:pt x="248015" y="89869"/>
                    <a:pt x="248015" y="102490"/>
                  </a:cubicBezTo>
                  <a:lnTo>
                    <a:pt x="248015" y="155982"/>
                  </a:lnTo>
                  <a:cubicBezTo>
                    <a:pt x="248015" y="166172"/>
                    <a:pt x="248584" y="175146"/>
                    <a:pt x="249752" y="182904"/>
                  </a:cubicBezTo>
                  <a:cubicBezTo>
                    <a:pt x="250904" y="190661"/>
                    <a:pt x="252636" y="197320"/>
                    <a:pt x="254956" y="202874"/>
                  </a:cubicBezTo>
                  <a:cubicBezTo>
                    <a:pt x="257276" y="208317"/>
                    <a:pt x="260058" y="212831"/>
                    <a:pt x="263302" y="216420"/>
                  </a:cubicBezTo>
                  <a:cubicBezTo>
                    <a:pt x="266653" y="219893"/>
                    <a:pt x="270481" y="222441"/>
                    <a:pt x="274756" y="224061"/>
                  </a:cubicBezTo>
                  <a:cubicBezTo>
                    <a:pt x="279153" y="225681"/>
                    <a:pt x="283964" y="226493"/>
                    <a:pt x="289168" y="226493"/>
                  </a:cubicBezTo>
                  <a:cubicBezTo>
                    <a:pt x="295778" y="226493"/>
                    <a:pt x="301619" y="225219"/>
                    <a:pt x="306721" y="222670"/>
                  </a:cubicBezTo>
                  <a:cubicBezTo>
                    <a:pt x="311804" y="220121"/>
                    <a:pt x="316099" y="216070"/>
                    <a:pt x="319567" y="210511"/>
                  </a:cubicBezTo>
                  <a:cubicBezTo>
                    <a:pt x="323035" y="204839"/>
                    <a:pt x="325646" y="197485"/>
                    <a:pt x="327383" y="188453"/>
                  </a:cubicBezTo>
                  <a:cubicBezTo>
                    <a:pt x="329119" y="179421"/>
                    <a:pt x="329995" y="168594"/>
                    <a:pt x="329995" y="155978"/>
                  </a:cubicBezTo>
                  <a:close/>
                  <a:moveTo>
                    <a:pt x="578701" y="223015"/>
                  </a:moveTo>
                  <a:lnTo>
                    <a:pt x="578701" y="256362"/>
                  </a:lnTo>
                  <a:lnTo>
                    <a:pt x="409187" y="256362"/>
                  </a:lnTo>
                  <a:lnTo>
                    <a:pt x="409187" y="227704"/>
                  </a:lnTo>
                  <a:lnTo>
                    <a:pt x="491507" y="137913"/>
                  </a:lnTo>
                  <a:cubicBezTo>
                    <a:pt x="500539" y="127724"/>
                    <a:pt x="507670" y="118925"/>
                    <a:pt x="512874" y="111513"/>
                  </a:cubicBezTo>
                  <a:cubicBezTo>
                    <a:pt x="518078" y="104100"/>
                    <a:pt x="521736" y="97446"/>
                    <a:pt x="523813" y="91542"/>
                  </a:cubicBezTo>
                  <a:cubicBezTo>
                    <a:pt x="526011" y="85520"/>
                    <a:pt x="527110" y="79674"/>
                    <a:pt x="527110" y="73998"/>
                  </a:cubicBezTo>
                  <a:cubicBezTo>
                    <a:pt x="527110" y="66012"/>
                    <a:pt x="525617" y="59003"/>
                    <a:pt x="522592" y="52981"/>
                  </a:cubicBezTo>
                  <a:cubicBezTo>
                    <a:pt x="519708" y="46843"/>
                    <a:pt x="515413" y="42038"/>
                    <a:pt x="509746" y="38565"/>
                  </a:cubicBezTo>
                  <a:cubicBezTo>
                    <a:pt x="504080" y="34976"/>
                    <a:pt x="497193" y="33181"/>
                    <a:pt x="489085" y="33181"/>
                  </a:cubicBezTo>
                  <a:cubicBezTo>
                    <a:pt x="479708" y="33181"/>
                    <a:pt x="471823" y="35209"/>
                    <a:pt x="465452" y="39261"/>
                  </a:cubicBezTo>
                  <a:cubicBezTo>
                    <a:pt x="459095" y="43312"/>
                    <a:pt x="454289" y="48930"/>
                    <a:pt x="451040" y="56109"/>
                  </a:cubicBezTo>
                  <a:cubicBezTo>
                    <a:pt x="447796" y="63171"/>
                    <a:pt x="446181" y="71279"/>
                    <a:pt x="446181" y="80423"/>
                  </a:cubicBezTo>
                  <a:lnTo>
                    <a:pt x="404328" y="80423"/>
                  </a:lnTo>
                  <a:cubicBezTo>
                    <a:pt x="404328" y="65720"/>
                    <a:pt x="407679" y="52286"/>
                    <a:pt x="414391" y="40131"/>
                  </a:cubicBezTo>
                  <a:cubicBezTo>
                    <a:pt x="421108" y="27860"/>
                    <a:pt x="430846" y="18132"/>
                    <a:pt x="443569" y="10953"/>
                  </a:cubicBezTo>
                  <a:cubicBezTo>
                    <a:pt x="456313" y="3658"/>
                    <a:pt x="471648" y="10"/>
                    <a:pt x="489596" y="10"/>
                  </a:cubicBezTo>
                  <a:cubicBezTo>
                    <a:pt x="506497" y="10"/>
                    <a:pt x="520855" y="2845"/>
                    <a:pt x="532670" y="8521"/>
                  </a:cubicBezTo>
                  <a:cubicBezTo>
                    <a:pt x="544484" y="14193"/>
                    <a:pt x="553453" y="22242"/>
                    <a:pt x="559581" y="32660"/>
                  </a:cubicBezTo>
                  <a:cubicBezTo>
                    <a:pt x="565831" y="43079"/>
                    <a:pt x="568958" y="55413"/>
                    <a:pt x="568958" y="69655"/>
                  </a:cubicBezTo>
                  <a:cubicBezTo>
                    <a:pt x="568958" y="77529"/>
                    <a:pt x="567689" y="85345"/>
                    <a:pt x="565145" y="93103"/>
                  </a:cubicBezTo>
                  <a:cubicBezTo>
                    <a:pt x="562601" y="100861"/>
                    <a:pt x="558944" y="108619"/>
                    <a:pt x="554207" y="116376"/>
                  </a:cubicBezTo>
                  <a:cubicBezTo>
                    <a:pt x="549571" y="124017"/>
                    <a:pt x="544075" y="131717"/>
                    <a:pt x="537704" y="139475"/>
                  </a:cubicBezTo>
                  <a:cubicBezTo>
                    <a:pt x="531332" y="147116"/>
                    <a:pt x="524323" y="154873"/>
                    <a:pt x="516697" y="162748"/>
                  </a:cubicBezTo>
                  <a:lnTo>
                    <a:pt x="461979" y="223015"/>
                  </a:lnTo>
                  <a:lnTo>
                    <a:pt x="578701" y="223015"/>
                  </a:lnTo>
                  <a:close/>
                  <a:moveTo>
                    <a:pt x="660505" y="110992"/>
                  </a:moveTo>
                  <a:lnTo>
                    <a:pt x="685510" y="110992"/>
                  </a:lnTo>
                  <a:cubicBezTo>
                    <a:pt x="695233" y="110992"/>
                    <a:pt x="703287" y="109314"/>
                    <a:pt x="709639" y="105953"/>
                  </a:cubicBezTo>
                  <a:cubicBezTo>
                    <a:pt x="716132" y="102597"/>
                    <a:pt x="720943" y="97962"/>
                    <a:pt x="724065" y="92057"/>
                  </a:cubicBezTo>
                  <a:cubicBezTo>
                    <a:pt x="727188" y="86153"/>
                    <a:pt x="728754" y="79377"/>
                    <a:pt x="728754" y="71736"/>
                  </a:cubicBezTo>
                  <a:cubicBezTo>
                    <a:pt x="728754" y="64095"/>
                    <a:pt x="727295" y="56916"/>
                    <a:pt x="724411" y="51240"/>
                  </a:cubicBezTo>
                  <a:cubicBezTo>
                    <a:pt x="721628" y="45452"/>
                    <a:pt x="717353" y="40992"/>
                    <a:pt x="711565" y="37865"/>
                  </a:cubicBezTo>
                  <a:cubicBezTo>
                    <a:pt x="705879" y="34737"/>
                    <a:pt x="698652" y="33176"/>
                    <a:pt x="689858" y="33176"/>
                  </a:cubicBezTo>
                  <a:cubicBezTo>
                    <a:pt x="682441" y="33176"/>
                    <a:pt x="675724" y="34684"/>
                    <a:pt x="669712" y="37690"/>
                  </a:cubicBezTo>
                  <a:cubicBezTo>
                    <a:pt x="663803" y="40584"/>
                    <a:pt x="659114" y="44752"/>
                    <a:pt x="655626" y="50195"/>
                  </a:cubicBezTo>
                  <a:cubicBezTo>
                    <a:pt x="652159" y="55520"/>
                    <a:pt x="650422" y="61887"/>
                    <a:pt x="650422" y="69300"/>
                  </a:cubicBezTo>
                  <a:lnTo>
                    <a:pt x="608394" y="69300"/>
                  </a:lnTo>
                  <a:cubicBezTo>
                    <a:pt x="608394" y="55871"/>
                    <a:pt x="611916" y="43945"/>
                    <a:pt x="618992" y="33521"/>
                  </a:cubicBezTo>
                  <a:cubicBezTo>
                    <a:pt x="626050" y="23103"/>
                    <a:pt x="635670" y="14937"/>
                    <a:pt x="647810" y="9032"/>
                  </a:cubicBezTo>
                  <a:cubicBezTo>
                    <a:pt x="660092" y="3011"/>
                    <a:pt x="673866" y="0"/>
                    <a:pt x="689148" y="0"/>
                  </a:cubicBezTo>
                  <a:cubicBezTo>
                    <a:pt x="705480" y="0"/>
                    <a:pt x="719717" y="2724"/>
                    <a:pt x="731876" y="8161"/>
                  </a:cubicBezTo>
                  <a:cubicBezTo>
                    <a:pt x="744138" y="13487"/>
                    <a:pt x="753705" y="21479"/>
                    <a:pt x="760524" y="32130"/>
                  </a:cubicBezTo>
                  <a:cubicBezTo>
                    <a:pt x="767358" y="42782"/>
                    <a:pt x="770777" y="55982"/>
                    <a:pt x="770777" y="71731"/>
                  </a:cubicBezTo>
                  <a:cubicBezTo>
                    <a:pt x="770777" y="78910"/>
                    <a:pt x="769094" y="86206"/>
                    <a:pt x="765743" y="93614"/>
                  </a:cubicBezTo>
                  <a:cubicBezTo>
                    <a:pt x="762378" y="101026"/>
                    <a:pt x="757397" y="107797"/>
                    <a:pt x="750802" y="113935"/>
                  </a:cubicBezTo>
                  <a:cubicBezTo>
                    <a:pt x="744206" y="119956"/>
                    <a:pt x="735982" y="124873"/>
                    <a:pt x="726137" y="128696"/>
                  </a:cubicBezTo>
                  <a:cubicBezTo>
                    <a:pt x="716298" y="132403"/>
                    <a:pt x="704892" y="134256"/>
                    <a:pt x="691925" y="134256"/>
                  </a:cubicBezTo>
                  <a:lnTo>
                    <a:pt x="660495" y="134256"/>
                  </a:lnTo>
                  <a:lnTo>
                    <a:pt x="660495" y="110982"/>
                  </a:lnTo>
                  <a:close/>
                  <a:moveTo>
                    <a:pt x="660505" y="143643"/>
                  </a:moveTo>
                  <a:lnTo>
                    <a:pt x="660505" y="120715"/>
                  </a:lnTo>
                  <a:lnTo>
                    <a:pt x="691935" y="120715"/>
                  </a:lnTo>
                  <a:cubicBezTo>
                    <a:pt x="706755" y="120715"/>
                    <a:pt x="719381" y="122451"/>
                    <a:pt x="729790" y="125924"/>
                  </a:cubicBezTo>
                  <a:cubicBezTo>
                    <a:pt x="740335" y="129397"/>
                    <a:pt x="748905" y="134202"/>
                    <a:pt x="755500" y="140340"/>
                  </a:cubicBezTo>
                  <a:cubicBezTo>
                    <a:pt x="762095" y="146362"/>
                    <a:pt x="766906" y="153249"/>
                    <a:pt x="769911" y="161007"/>
                  </a:cubicBezTo>
                  <a:cubicBezTo>
                    <a:pt x="773039" y="168764"/>
                    <a:pt x="774600" y="176984"/>
                    <a:pt x="774600" y="185671"/>
                  </a:cubicBezTo>
                  <a:cubicBezTo>
                    <a:pt x="774600" y="197480"/>
                    <a:pt x="772470" y="208015"/>
                    <a:pt x="768175" y="217281"/>
                  </a:cubicBezTo>
                  <a:cubicBezTo>
                    <a:pt x="764016" y="226430"/>
                    <a:pt x="758044" y="234188"/>
                    <a:pt x="750296" y="240554"/>
                  </a:cubicBezTo>
                  <a:cubicBezTo>
                    <a:pt x="742533" y="246921"/>
                    <a:pt x="733447" y="251726"/>
                    <a:pt x="723024" y="254971"/>
                  </a:cubicBezTo>
                  <a:cubicBezTo>
                    <a:pt x="712718" y="258215"/>
                    <a:pt x="701487" y="259834"/>
                    <a:pt x="689328" y="259834"/>
                  </a:cubicBezTo>
                  <a:cubicBezTo>
                    <a:pt x="678457" y="259834"/>
                    <a:pt x="668029" y="258327"/>
                    <a:pt x="658068" y="255316"/>
                  </a:cubicBezTo>
                  <a:cubicBezTo>
                    <a:pt x="648107" y="252305"/>
                    <a:pt x="639192" y="247850"/>
                    <a:pt x="631327" y="241945"/>
                  </a:cubicBezTo>
                  <a:cubicBezTo>
                    <a:pt x="623443" y="235924"/>
                    <a:pt x="617193" y="228458"/>
                    <a:pt x="612572" y="219543"/>
                  </a:cubicBezTo>
                  <a:cubicBezTo>
                    <a:pt x="608054" y="210511"/>
                    <a:pt x="605787" y="200092"/>
                    <a:pt x="605787" y="188283"/>
                  </a:cubicBezTo>
                  <a:lnTo>
                    <a:pt x="647640" y="188283"/>
                  </a:lnTo>
                  <a:cubicBezTo>
                    <a:pt x="647640" y="195807"/>
                    <a:pt x="649377" y="202466"/>
                    <a:pt x="652859" y="208254"/>
                  </a:cubicBezTo>
                  <a:cubicBezTo>
                    <a:pt x="656449" y="213925"/>
                    <a:pt x="661429" y="218385"/>
                    <a:pt x="667786" y="221624"/>
                  </a:cubicBezTo>
                  <a:cubicBezTo>
                    <a:pt x="674279" y="224869"/>
                    <a:pt x="681682" y="226488"/>
                    <a:pt x="690028" y="226488"/>
                  </a:cubicBezTo>
                  <a:cubicBezTo>
                    <a:pt x="698822" y="226488"/>
                    <a:pt x="706415" y="224927"/>
                    <a:pt x="712767" y="221799"/>
                  </a:cubicBezTo>
                  <a:cubicBezTo>
                    <a:pt x="719138" y="218672"/>
                    <a:pt x="723997" y="214042"/>
                    <a:pt x="727363" y="207904"/>
                  </a:cubicBezTo>
                  <a:cubicBezTo>
                    <a:pt x="730831" y="201765"/>
                    <a:pt x="732567" y="194358"/>
                    <a:pt x="732567" y="185671"/>
                  </a:cubicBezTo>
                  <a:cubicBezTo>
                    <a:pt x="732567" y="175827"/>
                    <a:pt x="730660" y="167840"/>
                    <a:pt x="726847" y="161702"/>
                  </a:cubicBezTo>
                  <a:cubicBezTo>
                    <a:pt x="723019" y="155564"/>
                    <a:pt x="717572" y="151050"/>
                    <a:pt x="710515" y="148157"/>
                  </a:cubicBezTo>
                  <a:cubicBezTo>
                    <a:pt x="703457" y="145146"/>
                    <a:pt x="695111" y="143643"/>
                    <a:pt x="685510" y="143643"/>
                  </a:cubicBezTo>
                  <a:lnTo>
                    <a:pt x="660505" y="143643"/>
                  </a:lnTo>
                  <a:close/>
                </a:path>
              </a:pathLst>
            </a:custGeom>
            <a:solidFill>
              <a:srgbClr val="EE3431"/>
            </a:solidFill>
            <a:ln w="4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8" name="Полилиния: фигура 47">
              <a:extLst>
                <a:ext uri="{FF2B5EF4-FFF2-40B4-BE49-F238E27FC236}">
                  <a16:creationId xmlns:a16="http://schemas.microsoft.com/office/drawing/2014/main" id="{C3ADAD60-17B9-4A06-AE0E-BCB35AB4E7E8}"/>
                </a:ext>
              </a:extLst>
            </p:cNvPr>
            <p:cNvSpPr/>
            <p:nvPr/>
          </p:nvSpPr>
          <p:spPr>
            <a:xfrm>
              <a:off x="8902858" y="5870060"/>
              <a:ext cx="774600" cy="259829"/>
            </a:xfrm>
            <a:custGeom>
              <a:avLst/>
              <a:gdLst>
                <a:gd name="connsiteX0" fmla="*/ 174372 w 774600"/>
                <a:gd name="connsiteY0" fmla="*/ 223011 h 259829"/>
                <a:gd name="connsiteX1" fmla="*/ 174372 w 774600"/>
                <a:gd name="connsiteY1" fmla="*/ 256357 h 259829"/>
                <a:gd name="connsiteX2" fmla="*/ 4859 w 774600"/>
                <a:gd name="connsiteY2" fmla="*/ 256357 h 259829"/>
                <a:gd name="connsiteX3" fmla="*/ 4859 w 774600"/>
                <a:gd name="connsiteY3" fmla="*/ 227699 h 259829"/>
                <a:gd name="connsiteX4" fmla="*/ 87193 w 774600"/>
                <a:gd name="connsiteY4" fmla="*/ 137908 h 259829"/>
                <a:gd name="connsiteX5" fmla="*/ 108541 w 774600"/>
                <a:gd name="connsiteY5" fmla="*/ 111508 h 259829"/>
                <a:gd name="connsiteX6" fmla="*/ 119499 w 774600"/>
                <a:gd name="connsiteY6" fmla="*/ 91537 h 259829"/>
                <a:gd name="connsiteX7" fmla="*/ 122797 w 774600"/>
                <a:gd name="connsiteY7" fmla="*/ 73993 h 259829"/>
                <a:gd name="connsiteX8" fmla="*/ 118278 w 774600"/>
                <a:gd name="connsiteY8" fmla="*/ 52977 h 259829"/>
                <a:gd name="connsiteX9" fmla="*/ 105413 w 774600"/>
                <a:gd name="connsiteY9" fmla="*/ 38560 h 259829"/>
                <a:gd name="connsiteX10" fmla="*/ 84752 w 774600"/>
                <a:gd name="connsiteY10" fmla="*/ 33176 h 259829"/>
                <a:gd name="connsiteX11" fmla="*/ 61138 w 774600"/>
                <a:gd name="connsiteY11" fmla="*/ 39256 h 259829"/>
                <a:gd name="connsiteX12" fmla="*/ 46712 w 774600"/>
                <a:gd name="connsiteY12" fmla="*/ 56104 h 259829"/>
                <a:gd name="connsiteX13" fmla="*/ 41853 w 774600"/>
                <a:gd name="connsiteY13" fmla="*/ 80418 h 259829"/>
                <a:gd name="connsiteX14" fmla="*/ 0 w 774600"/>
                <a:gd name="connsiteY14" fmla="*/ 80418 h 259829"/>
                <a:gd name="connsiteX15" fmla="*/ 10083 w 774600"/>
                <a:gd name="connsiteY15" fmla="*/ 40126 h 259829"/>
                <a:gd name="connsiteX16" fmla="*/ 39261 w 774600"/>
                <a:gd name="connsiteY16" fmla="*/ 10948 h 259829"/>
                <a:gd name="connsiteX17" fmla="*/ 85272 w 774600"/>
                <a:gd name="connsiteY17" fmla="*/ 5 h 259829"/>
                <a:gd name="connsiteX18" fmla="*/ 128346 w 774600"/>
                <a:gd name="connsiteY18" fmla="*/ 8517 h 259829"/>
                <a:gd name="connsiteX19" fmla="*/ 155277 w 774600"/>
                <a:gd name="connsiteY19" fmla="*/ 32660 h 259829"/>
                <a:gd name="connsiteX20" fmla="*/ 164654 w 774600"/>
                <a:gd name="connsiteY20" fmla="*/ 69655 h 259829"/>
                <a:gd name="connsiteX21" fmla="*/ 160827 w 774600"/>
                <a:gd name="connsiteY21" fmla="*/ 93103 h 259829"/>
                <a:gd name="connsiteX22" fmla="*/ 149888 w 774600"/>
                <a:gd name="connsiteY22" fmla="*/ 116376 h 259829"/>
                <a:gd name="connsiteX23" fmla="*/ 133400 w 774600"/>
                <a:gd name="connsiteY23" fmla="*/ 139475 h 259829"/>
                <a:gd name="connsiteX24" fmla="*/ 112378 w 774600"/>
                <a:gd name="connsiteY24" fmla="*/ 162748 h 259829"/>
                <a:gd name="connsiteX25" fmla="*/ 57675 w 774600"/>
                <a:gd name="connsiteY25" fmla="*/ 223015 h 259829"/>
                <a:gd name="connsiteX26" fmla="*/ 174377 w 774600"/>
                <a:gd name="connsiteY26" fmla="*/ 223015 h 259829"/>
                <a:gd name="connsiteX27" fmla="*/ 371848 w 774600"/>
                <a:gd name="connsiteY27" fmla="*/ 108730 h 259829"/>
                <a:gd name="connsiteX28" fmla="*/ 371848 w 774600"/>
                <a:gd name="connsiteY28" fmla="*/ 150063 h 259829"/>
                <a:gd name="connsiteX29" fmla="*/ 365938 w 774600"/>
                <a:gd name="connsiteY29" fmla="*/ 200778 h 259829"/>
                <a:gd name="connsiteX30" fmla="*/ 349260 w 774600"/>
                <a:gd name="connsiteY30" fmla="*/ 234645 h 259829"/>
                <a:gd name="connsiteX31" fmla="*/ 323035 w 774600"/>
                <a:gd name="connsiteY31" fmla="*/ 253750 h 259829"/>
                <a:gd name="connsiteX32" fmla="*/ 289168 w 774600"/>
                <a:gd name="connsiteY32" fmla="*/ 259830 h 259829"/>
                <a:gd name="connsiteX33" fmla="*/ 261381 w 774600"/>
                <a:gd name="connsiteY33" fmla="*/ 256011 h 259829"/>
                <a:gd name="connsiteX34" fmla="*/ 238468 w 774600"/>
                <a:gd name="connsiteY34" fmla="*/ 244027 h 259829"/>
                <a:gd name="connsiteX35" fmla="*/ 220914 w 774600"/>
                <a:gd name="connsiteY35" fmla="*/ 223011 h 259829"/>
                <a:gd name="connsiteX36" fmla="*/ 209800 w 774600"/>
                <a:gd name="connsiteY36" fmla="*/ 191921 h 259829"/>
                <a:gd name="connsiteX37" fmla="*/ 205972 w 774600"/>
                <a:gd name="connsiteY37" fmla="*/ 150063 h 259829"/>
                <a:gd name="connsiteX38" fmla="*/ 205972 w 774600"/>
                <a:gd name="connsiteY38" fmla="*/ 108730 h 259829"/>
                <a:gd name="connsiteX39" fmla="*/ 211882 w 774600"/>
                <a:gd name="connsiteY39" fmla="*/ 58366 h 259829"/>
                <a:gd name="connsiteX40" fmla="*/ 228730 w 774600"/>
                <a:gd name="connsiteY40" fmla="*/ 24844 h 259829"/>
                <a:gd name="connsiteX41" fmla="*/ 254786 w 774600"/>
                <a:gd name="connsiteY41" fmla="*/ 5914 h 259829"/>
                <a:gd name="connsiteX42" fmla="*/ 288827 w 774600"/>
                <a:gd name="connsiteY42" fmla="*/ 10 h 259829"/>
                <a:gd name="connsiteX43" fmla="*/ 316614 w 774600"/>
                <a:gd name="connsiteY43" fmla="*/ 3833 h 259829"/>
                <a:gd name="connsiteX44" fmla="*/ 339542 w 774600"/>
                <a:gd name="connsiteY44" fmla="*/ 15467 h 259829"/>
                <a:gd name="connsiteX45" fmla="*/ 356906 w 774600"/>
                <a:gd name="connsiteY45" fmla="*/ 36308 h 259829"/>
                <a:gd name="connsiteX46" fmla="*/ 368020 w 774600"/>
                <a:gd name="connsiteY46" fmla="*/ 67048 h 259829"/>
                <a:gd name="connsiteX47" fmla="*/ 371848 w 774600"/>
                <a:gd name="connsiteY47" fmla="*/ 108730 h 259829"/>
                <a:gd name="connsiteX48" fmla="*/ 329995 w 774600"/>
                <a:gd name="connsiteY48" fmla="*/ 155968 h 259829"/>
                <a:gd name="connsiteX49" fmla="*/ 329995 w 774600"/>
                <a:gd name="connsiteY49" fmla="*/ 102476 h 259829"/>
                <a:gd name="connsiteX50" fmla="*/ 328258 w 774600"/>
                <a:gd name="connsiteY50" fmla="*/ 75905 h 259829"/>
                <a:gd name="connsiteX51" fmla="*/ 323039 w 774600"/>
                <a:gd name="connsiteY51" fmla="*/ 56279 h 259829"/>
                <a:gd name="connsiteX52" fmla="*/ 314708 w 774600"/>
                <a:gd name="connsiteY52" fmla="*/ 43079 h 259829"/>
                <a:gd name="connsiteX53" fmla="*/ 303234 w 774600"/>
                <a:gd name="connsiteY53" fmla="*/ 35613 h 259829"/>
                <a:gd name="connsiteX54" fmla="*/ 288823 w 774600"/>
                <a:gd name="connsiteY54" fmla="*/ 33181 h 259829"/>
                <a:gd name="connsiteX55" fmla="*/ 271459 w 774600"/>
                <a:gd name="connsiteY55" fmla="*/ 37004 h 259829"/>
                <a:gd name="connsiteX56" fmla="*/ 258613 w 774600"/>
                <a:gd name="connsiteY56" fmla="*/ 48813 h 259829"/>
                <a:gd name="connsiteX57" fmla="*/ 250608 w 774600"/>
                <a:gd name="connsiteY57" fmla="*/ 70350 h 259829"/>
                <a:gd name="connsiteX58" fmla="*/ 248015 w 774600"/>
                <a:gd name="connsiteY58" fmla="*/ 102480 h 259829"/>
                <a:gd name="connsiteX59" fmla="*/ 248015 w 774600"/>
                <a:gd name="connsiteY59" fmla="*/ 155973 h 259829"/>
                <a:gd name="connsiteX60" fmla="*/ 249752 w 774600"/>
                <a:gd name="connsiteY60" fmla="*/ 182894 h 259829"/>
                <a:gd name="connsiteX61" fmla="*/ 254956 w 774600"/>
                <a:gd name="connsiteY61" fmla="*/ 202865 h 259829"/>
                <a:gd name="connsiteX62" fmla="*/ 263302 w 774600"/>
                <a:gd name="connsiteY62" fmla="*/ 216410 h 259829"/>
                <a:gd name="connsiteX63" fmla="*/ 274756 w 774600"/>
                <a:gd name="connsiteY63" fmla="*/ 224051 h 259829"/>
                <a:gd name="connsiteX64" fmla="*/ 289168 w 774600"/>
                <a:gd name="connsiteY64" fmla="*/ 226483 h 259829"/>
                <a:gd name="connsiteX65" fmla="*/ 306721 w 774600"/>
                <a:gd name="connsiteY65" fmla="*/ 222660 h 259829"/>
                <a:gd name="connsiteX66" fmla="*/ 319567 w 774600"/>
                <a:gd name="connsiteY66" fmla="*/ 210501 h 259829"/>
                <a:gd name="connsiteX67" fmla="*/ 327383 w 774600"/>
                <a:gd name="connsiteY67" fmla="*/ 188443 h 259829"/>
                <a:gd name="connsiteX68" fmla="*/ 329995 w 774600"/>
                <a:gd name="connsiteY68" fmla="*/ 155963 h 259829"/>
                <a:gd name="connsiteX69" fmla="*/ 578701 w 774600"/>
                <a:gd name="connsiteY69" fmla="*/ 223006 h 259829"/>
                <a:gd name="connsiteX70" fmla="*/ 578701 w 774600"/>
                <a:gd name="connsiteY70" fmla="*/ 256352 h 259829"/>
                <a:gd name="connsiteX71" fmla="*/ 409187 w 774600"/>
                <a:gd name="connsiteY71" fmla="*/ 256352 h 259829"/>
                <a:gd name="connsiteX72" fmla="*/ 409187 w 774600"/>
                <a:gd name="connsiteY72" fmla="*/ 227694 h 259829"/>
                <a:gd name="connsiteX73" fmla="*/ 491507 w 774600"/>
                <a:gd name="connsiteY73" fmla="*/ 137904 h 259829"/>
                <a:gd name="connsiteX74" fmla="*/ 512874 w 774600"/>
                <a:gd name="connsiteY74" fmla="*/ 111503 h 259829"/>
                <a:gd name="connsiteX75" fmla="*/ 523813 w 774600"/>
                <a:gd name="connsiteY75" fmla="*/ 91532 h 259829"/>
                <a:gd name="connsiteX76" fmla="*/ 527110 w 774600"/>
                <a:gd name="connsiteY76" fmla="*/ 73988 h 259829"/>
                <a:gd name="connsiteX77" fmla="*/ 522592 w 774600"/>
                <a:gd name="connsiteY77" fmla="*/ 52972 h 259829"/>
                <a:gd name="connsiteX78" fmla="*/ 509746 w 774600"/>
                <a:gd name="connsiteY78" fmla="*/ 38555 h 259829"/>
                <a:gd name="connsiteX79" fmla="*/ 489085 w 774600"/>
                <a:gd name="connsiteY79" fmla="*/ 33171 h 259829"/>
                <a:gd name="connsiteX80" fmla="*/ 465452 w 774600"/>
                <a:gd name="connsiteY80" fmla="*/ 39251 h 259829"/>
                <a:gd name="connsiteX81" fmla="*/ 451040 w 774600"/>
                <a:gd name="connsiteY81" fmla="*/ 56099 h 259829"/>
                <a:gd name="connsiteX82" fmla="*/ 446181 w 774600"/>
                <a:gd name="connsiteY82" fmla="*/ 80413 h 259829"/>
                <a:gd name="connsiteX83" fmla="*/ 404328 w 774600"/>
                <a:gd name="connsiteY83" fmla="*/ 80413 h 259829"/>
                <a:gd name="connsiteX84" fmla="*/ 414391 w 774600"/>
                <a:gd name="connsiteY84" fmla="*/ 40122 h 259829"/>
                <a:gd name="connsiteX85" fmla="*/ 443569 w 774600"/>
                <a:gd name="connsiteY85" fmla="*/ 10944 h 259829"/>
                <a:gd name="connsiteX86" fmla="*/ 489596 w 774600"/>
                <a:gd name="connsiteY86" fmla="*/ 0 h 259829"/>
                <a:gd name="connsiteX87" fmla="*/ 532670 w 774600"/>
                <a:gd name="connsiteY87" fmla="*/ 8512 h 259829"/>
                <a:gd name="connsiteX88" fmla="*/ 559581 w 774600"/>
                <a:gd name="connsiteY88" fmla="*/ 32656 h 259829"/>
                <a:gd name="connsiteX89" fmla="*/ 568958 w 774600"/>
                <a:gd name="connsiteY89" fmla="*/ 69650 h 259829"/>
                <a:gd name="connsiteX90" fmla="*/ 565145 w 774600"/>
                <a:gd name="connsiteY90" fmla="*/ 93098 h 259829"/>
                <a:gd name="connsiteX91" fmla="*/ 554207 w 774600"/>
                <a:gd name="connsiteY91" fmla="*/ 116372 h 259829"/>
                <a:gd name="connsiteX92" fmla="*/ 537704 w 774600"/>
                <a:gd name="connsiteY92" fmla="*/ 139470 h 259829"/>
                <a:gd name="connsiteX93" fmla="*/ 516697 w 774600"/>
                <a:gd name="connsiteY93" fmla="*/ 162743 h 259829"/>
                <a:gd name="connsiteX94" fmla="*/ 461979 w 774600"/>
                <a:gd name="connsiteY94" fmla="*/ 223011 h 259829"/>
                <a:gd name="connsiteX95" fmla="*/ 578701 w 774600"/>
                <a:gd name="connsiteY95" fmla="*/ 223011 h 259829"/>
                <a:gd name="connsiteX96" fmla="*/ 660505 w 774600"/>
                <a:gd name="connsiteY96" fmla="*/ 110982 h 259829"/>
                <a:gd name="connsiteX97" fmla="*/ 685510 w 774600"/>
                <a:gd name="connsiteY97" fmla="*/ 110982 h 259829"/>
                <a:gd name="connsiteX98" fmla="*/ 709639 w 774600"/>
                <a:gd name="connsiteY98" fmla="*/ 105948 h 259829"/>
                <a:gd name="connsiteX99" fmla="*/ 724065 w 774600"/>
                <a:gd name="connsiteY99" fmla="*/ 92052 h 259829"/>
                <a:gd name="connsiteX100" fmla="*/ 728754 w 774600"/>
                <a:gd name="connsiteY100" fmla="*/ 71731 h 259829"/>
                <a:gd name="connsiteX101" fmla="*/ 724411 w 774600"/>
                <a:gd name="connsiteY101" fmla="*/ 51240 h 259829"/>
                <a:gd name="connsiteX102" fmla="*/ 711565 w 774600"/>
                <a:gd name="connsiteY102" fmla="*/ 37865 h 259829"/>
                <a:gd name="connsiteX103" fmla="*/ 689858 w 774600"/>
                <a:gd name="connsiteY103" fmla="*/ 33176 h 259829"/>
                <a:gd name="connsiteX104" fmla="*/ 669712 w 774600"/>
                <a:gd name="connsiteY104" fmla="*/ 37690 h 259829"/>
                <a:gd name="connsiteX105" fmla="*/ 655626 w 774600"/>
                <a:gd name="connsiteY105" fmla="*/ 50195 h 259829"/>
                <a:gd name="connsiteX106" fmla="*/ 650422 w 774600"/>
                <a:gd name="connsiteY106" fmla="*/ 69300 h 259829"/>
                <a:gd name="connsiteX107" fmla="*/ 608394 w 774600"/>
                <a:gd name="connsiteY107" fmla="*/ 69300 h 259829"/>
                <a:gd name="connsiteX108" fmla="*/ 618992 w 774600"/>
                <a:gd name="connsiteY108" fmla="*/ 33521 h 259829"/>
                <a:gd name="connsiteX109" fmla="*/ 647810 w 774600"/>
                <a:gd name="connsiteY109" fmla="*/ 9032 h 259829"/>
                <a:gd name="connsiteX110" fmla="*/ 689148 w 774600"/>
                <a:gd name="connsiteY110" fmla="*/ 0 h 259829"/>
                <a:gd name="connsiteX111" fmla="*/ 731876 w 774600"/>
                <a:gd name="connsiteY111" fmla="*/ 8161 h 259829"/>
                <a:gd name="connsiteX112" fmla="*/ 760524 w 774600"/>
                <a:gd name="connsiteY112" fmla="*/ 32130 h 259829"/>
                <a:gd name="connsiteX113" fmla="*/ 770777 w 774600"/>
                <a:gd name="connsiteY113" fmla="*/ 71727 h 259829"/>
                <a:gd name="connsiteX114" fmla="*/ 765743 w 774600"/>
                <a:gd name="connsiteY114" fmla="*/ 93609 h 259829"/>
                <a:gd name="connsiteX115" fmla="*/ 750802 w 774600"/>
                <a:gd name="connsiteY115" fmla="*/ 113930 h 259829"/>
                <a:gd name="connsiteX116" fmla="*/ 726137 w 774600"/>
                <a:gd name="connsiteY116" fmla="*/ 128692 h 259829"/>
                <a:gd name="connsiteX117" fmla="*/ 691925 w 774600"/>
                <a:gd name="connsiteY117" fmla="*/ 134251 h 259829"/>
                <a:gd name="connsiteX118" fmla="*/ 660495 w 774600"/>
                <a:gd name="connsiteY118" fmla="*/ 134251 h 259829"/>
                <a:gd name="connsiteX119" fmla="*/ 660495 w 774600"/>
                <a:gd name="connsiteY119" fmla="*/ 110978 h 259829"/>
                <a:gd name="connsiteX120" fmla="*/ 660505 w 774600"/>
                <a:gd name="connsiteY120" fmla="*/ 143633 h 259829"/>
                <a:gd name="connsiteX121" fmla="*/ 660505 w 774600"/>
                <a:gd name="connsiteY121" fmla="*/ 120705 h 259829"/>
                <a:gd name="connsiteX122" fmla="*/ 691935 w 774600"/>
                <a:gd name="connsiteY122" fmla="*/ 120705 h 259829"/>
                <a:gd name="connsiteX123" fmla="*/ 729790 w 774600"/>
                <a:gd name="connsiteY123" fmla="*/ 125914 h 259829"/>
                <a:gd name="connsiteX124" fmla="*/ 755500 w 774600"/>
                <a:gd name="connsiteY124" fmla="*/ 140331 h 259829"/>
                <a:gd name="connsiteX125" fmla="*/ 769911 w 774600"/>
                <a:gd name="connsiteY125" fmla="*/ 160997 h 259829"/>
                <a:gd name="connsiteX126" fmla="*/ 774600 w 774600"/>
                <a:gd name="connsiteY126" fmla="*/ 185661 h 259829"/>
                <a:gd name="connsiteX127" fmla="*/ 768175 w 774600"/>
                <a:gd name="connsiteY127" fmla="*/ 217271 h 259829"/>
                <a:gd name="connsiteX128" fmla="*/ 750296 w 774600"/>
                <a:gd name="connsiteY128" fmla="*/ 240545 h 259829"/>
                <a:gd name="connsiteX129" fmla="*/ 723024 w 774600"/>
                <a:gd name="connsiteY129" fmla="*/ 254961 h 259829"/>
                <a:gd name="connsiteX130" fmla="*/ 689328 w 774600"/>
                <a:gd name="connsiteY130" fmla="*/ 259825 h 259829"/>
                <a:gd name="connsiteX131" fmla="*/ 658068 w 774600"/>
                <a:gd name="connsiteY131" fmla="*/ 255311 h 259829"/>
                <a:gd name="connsiteX132" fmla="*/ 631327 w 774600"/>
                <a:gd name="connsiteY132" fmla="*/ 241940 h 259829"/>
                <a:gd name="connsiteX133" fmla="*/ 612572 w 774600"/>
                <a:gd name="connsiteY133" fmla="*/ 219538 h 259829"/>
                <a:gd name="connsiteX134" fmla="*/ 605787 w 774600"/>
                <a:gd name="connsiteY134" fmla="*/ 188273 h 259829"/>
                <a:gd name="connsiteX135" fmla="*/ 647640 w 774600"/>
                <a:gd name="connsiteY135" fmla="*/ 188273 h 259829"/>
                <a:gd name="connsiteX136" fmla="*/ 652859 w 774600"/>
                <a:gd name="connsiteY136" fmla="*/ 208249 h 259829"/>
                <a:gd name="connsiteX137" fmla="*/ 667786 w 774600"/>
                <a:gd name="connsiteY137" fmla="*/ 221619 h 259829"/>
                <a:gd name="connsiteX138" fmla="*/ 690028 w 774600"/>
                <a:gd name="connsiteY138" fmla="*/ 226483 h 259829"/>
                <a:gd name="connsiteX139" fmla="*/ 712767 w 774600"/>
                <a:gd name="connsiteY139" fmla="*/ 221795 h 259829"/>
                <a:gd name="connsiteX140" fmla="*/ 727363 w 774600"/>
                <a:gd name="connsiteY140" fmla="*/ 207899 h 259829"/>
                <a:gd name="connsiteX141" fmla="*/ 732567 w 774600"/>
                <a:gd name="connsiteY141" fmla="*/ 185671 h 259829"/>
                <a:gd name="connsiteX142" fmla="*/ 726847 w 774600"/>
                <a:gd name="connsiteY142" fmla="*/ 161702 h 259829"/>
                <a:gd name="connsiteX143" fmla="*/ 710515 w 774600"/>
                <a:gd name="connsiteY143" fmla="*/ 148157 h 259829"/>
                <a:gd name="connsiteX144" fmla="*/ 685510 w 774600"/>
                <a:gd name="connsiteY144" fmla="*/ 143643 h 259829"/>
                <a:gd name="connsiteX145" fmla="*/ 660505 w 774600"/>
                <a:gd name="connsiteY145" fmla="*/ 143643 h 2598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</a:cxnLst>
              <a:rect l="l" t="t" r="r" b="b"/>
              <a:pathLst>
                <a:path w="774600" h="259829">
                  <a:moveTo>
                    <a:pt x="174372" y="223011"/>
                  </a:moveTo>
                  <a:lnTo>
                    <a:pt x="174372" y="256357"/>
                  </a:lnTo>
                  <a:lnTo>
                    <a:pt x="4859" y="256357"/>
                  </a:lnTo>
                  <a:lnTo>
                    <a:pt x="4859" y="227699"/>
                  </a:lnTo>
                  <a:lnTo>
                    <a:pt x="87193" y="137908"/>
                  </a:lnTo>
                  <a:cubicBezTo>
                    <a:pt x="96211" y="127719"/>
                    <a:pt x="103336" y="118920"/>
                    <a:pt x="108541" y="111508"/>
                  </a:cubicBezTo>
                  <a:cubicBezTo>
                    <a:pt x="113760" y="104095"/>
                    <a:pt x="117403" y="97442"/>
                    <a:pt x="119499" y="91537"/>
                  </a:cubicBezTo>
                  <a:cubicBezTo>
                    <a:pt x="121697" y="85516"/>
                    <a:pt x="122797" y="79669"/>
                    <a:pt x="122797" y="73993"/>
                  </a:cubicBezTo>
                  <a:cubicBezTo>
                    <a:pt x="122797" y="66002"/>
                    <a:pt x="121284" y="58998"/>
                    <a:pt x="118278" y="52977"/>
                  </a:cubicBezTo>
                  <a:cubicBezTo>
                    <a:pt x="115374" y="46838"/>
                    <a:pt x="111099" y="42033"/>
                    <a:pt x="105413" y="38560"/>
                  </a:cubicBezTo>
                  <a:cubicBezTo>
                    <a:pt x="99747" y="34971"/>
                    <a:pt x="92860" y="33176"/>
                    <a:pt x="84752" y="33176"/>
                  </a:cubicBezTo>
                  <a:cubicBezTo>
                    <a:pt x="75374" y="33176"/>
                    <a:pt x="67510" y="35204"/>
                    <a:pt x="61138" y="39256"/>
                  </a:cubicBezTo>
                  <a:cubicBezTo>
                    <a:pt x="54766" y="43307"/>
                    <a:pt x="49956" y="48925"/>
                    <a:pt x="46712" y="56104"/>
                  </a:cubicBezTo>
                  <a:cubicBezTo>
                    <a:pt x="43482" y="63166"/>
                    <a:pt x="41853" y="71274"/>
                    <a:pt x="41853" y="80418"/>
                  </a:cubicBezTo>
                  <a:lnTo>
                    <a:pt x="0" y="80418"/>
                  </a:lnTo>
                  <a:cubicBezTo>
                    <a:pt x="0" y="65715"/>
                    <a:pt x="3366" y="52281"/>
                    <a:pt x="10083" y="40126"/>
                  </a:cubicBezTo>
                  <a:cubicBezTo>
                    <a:pt x="16800" y="27855"/>
                    <a:pt x="26517" y="18127"/>
                    <a:pt x="39261" y="10948"/>
                  </a:cubicBezTo>
                  <a:cubicBezTo>
                    <a:pt x="51989" y="3653"/>
                    <a:pt x="67325" y="5"/>
                    <a:pt x="85272" y="5"/>
                  </a:cubicBezTo>
                  <a:cubicBezTo>
                    <a:pt x="102189" y="5"/>
                    <a:pt x="116546" y="2840"/>
                    <a:pt x="128346" y="8517"/>
                  </a:cubicBezTo>
                  <a:cubicBezTo>
                    <a:pt x="140160" y="14193"/>
                    <a:pt x="149129" y="22237"/>
                    <a:pt x="155277" y="32660"/>
                  </a:cubicBezTo>
                  <a:cubicBezTo>
                    <a:pt x="161527" y="43079"/>
                    <a:pt x="164654" y="55413"/>
                    <a:pt x="164654" y="69655"/>
                  </a:cubicBezTo>
                  <a:cubicBezTo>
                    <a:pt x="164654" y="77529"/>
                    <a:pt x="163385" y="85345"/>
                    <a:pt x="160827" y="93103"/>
                  </a:cubicBezTo>
                  <a:cubicBezTo>
                    <a:pt x="158283" y="100861"/>
                    <a:pt x="154645" y="108619"/>
                    <a:pt x="149888" y="116376"/>
                  </a:cubicBezTo>
                  <a:cubicBezTo>
                    <a:pt x="145267" y="124017"/>
                    <a:pt x="139757" y="131717"/>
                    <a:pt x="133400" y="139475"/>
                  </a:cubicBezTo>
                  <a:cubicBezTo>
                    <a:pt x="127028" y="147116"/>
                    <a:pt x="120019" y="154873"/>
                    <a:pt x="112378" y="162748"/>
                  </a:cubicBezTo>
                  <a:lnTo>
                    <a:pt x="57675" y="223015"/>
                  </a:lnTo>
                  <a:lnTo>
                    <a:pt x="174377" y="223015"/>
                  </a:lnTo>
                  <a:close/>
                  <a:moveTo>
                    <a:pt x="371848" y="108730"/>
                  </a:moveTo>
                  <a:lnTo>
                    <a:pt x="371848" y="150063"/>
                  </a:lnTo>
                  <a:cubicBezTo>
                    <a:pt x="371848" y="169864"/>
                    <a:pt x="369873" y="186765"/>
                    <a:pt x="365938" y="200778"/>
                  </a:cubicBezTo>
                  <a:cubicBezTo>
                    <a:pt x="362125" y="214674"/>
                    <a:pt x="356561" y="225963"/>
                    <a:pt x="349260" y="234645"/>
                  </a:cubicBezTo>
                  <a:cubicBezTo>
                    <a:pt x="341960" y="243327"/>
                    <a:pt x="333219" y="249698"/>
                    <a:pt x="323035" y="253750"/>
                  </a:cubicBezTo>
                  <a:cubicBezTo>
                    <a:pt x="312971" y="257801"/>
                    <a:pt x="301668" y="259830"/>
                    <a:pt x="289168" y="259830"/>
                  </a:cubicBezTo>
                  <a:cubicBezTo>
                    <a:pt x="279221" y="259830"/>
                    <a:pt x="269951" y="258555"/>
                    <a:pt x="261381" y="256011"/>
                  </a:cubicBezTo>
                  <a:cubicBezTo>
                    <a:pt x="252933" y="253463"/>
                    <a:pt x="245287" y="249470"/>
                    <a:pt x="238468" y="244027"/>
                  </a:cubicBezTo>
                  <a:cubicBezTo>
                    <a:pt x="231634" y="238584"/>
                    <a:pt x="225773" y="231581"/>
                    <a:pt x="220914" y="223011"/>
                  </a:cubicBezTo>
                  <a:cubicBezTo>
                    <a:pt x="216172" y="214329"/>
                    <a:pt x="212466" y="203964"/>
                    <a:pt x="209800" y="191921"/>
                  </a:cubicBezTo>
                  <a:cubicBezTo>
                    <a:pt x="207256" y="179878"/>
                    <a:pt x="205972" y="165929"/>
                    <a:pt x="205972" y="150063"/>
                  </a:cubicBezTo>
                  <a:lnTo>
                    <a:pt x="205972" y="108730"/>
                  </a:lnTo>
                  <a:cubicBezTo>
                    <a:pt x="205972" y="88813"/>
                    <a:pt x="207947" y="72028"/>
                    <a:pt x="211882" y="58366"/>
                  </a:cubicBezTo>
                  <a:cubicBezTo>
                    <a:pt x="215831" y="44587"/>
                    <a:pt x="221430" y="33414"/>
                    <a:pt x="228730" y="24844"/>
                  </a:cubicBezTo>
                  <a:cubicBezTo>
                    <a:pt x="236031" y="16162"/>
                    <a:pt x="244722" y="9849"/>
                    <a:pt x="254786" y="5914"/>
                  </a:cubicBezTo>
                  <a:cubicBezTo>
                    <a:pt x="264970" y="1975"/>
                    <a:pt x="276323" y="10"/>
                    <a:pt x="288827" y="10"/>
                  </a:cubicBezTo>
                  <a:cubicBezTo>
                    <a:pt x="298910" y="10"/>
                    <a:pt x="308166" y="1284"/>
                    <a:pt x="316614" y="3833"/>
                  </a:cubicBezTo>
                  <a:cubicBezTo>
                    <a:pt x="325184" y="6265"/>
                    <a:pt x="332825" y="10141"/>
                    <a:pt x="339542" y="15467"/>
                  </a:cubicBezTo>
                  <a:cubicBezTo>
                    <a:pt x="346376" y="20793"/>
                    <a:pt x="352164" y="27738"/>
                    <a:pt x="356906" y="36308"/>
                  </a:cubicBezTo>
                  <a:cubicBezTo>
                    <a:pt x="361765" y="44762"/>
                    <a:pt x="365476" y="55010"/>
                    <a:pt x="368020" y="67048"/>
                  </a:cubicBezTo>
                  <a:cubicBezTo>
                    <a:pt x="370578" y="78974"/>
                    <a:pt x="371848" y="92870"/>
                    <a:pt x="371848" y="108730"/>
                  </a:cubicBezTo>
                  <a:close/>
                  <a:moveTo>
                    <a:pt x="329995" y="155968"/>
                  </a:moveTo>
                  <a:lnTo>
                    <a:pt x="329995" y="102476"/>
                  </a:lnTo>
                  <a:cubicBezTo>
                    <a:pt x="329995" y="92403"/>
                    <a:pt x="329411" y="83546"/>
                    <a:pt x="328258" y="75905"/>
                  </a:cubicBezTo>
                  <a:cubicBezTo>
                    <a:pt x="327091" y="68147"/>
                    <a:pt x="325355" y="61605"/>
                    <a:pt x="323039" y="56279"/>
                  </a:cubicBezTo>
                  <a:cubicBezTo>
                    <a:pt x="320841" y="50837"/>
                    <a:pt x="318059" y="46440"/>
                    <a:pt x="314708" y="43079"/>
                  </a:cubicBezTo>
                  <a:cubicBezTo>
                    <a:pt x="311342" y="39606"/>
                    <a:pt x="307529" y="37116"/>
                    <a:pt x="303234" y="35613"/>
                  </a:cubicBezTo>
                  <a:cubicBezTo>
                    <a:pt x="298959" y="33993"/>
                    <a:pt x="294148" y="33181"/>
                    <a:pt x="288823" y="33181"/>
                  </a:cubicBezTo>
                  <a:cubicBezTo>
                    <a:pt x="282349" y="33181"/>
                    <a:pt x="276542" y="34455"/>
                    <a:pt x="271459" y="37004"/>
                  </a:cubicBezTo>
                  <a:cubicBezTo>
                    <a:pt x="266357" y="39436"/>
                    <a:pt x="262081" y="43371"/>
                    <a:pt x="258613" y="48813"/>
                  </a:cubicBezTo>
                  <a:cubicBezTo>
                    <a:pt x="255126" y="54256"/>
                    <a:pt x="252466" y="61435"/>
                    <a:pt x="250608" y="70350"/>
                  </a:cubicBezTo>
                  <a:cubicBezTo>
                    <a:pt x="248871" y="79149"/>
                    <a:pt x="248015" y="89859"/>
                    <a:pt x="248015" y="102480"/>
                  </a:cubicBezTo>
                  <a:lnTo>
                    <a:pt x="248015" y="155973"/>
                  </a:lnTo>
                  <a:cubicBezTo>
                    <a:pt x="248015" y="166162"/>
                    <a:pt x="248584" y="175136"/>
                    <a:pt x="249752" y="182894"/>
                  </a:cubicBezTo>
                  <a:cubicBezTo>
                    <a:pt x="250904" y="190652"/>
                    <a:pt x="252636" y="197310"/>
                    <a:pt x="254956" y="202865"/>
                  </a:cubicBezTo>
                  <a:cubicBezTo>
                    <a:pt x="257276" y="208307"/>
                    <a:pt x="260058" y="212821"/>
                    <a:pt x="263302" y="216410"/>
                  </a:cubicBezTo>
                  <a:cubicBezTo>
                    <a:pt x="266653" y="219883"/>
                    <a:pt x="270481" y="222432"/>
                    <a:pt x="274756" y="224051"/>
                  </a:cubicBezTo>
                  <a:cubicBezTo>
                    <a:pt x="279153" y="225671"/>
                    <a:pt x="283964" y="226483"/>
                    <a:pt x="289168" y="226483"/>
                  </a:cubicBezTo>
                  <a:cubicBezTo>
                    <a:pt x="295778" y="226483"/>
                    <a:pt x="301619" y="225209"/>
                    <a:pt x="306721" y="222660"/>
                  </a:cubicBezTo>
                  <a:cubicBezTo>
                    <a:pt x="311804" y="220112"/>
                    <a:pt x="316099" y="216060"/>
                    <a:pt x="319567" y="210501"/>
                  </a:cubicBezTo>
                  <a:cubicBezTo>
                    <a:pt x="323035" y="204830"/>
                    <a:pt x="325646" y="197476"/>
                    <a:pt x="327383" y="188443"/>
                  </a:cubicBezTo>
                  <a:cubicBezTo>
                    <a:pt x="329119" y="179411"/>
                    <a:pt x="329995" y="168585"/>
                    <a:pt x="329995" y="155963"/>
                  </a:cubicBezTo>
                  <a:close/>
                  <a:moveTo>
                    <a:pt x="578701" y="223006"/>
                  </a:moveTo>
                  <a:lnTo>
                    <a:pt x="578701" y="256352"/>
                  </a:lnTo>
                  <a:lnTo>
                    <a:pt x="409187" y="256352"/>
                  </a:lnTo>
                  <a:lnTo>
                    <a:pt x="409187" y="227694"/>
                  </a:lnTo>
                  <a:lnTo>
                    <a:pt x="491507" y="137904"/>
                  </a:lnTo>
                  <a:cubicBezTo>
                    <a:pt x="500539" y="127714"/>
                    <a:pt x="507670" y="118915"/>
                    <a:pt x="512874" y="111503"/>
                  </a:cubicBezTo>
                  <a:cubicBezTo>
                    <a:pt x="518078" y="104090"/>
                    <a:pt x="521736" y="97437"/>
                    <a:pt x="523813" y="91532"/>
                  </a:cubicBezTo>
                  <a:cubicBezTo>
                    <a:pt x="526011" y="85511"/>
                    <a:pt x="527110" y="79664"/>
                    <a:pt x="527110" y="73988"/>
                  </a:cubicBezTo>
                  <a:cubicBezTo>
                    <a:pt x="527110" y="65997"/>
                    <a:pt x="525617" y="58993"/>
                    <a:pt x="522592" y="52972"/>
                  </a:cubicBezTo>
                  <a:cubicBezTo>
                    <a:pt x="519708" y="46834"/>
                    <a:pt x="515413" y="42028"/>
                    <a:pt x="509746" y="38555"/>
                  </a:cubicBezTo>
                  <a:cubicBezTo>
                    <a:pt x="504080" y="34966"/>
                    <a:pt x="497193" y="33171"/>
                    <a:pt x="489085" y="33171"/>
                  </a:cubicBezTo>
                  <a:cubicBezTo>
                    <a:pt x="479708" y="33171"/>
                    <a:pt x="471823" y="35199"/>
                    <a:pt x="465452" y="39251"/>
                  </a:cubicBezTo>
                  <a:cubicBezTo>
                    <a:pt x="459095" y="43302"/>
                    <a:pt x="454289" y="48920"/>
                    <a:pt x="451040" y="56099"/>
                  </a:cubicBezTo>
                  <a:cubicBezTo>
                    <a:pt x="447796" y="63161"/>
                    <a:pt x="446181" y="71269"/>
                    <a:pt x="446181" y="80413"/>
                  </a:cubicBezTo>
                  <a:lnTo>
                    <a:pt x="404328" y="80413"/>
                  </a:lnTo>
                  <a:cubicBezTo>
                    <a:pt x="404328" y="65710"/>
                    <a:pt x="407679" y="52276"/>
                    <a:pt x="414391" y="40122"/>
                  </a:cubicBezTo>
                  <a:cubicBezTo>
                    <a:pt x="421108" y="27850"/>
                    <a:pt x="430846" y="18123"/>
                    <a:pt x="443569" y="10944"/>
                  </a:cubicBezTo>
                  <a:cubicBezTo>
                    <a:pt x="456313" y="3648"/>
                    <a:pt x="471648" y="0"/>
                    <a:pt x="489596" y="0"/>
                  </a:cubicBezTo>
                  <a:cubicBezTo>
                    <a:pt x="506497" y="0"/>
                    <a:pt x="520855" y="2836"/>
                    <a:pt x="532670" y="8512"/>
                  </a:cubicBezTo>
                  <a:cubicBezTo>
                    <a:pt x="544484" y="14188"/>
                    <a:pt x="553453" y="22232"/>
                    <a:pt x="559581" y="32656"/>
                  </a:cubicBezTo>
                  <a:cubicBezTo>
                    <a:pt x="565831" y="43074"/>
                    <a:pt x="568958" y="55409"/>
                    <a:pt x="568958" y="69650"/>
                  </a:cubicBezTo>
                  <a:cubicBezTo>
                    <a:pt x="568958" y="77524"/>
                    <a:pt x="567689" y="85340"/>
                    <a:pt x="565145" y="93098"/>
                  </a:cubicBezTo>
                  <a:cubicBezTo>
                    <a:pt x="562601" y="100856"/>
                    <a:pt x="558944" y="108614"/>
                    <a:pt x="554207" y="116372"/>
                  </a:cubicBezTo>
                  <a:cubicBezTo>
                    <a:pt x="549571" y="124013"/>
                    <a:pt x="544075" y="131712"/>
                    <a:pt x="537704" y="139470"/>
                  </a:cubicBezTo>
                  <a:cubicBezTo>
                    <a:pt x="531332" y="147111"/>
                    <a:pt x="524323" y="154869"/>
                    <a:pt x="516697" y="162743"/>
                  </a:cubicBezTo>
                  <a:lnTo>
                    <a:pt x="461979" y="223011"/>
                  </a:lnTo>
                  <a:lnTo>
                    <a:pt x="578701" y="223011"/>
                  </a:lnTo>
                  <a:close/>
                  <a:moveTo>
                    <a:pt x="660505" y="110982"/>
                  </a:moveTo>
                  <a:lnTo>
                    <a:pt x="685510" y="110982"/>
                  </a:lnTo>
                  <a:cubicBezTo>
                    <a:pt x="695233" y="110982"/>
                    <a:pt x="703287" y="109304"/>
                    <a:pt x="709639" y="105948"/>
                  </a:cubicBezTo>
                  <a:cubicBezTo>
                    <a:pt x="716132" y="102592"/>
                    <a:pt x="720943" y="97957"/>
                    <a:pt x="724065" y="92052"/>
                  </a:cubicBezTo>
                  <a:cubicBezTo>
                    <a:pt x="727193" y="86148"/>
                    <a:pt x="728754" y="79373"/>
                    <a:pt x="728754" y="71731"/>
                  </a:cubicBezTo>
                  <a:cubicBezTo>
                    <a:pt x="728754" y="64090"/>
                    <a:pt x="727295" y="56911"/>
                    <a:pt x="724411" y="51240"/>
                  </a:cubicBezTo>
                  <a:cubicBezTo>
                    <a:pt x="721628" y="45452"/>
                    <a:pt x="717353" y="40992"/>
                    <a:pt x="711565" y="37865"/>
                  </a:cubicBezTo>
                  <a:cubicBezTo>
                    <a:pt x="705879" y="34737"/>
                    <a:pt x="698652" y="33176"/>
                    <a:pt x="689858" y="33176"/>
                  </a:cubicBezTo>
                  <a:cubicBezTo>
                    <a:pt x="682441" y="33176"/>
                    <a:pt x="675724" y="34679"/>
                    <a:pt x="669712" y="37690"/>
                  </a:cubicBezTo>
                  <a:cubicBezTo>
                    <a:pt x="663803" y="40584"/>
                    <a:pt x="659114" y="44752"/>
                    <a:pt x="655626" y="50195"/>
                  </a:cubicBezTo>
                  <a:cubicBezTo>
                    <a:pt x="652159" y="55520"/>
                    <a:pt x="650422" y="61887"/>
                    <a:pt x="650422" y="69300"/>
                  </a:cubicBezTo>
                  <a:lnTo>
                    <a:pt x="608394" y="69300"/>
                  </a:lnTo>
                  <a:cubicBezTo>
                    <a:pt x="608394" y="55866"/>
                    <a:pt x="611916" y="43945"/>
                    <a:pt x="618992" y="33521"/>
                  </a:cubicBezTo>
                  <a:cubicBezTo>
                    <a:pt x="626050" y="23103"/>
                    <a:pt x="635670" y="14937"/>
                    <a:pt x="647810" y="9032"/>
                  </a:cubicBezTo>
                  <a:cubicBezTo>
                    <a:pt x="660092" y="3011"/>
                    <a:pt x="673866" y="0"/>
                    <a:pt x="689148" y="0"/>
                  </a:cubicBezTo>
                  <a:cubicBezTo>
                    <a:pt x="705480" y="0"/>
                    <a:pt x="719717" y="2724"/>
                    <a:pt x="731876" y="8161"/>
                  </a:cubicBezTo>
                  <a:cubicBezTo>
                    <a:pt x="744138" y="13487"/>
                    <a:pt x="753705" y="21479"/>
                    <a:pt x="760524" y="32130"/>
                  </a:cubicBezTo>
                  <a:cubicBezTo>
                    <a:pt x="767358" y="42782"/>
                    <a:pt x="770777" y="55982"/>
                    <a:pt x="770777" y="71727"/>
                  </a:cubicBezTo>
                  <a:cubicBezTo>
                    <a:pt x="770777" y="78906"/>
                    <a:pt x="769094" y="86201"/>
                    <a:pt x="765743" y="93609"/>
                  </a:cubicBezTo>
                  <a:cubicBezTo>
                    <a:pt x="762378" y="101021"/>
                    <a:pt x="757397" y="107792"/>
                    <a:pt x="750802" y="113930"/>
                  </a:cubicBezTo>
                  <a:cubicBezTo>
                    <a:pt x="744206" y="119951"/>
                    <a:pt x="735982" y="124869"/>
                    <a:pt x="726137" y="128692"/>
                  </a:cubicBezTo>
                  <a:cubicBezTo>
                    <a:pt x="716298" y="132398"/>
                    <a:pt x="704892" y="134251"/>
                    <a:pt x="691925" y="134251"/>
                  </a:cubicBezTo>
                  <a:lnTo>
                    <a:pt x="660495" y="134251"/>
                  </a:lnTo>
                  <a:lnTo>
                    <a:pt x="660495" y="110978"/>
                  </a:lnTo>
                  <a:close/>
                  <a:moveTo>
                    <a:pt x="660505" y="143633"/>
                  </a:moveTo>
                  <a:lnTo>
                    <a:pt x="660505" y="120705"/>
                  </a:lnTo>
                  <a:lnTo>
                    <a:pt x="691935" y="120705"/>
                  </a:lnTo>
                  <a:cubicBezTo>
                    <a:pt x="706755" y="120705"/>
                    <a:pt x="719381" y="122442"/>
                    <a:pt x="729790" y="125914"/>
                  </a:cubicBezTo>
                  <a:cubicBezTo>
                    <a:pt x="740335" y="129387"/>
                    <a:pt x="748905" y="134193"/>
                    <a:pt x="755500" y="140331"/>
                  </a:cubicBezTo>
                  <a:cubicBezTo>
                    <a:pt x="762095" y="146352"/>
                    <a:pt x="766906" y="153239"/>
                    <a:pt x="769911" y="160997"/>
                  </a:cubicBezTo>
                  <a:cubicBezTo>
                    <a:pt x="773039" y="168755"/>
                    <a:pt x="774600" y="176975"/>
                    <a:pt x="774600" y="185661"/>
                  </a:cubicBezTo>
                  <a:cubicBezTo>
                    <a:pt x="774600" y="197471"/>
                    <a:pt x="772470" y="208006"/>
                    <a:pt x="768175" y="217271"/>
                  </a:cubicBezTo>
                  <a:cubicBezTo>
                    <a:pt x="764016" y="226420"/>
                    <a:pt x="758044" y="234178"/>
                    <a:pt x="750296" y="240545"/>
                  </a:cubicBezTo>
                  <a:cubicBezTo>
                    <a:pt x="742533" y="246911"/>
                    <a:pt x="733447" y="251717"/>
                    <a:pt x="723024" y="254961"/>
                  </a:cubicBezTo>
                  <a:cubicBezTo>
                    <a:pt x="712718" y="258205"/>
                    <a:pt x="701487" y="259825"/>
                    <a:pt x="689328" y="259825"/>
                  </a:cubicBezTo>
                  <a:cubicBezTo>
                    <a:pt x="678457" y="259825"/>
                    <a:pt x="668029" y="258322"/>
                    <a:pt x="658068" y="255311"/>
                  </a:cubicBezTo>
                  <a:cubicBezTo>
                    <a:pt x="648107" y="252300"/>
                    <a:pt x="639192" y="247845"/>
                    <a:pt x="631327" y="241940"/>
                  </a:cubicBezTo>
                  <a:cubicBezTo>
                    <a:pt x="623443" y="235919"/>
                    <a:pt x="617193" y="228453"/>
                    <a:pt x="612572" y="219538"/>
                  </a:cubicBezTo>
                  <a:cubicBezTo>
                    <a:pt x="608054" y="210506"/>
                    <a:pt x="605787" y="200087"/>
                    <a:pt x="605787" y="188273"/>
                  </a:cubicBezTo>
                  <a:lnTo>
                    <a:pt x="647640" y="188273"/>
                  </a:lnTo>
                  <a:cubicBezTo>
                    <a:pt x="647640" y="195802"/>
                    <a:pt x="649377" y="202456"/>
                    <a:pt x="652859" y="208249"/>
                  </a:cubicBezTo>
                  <a:cubicBezTo>
                    <a:pt x="656449" y="213920"/>
                    <a:pt x="661429" y="218380"/>
                    <a:pt x="667786" y="221619"/>
                  </a:cubicBezTo>
                  <a:cubicBezTo>
                    <a:pt x="674279" y="224864"/>
                    <a:pt x="681682" y="226483"/>
                    <a:pt x="690028" y="226483"/>
                  </a:cubicBezTo>
                  <a:cubicBezTo>
                    <a:pt x="698822" y="226483"/>
                    <a:pt x="706415" y="224922"/>
                    <a:pt x="712767" y="221795"/>
                  </a:cubicBezTo>
                  <a:cubicBezTo>
                    <a:pt x="719138" y="218667"/>
                    <a:pt x="723997" y="214037"/>
                    <a:pt x="727363" y="207899"/>
                  </a:cubicBezTo>
                  <a:cubicBezTo>
                    <a:pt x="730831" y="201761"/>
                    <a:pt x="732567" y="194353"/>
                    <a:pt x="732567" y="185671"/>
                  </a:cubicBezTo>
                  <a:cubicBezTo>
                    <a:pt x="732567" y="175827"/>
                    <a:pt x="730660" y="167840"/>
                    <a:pt x="726847" y="161702"/>
                  </a:cubicBezTo>
                  <a:cubicBezTo>
                    <a:pt x="723019" y="155564"/>
                    <a:pt x="717572" y="151050"/>
                    <a:pt x="710515" y="148157"/>
                  </a:cubicBezTo>
                  <a:cubicBezTo>
                    <a:pt x="703457" y="145146"/>
                    <a:pt x="695111" y="143643"/>
                    <a:pt x="685510" y="143643"/>
                  </a:cubicBezTo>
                  <a:lnTo>
                    <a:pt x="660505" y="143643"/>
                  </a:lnTo>
                  <a:close/>
                </a:path>
              </a:pathLst>
            </a:custGeom>
            <a:solidFill>
              <a:schemeClr val="tx1"/>
            </a:solidFill>
            <a:ln w="4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pic>
        <p:nvPicPr>
          <p:cNvPr id="490" name="Рисунок 489">
            <a:extLst>
              <a:ext uri="{FF2B5EF4-FFF2-40B4-BE49-F238E27FC236}">
                <a16:creationId xmlns:a16="http://schemas.microsoft.com/office/drawing/2014/main" id="{557D88AA-3129-4422-9857-1A0C70B16BD4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503721" y="6049020"/>
            <a:ext cx="1688608" cy="472507"/>
          </a:xfrm>
          <a:prstGeom prst="rect">
            <a:avLst/>
          </a:prstGeom>
        </p:spPr>
      </p:pic>
      <p:grpSp>
        <p:nvGrpSpPr>
          <p:cNvPr id="2" name="Группа 1">
            <a:extLst>
              <a:ext uri="{FF2B5EF4-FFF2-40B4-BE49-F238E27FC236}">
                <a16:creationId xmlns:a16="http://schemas.microsoft.com/office/drawing/2014/main" id="{4F652F82-8A39-4C4E-8770-D541411648C7}"/>
              </a:ext>
            </a:extLst>
          </p:cNvPr>
          <p:cNvGrpSpPr/>
          <p:nvPr/>
        </p:nvGrpSpPr>
        <p:grpSpPr>
          <a:xfrm>
            <a:off x="1700180" y="1386686"/>
            <a:ext cx="3943493" cy="4202577"/>
            <a:chOff x="1700180" y="1386686"/>
            <a:chExt cx="3943493" cy="4202577"/>
          </a:xfrm>
        </p:grpSpPr>
        <p:pic>
          <p:nvPicPr>
            <p:cNvPr id="812" name="Рисунок 811">
              <a:extLst>
                <a:ext uri="{FF2B5EF4-FFF2-40B4-BE49-F238E27FC236}">
                  <a16:creationId xmlns:a16="http://schemas.microsoft.com/office/drawing/2014/main" id="{3DACA9E6-CAE7-4CA0-8CE8-22992DE199E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/>
            <a:srcRect t="-341" b="44341"/>
            <a:stretch/>
          </p:blipFill>
          <p:spPr>
            <a:xfrm>
              <a:off x="2084427" y="1386686"/>
              <a:ext cx="3175001" cy="2667000"/>
            </a:xfrm>
            <a:custGeom>
              <a:avLst/>
              <a:gdLst>
                <a:gd name="connsiteX0" fmla="*/ 254005 w 3175001"/>
                <a:gd name="connsiteY0" fmla="*/ 0 h 2667000"/>
                <a:gd name="connsiteX1" fmla="*/ 2920996 w 3175001"/>
                <a:gd name="connsiteY1" fmla="*/ 0 h 2667000"/>
                <a:gd name="connsiteX2" fmla="*/ 3175001 w 3175001"/>
                <a:gd name="connsiteY2" fmla="*/ 254005 h 2667000"/>
                <a:gd name="connsiteX3" fmla="*/ 3175001 w 3175001"/>
                <a:gd name="connsiteY3" fmla="*/ 2412995 h 2667000"/>
                <a:gd name="connsiteX4" fmla="*/ 2920996 w 3175001"/>
                <a:gd name="connsiteY4" fmla="*/ 2667000 h 2667000"/>
                <a:gd name="connsiteX5" fmla="*/ 254005 w 3175001"/>
                <a:gd name="connsiteY5" fmla="*/ 2667000 h 2667000"/>
                <a:gd name="connsiteX6" fmla="*/ 0 w 3175001"/>
                <a:gd name="connsiteY6" fmla="*/ 2412995 h 2667000"/>
                <a:gd name="connsiteX7" fmla="*/ 0 w 3175001"/>
                <a:gd name="connsiteY7" fmla="*/ 254005 h 2667000"/>
                <a:gd name="connsiteX8" fmla="*/ 254005 w 3175001"/>
                <a:gd name="connsiteY8" fmla="*/ 0 h 2667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175001" h="2667000">
                  <a:moveTo>
                    <a:pt x="254005" y="0"/>
                  </a:moveTo>
                  <a:lnTo>
                    <a:pt x="2920996" y="0"/>
                  </a:lnTo>
                  <a:cubicBezTo>
                    <a:pt x="3061279" y="0"/>
                    <a:pt x="3175001" y="113722"/>
                    <a:pt x="3175001" y="254005"/>
                  </a:cubicBezTo>
                  <a:lnTo>
                    <a:pt x="3175001" y="2412995"/>
                  </a:lnTo>
                  <a:cubicBezTo>
                    <a:pt x="3175001" y="2553278"/>
                    <a:pt x="3061279" y="2667000"/>
                    <a:pt x="2920996" y="2667000"/>
                  </a:cubicBezTo>
                  <a:lnTo>
                    <a:pt x="254005" y="2667000"/>
                  </a:lnTo>
                  <a:cubicBezTo>
                    <a:pt x="113722" y="2667000"/>
                    <a:pt x="0" y="2553278"/>
                    <a:pt x="0" y="2412995"/>
                  </a:cubicBezTo>
                  <a:lnTo>
                    <a:pt x="0" y="254005"/>
                  </a:lnTo>
                  <a:cubicBezTo>
                    <a:pt x="0" y="113722"/>
                    <a:pt x="113722" y="0"/>
                    <a:pt x="254005" y="0"/>
                  </a:cubicBezTo>
                  <a:close/>
                </a:path>
              </a:pathLst>
            </a:custGeom>
          </p:spPr>
        </p:pic>
        <p:sp>
          <p:nvSpPr>
            <p:cNvPr id="846" name="Shape_фон">
              <a:extLst>
                <a:ext uri="{FF2B5EF4-FFF2-40B4-BE49-F238E27FC236}">
                  <a16:creationId xmlns:a16="http://schemas.microsoft.com/office/drawing/2014/main" id="{EB7CCE7F-102C-42D9-8082-87F658F4C312}"/>
                </a:ext>
              </a:extLst>
            </p:cNvPr>
            <p:cNvSpPr/>
            <p:nvPr/>
          </p:nvSpPr>
          <p:spPr>
            <a:xfrm>
              <a:off x="1767793" y="4300135"/>
              <a:ext cx="3775683" cy="1289128"/>
            </a:xfrm>
            <a:prstGeom prst="roundRect">
              <a:avLst>
                <a:gd name="adj" fmla="val 8571"/>
              </a:avLst>
            </a:prstGeom>
            <a:solidFill>
              <a:schemeClr val="bg1"/>
            </a:solidFill>
            <a:ln w="12700" cap="flat">
              <a:noFill/>
              <a:prstDash val="solid"/>
              <a:miter/>
            </a:ln>
            <a:effectLst>
              <a:outerShdw blurRad="1003300" sx="102000" sy="102000" algn="ctr" rotWithShape="0">
                <a:schemeClr val="tx1">
                  <a:alpha val="20000"/>
                </a:schemeClr>
              </a:outerShdw>
            </a:effectLst>
          </p:spPr>
          <p:txBody>
            <a:bodyPr lIns="0" tIns="0" rIns="0" bIns="0" anchor="ctr"/>
            <a:lstStyle/>
            <a:p>
              <a:pPr marL="0" marR="0" lvl="0" indent="0" algn="ctr" defTabSz="309563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itchFamily="2" charset="0"/>
                <a:ea typeface="Roboto" pitchFamily="2" charset="0"/>
                <a:cs typeface="Poppins Bold"/>
                <a:sym typeface="Poppins Bold"/>
              </a:endParaRPr>
            </a:p>
          </p:txBody>
        </p:sp>
        <p:grpSp>
          <p:nvGrpSpPr>
            <p:cNvPr id="814" name="Группа 813">
              <a:extLst>
                <a:ext uri="{FF2B5EF4-FFF2-40B4-BE49-F238E27FC236}">
                  <a16:creationId xmlns:a16="http://schemas.microsoft.com/office/drawing/2014/main" id="{C256EAA6-2110-4FD0-AA12-E5739942834F}"/>
                </a:ext>
              </a:extLst>
            </p:cNvPr>
            <p:cNvGrpSpPr/>
            <p:nvPr/>
          </p:nvGrpSpPr>
          <p:grpSpPr>
            <a:xfrm>
              <a:off x="1700180" y="3860815"/>
              <a:ext cx="3943493" cy="699435"/>
              <a:chOff x="6510195" y="1630549"/>
              <a:chExt cx="3943493" cy="699435"/>
            </a:xfrm>
          </p:grpSpPr>
          <p:sp>
            <p:nvSpPr>
              <p:cNvPr id="815" name="Rounded Rectangle">
                <a:extLst>
                  <a:ext uri="{FF2B5EF4-FFF2-40B4-BE49-F238E27FC236}">
                    <a16:creationId xmlns:a16="http://schemas.microsoft.com/office/drawing/2014/main" id="{9D643E77-27CC-4B9C-BF1F-D3BDD9CAA58C}"/>
                  </a:ext>
                </a:extLst>
              </p:cNvPr>
              <p:cNvSpPr/>
              <p:nvPr/>
            </p:nvSpPr>
            <p:spPr>
              <a:xfrm>
                <a:off x="6510195" y="1630549"/>
                <a:ext cx="3943493" cy="699435"/>
              </a:xfrm>
              <a:prstGeom prst="roundRect">
                <a:avLst>
                  <a:gd name="adj" fmla="val 50000"/>
                </a:avLst>
              </a:prstGeom>
              <a:solidFill>
                <a:schemeClr val="bg1"/>
              </a:solidFill>
              <a:ln w="12700" cap="flat">
                <a:noFill/>
                <a:prstDash val="dash"/>
                <a:miter/>
              </a:ln>
              <a:effectLst>
                <a:outerShdw blurRad="1003300" sx="102000" sy="102000" algn="ctr" rotWithShape="0">
                  <a:schemeClr val="tx1">
                    <a:alpha val="15000"/>
                  </a:schemeClr>
                </a:outerShdw>
              </a:effectLst>
            </p:spPr>
            <p:txBody>
              <a:bodyPr lIns="0" tIns="0" rIns="0" bIns="0" anchor="ctr"/>
              <a:lstStyle/>
              <a:p>
                <a:pPr algn="ctr" defTabSz="309563" hangingPunct="0"/>
                <a:endParaRPr sz="1200" dirty="0">
                  <a:solidFill>
                    <a:srgbClr val="FFFFFF"/>
                  </a:solidFill>
                  <a:latin typeface="Roboto" pitchFamily="2" charset="0"/>
                  <a:ea typeface="Roboto" pitchFamily="2" charset="0"/>
                  <a:cs typeface="Poppins Bold"/>
                  <a:sym typeface="Poppins Bold"/>
                </a:endParaRPr>
              </a:p>
            </p:txBody>
          </p:sp>
          <p:sp>
            <p:nvSpPr>
              <p:cNvPr id="816" name="Motion design">
                <a:extLst>
                  <a:ext uri="{FF2B5EF4-FFF2-40B4-BE49-F238E27FC236}">
                    <a16:creationId xmlns:a16="http://schemas.microsoft.com/office/drawing/2014/main" id="{49013024-7B2F-4C60-B944-55502566039B}"/>
                  </a:ext>
                </a:extLst>
              </p:cNvPr>
              <p:cNvSpPr txBox="1"/>
              <p:nvPr/>
            </p:nvSpPr>
            <p:spPr>
              <a:xfrm>
                <a:off x="7638628" y="1823164"/>
                <a:ext cx="1945461" cy="293029"/>
              </a:xfrm>
              <a:prstGeom prst="rect">
                <a:avLst/>
              </a:prstGeom>
              <a:ln w="12700">
                <a:miter lim="400000"/>
              </a:ln>
              <a:extLst>
                <a:ext uri="{C572A759-6A51-4108-AA02-DFA0A04FC94B}">
  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  </a:ext>
              </a:extLst>
            </p:spPr>
            <p:txBody>
              <a:bodyPr wrap="square" lIns="0" tIns="0" rIns="0" bIns="0" anchor="ctr">
                <a:spAutoFit/>
              </a:bodyPr>
              <a:lstStyle>
                <a:lvl1pPr>
                  <a:lnSpc>
                    <a:spcPct val="130000"/>
                  </a:lnSpc>
                  <a:defRPr sz="3000">
                    <a:latin typeface="+mn-lt"/>
                    <a:ea typeface="+mn-ea"/>
                    <a:cs typeface="+mn-cs"/>
                    <a:sym typeface="Poppins SemiBold"/>
                  </a:defRPr>
                </a:lvl1pPr>
              </a:lstStyle>
              <a:p>
                <a:pPr defTabSz="309563" hangingPunct="0">
                  <a:buClrTx/>
                  <a:defRPr/>
                </a:pPr>
                <a:r>
                  <a:rPr lang="ru-RU" sz="1600" dirty="0">
                    <a:solidFill>
                      <a:srgbClr val="0D0D0D"/>
                    </a:solidFill>
                    <a:latin typeface="SB Sans Text" panose="020B0503040504020204" pitchFamily="34" charset="-52"/>
                    <a:ea typeface="Roboto Light" panose="02000000000000000000" pitchFamily="2" charset="0"/>
                    <a:cs typeface="SB Sans Text" panose="020B0503040504020204" pitchFamily="34" charset="-52"/>
                  </a:rPr>
                  <a:t>Светлана</a:t>
                </a:r>
                <a:r>
                  <a:rPr lang="ru-RU" sz="1600" dirty="0">
                    <a:solidFill>
                      <a:srgbClr val="0D0D0D"/>
                    </a:solidFill>
                    <a:latin typeface="Roboto Light" panose="02000000000000000000" pitchFamily="2" charset="0"/>
                    <a:ea typeface="Roboto Light" panose="02000000000000000000" pitchFamily="2" charset="0"/>
                    <a:cs typeface="Poppins SemiBold"/>
                  </a:rPr>
                  <a:t> </a:t>
                </a:r>
                <a:r>
                  <a:rPr lang="ru-RU" sz="1600" dirty="0">
                    <a:solidFill>
                      <a:srgbClr val="0D0D0D"/>
                    </a:solidFill>
                    <a:latin typeface="SB Sans Text" panose="020B0503040504020204" pitchFamily="34" charset="-52"/>
                    <a:ea typeface="Roboto Light" panose="02000000000000000000" pitchFamily="2" charset="0"/>
                    <a:cs typeface="SB Sans Text" panose="020B0503040504020204" pitchFamily="34" charset="-52"/>
                  </a:rPr>
                  <a:t>Агапова</a:t>
                </a:r>
              </a:p>
            </p:txBody>
          </p:sp>
          <p:sp>
            <p:nvSpPr>
              <p:cNvPr id="817" name="Circle">
                <a:extLst>
                  <a:ext uri="{FF2B5EF4-FFF2-40B4-BE49-F238E27FC236}">
                    <a16:creationId xmlns:a16="http://schemas.microsoft.com/office/drawing/2014/main" id="{EBE2FED2-416F-46F9-BDCC-7703DABBCB34}"/>
                  </a:ext>
                </a:extLst>
              </p:cNvPr>
              <p:cNvSpPr/>
              <p:nvPr/>
            </p:nvSpPr>
            <p:spPr>
              <a:xfrm>
                <a:off x="6688419" y="1747457"/>
                <a:ext cx="465618" cy="465618"/>
              </a:xfrm>
              <a:prstGeom prst="ellipse">
                <a:avLst/>
              </a:prstGeom>
              <a:solidFill>
                <a:schemeClr val="bg2"/>
              </a:solidFill>
              <a:ln w="12700">
                <a:miter lim="400000"/>
              </a:ln>
            </p:spPr>
            <p:txBody>
              <a:bodyPr lIns="0" tIns="0" rIns="0" bIns="0" anchor="ctr"/>
              <a:lstStyle/>
              <a:p>
                <a:pPr algn="ctr" defTabSz="309563" hangingPunct="0">
                  <a:buClrTx/>
                  <a:defRPr sz="3200">
                    <a:solidFill>
                      <a:srgbClr val="FFFFFF"/>
                    </a:solidFill>
                    <a:latin typeface="Poppins Bold"/>
                    <a:ea typeface="Poppins Bold"/>
                    <a:cs typeface="Poppins Bold"/>
                    <a:sym typeface="Poppins Bold"/>
                  </a:defRPr>
                </a:pPr>
                <a:endParaRPr sz="1200" dirty="0">
                  <a:solidFill>
                    <a:srgbClr val="FFFFFF"/>
                  </a:solidFill>
                  <a:latin typeface="Roboto" pitchFamily="2" charset="0"/>
                  <a:ea typeface="Roboto" pitchFamily="2" charset="0"/>
                  <a:cs typeface="Poppins Bold"/>
                  <a:sym typeface="Poppins Bold"/>
                </a:endParaRPr>
              </a:p>
            </p:txBody>
          </p:sp>
        </p:grpSp>
        <p:sp>
          <p:nvSpPr>
            <p:cNvPr id="848" name="Motion design">
              <a:extLst>
                <a:ext uri="{FF2B5EF4-FFF2-40B4-BE49-F238E27FC236}">
                  <a16:creationId xmlns:a16="http://schemas.microsoft.com/office/drawing/2014/main" id="{02EB390B-0D12-411E-A17F-745F2F217EA2}"/>
                </a:ext>
              </a:extLst>
            </p:cNvPr>
            <p:cNvSpPr txBox="1"/>
            <p:nvPr/>
          </p:nvSpPr>
          <p:spPr>
            <a:xfrm>
              <a:off x="2420191" y="4749664"/>
              <a:ext cx="2541438" cy="535018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</a:ext>
            </a:extLst>
          </p:spPr>
          <p:txBody>
            <a:bodyPr wrap="square" lIns="0" tIns="0" rIns="0" bIns="0" anchor="ctr">
              <a:spAutoFit/>
            </a:bodyPr>
            <a:lstStyle>
              <a:lvl1pPr>
                <a:lnSpc>
                  <a:spcPct val="130000"/>
                </a:lnSpc>
                <a:defRPr sz="3000">
                  <a:latin typeface="+mn-lt"/>
                  <a:ea typeface="+mn-ea"/>
                  <a:cs typeface="+mn-cs"/>
                  <a:sym typeface="Poppins SemiBold"/>
                </a:defRPr>
              </a:lvl1pPr>
            </a:lstStyle>
            <a:p>
              <a:pPr algn="ctr" defTabSz="309563" hangingPunct="0">
                <a:buClrTx/>
                <a:defRPr/>
              </a:pPr>
              <a:r>
                <a:rPr lang="ru-RU" sz="1400" dirty="0">
                  <a:solidFill>
                    <a:srgbClr val="0D0D0D"/>
                  </a:solidFill>
                  <a:latin typeface="SB Sans Text" panose="020B0503040504020204" pitchFamily="34" charset="-52"/>
                  <a:ea typeface="Roboto Light" panose="02000000000000000000" pitchFamily="2" charset="0"/>
                  <a:cs typeface="SB Sans Text" panose="020B0503040504020204" pitchFamily="34" charset="-52"/>
                </a:rPr>
                <a:t>Управляющий директор, блок «Технологии», </a:t>
              </a:r>
              <a:r>
                <a:rPr lang="ru-RU" sz="1400" dirty="0" err="1">
                  <a:solidFill>
                    <a:srgbClr val="0D0D0D"/>
                  </a:solidFill>
                  <a:latin typeface="SB Sans Text" panose="020B0503040504020204" pitchFamily="34" charset="-52"/>
                  <a:ea typeface="Roboto Light" panose="02000000000000000000" pitchFamily="2" charset="0"/>
                  <a:cs typeface="SB Sans Text" panose="020B0503040504020204" pitchFamily="34" charset="-52"/>
                </a:rPr>
                <a:t>Сбер</a:t>
              </a:r>
              <a:endParaRPr lang="ru-RU" sz="1400" dirty="0">
                <a:solidFill>
                  <a:srgbClr val="0D0D0D"/>
                </a:solidFill>
                <a:latin typeface="SB Sans Text" panose="020B0503040504020204" pitchFamily="34" charset="-52"/>
                <a:ea typeface="Roboto Light" panose="02000000000000000000" pitchFamily="2" charset="0"/>
                <a:cs typeface="SB Sans Text" panose="020B0503040504020204" pitchFamily="34" charset="-52"/>
              </a:endParaRPr>
            </a:p>
          </p:txBody>
        </p:sp>
      </p:grpSp>
      <p:grpSp>
        <p:nvGrpSpPr>
          <p:cNvPr id="3" name="Группа 2">
            <a:extLst>
              <a:ext uri="{FF2B5EF4-FFF2-40B4-BE49-F238E27FC236}">
                <a16:creationId xmlns:a16="http://schemas.microsoft.com/office/drawing/2014/main" id="{BB929EE3-C545-4AD9-8F74-ED4721C791C6}"/>
              </a:ext>
            </a:extLst>
          </p:cNvPr>
          <p:cNvGrpSpPr/>
          <p:nvPr/>
        </p:nvGrpSpPr>
        <p:grpSpPr>
          <a:xfrm>
            <a:off x="6625881" y="1386686"/>
            <a:ext cx="3943493" cy="4202577"/>
            <a:chOff x="6625881" y="1386686"/>
            <a:chExt cx="3943493" cy="4202577"/>
          </a:xfrm>
        </p:grpSpPr>
        <p:sp>
          <p:nvSpPr>
            <p:cNvPr id="847" name="Shape_фон">
              <a:extLst>
                <a:ext uri="{FF2B5EF4-FFF2-40B4-BE49-F238E27FC236}">
                  <a16:creationId xmlns:a16="http://schemas.microsoft.com/office/drawing/2014/main" id="{ABC785C3-7221-46D1-BA25-842D96BDB60D}"/>
                </a:ext>
              </a:extLst>
            </p:cNvPr>
            <p:cNvSpPr/>
            <p:nvPr/>
          </p:nvSpPr>
          <p:spPr>
            <a:xfrm>
              <a:off x="6714217" y="4300135"/>
              <a:ext cx="3775683" cy="1289128"/>
            </a:xfrm>
            <a:prstGeom prst="roundRect">
              <a:avLst>
                <a:gd name="adj" fmla="val 8571"/>
              </a:avLst>
            </a:prstGeom>
            <a:solidFill>
              <a:schemeClr val="bg1"/>
            </a:solidFill>
            <a:ln w="12700" cap="flat">
              <a:noFill/>
              <a:prstDash val="solid"/>
              <a:miter/>
            </a:ln>
            <a:effectLst>
              <a:outerShdw blurRad="1003300" sx="102000" sy="102000" algn="ctr" rotWithShape="0">
                <a:schemeClr val="tx1">
                  <a:alpha val="20000"/>
                </a:schemeClr>
              </a:outerShdw>
            </a:effectLst>
          </p:spPr>
          <p:txBody>
            <a:bodyPr lIns="0" tIns="0" rIns="0" bIns="0" anchor="ctr"/>
            <a:lstStyle/>
            <a:p>
              <a:pPr marL="0" marR="0" lvl="0" indent="0" algn="ctr" defTabSz="309563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itchFamily="2" charset="0"/>
                <a:ea typeface="Roboto" pitchFamily="2" charset="0"/>
                <a:cs typeface="Poppins Bold"/>
                <a:sym typeface="Poppins Bold"/>
              </a:endParaRPr>
            </a:p>
          </p:txBody>
        </p:sp>
        <p:pic>
          <p:nvPicPr>
            <p:cNvPr id="813" name="Рисунок 812">
              <a:extLst>
                <a:ext uri="{FF2B5EF4-FFF2-40B4-BE49-F238E27FC236}">
                  <a16:creationId xmlns:a16="http://schemas.microsoft.com/office/drawing/2014/main" id="{C24A4A15-5E08-49CD-9C02-0B1F843F292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/>
            <a:srcRect t="890" b="43110"/>
            <a:stretch/>
          </p:blipFill>
          <p:spPr>
            <a:xfrm>
              <a:off x="7010128" y="1386686"/>
              <a:ext cx="3175001" cy="2667000"/>
            </a:xfrm>
            <a:custGeom>
              <a:avLst/>
              <a:gdLst>
                <a:gd name="connsiteX0" fmla="*/ 254005 w 3175001"/>
                <a:gd name="connsiteY0" fmla="*/ 0 h 2667000"/>
                <a:gd name="connsiteX1" fmla="*/ 2920996 w 3175001"/>
                <a:gd name="connsiteY1" fmla="*/ 0 h 2667000"/>
                <a:gd name="connsiteX2" fmla="*/ 3175001 w 3175001"/>
                <a:gd name="connsiteY2" fmla="*/ 254005 h 2667000"/>
                <a:gd name="connsiteX3" fmla="*/ 3175001 w 3175001"/>
                <a:gd name="connsiteY3" fmla="*/ 2412995 h 2667000"/>
                <a:gd name="connsiteX4" fmla="*/ 2920996 w 3175001"/>
                <a:gd name="connsiteY4" fmla="*/ 2667000 h 2667000"/>
                <a:gd name="connsiteX5" fmla="*/ 254005 w 3175001"/>
                <a:gd name="connsiteY5" fmla="*/ 2667000 h 2667000"/>
                <a:gd name="connsiteX6" fmla="*/ 0 w 3175001"/>
                <a:gd name="connsiteY6" fmla="*/ 2412995 h 2667000"/>
                <a:gd name="connsiteX7" fmla="*/ 0 w 3175001"/>
                <a:gd name="connsiteY7" fmla="*/ 254005 h 2667000"/>
                <a:gd name="connsiteX8" fmla="*/ 254005 w 3175001"/>
                <a:gd name="connsiteY8" fmla="*/ 0 h 2667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175001" h="2667000">
                  <a:moveTo>
                    <a:pt x="254005" y="0"/>
                  </a:moveTo>
                  <a:lnTo>
                    <a:pt x="2920996" y="0"/>
                  </a:lnTo>
                  <a:cubicBezTo>
                    <a:pt x="3061279" y="0"/>
                    <a:pt x="3175001" y="113722"/>
                    <a:pt x="3175001" y="254005"/>
                  </a:cubicBezTo>
                  <a:lnTo>
                    <a:pt x="3175001" y="2412995"/>
                  </a:lnTo>
                  <a:cubicBezTo>
                    <a:pt x="3175001" y="2553278"/>
                    <a:pt x="3061279" y="2667000"/>
                    <a:pt x="2920996" y="2667000"/>
                  </a:cubicBezTo>
                  <a:lnTo>
                    <a:pt x="254005" y="2667000"/>
                  </a:lnTo>
                  <a:cubicBezTo>
                    <a:pt x="113722" y="2667000"/>
                    <a:pt x="0" y="2553278"/>
                    <a:pt x="0" y="2412995"/>
                  </a:cubicBezTo>
                  <a:lnTo>
                    <a:pt x="0" y="254005"/>
                  </a:lnTo>
                  <a:cubicBezTo>
                    <a:pt x="0" y="113722"/>
                    <a:pt x="113722" y="0"/>
                    <a:pt x="254005" y="0"/>
                  </a:cubicBezTo>
                  <a:close/>
                </a:path>
              </a:pathLst>
            </a:custGeom>
          </p:spPr>
        </p:pic>
        <p:sp>
          <p:nvSpPr>
            <p:cNvPr id="849" name="Motion design">
              <a:extLst>
                <a:ext uri="{FF2B5EF4-FFF2-40B4-BE49-F238E27FC236}">
                  <a16:creationId xmlns:a16="http://schemas.microsoft.com/office/drawing/2014/main" id="{5D20665E-F226-4B52-AA21-CDEC210366CA}"/>
                </a:ext>
              </a:extLst>
            </p:cNvPr>
            <p:cNvSpPr txBox="1"/>
            <p:nvPr/>
          </p:nvSpPr>
          <p:spPr>
            <a:xfrm>
              <a:off x="7455094" y="4749664"/>
              <a:ext cx="2382948" cy="535018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</a:ext>
            </a:extLst>
          </p:spPr>
          <p:txBody>
            <a:bodyPr wrap="square" lIns="0" tIns="0" rIns="0" bIns="0" anchor="ctr">
              <a:spAutoFit/>
            </a:bodyPr>
            <a:lstStyle>
              <a:lvl1pPr>
                <a:lnSpc>
                  <a:spcPct val="130000"/>
                </a:lnSpc>
                <a:defRPr sz="3000">
                  <a:latin typeface="+mn-lt"/>
                  <a:ea typeface="+mn-ea"/>
                  <a:cs typeface="+mn-cs"/>
                  <a:sym typeface="Poppins SemiBold"/>
                </a:defRPr>
              </a:lvl1pPr>
            </a:lstStyle>
            <a:p>
              <a:pPr algn="ctr" defTabSz="309563" hangingPunct="0">
                <a:buClrTx/>
                <a:defRPr/>
              </a:pPr>
              <a:r>
                <a:rPr lang="ru-RU" sz="1400" dirty="0">
                  <a:solidFill>
                    <a:srgbClr val="0D0D0D"/>
                  </a:solidFill>
                  <a:latin typeface="SB Sans Text" panose="020B0503040504020204" pitchFamily="34" charset="-52"/>
                  <a:ea typeface="Roboto Light" panose="02000000000000000000" pitchFamily="2" charset="0"/>
                  <a:cs typeface="SB Sans Text" panose="020B0503040504020204" pitchFamily="34" charset="-52"/>
                </a:rPr>
                <a:t>Владелец продукта «Данные </a:t>
              </a:r>
              <a:r>
                <a:rPr lang="ru-RU" sz="1400" dirty="0" err="1">
                  <a:solidFill>
                    <a:srgbClr val="0D0D0D"/>
                  </a:solidFill>
                  <a:latin typeface="SB Sans Text" panose="020B0503040504020204" pitchFamily="34" charset="-52"/>
                  <a:ea typeface="Roboto Light" panose="02000000000000000000" pitchFamily="2" charset="0"/>
                  <a:cs typeface="SB Sans Text" panose="020B0503040504020204" pitchFamily="34" charset="-52"/>
                </a:rPr>
                <a:t>СберНПФ</a:t>
              </a:r>
              <a:r>
                <a:rPr lang="ru-RU" sz="1400" dirty="0">
                  <a:solidFill>
                    <a:srgbClr val="0D0D0D"/>
                  </a:solidFill>
                  <a:latin typeface="SB Sans Text" panose="020B0503040504020204" pitchFamily="34" charset="-52"/>
                  <a:ea typeface="Roboto Light" panose="02000000000000000000" pitchFamily="2" charset="0"/>
                  <a:cs typeface="SB Sans Text" panose="020B0503040504020204" pitchFamily="34" charset="-52"/>
                </a:rPr>
                <a:t>»</a:t>
              </a:r>
            </a:p>
          </p:txBody>
        </p:sp>
        <p:grpSp>
          <p:nvGrpSpPr>
            <p:cNvPr id="26" name="Группа 25">
              <a:extLst>
                <a:ext uri="{FF2B5EF4-FFF2-40B4-BE49-F238E27FC236}">
                  <a16:creationId xmlns:a16="http://schemas.microsoft.com/office/drawing/2014/main" id="{430A447B-5113-4B3D-BE12-A3FA8C28F80F}"/>
                </a:ext>
              </a:extLst>
            </p:cNvPr>
            <p:cNvGrpSpPr/>
            <p:nvPr/>
          </p:nvGrpSpPr>
          <p:grpSpPr>
            <a:xfrm>
              <a:off x="6625881" y="3863016"/>
              <a:ext cx="3943493" cy="699435"/>
              <a:chOff x="6510195" y="1630549"/>
              <a:chExt cx="3943493" cy="699435"/>
            </a:xfrm>
          </p:grpSpPr>
          <p:sp>
            <p:nvSpPr>
              <p:cNvPr id="27" name="Rounded Rectangle">
                <a:extLst>
                  <a:ext uri="{FF2B5EF4-FFF2-40B4-BE49-F238E27FC236}">
                    <a16:creationId xmlns:a16="http://schemas.microsoft.com/office/drawing/2014/main" id="{83D296EE-EEAD-4157-BEC4-FD345257D511}"/>
                  </a:ext>
                </a:extLst>
              </p:cNvPr>
              <p:cNvSpPr/>
              <p:nvPr/>
            </p:nvSpPr>
            <p:spPr>
              <a:xfrm>
                <a:off x="6510195" y="1630549"/>
                <a:ext cx="3943493" cy="699435"/>
              </a:xfrm>
              <a:prstGeom prst="roundRect">
                <a:avLst>
                  <a:gd name="adj" fmla="val 50000"/>
                </a:avLst>
              </a:prstGeom>
              <a:solidFill>
                <a:schemeClr val="bg1"/>
              </a:solidFill>
              <a:ln w="12700" cap="flat">
                <a:noFill/>
                <a:prstDash val="dash"/>
                <a:miter/>
              </a:ln>
              <a:effectLst>
                <a:outerShdw blurRad="1003300" sx="102000" sy="102000" algn="ctr" rotWithShape="0">
                  <a:schemeClr val="tx1">
                    <a:alpha val="15000"/>
                  </a:schemeClr>
                </a:outerShdw>
              </a:effectLst>
            </p:spPr>
            <p:txBody>
              <a:bodyPr lIns="0" tIns="0" rIns="0" bIns="0" anchor="ctr"/>
              <a:lstStyle/>
              <a:p>
                <a:pPr algn="ctr" defTabSz="309563" hangingPunct="0"/>
                <a:endParaRPr sz="1200" dirty="0">
                  <a:solidFill>
                    <a:srgbClr val="FFFFFF"/>
                  </a:solidFill>
                  <a:latin typeface="Roboto" pitchFamily="2" charset="0"/>
                  <a:ea typeface="Roboto" pitchFamily="2" charset="0"/>
                  <a:cs typeface="Poppins Bold"/>
                  <a:sym typeface="Poppins Bold"/>
                </a:endParaRPr>
              </a:p>
            </p:txBody>
          </p:sp>
          <p:sp>
            <p:nvSpPr>
              <p:cNvPr id="28" name="Motion design">
                <a:extLst>
                  <a:ext uri="{FF2B5EF4-FFF2-40B4-BE49-F238E27FC236}">
                    <a16:creationId xmlns:a16="http://schemas.microsoft.com/office/drawing/2014/main" id="{C6C97442-C639-4AA0-8E10-F8BA0FE3286B}"/>
                  </a:ext>
                </a:extLst>
              </p:cNvPr>
              <p:cNvSpPr txBox="1"/>
              <p:nvPr/>
            </p:nvSpPr>
            <p:spPr>
              <a:xfrm>
                <a:off x="7512217" y="1823998"/>
                <a:ext cx="1945461" cy="291362"/>
              </a:xfrm>
              <a:prstGeom prst="rect">
                <a:avLst/>
              </a:prstGeom>
              <a:ln w="12700">
                <a:miter lim="400000"/>
              </a:ln>
              <a:extLst>
                <a:ext uri="{C572A759-6A51-4108-AA02-DFA0A04FC94B}">
  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  </a:ext>
              </a:extLst>
            </p:spPr>
            <p:txBody>
              <a:bodyPr wrap="square" lIns="0" tIns="0" rIns="0" bIns="0" anchor="ctr">
                <a:spAutoFit/>
              </a:bodyPr>
              <a:lstStyle>
                <a:lvl1pPr>
                  <a:lnSpc>
                    <a:spcPct val="130000"/>
                  </a:lnSpc>
                  <a:defRPr sz="3000">
                    <a:latin typeface="+mn-lt"/>
                    <a:ea typeface="+mn-ea"/>
                    <a:cs typeface="+mn-cs"/>
                    <a:sym typeface="Poppins SemiBold"/>
                  </a:defRPr>
                </a:lvl1pPr>
              </a:lstStyle>
              <a:p>
                <a:pPr algn="ctr" defTabSz="309563" hangingPunct="0">
                  <a:buClrTx/>
                  <a:defRPr/>
                </a:pPr>
                <a:r>
                  <a:rPr lang="ru-RU" sz="1600" dirty="0">
                    <a:solidFill>
                      <a:srgbClr val="0D0D0D"/>
                    </a:solidFill>
                    <a:latin typeface="SB Sans Text" panose="020B0503040504020204" pitchFamily="34" charset="-52"/>
                    <a:ea typeface="Roboto Light" panose="02000000000000000000" pitchFamily="2" charset="0"/>
                    <a:cs typeface="SB Sans Text" panose="020B0503040504020204" pitchFamily="34" charset="-52"/>
                  </a:rPr>
                  <a:t>Олег Кузичев</a:t>
                </a:r>
              </a:p>
            </p:txBody>
          </p:sp>
          <p:sp>
            <p:nvSpPr>
              <p:cNvPr id="29" name="Circle">
                <a:extLst>
                  <a:ext uri="{FF2B5EF4-FFF2-40B4-BE49-F238E27FC236}">
                    <a16:creationId xmlns:a16="http://schemas.microsoft.com/office/drawing/2014/main" id="{2F1B23D9-BDAC-42FD-8BDB-B910377D6476}"/>
                  </a:ext>
                </a:extLst>
              </p:cNvPr>
              <p:cNvSpPr/>
              <p:nvPr/>
            </p:nvSpPr>
            <p:spPr>
              <a:xfrm>
                <a:off x="6688419" y="1747457"/>
                <a:ext cx="465618" cy="465618"/>
              </a:xfrm>
              <a:prstGeom prst="ellipse">
                <a:avLst/>
              </a:prstGeom>
              <a:solidFill>
                <a:schemeClr val="bg2"/>
              </a:solidFill>
              <a:ln w="12700">
                <a:miter lim="400000"/>
              </a:ln>
            </p:spPr>
            <p:txBody>
              <a:bodyPr lIns="0" tIns="0" rIns="0" bIns="0" anchor="ctr"/>
              <a:lstStyle/>
              <a:p>
                <a:pPr algn="ctr" defTabSz="309563" hangingPunct="0">
                  <a:buClrTx/>
                  <a:defRPr sz="3200">
                    <a:solidFill>
                      <a:srgbClr val="FFFFFF"/>
                    </a:solidFill>
                    <a:latin typeface="Poppins Bold"/>
                    <a:ea typeface="Poppins Bold"/>
                    <a:cs typeface="Poppins Bold"/>
                    <a:sym typeface="Poppins Bold"/>
                  </a:defRPr>
                </a:pPr>
                <a:endParaRPr sz="1200" dirty="0">
                  <a:solidFill>
                    <a:srgbClr val="FFFFFF"/>
                  </a:solidFill>
                  <a:latin typeface="Roboto" pitchFamily="2" charset="0"/>
                  <a:ea typeface="Roboto" pitchFamily="2" charset="0"/>
                  <a:cs typeface="Poppins Bold"/>
                  <a:sym typeface="Poppins Bold"/>
                </a:endParaRPr>
              </a:p>
            </p:txBody>
          </p:sp>
        </p:grpSp>
      </p:grpSp>
    </p:spTree>
    <p:custDataLst>
      <p:tags r:id="rId1"/>
    </p:custDataLst>
    <p:extLst>
      <p:ext uri="{BB962C8B-B14F-4D97-AF65-F5344CB8AC3E}">
        <p14:creationId xmlns:p14="http://schemas.microsoft.com/office/powerpoint/2010/main" val="917658127"/>
      </p:ext>
    </p:extLst>
  </p:cSld>
  <p:clrMapOvr>
    <a:masterClrMapping/>
  </p:clrMapOvr>
  <p:transition spd="slow">
    <p:push/>
  </p:transition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CDIConf_Black">
            <a:extLst>
              <a:ext uri="{FF2B5EF4-FFF2-40B4-BE49-F238E27FC236}">
                <a16:creationId xmlns:a16="http://schemas.microsoft.com/office/drawing/2014/main" id="{F3F1710A-CB9B-4080-B969-0477C48F22E5}"/>
              </a:ext>
            </a:extLst>
          </p:cNvPr>
          <p:cNvGrpSpPr/>
          <p:nvPr/>
        </p:nvGrpSpPr>
        <p:grpSpPr>
          <a:xfrm>
            <a:off x="9291334" y="6129083"/>
            <a:ext cx="2270483" cy="296171"/>
            <a:chOff x="7406975" y="5855999"/>
            <a:chExt cx="2270483" cy="296171"/>
          </a:xfrm>
        </p:grpSpPr>
        <p:sp>
          <p:nvSpPr>
            <p:cNvPr id="45" name="Полилиния: фигура 44">
              <a:extLst>
                <a:ext uri="{FF2B5EF4-FFF2-40B4-BE49-F238E27FC236}">
                  <a16:creationId xmlns:a16="http://schemas.microsoft.com/office/drawing/2014/main" id="{13A11B35-F320-4F31-908D-85B2D024FD4B}"/>
                </a:ext>
              </a:extLst>
            </p:cNvPr>
            <p:cNvSpPr/>
            <p:nvPr/>
          </p:nvSpPr>
          <p:spPr>
            <a:xfrm>
              <a:off x="7406975" y="5878280"/>
              <a:ext cx="1394458" cy="273890"/>
            </a:xfrm>
            <a:custGeom>
              <a:avLst/>
              <a:gdLst>
                <a:gd name="connsiteX0" fmla="*/ 157354 w 1394458"/>
                <a:gd name="connsiteY0" fmla="*/ 188093 h 273890"/>
                <a:gd name="connsiteX1" fmla="*/ 200773 w 1394458"/>
                <a:gd name="connsiteY1" fmla="*/ 188093 h 273890"/>
                <a:gd name="connsiteX2" fmla="*/ 186877 w 1394458"/>
                <a:gd name="connsiteY2" fmla="*/ 232383 h 273890"/>
                <a:gd name="connsiteX3" fmla="*/ 153706 w 1394458"/>
                <a:gd name="connsiteY3" fmla="*/ 262777 h 273890"/>
                <a:gd name="connsiteX4" fmla="*/ 101775 w 1394458"/>
                <a:gd name="connsiteY4" fmla="*/ 273891 h 273890"/>
                <a:gd name="connsiteX5" fmla="*/ 59572 w 1394458"/>
                <a:gd name="connsiteY5" fmla="*/ 265554 h 273890"/>
                <a:gd name="connsiteX6" fmla="*/ 27442 w 1394458"/>
                <a:gd name="connsiteY6" fmla="*/ 241585 h 273890"/>
                <a:gd name="connsiteX7" fmla="*/ 6950 w 1394458"/>
                <a:gd name="connsiteY7" fmla="*/ 203896 h 273890"/>
                <a:gd name="connsiteX8" fmla="*/ 0 w 1394458"/>
                <a:gd name="connsiteY8" fmla="*/ 154577 h 273890"/>
                <a:gd name="connsiteX9" fmla="*/ 0 w 1394458"/>
                <a:gd name="connsiteY9" fmla="*/ 133560 h 273890"/>
                <a:gd name="connsiteX10" fmla="*/ 7121 w 1394458"/>
                <a:gd name="connsiteY10" fmla="*/ 84236 h 273890"/>
                <a:gd name="connsiteX11" fmla="*/ 27962 w 1394458"/>
                <a:gd name="connsiteY11" fmla="*/ 46552 h 273890"/>
                <a:gd name="connsiteX12" fmla="*/ 60438 w 1394458"/>
                <a:gd name="connsiteY12" fmla="*/ 22408 h 273890"/>
                <a:gd name="connsiteX13" fmla="*/ 103336 w 1394458"/>
                <a:gd name="connsiteY13" fmla="*/ 14071 h 273890"/>
                <a:gd name="connsiteX14" fmla="*/ 154397 w 1394458"/>
                <a:gd name="connsiteY14" fmla="*/ 25185 h 273890"/>
                <a:gd name="connsiteX15" fmla="*/ 186702 w 1394458"/>
                <a:gd name="connsiteY15" fmla="*/ 55924 h 273890"/>
                <a:gd name="connsiteX16" fmla="*/ 200943 w 1394458"/>
                <a:gd name="connsiteY16" fmla="*/ 100905 h 273890"/>
                <a:gd name="connsiteX17" fmla="*/ 157524 w 1394458"/>
                <a:gd name="connsiteY17" fmla="*/ 100905 h 273890"/>
                <a:gd name="connsiteX18" fmla="*/ 149883 w 1394458"/>
                <a:gd name="connsiteY18" fmla="*/ 72943 h 273890"/>
                <a:gd name="connsiteX19" fmla="*/ 132865 w 1394458"/>
                <a:gd name="connsiteY19" fmla="*/ 55229 h 273890"/>
                <a:gd name="connsiteX20" fmla="*/ 103341 w 1394458"/>
                <a:gd name="connsiteY20" fmla="*/ 48974 h 273890"/>
                <a:gd name="connsiteX21" fmla="*/ 77291 w 1394458"/>
                <a:gd name="connsiteY21" fmla="*/ 54533 h 273890"/>
                <a:gd name="connsiteX22" fmla="*/ 58706 w 1394458"/>
                <a:gd name="connsiteY22" fmla="*/ 70861 h 273890"/>
                <a:gd name="connsiteX23" fmla="*/ 47417 w 1394458"/>
                <a:gd name="connsiteY23" fmla="*/ 97432 h 273890"/>
                <a:gd name="connsiteX24" fmla="*/ 43769 w 1394458"/>
                <a:gd name="connsiteY24" fmla="*/ 133210 h 273890"/>
                <a:gd name="connsiteX25" fmla="*/ 43769 w 1394458"/>
                <a:gd name="connsiteY25" fmla="*/ 154572 h 273890"/>
                <a:gd name="connsiteX26" fmla="*/ 47067 w 1394458"/>
                <a:gd name="connsiteY26" fmla="*/ 189304 h 273890"/>
                <a:gd name="connsiteX27" fmla="*/ 57490 w 1394458"/>
                <a:gd name="connsiteY27" fmla="*/ 215875 h 273890"/>
                <a:gd name="connsiteX28" fmla="*/ 75550 w 1394458"/>
                <a:gd name="connsiteY28" fmla="*/ 233069 h 273890"/>
                <a:gd name="connsiteX29" fmla="*/ 101775 w 1394458"/>
                <a:gd name="connsiteY29" fmla="*/ 239149 h 273890"/>
                <a:gd name="connsiteX30" fmla="*/ 131824 w 1394458"/>
                <a:gd name="connsiteY30" fmla="*/ 233244 h 273890"/>
                <a:gd name="connsiteX31" fmla="*/ 149363 w 1394458"/>
                <a:gd name="connsiteY31" fmla="*/ 216050 h 273890"/>
                <a:gd name="connsiteX32" fmla="*/ 157354 w 1394458"/>
                <a:gd name="connsiteY32" fmla="*/ 188088 h 273890"/>
                <a:gd name="connsiteX33" fmla="*/ 313837 w 1394458"/>
                <a:gd name="connsiteY33" fmla="*/ 270418 h 273890"/>
                <a:gd name="connsiteX34" fmla="*/ 259825 w 1394458"/>
                <a:gd name="connsiteY34" fmla="*/ 270418 h 273890"/>
                <a:gd name="connsiteX35" fmla="*/ 260170 w 1394458"/>
                <a:gd name="connsiteY35" fmla="*/ 235856 h 273890"/>
                <a:gd name="connsiteX36" fmla="*/ 313837 w 1394458"/>
                <a:gd name="connsiteY36" fmla="*/ 235856 h 273890"/>
                <a:gd name="connsiteX37" fmla="*/ 353088 w 1394458"/>
                <a:gd name="connsiteY37" fmla="*/ 225608 h 273890"/>
                <a:gd name="connsiteX38" fmla="*/ 377057 w 1394458"/>
                <a:gd name="connsiteY38" fmla="*/ 196255 h 273890"/>
                <a:gd name="connsiteX39" fmla="*/ 385218 w 1394458"/>
                <a:gd name="connsiteY39" fmla="*/ 150754 h 273890"/>
                <a:gd name="connsiteX40" fmla="*/ 385218 w 1394458"/>
                <a:gd name="connsiteY40" fmla="*/ 137033 h 273890"/>
                <a:gd name="connsiteX41" fmla="*/ 380530 w 1394458"/>
                <a:gd name="connsiteY41" fmla="*/ 100734 h 273890"/>
                <a:gd name="connsiteX42" fmla="*/ 366984 w 1394458"/>
                <a:gd name="connsiteY42" fmla="*/ 74163 h 273890"/>
                <a:gd name="connsiteX43" fmla="*/ 345102 w 1394458"/>
                <a:gd name="connsiteY43" fmla="*/ 57840 h 273890"/>
                <a:gd name="connsiteX44" fmla="*/ 315403 w 1394458"/>
                <a:gd name="connsiteY44" fmla="*/ 52281 h 273890"/>
                <a:gd name="connsiteX45" fmla="*/ 258784 w 1394458"/>
                <a:gd name="connsiteY45" fmla="*/ 52281 h 273890"/>
                <a:gd name="connsiteX46" fmla="*/ 258784 w 1394458"/>
                <a:gd name="connsiteY46" fmla="*/ 17544 h 273890"/>
                <a:gd name="connsiteX47" fmla="*/ 315403 w 1394458"/>
                <a:gd name="connsiteY47" fmla="*/ 17544 h 273890"/>
                <a:gd name="connsiteX48" fmla="*/ 361429 w 1394458"/>
                <a:gd name="connsiteY48" fmla="*/ 26055 h 273890"/>
                <a:gd name="connsiteX49" fmla="*/ 397383 w 1394458"/>
                <a:gd name="connsiteY49" fmla="*/ 50195 h 273890"/>
                <a:gd name="connsiteX50" fmla="*/ 420826 w 1394458"/>
                <a:gd name="connsiteY50" fmla="*/ 88054 h 273890"/>
                <a:gd name="connsiteX51" fmla="*/ 428988 w 1394458"/>
                <a:gd name="connsiteY51" fmla="*/ 137378 h 273890"/>
                <a:gd name="connsiteX52" fmla="*/ 428988 w 1394458"/>
                <a:gd name="connsiteY52" fmla="*/ 150754 h 273890"/>
                <a:gd name="connsiteX53" fmla="*/ 420826 w 1394458"/>
                <a:gd name="connsiteY53" fmla="*/ 200078 h 273890"/>
                <a:gd name="connsiteX54" fmla="*/ 397383 w 1394458"/>
                <a:gd name="connsiteY54" fmla="*/ 237938 h 273890"/>
                <a:gd name="connsiteX55" fmla="*/ 360909 w 1394458"/>
                <a:gd name="connsiteY55" fmla="*/ 262077 h 273890"/>
                <a:gd name="connsiteX56" fmla="*/ 313842 w 1394458"/>
                <a:gd name="connsiteY56" fmla="*/ 270413 h 273890"/>
                <a:gd name="connsiteX57" fmla="*/ 283964 w 1394458"/>
                <a:gd name="connsiteY57" fmla="*/ 17544 h 273890"/>
                <a:gd name="connsiteX58" fmla="*/ 283964 w 1394458"/>
                <a:gd name="connsiteY58" fmla="*/ 270418 h 273890"/>
                <a:gd name="connsiteX59" fmla="*/ 240369 w 1394458"/>
                <a:gd name="connsiteY59" fmla="*/ 270418 h 273890"/>
                <a:gd name="connsiteX60" fmla="*/ 240369 w 1394458"/>
                <a:gd name="connsiteY60" fmla="*/ 17544 h 273890"/>
                <a:gd name="connsiteX61" fmla="*/ 283964 w 1394458"/>
                <a:gd name="connsiteY61" fmla="*/ 17544 h 273890"/>
                <a:gd name="connsiteX62" fmla="*/ 519299 w 1394458"/>
                <a:gd name="connsiteY62" fmla="*/ 17544 h 273890"/>
                <a:gd name="connsiteX63" fmla="*/ 519299 w 1394458"/>
                <a:gd name="connsiteY63" fmla="*/ 270418 h 273890"/>
                <a:gd name="connsiteX64" fmla="*/ 475705 w 1394458"/>
                <a:gd name="connsiteY64" fmla="*/ 270418 h 273890"/>
                <a:gd name="connsiteX65" fmla="*/ 475705 w 1394458"/>
                <a:gd name="connsiteY65" fmla="*/ 17544 h 273890"/>
                <a:gd name="connsiteX66" fmla="*/ 519299 w 1394458"/>
                <a:gd name="connsiteY66" fmla="*/ 17544 h 273890"/>
                <a:gd name="connsiteX67" fmla="*/ 811424 w 1394458"/>
                <a:gd name="connsiteY67" fmla="*/ 188093 h 273890"/>
                <a:gd name="connsiteX68" fmla="*/ 854843 w 1394458"/>
                <a:gd name="connsiteY68" fmla="*/ 188093 h 273890"/>
                <a:gd name="connsiteX69" fmla="*/ 840947 w 1394458"/>
                <a:gd name="connsiteY69" fmla="*/ 232383 h 273890"/>
                <a:gd name="connsiteX70" fmla="*/ 807776 w 1394458"/>
                <a:gd name="connsiteY70" fmla="*/ 262777 h 273890"/>
                <a:gd name="connsiteX71" fmla="*/ 755845 w 1394458"/>
                <a:gd name="connsiteY71" fmla="*/ 273891 h 273890"/>
                <a:gd name="connsiteX72" fmla="*/ 713642 w 1394458"/>
                <a:gd name="connsiteY72" fmla="*/ 265554 h 273890"/>
                <a:gd name="connsiteX73" fmla="*/ 681512 w 1394458"/>
                <a:gd name="connsiteY73" fmla="*/ 241585 h 273890"/>
                <a:gd name="connsiteX74" fmla="*/ 661021 w 1394458"/>
                <a:gd name="connsiteY74" fmla="*/ 203896 h 273890"/>
                <a:gd name="connsiteX75" fmla="*/ 654075 w 1394458"/>
                <a:gd name="connsiteY75" fmla="*/ 154572 h 273890"/>
                <a:gd name="connsiteX76" fmla="*/ 654075 w 1394458"/>
                <a:gd name="connsiteY76" fmla="*/ 133555 h 273890"/>
                <a:gd name="connsiteX77" fmla="*/ 661196 w 1394458"/>
                <a:gd name="connsiteY77" fmla="*/ 84231 h 273890"/>
                <a:gd name="connsiteX78" fmla="*/ 682037 w 1394458"/>
                <a:gd name="connsiteY78" fmla="*/ 46547 h 273890"/>
                <a:gd name="connsiteX79" fmla="*/ 714513 w 1394458"/>
                <a:gd name="connsiteY79" fmla="*/ 22403 h 273890"/>
                <a:gd name="connsiteX80" fmla="*/ 757411 w 1394458"/>
                <a:gd name="connsiteY80" fmla="*/ 14066 h 273890"/>
                <a:gd name="connsiteX81" fmla="*/ 808472 w 1394458"/>
                <a:gd name="connsiteY81" fmla="*/ 25180 h 273890"/>
                <a:gd name="connsiteX82" fmla="*/ 840777 w 1394458"/>
                <a:gd name="connsiteY82" fmla="*/ 55919 h 273890"/>
                <a:gd name="connsiteX83" fmla="*/ 855018 w 1394458"/>
                <a:gd name="connsiteY83" fmla="*/ 100900 h 273890"/>
                <a:gd name="connsiteX84" fmla="*/ 811599 w 1394458"/>
                <a:gd name="connsiteY84" fmla="*/ 100900 h 273890"/>
                <a:gd name="connsiteX85" fmla="*/ 803958 w 1394458"/>
                <a:gd name="connsiteY85" fmla="*/ 72938 h 273890"/>
                <a:gd name="connsiteX86" fmla="*/ 786940 w 1394458"/>
                <a:gd name="connsiteY86" fmla="*/ 55224 h 273890"/>
                <a:gd name="connsiteX87" fmla="*/ 757416 w 1394458"/>
                <a:gd name="connsiteY87" fmla="*/ 48969 h 273890"/>
                <a:gd name="connsiteX88" fmla="*/ 731366 w 1394458"/>
                <a:gd name="connsiteY88" fmla="*/ 54528 h 273890"/>
                <a:gd name="connsiteX89" fmla="*/ 712781 w 1394458"/>
                <a:gd name="connsiteY89" fmla="*/ 70856 h 273890"/>
                <a:gd name="connsiteX90" fmla="*/ 701492 w 1394458"/>
                <a:gd name="connsiteY90" fmla="*/ 97427 h 273890"/>
                <a:gd name="connsiteX91" fmla="*/ 697844 w 1394458"/>
                <a:gd name="connsiteY91" fmla="*/ 133205 h 273890"/>
                <a:gd name="connsiteX92" fmla="*/ 697844 w 1394458"/>
                <a:gd name="connsiteY92" fmla="*/ 154567 h 273890"/>
                <a:gd name="connsiteX93" fmla="*/ 701142 w 1394458"/>
                <a:gd name="connsiteY93" fmla="*/ 189299 h 273890"/>
                <a:gd name="connsiteX94" fmla="*/ 711565 w 1394458"/>
                <a:gd name="connsiteY94" fmla="*/ 215870 h 273890"/>
                <a:gd name="connsiteX95" fmla="*/ 729629 w 1394458"/>
                <a:gd name="connsiteY95" fmla="*/ 233064 h 273890"/>
                <a:gd name="connsiteX96" fmla="*/ 755855 w 1394458"/>
                <a:gd name="connsiteY96" fmla="*/ 239144 h 273890"/>
                <a:gd name="connsiteX97" fmla="*/ 785904 w 1394458"/>
                <a:gd name="connsiteY97" fmla="*/ 233239 h 273890"/>
                <a:gd name="connsiteX98" fmla="*/ 803443 w 1394458"/>
                <a:gd name="connsiteY98" fmla="*/ 216046 h 273890"/>
                <a:gd name="connsiteX99" fmla="*/ 811434 w 1394458"/>
                <a:gd name="connsiteY99" fmla="*/ 188084 h 273890"/>
                <a:gd name="connsiteX100" fmla="*/ 882285 w 1394458"/>
                <a:gd name="connsiteY100" fmla="*/ 178541 h 273890"/>
                <a:gd name="connsiteX101" fmla="*/ 882285 w 1394458"/>
                <a:gd name="connsiteY101" fmla="*/ 174548 h 273890"/>
                <a:gd name="connsiteX102" fmla="*/ 888190 w 1394458"/>
                <a:gd name="connsiteY102" fmla="*/ 136858 h 273890"/>
                <a:gd name="connsiteX103" fmla="*/ 905208 w 1394458"/>
                <a:gd name="connsiteY103" fmla="*/ 106464 h 273890"/>
                <a:gd name="connsiteX104" fmla="*/ 932650 w 1394458"/>
                <a:gd name="connsiteY104" fmla="*/ 86318 h 273890"/>
                <a:gd name="connsiteX105" fmla="*/ 969469 w 1394458"/>
                <a:gd name="connsiteY105" fmla="*/ 79022 h 273890"/>
                <a:gd name="connsiteX106" fmla="*/ 1006288 w 1394458"/>
                <a:gd name="connsiteY106" fmla="*/ 86318 h 273890"/>
                <a:gd name="connsiteX107" fmla="*/ 1033899 w 1394458"/>
                <a:gd name="connsiteY107" fmla="*/ 106464 h 273890"/>
                <a:gd name="connsiteX108" fmla="*/ 1051093 w 1394458"/>
                <a:gd name="connsiteY108" fmla="*/ 136858 h 273890"/>
                <a:gd name="connsiteX109" fmla="*/ 1056998 w 1394458"/>
                <a:gd name="connsiteY109" fmla="*/ 174548 h 273890"/>
                <a:gd name="connsiteX110" fmla="*/ 1056998 w 1394458"/>
                <a:gd name="connsiteY110" fmla="*/ 178541 h 273890"/>
                <a:gd name="connsiteX111" fmla="*/ 1051093 w 1394458"/>
                <a:gd name="connsiteY111" fmla="*/ 216230 h 273890"/>
                <a:gd name="connsiteX112" fmla="*/ 1033899 w 1394458"/>
                <a:gd name="connsiteY112" fmla="*/ 246624 h 273890"/>
                <a:gd name="connsiteX113" fmla="*/ 1006458 w 1394458"/>
                <a:gd name="connsiteY113" fmla="*/ 266770 h 273890"/>
                <a:gd name="connsiteX114" fmla="*/ 969814 w 1394458"/>
                <a:gd name="connsiteY114" fmla="*/ 273891 h 273890"/>
                <a:gd name="connsiteX115" fmla="*/ 932820 w 1394458"/>
                <a:gd name="connsiteY115" fmla="*/ 266770 h 273890"/>
                <a:gd name="connsiteX116" fmla="*/ 905378 w 1394458"/>
                <a:gd name="connsiteY116" fmla="*/ 246624 h 273890"/>
                <a:gd name="connsiteX117" fmla="*/ 888185 w 1394458"/>
                <a:gd name="connsiteY117" fmla="*/ 216230 h 273890"/>
                <a:gd name="connsiteX118" fmla="*/ 882280 w 1394458"/>
                <a:gd name="connsiteY118" fmla="*/ 178541 h 273890"/>
                <a:gd name="connsiteX119" fmla="*/ 924143 w 1394458"/>
                <a:gd name="connsiteY119" fmla="*/ 174548 h 273890"/>
                <a:gd name="connsiteX120" fmla="*/ 924143 w 1394458"/>
                <a:gd name="connsiteY120" fmla="*/ 178541 h 273890"/>
                <a:gd name="connsiteX121" fmla="*/ 926750 w 1394458"/>
                <a:gd name="connsiteY121" fmla="*/ 202510 h 273890"/>
                <a:gd name="connsiteX122" fmla="*/ 934911 w 1394458"/>
                <a:gd name="connsiteY122" fmla="*/ 222310 h 273890"/>
                <a:gd name="connsiteX123" fmla="*/ 949152 w 1394458"/>
                <a:gd name="connsiteY123" fmla="*/ 235681 h 273890"/>
                <a:gd name="connsiteX124" fmla="*/ 969819 w 1394458"/>
                <a:gd name="connsiteY124" fmla="*/ 240545 h 273890"/>
                <a:gd name="connsiteX125" fmla="*/ 989965 w 1394458"/>
                <a:gd name="connsiteY125" fmla="*/ 235681 h 273890"/>
                <a:gd name="connsiteX126" fmla="*/ 1004206 w 1394458"/>
                <a:gd name="connsiteY126" fmla="*/ 222310 h 273890"/>
                <a:gd name="connsiteX127" fmla="*/ 1012367 w 1394458"/>
                <a:gd name="connsiteY127" fmla="*/ 202510 h 273890"/>
                <a:gd name="connsiteX128" fmla="*/ 1015145 w 1394458"/>
                <a:gd name="connsiteY128" fmla="*/ 178541 h 273890"/>
                <a:gd name="connsiteX129" fmla="*/ 1015145 w 1394458"/>
                <a:gd name="connsiteY129" fmla="*/ 174548 h 273890"/>
                <a:gd name="connsiteX130" fmla="*/ 1012367 w 1394458"/>
                <a:gd name="connsiteY130" fmla="*/ 150929 h 273890"/>
                <a:gd name="connsiteX131" fmla="*/ 1004031 w 1394458"/>
                <a:gd name="connsiteY131" fmla="*/ 130958 h 273890"/>
                <a:gd name="connsiteX132" fmla="*/ 989790 w 1394458"/>
                <a:gd name="connsiteY132" fmla="*/ 117412 h 273890"/>
                <a:gd name="connsiteX133" fmla="*/ 969469 w 1394458"/>
                <a:gd name="connsiteY133" fmla="*/ 112378 h 273890"/>
                <a:gd name="connsiteX134" fmla="*/ 948977 w 1394458"/>
                <a:gd name="connsiteY134" fmla="*/ 117412 h 273890"/>
                <a:gd name="connsiteX135" fmla="*/ 934911 w 1394458"/>
                <a:gd name="connsiteY135" fmla="*/ 130958 h 273890"/>
                <a:gd name="connsiteX136" fmla="*/ 926750 w 1394458"/>
                <a:gd name="connsiteY136" fmla="*/ 150929 h 273890"/>
                <a:gd name="connsiteX137" fmla="*/ 924143 w 1394458"/>
                <a:gd name="connsiteY137" fmla="*/ 174548 h 273890"/>
                <a:gd name="connsiteX138" fmla="*/ 1133598 w 1394458"/>
                <a:gd name="connsiteY138" fmla="*/ 122617 h 273890"/>
                <a:gd name="connsiteX139" fmla="*/ 1133598 w 1394458"/>
                <a:gd name="connsiteY139" fmla="*/ 270418 h 273890"/>
                <a:gd name="connsiteX140" fmla="*/ 1091745 w 1394458"/>
                <a:gd name="connsiteY140" fmla="*/ 270418 h 273890"/>
                <a:gd name="connsiteX141" fmla="*/ 1091745 w 1394458"/>
                <a:gd name="connsiteY141" fmla="*/ 82495 h 273890"/>
                <a:gd name="connsiteX142" fmla="*/ 1131171 w 1394458"/>
                <a:gd name="connsiteY142" fmla="*/ 82495 h 273890"/>
                <a:gd name="connsiteX143" fmla="*/ 1133603 w 1394458"/>
                <a:gd name="connsiteY143" fmla="*/ 122617 h 273890"/>
                <a:gd name="connsiteX144" fmla="*/ 1126132 w 1394458"/>
                <a:gd name="connsiteY144" fmla="*/ 169509 h 273890"/>
                <a:gd name="connsiteX145" fmla="*/ 1112586 w 1394458"/>
                <a:gd name="connsiteY145" fmla="*/ 169334 h 273890"/>
                <a:gd name="connsiteX146" fmla="*/ 1118145 w 1394458"/>
                <a:gd name="connsiteY146" fmla="*/ 132690 h 273890"/>
                <a:gd name="connsiteX147" fmla="*/ 1133428 w 1394458"/>
                <a:gd name="connsiteY147" fmla="*/ 104032 h 273890"/>
                <a:gd name="connsiteX148" fmla="*/ 1157046 w 1394458"/>
                <a:gd name="connsiteY148" fmla="*/ 85623 h 273890"/>
                <a:gd name="connsiteX149" fmla="*/ 1187615 w 1394458"/>
                <a:gd name="connsiteY149" fmla="*/ 79022 h 273890"/>
                <a:gd name="connsiteX150" fmla="*/ 1212105 w 1394458"/>
                <a:gd name="connsiteY150" fmla="*/ 82840 h 273890"/>
                <a:gd name="connsiteX151" fmla="*/ 1231034 w 1394458"/>
                <a:gd name="connsiteY151" fmla="*/ 94825 h 273890"/>
                <a:gd name="connsiteX152" fmla="*/ 1243189 w 1394458"/>
                <a:gd name="connsiteY152" fmla="*/ 116532 h 273890"/>
                <a:gd name="connsiteX153" fmla="*/ 1247357 w 1394458"/>
                <a:gd name="connsiteY153" fmla="*/ 149013 h 273890"/>
                <a:gd name="connsiteX154" fmla="*/ 1247357 w 1394458"/>
                <a:gd name="connsiteY154" fmla="*/ 270413 h 273890"/>
                <a:gd name="connsiteX155" fmla="*/ 1205329 w 1394458"/>
                <a:gd name="connsiteY155" fmla="*/ 270413 h 273890"/>
                <a:gd name="connsiteX156" fmla="*/ 1205329 w 1394458"/>
                <a:gd name="connsiteY156" fmla="*/ 148837 h 273890"/>
                <a:gd name="connsiteX157" fmla="*/ 1201336 w 1394458"/>
                <a:gd name="connsiteY157" fmla="*/ 127476 h 273890"/>
                <a:gd name="connsiteX158" fmla="*/ 1190047 w 1394458"/>
                <a:gd name="connsiteY158" fmla="*/ 116187 h 273890"/>
                <a:gd name="connsiteX159" fmla="*/ 1171813 w 1394458"/>
                <a:gd name="connsiteY159" fmla="*/ 112714 h 273890"/>
                <a:gd name="connsiteX160" fmla="*/ 1152533 w 1394458"/>
                <a:gd name="connsiteY160" fmla="*/ 117228 h 273890"/>
                <a:gd name="connsiteX161" fmla="*/ 1138116 w 1394458"/>
                <a:gd name="connsiteY161" fmla="*/ 129557 h 273890"/>
                <a:gd name="connsiteX162" fmla="*/ 1129259 w 1394458"/>
                <a:gd name="connsiteY162" fmla="*/ 147621 h 273890"/>
                <a:gd name="connsiteX163" fmla="*/ 1126132 w 1394458"/>
                <a:gd name="connsiteY163" fmla="*/ 169504 h 273890"/>
                <a:gd name="connsiteX164" fmla="*/ 1346701 w 1394458"/>
                <a:gd name="connsiteY164" fmla="*/ 270418 h 273890"/>
                <a:gd name="connsiteX165" fmla="*/ 1304843 w 1394458"/>
                <a:gd name="connsiteY165" fmla="*/ 270418 h 273890"/>
                <a:gd name="connsiteX166" fmla="*/ 1304843 w 1394458"/>
                <a:gd name="connsiteY166" fmla="*/ 64436 h 273890"/>
                <a:gd name="connsiteX167" fmla="*/ 1312659 w 1394458"/>
                <a:gd name="connsiteY167" fmla="*/ 29178 h 273890"/>
                <a:gd name="connsiteX168" fmla="*/ 1335412 w 1394458"/>
                <a:gd name="connsiteY168" fmla="*/ 7471 h 273890"/>
                <a:gd name="connsiteX169" fmla="*/ 1370319 w 1394458"/>
                <a:gd name="connsiteY169" fmla="*/ 0 h 273890"/>
                <a:gd name="connsiteX170" fmla="*/ 1382649 w 1394458"/>
                <a:gd name="connsiteY170" fmla="*/ 871 h 273890"/>
                <a:gd name="connsiteX171" fmla="*/ 1394458 w 1394458"/>
                <a:gd name="connsiteY171" fmla="*/ 3127 h 273890"/>
                <a:gd name="connsiteX172" fmla="*/ 1393418 w 1394458"/>
                <a:gd name="connsiteY172" fmla="*/ 35433 h 273890"/>
                <a:gd name="connsiteX173" fmla="*/ 1385776 w 1394458"/>
                <a:gd name="connsiteY173" fmla="*/ 34217 h 273890"/>
                <a:gd name="connsiteX174" fmla="*/ 1377095 w 1394458"/>
                <a:gd name="connsiteY174" fmla="*/ 33872 h 273890"/>
                <a:gd name="connsiteX175" fmla="*/ 1360596 w 1394458"/>
                <a:gd name="connsiteY175" fmla="*/ 37519 h 273890"/>
                <a:gd name="connsiteX176" fmla="*/ 1350178 w 1394458"/>
                <a:gd name="connsiteY176" fmla="*/ 47767 h 273890"/>
                <a:gd name="connsiteX177" fmla="*/ 1346706 w 1394458"/>
                <a:gd name="connsiteY177" fmla="*/ 64441 h 273890"/>
                <a:gd name="connsiteX178" fmla="*/ 1346706 w 1394458"/>
                <a:gd name="connsiteY178" fmla="*/ 270423 h 273890"/>
                <a:gd name="connsiteX179" fmla="*/ 1385431 w 1394458"/>
                <a:gd name="connsiteY179" fmla="*/ 82500 h 273890"/>
                <a:gd name="connsiteX180" fmla="*/ 1385431 w 1394458"/>
                <a:gd name="connsiteY180" fmla="*/ 113069 h 273890"/>
                <a:gd name="connsiteX181" fmla="*/ 1276015 w 1394458"/>
                <a:gd name="connsiteY181" fmla="*/ 113069 h 273890"/>
                <a:gd name="connsiteX182" fmla="*/ 1276015 w 1394458"/>
                <a:gd name="connsiteY182" fmla="*/ 82500 h 273890"/>
                <a:gd name="connsiteX183" fmla="*/ 1385431 w 1394458"/>
                <a:gd name="connsiteY183" fmla="*/ 82500 h 2738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</a:cxnLst>
              <a:rect l="l" t="t" r="r" b="b"/>
              <a:pathLst>
                <a:path w="1394458" h="273890">
                  <a:moveTo>
                    <a:pt x="157354" y="188093"/>
                  </a:moveTo>
                  <a:lnTo>
                    <a:pt x="200773" y="188093"/>
                  </a:lnTo>
                  <a:cubicBezTo>
                    <a:pt x="199382" y="204650"/>
                    <a:pt x="194752" y="219411"/>
                    <a:pt x="186877" y="232383"/>
                  </a:cubicBezTo>
                  <a:cubicBezTo>
                    <a:pt x="179003" y="245233"/>
                    <a:pt x="167947" y="255365"/>
                    <a:pt x="153706" y="262777"/>
                  </a:cubicBezTo>
                  <a:cubicBezTo>
                    <a:pt x="139465" y="270185"/>
                    <a:pt x="122155" y="273891"/>
                    <a:pt x="101775" y="273891"/>
                  </a:cubicBezTo>
                  <a:cubicBezTo>
                    <a:pt x="86143" y="273891"/>
                    <a:pt x="72077" y="271114"/>
                    <a:pt x="59572" y="265554"/>
                  </a:cubicBezTo>
                  <a:cubicBezTo>
                    <a:pt x="47067" y="259878"/>
                    <a:pt x="36357" y="251892"/>
                    <a:pt x="27442" y="241585"/>
                  </a:cubicBezTo>
                  <a:cubicBezTo>
                    <a:pt x="18526" y="231162"/>
                    <a:pt x="11697" y="218604"/>
                    <a:pt x="6950" y="203896"/>
                  </a:cubicBezTo>
                  <a:cubicBezTo>
                    <a:pt x="2315" y="189192"/>
                    <a:pt x="0" y="172753"/>
                    <a:pt x="0" y="154577"/>
                  </a:cubicBezTo>
                  <a:lnTo>
                    <a:pt x="0" y="133560"/>
                  </a:lnTo>
                  <a:cubicBezTo>
                    <a:pt x="0" y="115379"/>
                    <a:pt x="2374" y="98940"/>
                    <a:pt x="7121" y="84236"/>
                  </a:cubicBezTo>
                  <a:cubicBezTo>
                    <a:pt x="11984" y="69533"/>
                    <a:pt x="18930" y="56970"/>
                    <a:pt x="27962" y="46552"/>
                  </a:cubicBezTo>
                  <a:cubicBezTo>
                    <a:pt x="36994" y="36017"/>
                    <a:pt x="47816" y="27967"/>
                    <a:pt x="60438" y="22408"/>
                  </a:cubicBezTo>
                  <a:cubicBezTo>
                    <a:pt x="73171" y="16848"/>
                    <a:pt x="87471" y="14071"/>
                    <a:pt x="103336" y="14071"/>
                  </a:cubicBezTo>
                  <a:cubicBezTo>
                    <a:pt x="123482" y="14071"/>
                    <a:pt x="140506" y="17777"/>
                    <a:pt x="154397" y="25185"/>
                  </a:cubicBezTo>
                  <a:cubicBezTo>
                    <a:pt x="168293" y="32597"/>
                    <a:pt x="179056" y="42840"/>
                    <a:pt x="186702" y="55924"/>
                  </a:cubicBezTo>
                  <a:cubicBezTo>
                    <a:pt x="194460" y="69008"/>
                    <a:pt x="199207" y="84003"/>
                    <a:pt x="200943" y="100905"/>
                  </a:cubicBezTo>
                  <a:lnTo>
                    <a:pt x="157524" y="100905"/>
                  </a:lnTo>
                  <a:cubicBezTo>
                    <a:pt x="156367" y="90019"/>
                    <a:pt x="153818" y="80700"/>
                    <a:pt x="149883" y="72943"/>
                  </a:cubicBezTo>
                  <a:cubicBezTo>
                    <a:pt x="146065" y="65185"/>
                    <a:pt x="140389" y="59280"/>
                    <a:pt x="132865" y="55229"/>
                  </a:cubicBezTo>
                  <a:cubicBezTo>
                    <a:pt x="125340" y="51060"/>
                    <a:pt x="115496" y="48974"/>
                    <a:pt x="103341" y="48974"/>
                  </a:cubicBezTo>
                  <a:cubicBezTo>
                    <a:pt x="93385" y="48974"/>
                    <a:pt x="84698" y="50827"/>
                    <a:pt x="77291" y="54533"/>
                  </a:cubicBezTo>
                  <a:cubicBezTo>
                    <a:pt x="69878" y="58239"/>
                    <a:pt x="63687" y="63682"/>
                    <a:pt x="58706" y="70861"/>
                  </a:cubicBezTo>
                  <a:cubicBezTo>
                    <a:pt x="53730" y="78040"/>
                    <a:pt x="49966" y="86897"/>
                    <a:pt x="47417" y="97432"/>
                  </a:cubicBezTo>
                  <a:cubicBezTo>
                    <a:pt x="44985" y="107850"/>
                    <a:pt x="43769" y="119776"/>
                    <a:pt x="43769" y="133210"/>
                  </a:cubicBezTo>
                  <a:lnTo>
                    <a:pt x="43769" y="154572"/>
                  </a:lnTo>
                  <a:cubicBezTo>
                    <a:pt x="43769" y="167305"/>
                    <a:pt x="44869" y="178886"/>
                    <a:pt x="47067" y="189304"/>
                  </a:cubicBezTo>
                  <a:cubicBezTo>
                    <a:pt x="49382" y="199611"/>
                    <a:pt x="52855" y="208468"/>
                    <a:pt x="57490" y="215875"/>
                  </a:cubicBezTo>
                  <a:cubicBezTo>
                    <a:pt x="62237" y="223288"/>
                    <a:pt x="68259" y="229017"/>
                    <a:pt x="75550" y="233069"/>
                  </a:cubicBezTo>
                  <a:cubicBezTo>
                    <a:pt x="82845" y="237120"/>
                    <a:pt x="91585" y="239149"/>
                    <a:pt x="101775" y="239149"/>
                  </a:cubicBezTo>
                  <a:cubicBezTo>
                    <a:pt x="114163" y="239149"/>
                    <a:pt x="124178" y="237179"/>
                    <a:pt x="131824" y="233244"/>
                  </a:cubicBezTo>
                  <a:cubicBezTo>
                    <a:pt x="139582" y="229309"/>
                    <a:pt x="145428" y="223575"/>
                    <a:pt x="149363" y="216050"/>
                  </a:cubicBezTo>
                  <a:cubicBezTo>
                    <a:pt x="153414" y="208409"/>
                    <a:pt x="156080" y="199090"/>
                    <a:pt x="157354" y="188088"/>
                  </a:cubicBezTo>
                  <a:close/>
                  <a:moveTo>
                    <a:pt x="313837" y="270418"/>
                  </a:moveTo>
                  <a:lnTo>
                    <a:pt x="259825" y="270418"/>
                  </a:lnTo>
                  <a:lnTo>
                    <a:pt x="260170" y="235856"/>
                  </a:lnTo>
                  <a:lnTo>
                    <a:pt x="313837" y="235856"/>
                  </a:lnTo>
                  <a:cubicBezTo>
                    <a:pt x="329469" y="235856"/>
                    <a:pt x="342553" y="232441"/>
                    <a:pt x="353088" y="225608"/>
                  </a:cubicBezTo>
                  <a:cubicBezTo>
                    <a:pt x="363740" y="218779"/>
                    <a:pt x="371731" y="208993"/>
                    <a:pt x="377057" y="196255"/>
                  </a:cubicBezTo>
                  <a:cubicBezTo>
                    <a:pt x="382499" y="183521"/>
                    <a:pt x="385218" y="168351"/>
                    <a:pt x="385218" y="150754"/>
                  </a:cubicBezTo>
                  <a:lnTo>
                    <a:pt x="385218" y="137033"/>
                  </a:lnTo>
                  <a:cubicBezTo>
                    <a:pt x="385218" y="123371"/>
                    <a:pt x="383657" y="111269"/>
                    <a:pt x="380530" y="100734"/>
                  </a:cubicBezTo>
                  <a:cubicBezTo>
                    <a:pt x="377519" y="90199"/>
                    <a:pt x="373005" y="81342"/>
                    <a:pt x="366984" y="74163"/>
                  </a:cubicBezTo>
                  <a:cubicBezTo>
                    <a:pt x="361079" y="66984"/>
                    <a:pt x="353784" y="61542"/>
                    <a:pt x="345102" y="57840"/>
                  </a:cubicBezTo>
                  <a:cubicBezTo>
                    <a:pt x="336532" y="54134"/>
                    <a:pt x="326634" y="52281"/>
                    <a:pt x="315403" y="52281"/>
                  </a:cubicBezTo>
                  <a:lnTo>
                    <a:pt x="258784" y="52281"/>
                  </a:lnTo>
                  <a:lnTo>
                    <a:pt x="258784" y="17544"/>
                  </a:lnTo>
                  <a:lnTo>
                    <a:pt x="315403" y="17544"/>
                  </a:lnTo>
                  <a:cubicBezTo>
                    <a:pt x="332193" y="17544"/>
                    <a:pt x="347534" y="20379"/>
                    <a:pt x="361429" y="26055"/>
                  </a:cubicBezTo>
                  <a:cubicBezTo>
                    <a:pt x="375325" y="31615"/>
                    <a:pt x="387310" y="39660"/>
                    <a:pt x="397383" y="50195"/>
                  </a:cubicBezTo>
                  <a:cubicBezTo>
                    <a:pt x="407572" y="60730"/>
                    <a:pt x="415389" y="73351"/>
                    <a:pt x="420826" y="88054"/>
                  </a:cubicBezTo>
                  <a:cubicBezTo>
                    <a:pt x="426269" y="102758"/>
                    <a:pt x="428988" y="119202"/>
                    <a:pt x="428988" y="137378"/>
                  </a:cubicBezTo>
                  <a:lnTo>
                    <a:pt x="428988" y="150754"/>
                  </a:lnTo>
                  <a:cubicBezTo>
                    <a:pt x="428988" y="168930"/>
                    <a:pt x="426269" y="185374"/>
                    <a:pt x="420826" y="200078"/>
                  </a:cubicBezTo>
                  <a:cubicBezTo>
                    <a:pt x="415384" y="214781"/>
                    <a:pt x="407568" y="227403"/>
                    <a:pt x="397383" y="237938"/>
                  </a:cubicBezTo>
                  <a:cubicBezTo>
                    <a:pt x="387193" y="248356"/>
                    <a:pt x="375038" y="256405"/>
                    <a:pt x="360909" y="262077"/>
                  </a:cubicBezTo>
                  <a:cubicBezTo>
                    <a:pt x="346896" y="267636"/>
                    <a:pt x="331211" y="270413"/>
                    <a:pt x="313842" y="270413"/>
                  </a:cubicBezTo>
                  <a:close/>
                  <a:moveTo>
                    <a:pt x="283964" y="17544"/>
                  </a:moveTo>
                  <a:lnTo>
                    <a:pt x="283964" y="270418"/>
                  </a:lnTo>
                  <a:lnTo>
                    <a:pt x="240369" y="270418"/>
                  </a:lnTo>
                  <a:lnTo>
                    <a:pt x="240369" y="17544"/>
                  </a:lnTo>
                  <a:lnTo>
                    <a:pt x="283964" y="17544"/>
                  </a:lnTo>
                  <a:close/>
                  <a:moveTo>
                    <a:pt x="519299" y="17544"/>
                  </a:moveTo>
                  <a:lnTo>
                    <a:pt x="519299" y="270418"/>
                  </a:lnTo>
                  <a:lnTo>
                    <a:pt x="475705" y="270418"/>
                  </a:lnTo>
                  <a:lnTo>
                    <a:pt x="475705" y="17544"/>
                  </a:lnTo>
                  <a:lnTo>
                    <a:pt x="519299" y="17544"/>
                  </a:lnTo>
                  <a:close/>
                  <a:moveTo>
                    <a:pt x="811424" y="188093"/>
                  </a:moveTo>
                  <a:lnTo>
                    <a:pt x="854843" y="188093"/>
                  </a:lnTo>
                  <a:cubicBezTo>
                    <a:pt x="853452" y="204650"/>
                    <a:pt x="848822" y="219411"/>
                    <a:pt x="840947" y="232383"/>
                  </a:cubicBezTo>
                  <a:cubicBezTo>
                    <a:pt x="833073" y="245233"/>
                    <a:pt x="822017" y="255365"/>
                    <a:pt x="807776" y="262777"/>
                  </a:cubicBezTo>
                  <a:cubicBezTo>
                    <a:pt x="793535" y="270185"/>
                    <a:pt x="776225" y="273891"/>
                    <a:pt x="755845" y="273891"/>
                  </a:cubicBezTo>
                  <a:cubicBezTo>
                    <a:pt x="740213" y="273891"/>
                    <a:pt x="726147" y="271114"/>
                    <a:pt x="713642" y="265554"/>
                  </a:cubicBezTo>
                  <a:cubicBezTo>
                    <a:pt x="701137" y="259878"/>
                    <a:pt x="690427" y="251892"/>
                    <a:pt x="681512" y="241585"/>
                  </a:cubicBezTo>
                  <a:cubicBezTo>
                    <a:pt x="672596" y="231162"/>
                    <a:pt x="665768" y="218604"/>
                    <a:pt x="661021" y="203896"/>
                  </a:cubicBezTo>
                  <a:cubicBezTo>
                    <a:pt x="656390" y="189192"/>
                    <a:pt x="654075" y="172748"/>
                    <a:pt x="654075" y="154572"/>
                  </a:cubicBezTo>
                  <a:lnTo>
                    <a:pt x="654075" y="133555"/>
                  </a:lnTo>
                  <a:cubicBezTo>
                    <a:pt x="654075" y="115374"/>
                    <a:pt x="656449" y="98935"/>
                    <a:pt x="661196" y="84231"/>
                  </a:cubicBezTo>
                  <a:cubicBezTo>
                    <a:pt x="666059" y="69528"/>
                    <a:pt x="673005" y="56965"/>
                    <a:pt x="682037" y="46547"/>
                  </a:cubicBezTo>
                  <a:cubicBezTo>
                    <a:pt x="691069" y="36012"/>
                    <a:pt x="701891" y="27962"/>
                    <a:pt x="714513" y="22403"/>
                  </a:cubicBezTo>
                  <a:cubicBezTo>
                    <a:pt x="727246" y="16843"/>
                    <a:pt x="741546" y="14066"/>
                    <a:pt x="757411" y="14066"/>
                  </a:cubicBezTo>
                  <a:cubicBezTo>
                    <a:pt x="777557" y="14066"/>
                    <a:pt x="794581" y="17772"/>
                    <a:pt x="808472" y="25180"/>
                  </a:cubicBezTo>
                  <a:cubicBezTo>
                    <a:pt x="822368" y="32592"/>
                    <a:pt x="833131" y="42836"/>
                    <a:pt x="840777" y="55919"/>
                  </a:cubicBezTo>
                  <a:cubicBezTo>
                    <a:pt x="848535" y="69003"/>
                    <a:pt x="853282" y="83998"/>
                    <a:pt x="855018" y="100900"/>
                  </a:cubicBezTo>
                  <a:lnTo>
                    <a:pt x="811599" y="100900"/>
                  </a:lnTo>
                  <a:cubicBezTo>
                    <a:pt x="810442" y="90015"/>
                    <a:pt x="807893" y="80695"/>
                    <a:pt x="803958" y="72938"/>
                  </a:cubicBezTo>
                  <a:cubicBezTo>
                    <a:pt x="800140" y="65180"/>
                    <a:pt x="794464" y="59275"/>
                    <a:pt x="786940" y="55224"/>
                  </a:cubicBezTo>
                  <a:cubicBezTo>
                    <a:pt x="779415" y="51055"/>
                    <a:pt x="769571" y="48969"/>
                    <a:pt x="757416" y="48969"/>
                  </a:cubicBezTo>
                  <a:cubicBezTo>
                    <a:pt x="747460" y="48969"/>
                    <a:pt x="738773" y="50822"/>
                    <a:pt x="731366" y="54528"/>
                  </a:cubicBezTo>
                  <a:cubicBezTo>
                    <a:pt x="723953" y="58234"/>
                    <a:pt x="717762" y="63677"/>
                    <a:pt x="712781" y="70856"/>
                  </a:cubicBezTo>
                  <a:cubicBezTo>
                    <a:pt x="707801" y="78035"/>
                    <a:pt x="704041" y="86892"/>
                    <a:pt x="701492" y="97427"/>
                  </a:cubicBezTo>
                  <a:cubicBezTo>
                    <a:pt x="699060" y="107845"/>
                    <a:pt x="697844" y="119771"/>
                    <a:pt x="697844" y="133205"/>
                  </a:cubicBezTo>
                  <a:lnTo>
                    <a:pt x="697844" y="154567"/>
                  </a:lnTo>
                  <a:cubicBezTo>
                    <a:pt x="697844" y="167300"/>
                    <a:pt x="698944" y="178881"/>
                    <a:pt x="701142" y="189299"/>
                  </a:cubicBezTo>
                  <a:cubicBezTo>
                    <a:pt x="703457" y="199606"/>
                    <a:pt x="706930" y="208463"/>
                    <a:pt x="711565" y="215870"/>
                  </a:cubicBezTo>
                  <a:cubicBezTo>
                    <a:pt x="716312" y="223283"/>
                    <a:pt x="722334" y="229012"/>
                    <a:pt x="729629" y="233064"/>
                  </a:cubicBezTo>
                  <a:cubicBezTo>
                    <a:pt x="736925" y="237116"/>
                    <a:pt x="745665" y="239144"/>
                    <a:pt x="755855" y="239144"/>
                  </a:cubicBezTo>
                  <a:cubicBezTo>
                    <a:pt x="768243" y="239144"/>
                    <a:pt x="778258" y="237174"/>
                    <a:pt x="785904" y="233239"/>
                  </a:cubicBezTo>
                  <a:cubicBezTo>
                    <a:pt x="793661" y="229304"/>
                    <a:pt x="799508" y="223570"/>
                    <a:pt x="803443" y="216046"/>
                  </a:cubicBezTo>
                  <a:cubicBezTo>
                    <a:pt x="807494" y="208405"/>
                    <a:pt x="810159" y="199085"/>
                    <a:pt x="811434" y="188084"/>
                  </a:cubicBezTo>
                  <a:close/>
                  <a:moveTo>
                    <a:pt x="882285" y="178541"/>
                  </a:moveTo>
                  <a:lnTo>
                    <a:pt x="882285" y="174548"/>
                  </a:lnTo>
                  <a:cubicBezTo>
                    <a:pt x="882285" y="161002"/>
                    <a:pt x="884255" y="148439"/>
                    <a:pt x="888190" y="136858"/>
                  </a:cubicBezTo>
                  <a:cubicBezTo>
                    <a:pt x="892124" y="125165"/>
                    <a:pt x="897800" y="115034"/>
                    <a:pt x="905208" y="106464"/>
                  </a:cubicBezTo>
                  <a:cubicBezTo>
                    <a:pt x="912732" y="97782"/>
                    <a:pt x="921881" y="91065"/>
                    <a:pt x="932650" y="86318"/>
                  </a:cubicBezTo>
                  <a:cubicBezTo>
                    <a:pt x="943535" y="81454"/>
                    <a:pt x="955806" y="79022"/>
                    <a:pt x="969469" y="79022"/>
                  </a:cubicBezTo>
                  <a:cubicBezTo>
                    <a:pt x="983131" y="79022"/>
                    <a:pt x="995519" y="81454"/>
                    <a:pt x="1006288" y="86318"/>
                  </a:cubicBezTo>
                  <a:cubicBezTo>
                    <a:pt x="1017173" y="91065"/>
                    <a:pt x="1026375" y="97782"/>
                    <a:pt x="1033899" y="106464"/>
                  </a:cubicBezTo>
                  <a:cubicBezTo>
                    <a:pt x="1041424" y="115034"/>
                    <a:pt x="1047158" y="125165"/>
                    <a:pt x="1051093" y="136858"/>
                  </a:cubicBezTo>
                  <a:cubicBezTo>
                    <a:pt x="1055028" y="148439"/>
                    <a:pt x="1056998" y="160997"/>
                    <a:pt x="1056998" y="174548"/>
                  </a:cubicBezTo>
                  <a:lnTo>
                    <a:pt x="1056998" y="178541"/>
                  </a:lnTo>
                  <a:cubicBezTo>
                    <a:pt x="1056998" y="192086"/>
                    <a:pt x="1055028" y="204650"/>
                    <a:pt x="1051093" y="216230"/>
                  </a:cubicBezTo>
                  <a:cubicBezTo>
                    <a:pt x="1047153" y="227806"/>
                    <a:pt x="1041424" y="237938"/>
                    <a:pt x="1033899" y="246624"/>
                  </a:cubicBezTo>
                  <a:cubicBezTo>
                    <a:pt x="1026375" y="255194"/>
                    <a:pt x="1017226" y="261906"/>
                    <a:pt x="1006458" y="266770"/>
                  </a:cubicBezTo>
                  <a:cubicBezTo>
                    <a:pt x="995689" y="271517"/>
                    <a:pt x="983476" y="273891"/>
                    <a:pt x="969814" y="273891"/>
                  </a:cubicBezTo>
                  <a:cubicBezTo>
                    <a:pt x="956151" y="273891"/>
                    <a:pt x="943705" y="271517"/>
                    <a:pt x="932820" y="266770"/>
                  </a:cubicBezTo>
                  <a:cubicBezTo>
                    <a:pt x="922051" y="261906"/>
                    <a:pt x="912907" y="255189"/>
                    <a:pt x="905378" y="246624"/>
                  </a:cubicBezTo>
                  <a:cubicBezTo>
                    <a:pt x="897854" y="237942"/>
                    <a:pt x="892119" y="227811"/>
                    <a:pt x="888185" y="216230"/>
                  </a:cubicBezTo>
                  <a:cubicBezTo>
                    <a:pt x="884245" y="204650"/>
                    <a:pt x="882280" y="192086"/>
                    <a:pt x="882280" y="178541"/>
                  </a:cubicBezTo>
                  <a:close/>
                  <a:moveTo>
                    <a:pt x="924143" y="174548"/>
                  </a:moveTo>
                  <a:lnTo>
                    <a:pt x="924143" y="178541"/>
                  </a:lnTo>
                  <a:cubicBezTo>
                    <a:pt x="924143" y="186994"/>
                    <a:pt x="925013" y="194980"/>
                    <a:pt x="926750" y="202510"/>
                  </a:cubicBezTo>
                  <a:cubicBezTo>
                    <a:pt x="928486" y="210034"/>
                    <a:pt x="931210" y="216634"/>
                    <a:pt x="934911" y="222310"/>
                  </a:cubicBezTo>
                  <a:cubicBezTo>
                    <a:pt x="938617" y="227981"/>
                    <a:pt x="943365" y="232441"/>
                    <a:pt x="949152" y="235681"/>
                  </a:cubicBezTo>
                  <a:cubicBezTo>
                    <a:pt x="954940" y="238925"/>
                    <a:pt x="961832" y="240545"/>
                    <a:pt x="969819" y="240545"/>
                  </a:cubicBezTo>
                  <a:cubicBezTo>
                    <a:pt x="977805" y="240545"/>
                    <a:pt x="984293" y="238925"/>
                    <a:pt x="989965" y="235681"/>
                  </a:cubicBezTo>
                  <a:cubicBezTo>
                    <a:pt x="995753" y="232441"/>
                    <a:pt x="1000500" y="227981"/>
                    <a:pt x="1004206" y="222310"/>
                  </a:cubicBezTo>
                  <a:cubicBezTo>
                    <a:pt x="1007912" y="216634"/>
                    <a:pt x="1010631" y="210039"/>
                    <a:pt x="1012367" y="202510"/>
                  </a:cubicBezTo>
                  <a:cubicBezTo>
                    <a:pt x="1014220" y="194985"/>
                    <a:pt x="1015145" y="186994"/>
                    <a:pt x="1015145" y="178541"/>
                  </a:cubicBezTo>
                  <a:lnTo>
                    <a:pt x="1015145" y="174548"/>
                  </a:lnTo>
                  <a:cubicBezTo>
                    <a:pt x="1015145" y="166211"/>
                    <a:pt x="1014220" y="158336"/>
                    <a:pt x="1012367" y="150929"/>
                  </a:cubicBezTo>
                  <a:cubicBezTo>
                    <a:pt x="1010631" y="143405"/>
                    <a:pt x="1007854" y="136746"/>
                    <a:pt x="1004031" y="130958"/>
                  </a:cubicBezTo>
                  <a:cubicBezTo>
                    <a:pt x="1000325" y="125170"/>
                    <a:pt x="995578" y="120652"/>
                    <a:pt x="989790" y="117412"/>
                  </a:cubicBezTo>
                  <a:cubicBezTo>
                    <a:pt x="984118" y="114056"/>
                    <a:pt x="977343" y="112378"/>
                    <a:pt x="969469" y="112378"/>
                  </a:cubicBezTo>
                  <a:cubicBezTo>
                    <a:pt x="961594" y="112378"/>
                    <a:pt x="954765" y="114056"/>
                    <a:pt x="948977" y="117412"/>
                  </a:cubicBezTo>
                  <a:cubicBezTo>
                    <a:pt x="943301" y="120657"/>
                    <a:pt x="938613" y="125170"/>
                    <a:pt x="934911" y="130958"/>
                  </a:cubicBezTo>
                  <a:cubicBezTo>
                    <a:pt x="931205" y="136746"/>
                    <a:pt x="928486" y="143405"/>
                    <a:pt x="926750" y="150929"/>
                  </a:cubicBezTo>
                  <a:cubicBezTo>
                    <a:pt x="925013" y="158341"/>
                    <a:pt x="924143" y="166211"/>
                    <a:pt x="924143" y="174548"/>
                  </a:cubicBezTo>
                  <a:close/>
                  <a:moveTo>
                    <a:pt x="1133598" y="122617"/>
                  </a:moveTo>
                  <a:lnTo>
                    <a:pt x="1133598" y="270418"/>
                  </a:lnTo>
                  <a:lnTo>
                    <a:pt x="1091745" y="270418"/>
                  </a:lnTo>
                  <a:lnTo>
                    <a:pt x="1091745" y="82495"/>
                  </a:lnTo>
                  <a:lnTo>
                    <a:pt x="1131171" y="82495"/>
                  </a:lnTo>
                  <a:lnTo>
                    <a:pt x="1133603" y="122617"/>
                  </a:lnTo>
                  <a:close/>
                  <a:moveTo>
                    <a:pt x="1126132" y="169509"/>
                  </a:moveTo>
                  <a:lnTo>
                    <a:pt x="1112586" y="169334"/>
                  </a:lnTo>
                  <a:cubicBezTo>
                    <a:pt x="1112703" y="156016"/>
                    <a:pt x="1114556" y="143803"/>
                    <a:pt x="1118145" y="132690"/>
                  </a:cubicBezTo>
                  <a:cubicBezTo>
                    <a:pt x="1121852" y="121576"/>
                    <a:pt x="1126944" y="112023"/>
                    <a:pt x="1133428" y="104032"/>
                  </a:cubicBezTo>
                  <a:cubicBezTo>
                    <a:pt x="1140028" y="96041"/>
                    <a:pt x="1147902" y="89908"/>
                    <a:pt x="1157046" y="85623"/>
                  </a:cubicBezTo>
                  <a:cubicBezTo>
                    <a:pt x="1166195" y="81226"/>
                    <a:pt x="1176385" y="79022"/>
                    <a:pt x="1187615" y="79022"/>
                  </a:cubicBezTo>
                  <a:cubicBezTo>
                    <a:pt x="1196647" y="79022"/>
                    <a:pt x="1204809" y="80297"/>
                    <a:pt x="1212105" y="82840"/>
                  </a:cubicBezTo>
                  <a:cubicBezTo>
                    <a:pt x="1219517" y="85272"/>
                    <a:pt x="1225825" y="89265"/>
                    <a:pt x="1231034" y="94825"/>
                  </a:cubicBezTo>
                  <a:cubicBezTo>
                    <a:pt x="1236360" y="100384"/>
                    <a:pt x="1240412" y="107617"/>
                    <a:pt x="1243189" y="116532"/>
                  </a:cubicBezTo>
                  <a:cubicBezTo>
                    <a:pt x="1245966" y="125331"/>
                    <a:pt x="1247357" y="136157"/>
                    <a:pt x="1247357" y="149013"/>
                  </a:cubicBezTo>
                  <a:lnTo>
                    <a:pt x="1247357" y="270413"/>
                  </a:lnTo>
                  <a:lnTo>
                    <a:pt x="1205329" y="270413"/>
                  </a:lnTo>
                  <a:lnTo>
                    <a:pt x="1205329" y="148837"/>
                  </a:lnTo>
                  <a:cubicBezTo>
                    <a:pt x="1205329" y="139805"/>
                    <a:pt x="1203996" y="132685"/>
                    <a:pt x="1201336" y="127476"/>
                  </a:cubicBezTo>
                  <a:cubicBezTo>
                    <a:pt x="1198787" y="122150"/>
                    <a:pt x="1195028" y="118385"/>
                    <a:pt x="1190047" y="116187"/>
                  </a:cubicBezTo>
                  <a:cubicBezTo>
                    <a:pt x="1185183" y="113872"/>
                    <a:pt x="1179104" y="112714"/>
                    <a:pt x="1171813" y="112714"/>
                  </a:cubicBezTo>
                  <a:cubicBezTo>
                    <a:pt x="1164522" y="112714"/>
                    <a:pt x="1158209" y="114217"/>
                    <a:pt x="1152533" y="117228"/>
                  </a:cubicBezTo>
                  <a:cubicBezTo>
                    <a:pt x="1146861" y="120238"/>
                    <a:pt x="1142056" y="124348"/>
                    <a:pt x="1138116" y="129557"/>
                  </a:cubicBezTo>
                  <a:cubicBezTo>
                    <a:pt x="1134293" y="134766"/>
                    <a:pt x="1131341" y="140788"/>
                    <a:pt x="1129259" y="147621"/>
                  </a:cubicBezTo>
                  <a:cubicBezTo>
                    <a:pt x="1127178" y="154450"/>
                    <a:pt x="1126132" y="161746"/>
                    <a:pt x="1126132" y="169504"/>
                  </a:cubicBezTo>
                  <a:close/>
                  <a:moveTo>
                    <a:pt x="1346701" y="270418"/>
                  </a:moveTo>
                  <a:lnTo>
                    <a:pt x="1304843" y="270418"/>
                  </a:lnTo>
                  <a:lnTo>
                    <a:pt x="1304843" y="64436"/>
                  </a:lnTo>
                  <a:cubicBezTo>
                    <a:pt x="1304843" y="50428"/>
                    <a:pt x="1307450" y="38672"/>
                    <a:pt x="1312659" y="29178"/>
                  </a:cubicBezTo>
                  <a:cubicBezTo>
                    <a:pt x="1317985" y="19567"/>
                    <a:pt x="1325567" y="12330"/>
                    <a:pt x="1335412" y="7471"/>
                  </a:cubicBezTo>
                  <a:cubicBezTo>
                    <a:pt x="1345256" y="2490"/>
                    <a:pt x="1356890" y="0"/>
                    <a:pt x="1370319" y="0"/>
                  </a:cubicBezTo>
                  <a:cubicBezTo>
                    <a:pt x="1374488" y="0"/>
                    <a:pt x="1378597" y="292"/>
                    <a:pt x="1382649" y="871"/>
                  </a:cubicBezTo>
                  <a:cubicBezTo>
                    <a:pt x="1386701" y="1333"/>
                    <a:pt x="1390640" y="2087"/>
                    <a:pt x="1394458" y="3127"/>
                  </a:cubicBezTo>
                  <a:lnTo>
                    <a:pt x="1393418" y="35433"/>
                  </a:lnTo>
                  <a:cubicBezTo>
                    <a:pt x="1391102" y="34854"/>
                    <a:pt x="1388554" y="34450"/>
                    <a:pt x="1385776" y="34217"/>
                  </a:cubicBezTo>
                  <a:cubicBezTo>
                    <a:pt x="1383116" y="33983"/>
                    <a:pt x="1380217" y="33872"/>
                    <a:pt x="1377095" y="33872"/>
                  </a:cubicBezTo>
                  <a:cubicBezTo>
                    <a:pt x="1370728" y="33872"/>
                    <a:pt x="1365227" y="35088"/>
                    <a:pt x="1360596" y="37519"/>
                  </a:cubicBezTo>
                  <a:cubicBezTo>
                    <a:pt x="1356083" y="39835"/>
                    <a:pt x="1352605" y="43249"/>
                    <a:pt x="1350178" y="47767"/>
                  </a:cubicBezTo>
                  <a:cubicBezTo>
                    <a:pt x="1347863" y="52286"/>
                    <a:pt x="1346706" y="57840"/>
                    <a:pt x="1346706" y="64441"/>
                  </a:cubicBezTo>
                  <a:lnTo>
                    <a:pt x="1346706" y="270423"/>
                  </a:lnTo>
                  <a:close/>
                  <a:moveTo>
                    <a:pt x="1385431" y="82500"/>
                  </a:moveTo>
                  <a:lnTo>
                    <a:pt x="1385431" y="113069"/>
                  </a:lnTo>
                  <a:lnTo>
                    <a:pt x="1276015" y="113069"/>
                  </a:lnTo>
                  <a:lnTo>
                    <a:pt x="1276015" y="82500"/>
                  </a:lnTo>
                  <a:lnTo>
                    <a:pt x="1385431" y="82500"/>
                  </a:lnTo>
                  <a:close/>
                </a:path>
              </a:pathLst>
            </a:custGeom>
            <a:solidFill>
              <a:srgbClr val="EE3431"/>
            </a:solidFill>
            <a:ln w="4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6" name="Полилиния: фигура 45">
              <a:extLst>
                <a:ext uri="{FF2B5EF4-FFF2-40B4-BE49-F238E27FC236}">
                  <a16:creationId xmlns:a16="http://schemas.microsoft.com/office/drawing/2014/main" id="{EB80AEA3-6D76-4813-B83E-E98064CA7762}"/>
                </a:ext>
              </a:extLst>
            </p:cNvPr>
            <p:cNvSpPr/>
            <p:nvPr/>
          </p:nvSpPr>
          <p:spPr>
            <a:xfrm>
              <a:off x="7406975" y="5855999"/>
              <a:ext cx="1394458" cy="273890"/>
            </a:xfrm>
            <a:custGeom>
              <a:avLst/>
              <a:gdLst>
                <a:gd name="connsiteX0" fmla="*/ 157354 w 1394458"/>
                <a:gd name="connsiteY0" fmla="*/ 188093 h 273890"/>
                <a:gd name="connsiteX1" fmla="*/ 200773 w 1394458"/>
                <a:gd name="connsiteY1" fmla="*/ 188093 h 273890"/>
                <a:gd name="connsiteX2" fmla="*/ 186877 w 1394458"/>
                <a:gd name="connsiteY2" fmla="*/ 232383 h 273890"/>
                <a:gd name="connsiteX3" fmla="*/ 153706 w 1394458"/>
                <a:gd name="connsiteY3" fmla="*/ 262777 h 273890"/>
                <a:gd name="connsiteX4" fmla="*/ 101775 w 1394458"/>
                <a:gd name="connsiteY4" fmla="*/ 273891 h 273890"/>
                <a:gd name="connsiteX5" fmla="*/ 59572 w 1394458"/>
                <a:gd name="connsiteY5" fmla="*/ 265554 h 273890"/>
                <a:gd name="connsiteX6" fmla="*/ 27442 w 1394458"/>
                <a:gd name="connsiteY6" fmla="*/ 241585 h 273890"/>
                <a:gd name="connsiteX7" fmla="*/ 6950 w 1394458"/>
                <a:gd name="connsiteY7" fmla="*/ 203901 h 273890"/>
                <a:gd name="connsiteX8" fmla="*/ 0 w 1394458"/>
                <a:gd name="connsiteY8" fmla="*/ 154572 h 273890"/>
                <a:gd name="connsiteX9" fmla="*/ 0 w 1394458"/>
                <a:gd name="connsiteY9" fmla="*/ 133555 h 273890"/>
                <a:gd name="connsiteX10" fmla="*/ 7121 w 1394458"/>
                <a:gd name="connsiteY10" fmla="*/ 84231 h 273890"/>
                <a:gd name="connsiteX11" fmla="*/ 27962 w 1394458"/>
                <a:gd name="connsiteY11" fmla="*/ 46542 h 273890"/>
                <a:gd name="connsiteX12" fmla="*/ 60438 w 1394458"/>
                <a:gd name="connsiteY12" fmla="*/ 22403 h 273890"/>
                <a:gd name="connsiteX13" fmla="*/ 103336 w 1394458"/>
                <a:gd name="connsiteY13" fmla="*/ 14066 h 273890"/>
                <a:gd name="connsiteX14" fmla="*/ 154397 w 1394458"/>
                <a:gd name="connsiteY14" fmla="*/ 25180 h 273890"/>
                <a:gd name="connsiteX15" fmla="*/ 186702 w 1394458"/>
                <a:gd name="connsiteY15" fmla="*/ 55919 h 273890"/>
                <a:gd name="connsiteX16" fmla="*/ 200943 w 1394458"/>
                <a:gd name="connsiteY16" fmla="*/ 100900 h 273890"/>
                <a:gd name="connsiteX17" fmla="*/ 157524 w 1394458"/>
                <a:gd name="connsiteY17" fmla="*/ 100900 h 273890"/>
                <a:gd name="connsiteX18" fmla="*/ 149883 w 1394458"/>
                <a:gd name="connsiteY18" fmla="*/ 72938 h 273890"/>
                <a:gd name="connsiteX19" fmla="*/ 132865 w 1394458"/>
                <a:gd name="connsiteY19" fmla="*/ 55224 h 273890"/>
                <a:gd name="connsiteX20" fmla="*/ 103341 w 1394458"/>
                <a:gd name="connsiteY20" fmla="*/ 48969 h 273890"/>
                <a:gd name="connsiteX21" fmla="*/ 77291 w 1394458"/>
                <a:gd name="connsiteY21" fmla="*/ 54528 h 273890"/>
                <a:gd name="connsiteX22" fmla="*/ 58706 w 1394458"/>
                <a:gd name="connsiteY22" fmla="*/ 70856 h 273890"/>
                <a:gd name="connsiteX23" fmla="*/ 47417 w 1394458"/>
                <a:gd name="connsiteY23" fmla="*/ 97427 h 273890"/>
                <a:gd name="connsiteX24" fmla="*/ 43769 w 1394458"/>
                <a:gd name="connsiteY24" fmla="*/ 133205 h 273890"/>
                <a:gd name="connsiteX25" fmla="*/ 43769 w 1394458"/>
                <a:gd name="connsiteY25" fmla="*/ 154567 h 273890"/>
                <a:gd name="connsiteX26" fmla="*/ 47067 w 1394458"/>
                <a:gd name="connsiteY26" fmla="*/ 189304 h 273890"/>
                <a:gd name="connsiteX27" fmla="*/ 57490 w 1394458"/>
                <a:gd name="connsiteY27" fmla="*/ 215875 h 273890"/>
                <a:gd name="connsiteX28" fmla="*/ 75550 w 1394458"/>
                <a:gd name="connsiteY28" fmla="*/ 233069 h 273890"/>
                <a:gd name="connsiteX29" fmla="*/ 101775 w 1394458"/>
                <a:gd name="connsiteY29" fmla="*/ 239149 h 273890"/>
                <a:gd name="connsiteX30" fmla="*/ 131824 w 1394458"/>
                <a:gd name="connsiteY30" fmla="*/ 233244 h 273890"/>
                <a:gd name="connsiteX31" fmla="*/ 149363 w 1394458"/>
                <a:gd name="connsiteY31" fmla="*/ 216050 h 273890"/>
                <a:gd name="connsiteX32" fmla="*/ 157354 w 1394458"/>
                <a:gd name="connsiteY32" fmla="*/ 188088 h 273890"/>
                <a:gd name="connsiteX33" fmla="*/ 313837 w 1394458"/>
                <a:gd name="connsiteY33" fmla="*/ 270418 h 273890"/>
                <a:gd name="connsiteX34" fmla="*/ 259825 w 1394458"/>
                <a:gd name="connsiteY34" fmla="*/ 270418 h 273890"/>
                <a:gd name="connsiteX35" fmla="*/ 260170 w 1394458"/>
                <a:gd name="connsiteY35" fmla="*/ 235856 h 273890"/>
                <a:gd name="connsiteX36" fmla="*/ 313837 w 1394458"/>
                <a:gd name="connsiteY36" fmla="*/ 235856 h 273890"/>
                <a:gd name="connsiteX37" fmla="*/ 353088 w 1394458"/>
                <a:gd name="connsiteY37" fmla="*/ 225608 h 273890"/>
                <a:gd name="connsiteX38" fmla="*/ 377057 w 1394458"/>
                <a:gd name="connsiteY38" fmla="*/ 196255 h 273890"/>
                <a:gd name="connsiteX39" fmla="*/ 385218 w 1394458"/>
                <a:gd name="connsiteY39" fmla="*/ 150754 h 273890"/>
                <a:gd name="connsiteX40" fmla="*/ 385218 w 1394458"/>
                <a:gd name="connsiteY40" fmla="*/ 137033 h 273890"/>
                <a:gd name="connsiteX41" fmla="*/ 380530 w 1394458"/>
                <a:gd name="connsiteY41" fmla="*/ 100734 h 273890"/>
                <a:gd name="connsiteX42" fmla="*/ 366984 w 1394458"/>
                <a:gd name="connsiteY42" fmla="*/ 74163 h 273890"/>
                <a:gd name="connsiteX43" fmla="*/ 345102 w 1394458"/>
                <a:gd name="connsiteY43" fmla="*/ 57840 h 273890"/>
                <a:gd name="connsiteX44" fmla="*/ 315403 w 1394458"/>
                <a:gd name="connsiteY44" fmla="*/ 52281 h 273890"/>
                <a:gd name="connsiteX45" fmla="*/ 258784 w 1394458"/>
                <a:gd name="connsiteY45" fmla="*/ 52281 h 273890"/>
                <a:gd name="connsiteX46" fmla="*/ 258784 w 1394458"/>
                <a:gd name="connsiteY46" fmla="*/ 17544 h 273890"/>
                <a:gd name="connsiteX47" fmla="*/ 315403 w 1394458"/>
                <a:gd name="connsiteY47" fmla="*/ 17544 h 273890"/>
                <a:gd name="connsiteX48" fmla="*/ 361429 w 1394458"/>
                <a:gd name="connsiteY48" fmla="*/ 26055 h 273890"/>
                <a:gd name="connsiteX49" fmla="*/ 397383 w 1394458"/>
                <a:gd name="connsiteY49" fmla="*/ 50195 h 273890"/>
                <a:gd name="connsiteX50" fmla="*/ 420826 w 1394458"/>
                <a:gd name="connsiteY50" fmla="*/ 88054 h 273890"/>
                <a:gd name="connsiteX51" fmla="*/ 428988 w 1394458"/>
                <a:gd name="connsiteY51" fmla="*/ 137378 h 273890"/>
                <a:gd name="connsiteX52" fmla="*/ 428988 w 1394458"/>
                <a:gd name="connsiteY52" fmla="*/ 150754 h 273890"/>
                <a:gd name="connsiteX53" fmla="*/ 420826 w 1394458"/>
                <a:gd name="connsiteY53" fmla="*/ 200078 h 273890"/>
                <a:gd name="connsiteX54" fmla="*/ 397383 w 1394458"/>
                <a:gd name="connsiteY54" fmla="*/ 237938 h 273890"/>
                <a:gd name="connsiteX55" fmla="*/ 360909 w 1394458"/>
                <a:gd name="connsiteY55" fmla="*/ 262077 h 273890"/>
                <a:gd name="connsiteX56" fmla="*/ 313842 w 1394458"/>
                <a:gd name="connsiteY56" fmla="*/ 270413 h 273890"/>
                <a:gd name="connsiteX57" fmla="*/ 283964 w 1394458"/>
                <a:gd name="connsiteY57" fmla="*/ 17544 h 273890"/>
                <a:gd name="connsiteX58" fmla="*/ 283964 w 1394458"/>
                <a:gd name="connsiteY58" fmla="*/ 270418 h 273890"/>
                <a:gd name="connsiteX59" fmla="*/ 240369 w 1394458"/>
                <a:gd name="connsiteY59" fmla="*/ 270418 h 273890"/>
                <a:gd name="connsiteX60" fmla="*/ 240369 w 1394458"/>
                <a:gd name="connsiteY60" fmla="*/ 17544 h 273890"/>
                <a:gd name="connsiteX61" fmla="*/ 283964 w 1394458"/>
                <a:gd name="connsiteY61" fmla="*/ 17544 h 273890"/>
                <a:gd name="connsiteX62" fmla="*/ 519299 w 1394458"/>
                <a:gd name="connsiteY62" fmla="*/ 17544 h 273890"/>
                <a:gd name="connsiteX63" fmla="*/ 519299 w 1394458"/>
                <a:gd name="connsiteY63" fmla="*/ 270418 h 273890"/>
                <a:gd name="connsiteX64" fmla="*/ 475705 w 1394458"/>
                <a:gd name="connsiteY64" fmla="*/ 270418 h 273890"/>
                <a:gd name="connsiteX65" fmla="*/ 475705 w 1394458"/>
                <a:gd name="connsiteY65" fmla="*/ 17544 h 273890"/>
                <a:gd name="connsiteX66" fmla="*/ 519299 w 1394458"/>
                <a:gd name="connsiteY66" fmla="*/ 17544 h 273890"/>
                <a:gd name="connsiteX67" fmla="*/ 811424 w 1394458"/>
                <a:gd name="connsiteY67" fmla="*/ 188093 h 273890"/>
                <a:gd name="connsiteX68" fmla="*/ 854843 w 1394458"/>
                <a:gd name="connsiteY68" fmla="*/ 188093 h 273890"/>
                <a:gd name="connsiteX69" fmla="*/ 840947 w 1394458"/>
                <a:gd name="connsiteY69" fmla="*/ 232383 h 273890"/>
                <a:gd name="connsiteX70" fmla="*/ 807776 w 1394458"/>
                <a:gd name="connsiteY70" fmla="*/ 262777 h 273890"/>
                <a:gd name="connsiteX71" fmla="*/ 755845 w 1394458"/>
                <a:gd name="connsiteY71" fmla="*/ 273891 h 273890"/>
                <a:gd name="connsiteX72" fmla="*/ 713642 w 1394458"/>
                <a:gd name="connsiteY72" fmla="*/ 265554 h 273890"/>
                <a:gd name="connsiteX73" fmla="*/ 681512 w 1394458"/>
                <a:gd name="connsiteY73" fmla="*/ 241585 h 273890"/>
                <a:gd name="connsiteX74" fmla="*/ 661021 w 1394458"/>
                <a:gd name="connsiteY74" fmla="*/ 203901 h 273890"/>
                <a:gd name="connsiteX75" fmla="*/ 654075 w 1394458"/>
                <a:gd name="connsiteY75" fmla="*/ 154577 h 273890"/>
                <a:gd name="connsiteX76" fmla="*/ 654075 w 1394458"/>
                <a:gd name="connsiteY76" fmla="*/ 133560 h 273890"/>
                <a:gd name="connsiteX77" fmla="*/ 661196 w 1394458"/>
                <a:gd name="connsiteY77" fmla="*/ 84236 h 273890"/>
                <a:gd name="connsiteX78" fmla="*/ 682037 w 1394458"/>
                <a:gd name="connsiteY78" fmla="*/ 46547 h 273890"/>
                <a:gd name="connsiteX79" fmla="*/ 714513 w 1394458"/>
                <a:gd name="connsiteY79" fmla="*/ 22408 h 273890"/>
                <a:gd name="connsiteX80" fmla="*/ 757411 w 1394458"/>
                <a:gd name="connsiteY80" fmla="*/ 14071 h 273890"/>
                <a:gd name="connsiteX81" fmla="*/ 808472 w 1394458"/>
                <a:gd name="connsiteY81" fmla="*/ 25185 h 273890"/>
                <a:gd name="connsiteX82" fmla="*/ 840777 w 1394458"/>
                <a:gd name="connsiteY82" fmla="*/ 55924 h 273890"/>
                <a:gd name="connsiteX83" fmla="*/ 855018 w 1394458"/>
                <a:gd name="connsiteY83" fmla="*/ 100905 h 273890"/>
                <a:gd name="connsiteX84" fmla="*/ 811599 w 1394458"/>
                <a:gd name="connsiteY84" fmla="*/ 100905 h 273890"/>
                <a:gd name="connsiteX85" fmla="*/ 803958 w 1394458"/>
                <a:gd name="connsiteY85" fmla="*/ 72943 h 273890"/>
                <a:gd name="connsiteX86" fmla="*/ 786940 w 1394458"/>
                <a:gd name="connsiteY86" fmla="*/ 55229 h 273890"/>
                <a:gd name="connsiteX87" fmla="*/ 757416 w 1394458"/>
                <a:gd name="connsiteY87" fmla="*/ 48974 h 273890"/>
                <a:gd name="connsiteX88" fmla="*/ 731366 w 1394458"/>
                <a:gd name="connsiteY88" fmla="*/ 54533 h 273890"/>
                <a:gd name="connsiteX89" fmla="*/ 712781 w 1394458"/>
                <a:gd name="connsiteY89" fmla="*/ 70861 h 273890"/>
                <a:gd name="connsiteX90" fmla="*/ 701492 w 1394458"/>
                <a:gd name="connsiteY90" fmla="*/ 97432 h 273890"/>
                <a:gd name="connsiteX91" fmla="*/ 697844 w 1394458"/>
                <a:gd name="connsiteY91" fmla="*/ 133210 h 273890"/>
                <a:gd name="connsiteX92" fmla="*/ 697844 w 1394458"/>
                <a:gd name="connsiteY92" fmla="*/ 154572 h 273890"/>
                <a:gd name="connsiteX93" fmla="*/ 701142 w 1394458"/>
                <a:gd name="connsiteY93" fmla="*/ 189309 h 273890"/>
                <a:gd name="connsiteX94" fmla="*/ 711565 w 1394458"/>
                <a:gd name="connsiteY94" fmla="*/ 215880 h 273890"/>
                <a:gd name="connsiteX95" fmla="*/ 729629 w 1394458"/>
                <a:gd name="connsiteY95" fmla="*/ 233074 h 273890"/>
                <a:gd name="connsiteX96" fmla="*/ 755855 w 1394458"/>
                <a:gd name="connsiteY96" fmla="*/ 239154 h 273890"/>
                <a:gd name="connsiteX97" fmla="*/ 785904 w 1394458"/>
                <a:gd name="connsiteY97" fmla="*/ 233249 h 273890"/>
                <a:gd name="connsiteX98" fmla="*/ 803443 w 1394458"/>
                <a:gd name="connsiteY98" fmla="*/ 216055 h 273890"/>
                <a:gd name="connsiteX99" fmla="*/ 811434 w 1394458"/>
                <a:gd name="connsiteY99" fmla="*/ 188093 h 273890"/>
                <a:gd name="connsiteX100" fmla="*/ 882285 w 1394458"/>
                <a:gd name="connsiteY100" fmla="*/ 178541 h 273890"/>
                <a:gd name="connsiteX101" fmla="*/ 882285 w 1394458"/>
                <a:gd name="connsiteY101" fmla="*/ 174548 h 273890"/>
                <a:gd name="connsiteX102" fmla="*/ 888190 w 1394458"/>
                <a:gd name="connsiteY102" fmla="*/ 136858 h 273890"/>
                <a:gd name="connsiteX103" fmla="*/ 905208 w 1394458"/>
                <a:gd name="connsiteY103" fmla="*/ 106464 h 273890"/>
                <a:gd name="connsiteX104" fmla="*/ 932650 w 1394458"/>
                <a:gd name="connsiteY104" fmla="*/ 86318 h 273890"/>
                <a:gd name="connsiteX105" fmla="*/ 969469 w 1394458"/>
                <a:gd name="connsiteY105" fmla="*/ 79022 h 273890"/>
                <a:gd name="connsiteX106" fmla="*/ 1006288 w 1394458"/>
                <a:gd name="connsiteY106" fmla="*/ 86318 h 273890"/>
                <a:gd name="connsiteX107" fmla="*/ 1033899 w 1394458"/>
                <a:gd name="connsiteY107" fmla="*/ 106464 h 273890"/>
                <a:gd name="connsiteX108" fmla="*/ 1051093 w 1394458"/>
                <a:gd name="connsiteY108" fmla="*/ 136858 h 273890"/>
                <a:gd name="connsiteX109" fmla="*/ 1056998 w 1394458"/>
                <a:gd name="connsiteY109" fmla="*/ 174548 h 273890"/>
                <a:gd name="connsiteX110" fmla="*/ 1056998 w 1394458"/>
                <a:gd name="connsiteY110" fmla="*/ 178541 h 273890"/>
                <a:gd name="connsiteX111" fmla="*/ 1051093 w 1394458"/>
                <a:gd name="connsiteY111" fmla="*/ 216226 h 273890"/>
                <a:gd name="connsiteX112" fmla="*/ 1033899 w 1394458"/>
                <a:gd name="connsiteY112" fmla="*/ 246619 h 273890"/>
                <a:gd name="connsiteX113" fmla="*/ 1006458 w 1394458"/>
                <a:gd name="connsiteY113" fmla="*/ 266765 h 273890"/>
                <a:gd name="connsiteX114" fmla="*/ 969814 w 1394458"/>
                <a:gd name="connsiteY114" fmla="*/ 273886 h 273890"/>
                <a:gd name="connsiteX115" fmla="*/ 932820 w 1394458"/>
                <a:gd name="connsiteY115" fmla="*/ 266765 h 273890"/>
                <a:gd name="connsiteX116" fmla="*/ 905378 w 1394458"/>
                <a:gd name="connsiteY116" fmla="*/ 246619 h 273890"/>
                <a:gd name="connsiteX117" fmla="*/ 888185 w 1394458"/>
                <a:gd name="connsiteY117" fmla="*/ 216226 h 273890"/>
                <a:gd name="connsiteX118" fmla="*/ 882280 w 1394458"/>
                <a:gd name="connsiteY118" fmla="*/ 178541 h 273890"/>
                <a:gd name="connsiteX119" fmla="*/ 924143 w 1394458"/>
                <a:gd name="connsiteY119" fmla="*/ 174548 h 273890"/>
                <a:gd name="connsiteX120" fmla="*/ 924143 w 1394458"/>
                <a:gd name="connsiteY120" fmla="*/ 178541 h 273890"/>
                <a:gd name="connsiteX121" fmla="*/ 926750 w 1394458"/>
                <a:gd name="connsiteY121" fmla="*/ 202510 h 273890"/>
                <a:gd name="connsiteX122" fmla="*/ 934911 w 1394458"/>
                <a:gd name="connsiteY122" fmla="*/ 222310 h 273890"/>
                <a:gd name="connsiteX123" fmla="*/ 949152 w 1394458"/>
                <a:gd name="connsiteY123" fmla="*/ 235681 h 273890"/>
                <a:gd name="connsiteX124" fmla="*/ 969819 w 1394458"/>
                <a:gd name="connsiteY124" fmla="*/ 240545 h 273890"/>
                <a:gd name="connsiteX125" fmla="*/ 989965 w 1394458"/>
                <a:gd name="connsiteY125" fmla="*/ 235681 h 273890"/>
                <a:gd name="connsiteX126" fmla="*/ 1004206 w 1394458"/>
                <a:gd name="connsiteY126" fmla="*/ 222310 h 273890"/>
                <a:gd name="connsiteX127" fmla="*/ 1012367 w 1394458"/>
                <a:gd name="connsiteY127" fmla="*/ 202510 h 273890"/>
                <a:gd name="connsiteX128" fmla="*/ 1015145 w 1394458"/>
                <a:gd name="connsiteY128" fmla="*/ 178541 h 273890"/>
                <a:gd name="connsiteX129" fmla="*/ 1015145 w 1394458"/>
                <a:gd name="connsiteY129" fmla="*/ 174548 h 273890"/>
                <a:gd name="connsiteX130" fmla="*/ 1012367 w 1394458"/>
                <a:gd name="connsiteY130" fmla="*/ 150929 h 273890"/>
                <a:gd name="connsiteX131" fmla="*/ 1004031 w 1394458"/>
                <a:gd name="connsiteY131" fmla="*/ 130958 h 273890"/>
                <a:gd name="connsiteX132" fmla="*/ 989790 w 1394458"/>
                <a:gd name="connsiteY132" fmla="*/ 117412 h 273890"/>
                <a:gd name="connsiteX133" fmla="*/ 969469 w 1394458"/>
                <a:gd name="connsiteY133" fmla="*/ 112373 h 273890"/>
                <a:gd name="connsiteX134" fmla="*/ 948977 w 1394458"/>
                <a:gd name="connsiteY134" fmla="*/ 117412 h 273890"/>
                <a:gd name="connsiteX135" fmla="*/ 934911 w 1394458"/>
                <a:gd name="connsiteY135" fmla="*/ 130958 h 273890"/>
                <a:gd name="connsiteX136" fmla="*/ 926750 w 1394458"/>
                <a:gd name="connsiteY136" fmla="*/ 150929 h 273890"/>
                <a:gd name="connsiteX137" fmla="*/ 924143 w 1394458"/>
                <a:gd name="connsiteY137" fmla="*/ 174548 h 273890"/>
                <a:gd name="connsiteX138" fmla="*/ 1133598 w 1394458"/>
                <a:gd name="connsiteY138" fmla="*/ 122617 h 273890"/>
                <a:gd name="connsiteX139" fmla="*/ 1133598 w 1394458"/>
                <a:gd name="connsiteY139" fmla="*/ 270418 h 273890"/>
                <a:gd name="connsiteX140" fmla="*/ 1091745 w 1394458"/>
                <a:gd name="connsiteY140" fmla="*/ 270418 h 273890"/>
                <a:gd name="connsiteX141" fmla="*/ 1091745 w 1394458"/>
                <a:gd name="connsiteY141" fmla="*/ 82495 h 273890"/>
                <a:gd name="connsiteX142" fmla="*/ 1131171 w 1394458"/>
                <a:gd name="connsiteY142" fmla="*/ 82495 h 273890"/>
                <a:gd name="connsiteX143" fmla="*/ 1133603 w 1394458"/>
                <a:gd name="connsiteY143" fmla="*/ 122617 h 273890"/>
                <a:gd name="connsiteX144" fmla="*/ 1126132 w 1394458"/>
                <a:gd name="connsiteY144" fmla="*/ 169509 h 273890"/>
                <a:gd name="connsiteX145" fmla="*/ 1112586 w 1394458"/>
                <a:gd name="connsiteY145" fmla="*/ 169334 h 273890"/>
                <a:gd name="connsiteX146" fmla="*/ 1118145 w 1394458"/>
                <a:gd name="connsiteY146" fmla="*/ 132690 h 273890"/>
                <a:gd name="connsiteX147" fmla="*/ 1133428 w 1394458"/>
                <a:gd name="connsiteY147" fmla="*/ 104032 h 273890"/>
                <a:gd name="connsiteX148" fmla="*/ 1157046 w 1394458"/>
                <a:gd name="connsiteY148" fmla="*/ 85623 h 273890"/>
                <a:gd name="connsiteX149" fmla="*/ 1187615 w 1394458"/>
                <a:gd name="connsiteY149" fmla="*/ 79022 h 273890"/>
                <a:gd name="connsiteX150" fmla="*/ 1212105 w 1394458"/>
                <a:gd name="connsiteY150" fmla="*/ 82840 h 273890"/>
                <a:gd name="connsiteX151" fmla="*/ 1231034 w 1394458"/>
                <a:gd name="connsiteY151" fmla="*/ 94825 h 273890"/>
                <a:gd name="connsiteX152" fmla="*/ 1243189 w 1394458"/>
                <a:gd name="connsiteY152" fmla="*/ 116532 h 273890"/>
                <a:gd name="connsiteX153" fmla="*/ 1247357 w 1394458"/>
                <a:gd name="connsiteY153" fmla="*/ 149008 h 273890"/>
                <a:gd name="connsiteX154" fmla="*/ 1247357 w 1394458"/>
                <a:gd name="connsiteY154" fmla="*/ 270408 h 273890"/>
                <a:gd name="connsiteX155" fmla="*/ 1205329 w 1394458"/>
                <a:gd name="connsiteY155" fmla="*/ 270408 h 273890"/>
                <a:gd name="connsiteX156" fmla="*/ 1205329 w 1394458"/>
                <a:gd name="connsiteY156" fmla="*/ 148833 h 273890"/>
                <a:gd name="connsiteX157" fmla="*/ 1201336 w 1394458"/>
                <a:gd name="connsiteY157" fmla="*/ 127471 h 273890"/>
                <a:gd name="connsiteX158" fmla="*/ 1190047 w 1394458"/>
                <a:gd name="connsiteY158" fmla="*/ 116182 h 273890"/>
                <a:gd name="connsiteX159" fmla="*/ 1171813 w 1394458"/>
                <a:gd name="connsiteY159" fmla="*/ 112709 h 273890"/>
                <a:gd name="connsiteX160" fmla="*/ 1152533 w 1394458"/>
                <a:gd name="connsiteY160" fmla="*/ 117223 h 273890"/>
                <a:gd name="connsiteX161" fmla="*/ 1138116 w 1394458"/>
                <a:gd name="connsiteY161" fmla="*/ 129552 h 273890"/>
                <a:gd name="connsiteX162" fmla="*/ 1129259 w 1394458"/>
                <a:gd name="connsiteY162" fmla="*/ 147617 h 273890"/>
                <a:gd name="connsiteX163" fmla="*/ 1126132 w 1394458"/>
                <a:gd name="connsiteY163" fmla="*/ 169499 h 273890"/>
                <a:gd name="connsiteX164" fmla="*/ 1346701 w 1394458"/>
                <a:gd name="connsiteY164" fmla="*/ 270418 h 273890"/>
                <a:gd name="connsiteX165" fmla="*/ 1304843 w 1394458"/>
                <a:gd name="connsiteY165" fmla="*/ 270418 h 273890"/>
                <a:gd name="connsiteX166" fmla="*/ 1304843 w 1394458"/>
                <a:gd name="connsiteY166" fmla="*/ 64436 h 273890"/>
                <a:gd name="connsiteX167" fmla="*/ 1312659 w 1394458"/>
                <a:gd name="connsiteY167" fmla="*/ 29178 h 273890"/>
                <a:gd name="connsiteX168" fmla="*/ 1335412 w 1394458"/>
                <a:gd name="connsiteY168" fmla="*/ 7471 h 273890"/>
                <a:gd name="connsiteX169" fmla="*/ 1370319 w 1394458"/>
                <a:gd name="connsiteY169" fmla="*/ 0 h 273890"/>
                <a:gd name="connsiteX170" fmla="*/ 1382649 w 1394458"/>
                <a:gd name="connsiteY170" fmla="*/ 871 h 273890"/>
                <a:gd name="connsiteX171" fmla="*/ 1394458 w 1394458"/>
                <a:gd name="connsiteY171" fmla="*/ 3127 h 273890"/>
                <a:gd name="connsiteX172" fmla="*/ 1393418 w 1394458"/>
                <a:gd name="connsiteY172" fmla="*/ 35433 h 273890"/>
                <a:gd name="connsiteX173" fmla="*/ 1385776 w 1394458"/>
                <a:gd name="connsiteY173" fmla="*/ 34217 h 273890"/>
                <a:gd name="connsiteX174" fmla="*/ 1377095 w 1394458"/>
                <a:gd name="connsiteY174" fmla="*/ 33867 h 273890"/>
                <a:gd name="connsiteX175" fmla="*/ 1360596 w 1394458"/>
                <a:gd name="connsiteY175" fmla="*/ 37515 h 273890"/>
                <a:gd name="connsiteX176" fmla="*/ 1350178 w 1394458"/>
                <a:gd name="connsiteY176" fmla="*/ 47763 h 273890"/>
                <a:gd name="connsiteX177" fmla="*/ 1346706 w 1394458"/>
                <a:gd name="connsiteY177" fmla="*/ 64436 h 273890"/>
                <a:gd name="connsiteX178" fmla="*/ 1346706 w 1394458"/>
                <a:gd name="connsiteY178" fmla="*/ 270418 h 273890"/>
                <a:gd name="connsiteX179" fmla="*/ 1385431 w 1394458"/>
                <a:gd name="connsiteY179" fmla="*/ 82500 h 273890"/>
                <a:gd name="connsiteX180" fmla="*/ 1385431 w 1394458"/>
                <a:gd name="connsiteY180" fmla="*/ 113069 h 273890"/>
                <a:gd name="connsiteX181" fmla="*/ 1276015 w 1394458"/>
                <a:gd name="connsiteY181" fmla="*/ 113069 h 273890"/>
                <a:gd name="connsiteX182" fmla="*/ 1276015 w 1394458"/>
                <a:gd name="connsiteY182" fmla="*/ 82500 h 273890"/>
                <a:gd name="connsiteX183" fmla="*/ 1385431 w 1394458"/>
                <a:gd name="connsiteY183" fmla="*/ 82500 h 2738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</a:cxnLst>
              <a:rect l="l" t="t" r="r" b="b"/>
              <a:pathLst>
                <a:path w="1394458" h="273890">
                  <a:moveTo>
                    <a:pt x="157354" y="188093"/>
                  </a:moveTo>
                  <a:lnTo>
                    <a:pt x="200773" y="188093"/>
                  </a:lnTo>
                  <a:cubicBezTo>
                    <a:pt x="199382" y="204650"/>
                    <a:pt x="194752" y="219411"/>
                    <a:pt x="186877" y="232383"/>
                  </a:cubicBezTo>
                  <a:cubicBezTo>
                    <a:pt x="179003" y="245233"/>
                    <a:pt x="167947" y="255365"/>
                    <a:pt x="153706" y="262777"/>
                  </a:cubicBezTo>
                  <a:cubicBezTo>
                    <a:pt x="139465" y="270185"/>
                    <a:pt x="122155" y="273891"/>
                    <a:pt x="101775" y="273891"/>
                  </a:cubicBezTo>
                  <a:cubicBezTo>
                    <a:pt x="86143" y="273891"/>
                    <a:pt x="72077" y="271114"/>
                    <a:pt x="59572" y="265554"/>
                  </a:cubicBezTo>
                  <a:cubicBezTo>
                    <a:pt x="47067" y="259878"/>
                    <a:pt x="36357" y="251892"/>
                    <a:pt x="27442" y="241585"/>
                  </a:cubicBezTo>
                  <a:cubicBezTo>
                    <a:pt x="18526" y="231167"/>
                    <a:pt x="11697" y="218604"/>
                    <a:pt x="6950" y="203901"/>
                  </a:cubicBezTo>
                  <a:cubicBezTo>
                    <a:pt x="2315" y="189192"/>
                    <a:pt x="0" y="172753"/>
                    <a:pt x="0" y="154572"/>
                  </a:cubicBezTo>
                  <a:lnTo>
                    <a:pt x="0" y="133555"/>
                  </a:lnTo>
                  <a:cubicBezTo>
                    <a:pt x="0" y="115379"/>
                    <a:pt x="2374" y="98935"/>
                    <a:pt x="7121" y="84231"/>
                  </a:cubicBezTo>
                  <a:cubicBezTo>
                    <a:pt x="11984" y="69528"/>
                    <a:pt x="18930" y="56965"/>
                    <a:pt x="27962" y="46542"/>
                  </a:cubicBezTo>
                  <a:cubicBezTo>
                    <a:pt x="36994" y="36007"/>
                    <a:pt x="47816" y="27957"/>
                    <a:pt x="60438" y="22403"/>
                  </a:cubicBezTo>
                  <a:cubicBezTo>
                    <a:pt x="73171" y="16843"/>
                    <a:pt x="87471" y="14066"/>
                    <a:pt x="103336" y="14066"/>
                  </a:cubicBezTo>
                  <a:cubicBezTo>
                    <a:pt x="123482" y="14066"/>
                    <a:pt x="140506" y="17772"/>
                    <a:pt x="154397" y="25180"/>
                  </a:cubicBezTo>
                  <a:cubicBezTo>
                    <a:pt x="168293" y="32592"/>
                    <a:pt x="179056" y="42836"/>
                    <a:pt x="186702" y="55919"/>
                  </a:cubicBezTo>
                  <a:cubicBezTo>
                    <a:pt x="194460" y="69003"/>
                    <a:pt x="199207" y="83998"/>
                    <a:pt x="200943" y="100900"/>
                  </a:cubicBezTo>
                  <a:lnTo>
                    <a:pt x="157524" y="100900"/>
                  </a:lnTo>
                  <a:cubicBezTo>
                    <a:pt x="156367" y="90015"/>
                    <a:pt x="153818" y="80695"/>
                    <a:pt x="149883" y="72938"/>
                  </a:cubicBezTo>
                  <a:cubicBezTo>
                    <a:pt x="146065" y="65180"/>
                    <a:pt x="140389" y="59275"/>
                    <a:pt x="132865" y="55224"/>
                  </a:cubicBezTo>
                  <a:cubicBezTo>
                    <a:pt x="125340" y="51055"/>
                    <a:pt x="115496" y="48969"/>
                    <a:pt x="103341" y="48969"/>
                  </a:cubicBezTo>
                  <a:cubicBezTo>
                    <a:pt x="93385" y="48969"/>
                    <a:pt x="84698" y="50822"/>
                    <a:pt x="77291" y="54528"/>
                  </a:cubicBezTo>
                  <a:cubicBezTo>
                    <a:pt x="69878" y="58234"/>
                    <a:pt x="63687" y="63677"/>
                    <a:pt x="58706" y="70856"/>
                  </a:cubicBezTo>
                  <a:cubicBezTo>
                    <a:pt x="53730" y="78035"/>
                    <a:pt x="49966" y="86892"/>
                    <a:pt x="47417" y="97427"/>
                  </a:cubicBezTo>
                  <a:cubicBezTo>
                    <a:pt x="44985" y="107845"/>
                    <a:pt x="43769" y="119771"/>
                    <a:pt x="43769" y="133205"/>
                  </a:cubicBezTo>
                  <a:lnTo>
                    <a:pt x="43769" y="154567"/>
                  </a:lnTo>
                  <a:cubicBezTo>
                    <a:pt x="43769" y="167305"/>
                    <a:pt x="44869" y="178881"/>
                    <a:pt x="47067" y="189304"/>
                  </a:cubicBezTo>
                  <a:cubicBezTo>
                    <a:pt x="49382" y="199611"/>
                    <a:pt x="52855" y="208468"/>
                    <a:pt x="57490" y="215875"/>
                  </a:cubicBezTo>
                  <a:cubicBezTo>
                    <a:pt x="62237" y="223288"/>
                    <a:pt x="68259" y="229017"/>
                    <a:pt x="75550" y="233069"/>
                  </a:cubicBezTo>
                  <a:cubicBezTo>
                    <a:pt x="82845" y="237120"/>
                    <a:pt x="91585" y="239149"/>
                    <a:pt x="101775" y="239149"/>
                  </a:cubicBezTo>
                  <a:cubicBezTo>
                    <a:pt x="114163" y="239149"/>
                    <a:pt x="124178" y="237179"/>
                    <a:pt x="131824" y="233244"/>
                  </a:cubicBezTo>
                  <a:cubicBezTo>
                    <a:pt x="139582" y="229304"/>
                    <a:pt x="145428" y="223575"/>
                    <a:pt x="149363" y="216050"/>
                  </a:cubicBezTo>
                  <a:cubicBezTo>
                    <a:pt x="153414" y="208409"/>
                    <a:pt x="156080" y="199090"/>
                    <a:pt x="157354" y="188088"/>
                  </a:cubicBezTo>
                  <a:close/>
                  <a:moveTo>
                    <a:pt x="313837" y="270418"/>
                  </a:moveTo>
                  <a:lnTo>
                    <a:pt x="259825" y="270418"/>
                  </a:lnTo>
                  <a:lnTo>
                    <a:pt x="260170" y="235856"/>
                  </a:lnTo>
                  <a:lnTo>
                    <a:pt x="313837" y="235856"/>
                  </a:lnTo>
                  <a:cubicBezTo>
                    <a:pt x="329469" y="235856"/>
                    <a:pt x="342553" y="232441"/>
                    <a:pt x="353088" y="225608"/>
                  </a:cubicBezTo>
                  <a:cubicBezTo>
                    <a:pt x="363740" y="218779"/>
                    <a:pt x="371731" y="208993"/>
                    <a:pt x="377057" y="196255"/>
                  </a:cubicBezTo>
                  <a:cubicBezTo>
                    <a:pt x="382499" y="183516"/>
                    <a:pt x="385218" y="168351"/>
                    <a:pt x="385218" y="150754"/>
                  </a:cubicBezTo>
                  <a:lnTo>
                    <a:pt x="385218" y="137033"/>
                  </a:lnTo>
                  <a:cubicBezTo>
                    <a:pt x="385218" y="123371"/>
                    <a:pt x="383657" y="111269"/>
                    <a:pt x="380530" y="100734"/>
                  </a:cubicBezTo>
                  <a:cubicBezTo>
                    <a:pt x="377519" y="90199"/>
                    <a:pt x="373005" y="81342"/>
                    <a:pt x="366984" y="74163"/>
                  </a:cubicBezTo>
                  <a:cubicBezTo>
                    <a:pt x="361079" y="66984"/>
                    <a:pt x="353784" y="61542"/>
                    <a:pt x="345102" y="57840"/>
                  </a:cubicBezTo>
                  <a:cubicBezTo>
                    <a:pt x="336532" y="54134"/>
                    <a:pt x="326634" y="52281"/>
                    <a:pt x="315403" y="52281"/>
                  </a:cubicBezTo>
                  <a:lnTo>
                    <a:pt x="258784" y="52281"/>
                  </a:lnTo>
                  <a:lnTo>
                    <a:pt x="258784" y="17544"/>
                  </a:lnTo>
                  <a:lnTo>
                    <a:pt x="315403" y="17544"/>
                  </a:lnTo>
                  <a:cubicBezTo>
                    <a:pt x="332193" y="17544"/>
                    <a:pt x="347534" y="20379"/>
                    <a:pt x="361429" y="26055"/>
                  </a:cubicBezTo>
                  <a:cubicBezTo>
                    <a:pt x="375325" y="31615"/>
                    <a:pt x="387310" y="39660"/>
                    <a:pt x="397383" y="50195"/>
                  </a:cubicBezTo>
                  <a:cubicBezTo>
                    <a:pt x="407572" y="60730"/>
                    <a:pt x="415389" y="73351"/>
                    <a:pt x="420826" y="88054"/>
                  </a:cubicBezTo>
                  <a:cubicBezTo>
                    <a:pt x="426269" y="102758"/>
                    <a:pt x="428988" y="119202"/>
                    <a:pt x="428988" y="137378"/>
                  </a:cubicBezTo>
                  <a:lnTo>
                    <a:pt x="428988" y="150754"/>
                  </a:lnTo>
                  <a:cubicBezTo>
                    <a:pt x="428988" y="168930"/>
                    <a:pt x="426269" y="185374"/>
                    <a:pt x="420826" y="200078"/>
                  </a:cubicBezTo>
                  <a:cubicBezTo>
                    <a:pt x="415384" y="214781"/>
                    <a:pt x="407568" y="227403"/>
                    <a:pt x="397383" y="237938"/>
                  </a:cubicBezTo>
                  <a:cubicBezTo>
                    <a:pt x="387193" y="248356"/>
                    <a:pt x="375038" y="256405"/>
                    <a:pt x="360909" y="262077"/>
                  </a:cubicBezTo>
                  <a:cubicBezTo>
                    <a:pt x="346896" y="267636"/>
                    <a:pt x="331211" y="270413"/>
                    <a:pt x="313842" y="270413"/>
                  </a:cubicBezTo>
                  <a:close/>
                  <a:moveTo>
                    <a:pt x="283964" y="17544"/>
                  </a:moveTo>
                  <a:lnTo>
                    <a:pt x="283964" y="270418"/>
                  </a:lnTo>
                  <a:lnTo>
                    <a:pt x="240369" y="270418"/>
                  </a:lnTo>
                  <a:lnTo>
                    <a:pt x="240369" y="17544"/>
                  </a:lnTo>
                  <a:lnTo>
                    <a:pt x="283964" y="17544"/>
                  </a:lnTo>
                  <a:close/>
                  <a:moveTo>
                    <a:pt x="519299" y="17544"/>
                  </a:moveTo>
                  <a:lnTo>
                    <a:pt x="519299" y="270418"/>
                  </a:lnTo>
                  <a:lnTo>
                    <a:pt x="475705" y="270418"/>
                  </a:lnTo>
                  <a:lnTo>
                    <a:pt x="475705" y="17544"/>
                  </a:lnTo>
                  <a:lnTo>
                    <a:pt x="519299" y="17544"/>
                  </a:lnTo>
                  <a:close/>
                  <a:moveTo>
                    <a:pt x="811424" y="188093"/>
                  </a:moveTo>
                  <a:lnTo>
                    <a:pt x="854843" y="188093"/>
                  </a:lnTo>
                  <a:cubicBezTo>
                    <a:pt x="853452" y="204650"/>
                    <a:pt x="848822" y="219411"/>
                    <a:pt x="840947" y="232383"/>
                  </a:cubicBezTo>
                  <a:cubicBezTo>
                    <a:pt x="833073" y="245233"/>
                    <a:pt x="822017" y="255365"/>
                    <a:pt x="807776" y="262777"/>
                  </a:cubicBezTo>
                  <a:cubicBezTo>
                    <a:pt x="793535" y="270185"/>
                    <a:pt x="776225" y="273891"/>
                    <a:pt x="755845" y="273891"/>
                  </a:cubicBezTo>
                  <a:cubicBezTo>
                    <a:pt x="740213" y="273891"/>
                    <a:pt x="726147" y="271114"/>
                    <a:pt x="713642" y="265554"/>
                  </a:cubicBezTo>
                  <a:cubicBezTo>
                    <a:pt x="701137" y="259878"/>
                    <a:pt x="690427" y="251892"/>
                    <a:pt x="681512" y="241585"/>
                  </a:cubicBezTo>
                  <a:cubicBezTo>
                    <a:pt x="672596" y="231167"/>
                    <a:pt x="665768" y="218604"/>
                    <a:pt x="661021" y="203901"/>
                  </a:cubicBezTo>
                  <a:cubicBezTo>
                    <a:pt x="656390" y="189197"/>
                    <a:pt x="654075" y="172753"/>
                    <a:pt x="654075" y="154577"/>
                  </a:cubicBezTo>
                  <a:lnTo>
                    <a:pt x="654075" y="133560"/>
                  </a:lnTo>
                  <a:cubicBezTo>
                    <a:pt x="654075" y="115384"/>
                    <a:pt x="656449" y="98940"/>
                    <a:pt x="661196" y="84236"/>
                  </a:cubicBezTo>
                  <a:cubicBezTo>
                    <a:pt x="666059" y="69533"/>
                    <a:pt x="673005" y="56970"/>
                    <a:pt x="682037" y="46547"/>
                  </a:cubicBezTo>
                  <a:cubicBezTo>
                    <a:pt x="691069" y="36012"/>
                    <a:pt x="701891" y="27962"/>
                    <a:pt x="714513" y="22408"/>
                  </a:cubicBezTo>
                  <a:cubicBezTo>
                    <a:pt x="727246" y="16848"/>
                    <a:pt x="741546" y="14071"/>
                    <a:pt x="757411" y="14071"/>
                  </a:cubicBezTo>
                  <a:cubicBezTo>
                    <a:pt x="777557" y="14071"/>
                    <a:pt x="794581" y="17777"/>
                    <a:pt x="808472" y="25185"/>
                  </a:cubicBezTo>
                  <a:cubicBezTo>
                    <a:pt x="822368" y="32597"/>
                    <a:pt x="833131" y="42840"/>
                    <a:pt x="840777" y="55924"/>
                  </a:cubicBezTo>
                  <a:cubicBezTo>
                    <a:pt x="848535" y="69008"/>
                    <a:pt x="853282" y="84003"/>
                    <a:pt x="855018" y="100905"/>
                  </a:cubicBezTo>
                  <a:lnTo>
                    <a:pt x="811599" y="100905"/>
                  </a:lnTo>
                  <a:cubicBezTo>
                    <a:pt x="810442" y="90019"/>
                    <a:pt x="807893" y="80700"/>
                    <a:pt x="803958" y="72943"/>
                  </a:cubicBezTo>
                  <a:cubicBezTo>
                    <a:pt x="800140" y="65185"/>
                    <a:pt x="794464" y="59280"/>
                    <a:pt x="786940" y="55229"/>
                  </a:cubicBezTo>
                  <a:cubicBezTo>
                    <a:pt x="779415" y="51060"/>
                    <a:pt x="769571" y="48974"/>
                    <a:pt x="757416" y="48974"/>
                  </a:cubicBezTo>
                  <a:cubicBezTo>
                    <a:pt x="747460" y="48974"/>
                    <a:pt x="738773" y="50827"/>
                    <a:pt x="731366" y="54533"/>
                  </a:cubicBezTo>
                  <a:cubicBezTo>
                    <a:pt x="723953" y="58239"/>
                    <a:pt x="717762" y="63682"/>
                    <a:pt x="712781" y="70861"/>
                  </a:cubicBezTo>
                  <a:cubicBezTo>
                    <a:pt x="707801" y="78040"/>
                    <a:pt x="704041" y="86897"/>
                    <a:pt x="701492" y="97432"/>
                  </a:cubicBezTo>
                  <a:cubicBezTo>
                    <a:pt x="699060" y="107850"/>
                    <a:pt x="697844" y="119776"/>
                    <a:pt x="697844" y="133210"/>
                  </a:cubicBezTo>
                  <a:lnTo>
                    <a:pt x="697844" y="154572"/>
                  </a:lnTo>
                  <a:cubicBezTo>
                    <a:pt x="697844" y="167310"/>
                    <a:pt x="698944" y="178886"/>
                    <a:pt x="701142" y="189309"/>
                  </a:cubicBezTo>
                  <a:cubicBezTo>
                    <a:pt x="703457" y="199616"/>
                    <a:pt x="706930" y="208473"/>
                    <a:pt x="711565" y="215880"/>
                  </a:cubicBezTo>
                  <a:cubicBezTo>
                    <a:pt x="716312" y="223293"/>
                    <a:pt x="722334" y="229022"/>
                    <a:pt x="729629" y="233074"/>
                  </a:cubicBezTo>
                  <a:cubicBezTo>
                    <a:pt x="736925" y="237125"/>
                    <a:pt x="745665" y="239154"/>
                    <a:pt x="755855" y="239154"/>
                  </a:cubicBezTo>
                  <a:cubicBezTo>
                    <a:pt x="768243" y="239154"/>
                    <a:pt x="778258" y="237184"/>
                    <a:pt x="785904" y="233249"/>
                  </a:cubicBezTo>
                  <a:cubicBezTo>
                    <a:pt x="793661" y="229309"/>
                    <a:pt x="799508" y="223580"/>
                    <a:pt x="803443" y="216055"/>
                  </a:cubicBezTo>
                  <a:cubicBezTo>
                    <a:pt x="807494" y="208414"/>
                    <a:pt x="810159" y="199095"/>
                    <a:pt x="811434" y="188093"/>
                  </a:cubicBezTo>
                  <a:close/>
                  <a:moveTo>
                    <a:pt x="882285" y="178541"/>
                  </a:moveTo>
                  <a:lnTo>
                    <a:pt x="882285" y="174548"/>
                  </a:lnTo>
                  <a:cubicBezTo>
                    <a:pt x="882285" y="161002"/>
                    <a:pt x="884255" y="148439"/>
                    <a:pt x="888190" y="136858"/>
                  </a:cubicBezTo>
                  <a:cubicBezTo>
                    <a:pt x="892124" y="125165"/>
                    <a:pt x="897800" y="115034"/>
                    <a:pt x="905208" y="106464"/>
                  </a:cubicBezTo>
                  <a:cubicBezTo>
                    <a:pt x="912732" y="97782"/>
                    <a:pt x="921881" y="91065"/>
                    <a:pt x="932650" y="86318"/>
                  </a:cubicBezTo>
                  <a:cubicBezTo>
                    <a:pt x="943535" y="81454"/>
                    <a:pt x="955806" y="79022"/>
                    <a:pt x="969469" y="79022"/>
                  </a:cubicBezTo>
                  <a:cubicBezTo>
                    <a:pt x="983131" y="79022"/>
                    <a:pt x="995519" y="81454"/>
                    <a:pt x="1006288" y="86318"/>
                  </a:cubicBezTo>
                  <a:cubicBezTo>
                    <a:pt x="1017173" y="91065"/>
                    <a:pt x="1026375" y="97782"/>
                    <a:pt x="1033899" y="106464"/>
                  </a:cubicBezTo>
                  <a:cubicBezTo>
                    <a:pt x="1041424" y="115034"/>
                    <a:pt x="1047158" y="125165"/>
                    <a:pt x="1051093" y="136858"/>
                  </a:cubicBezTo>
                  <a:cubicBezTo>
                    <a:pt x="1055028" y="148434"/>
                    <a:pt x="1056998" y="160997"/>
                    <a:pt x="1056998" y="174548"/>
                  </a:cubicBezTo>
                  <a:lnTo>
                    <a:pt x="1056998" y="178541"/>
                  </a:lnTo>
                  <a:cubicBezTo>
                    <a:pt x="1056998" y="192086"/>
                    <a:pt x="1055028" y="204650"/>
                    <a:pt x="1051093" y="216226"/>
                  </a:cubicBezTo>
                  <a:cubicBezTo>
                    <a:pt x="1047153" y="227806"/>
                    <a:pt x="1041424" y="237938"/>
                    <a:pt x="1033899" y="246619"/>
                  </a:cubicBezTo>
                  <a:cubicBezTo>
                    <a:pt x="1026375" y="255189"/>
                    <a:pt x="1017226" y="261902"/>
                    <a:pt x="1006458" y="266765"/>
                  </a:cubicBezTo>
                  <a:cubicBezTo>
                    <a:pt x="995689" y="271512"/>
                    <a:pt x="983476" y="273886"/>
                    <a:pt x="969814" y="273886"/>
                  </a:cubicBezTo>
                  <a:cubicBezTo>
                    <a:pt x="956151" y="273886"/>
                    <a:pt x="943705" y="271512"/>
                    <a:pt x="932820" y="266765"/>
                  </a:cubicBezTo>
                  <a:cubicBezTo>
                    <a:pt x="922051" y="261902"/>
                    <a:pt x="912907" y="255189"/>
                    <a:pt x="905378" y="246619"/>
                  </a:cubicBezTo>
                  <a:cubicBezTo>
                    <a:pt x="897854" y="237938"/>
                    <a:pt x="892119" y="227806"/>
                    <a:pt x="888185" y="216226"/>
                  </a:cubicBezTo>
                  <a:cubicBezTo>
                    <a:pt x="884245" y="204650"/>
                    <a:pt x="882280" y="192086"/>
                    <a:pt x="882280" y="178541"/>
                  </a:cubicBezTo>
                  <a:close/>
                  <a:moveTo>
                    <a:pt x="924143" y="174548"/>
                  </a:moveTo>
                  <a:lnTo>
                    <a:pt x="924143" y="178541"/>
                  </a:lnTo>
                  <a:cubicBezTo>
                    <a:pt x="924143" y="186994"/>
                    <a:pt x="925013" y="194980"/>
                    <a:pt x="926750" y="202510"/>
                  </a:cubicBezTo>
                  <a:cubicBezTo>
                    <a:pt x="928486" y="210034"/>
                    <a:pt x="931210" y="216634"/>
                    <a:pt x="934911" y="222310"/>
                  </a:cubicBezTo>
                  <a:cubicBezTo>
                    <a:pt x="938617" y="227981"/>
                    <a:pt x="943365" y="232441"/>
                    <a:pt x="949152" y="235681"/>
                  </a:cubicBezTo>
                  <a:cubicBezTo>
                    <a:pt x="954940" y="238925"/>
                    <a:pt x="961832" y="240545"/>
                    <a:pt x="969819" y="240545"/>
                  </a:cubicBezTo>
                  <a:cubicBezTo>
                    <a:pt x="977805" y="240545"/>
                    <a:pt x="984293" y="238925"/>
                    <a:pt x="989965" y="235681"/>
                  </a:cubicBezTo>
                  <a:cubicBezTo>
                    <a:pt x="995753" y="232441"/>
                    <a:pt x="1000500" y="227981"/>
                    <a:pt x="1004206" y="222310"/>
                  </a:cubicBezTo>
                  <a:cubicBezTo>
                    <a:pt x="1007912" y="216634"/>
                    <a:pt x="1010631" y="210039"/>
                    <a:pt x="1012367" y="202510"/>
                  </a:cubicBezTo>
                  <a:cubicBezTo>
                    <a:pt x="1014220" y="194985"/>
                    <a:pt x="1015145" y="186994"/>
                    <a:pt x="1015145" y="178541"/>
                  </a:cubicBezTo>
                  <a:lnTo>
                    <a:pt x="1015145" y="174548"/>
                  </a:lnTo>
                  <a:cubicBezTo>
                    <a:pt x="1015145" y="166211"/>
                    <a:pt x="1014220" y="158336"/>
                    <a:pt x="1012367" y="150929"/>
                  </a:cubicBezTo>
                  <a:cubicBezTo>
                    <a:pt x="1010631" y="143405"/>
                    <a:pt x="1007854" y="136746"/>
                    <a:pt x="1004031" y="130958"/>
                  </a:cubicBezTo>
                  <a:cubicBezTo>
                    <a:pt x="1000325" y="125170"/>
                    <a:pt x="995578" y="120652"/>
                    <a:pt x="989790" y="117412"/>
                  </a:cubicBezTo>
                  <a:cubicBezTo>
                    <a:pt x="984118" y="114056"/>
                    <a:pt x="977343" y="112373"/>
                    <a:pt x="969469" y="112373"/>
                  </a:cubicBezTo>
                  <a:cubicBezTo>
                    <a:pt x="961594" y="112373"/>
                    <a:pt x="954765" y="114051"/>
                    <a:pt x="948977" y="117412"/>
                  </a:cubicBezTo>
                  <a:cubicBezTo>
                    <a:pt x="943301" y="120657"/>
                    <a:pt x="938613" y="125170"/>
                    <a:pt x="934911" y="130958"/>
                  </a:cubicBezTo>
                  <a:cubicBezTo>
                    <a:pt x="931205" y="136746"/>
                    <a:pt x="928486" y="143405"/>
                    <a:pt x="926750" y="150929"/>
                  </a:cubicBezTo>
                  <a:cubicBezTo>
                    <a:pt x="925013" y="158336"/>
                    <a:pt x="924143" y="166211"/>
                    <a:pt x="924143" y="174548"/>
                  </a:cubicBezTo>
                  <a:close/>
                  <a:moveTo>
                    <a:pt x="1133598" y="122617"/>
                  </a:moveTo>
                  <a:lnTo>
                    <a:pt x="1133598" y="270418"/>
                  </a:lnTo>
                  <a:lnTo>
                    <a:pt x="1091745" y="270418"/>
                  </a:lnTo>
                  <a:lnTo>
                    <a:pt x="1091745" y="82495"/>
                  </a:lnTo>
                  <a:lnTo>
                    <a:pt x="1131171" y="82495"/>
                  </a:lnTo>
                  <a:lnTo>
                    <a:pt x="1133603" y="122617"/>
                  </a:lnTo>
                  <a:close/>
                  <a:moveTo>
                    <a:pt x="1126132" y="169509"/>
                  </a:moveTo>
                  <a:lnTo>
                    <a:pt x="1112586" y="169334"/>
                  </a:lnTo>
                  <a:cubicBezTo>
                    <a:pt x="1112703" y="156016"/>
                    <a:pt x="1114556" y="143803"/>
                    <a:pt x="1118145" y="132690"/>
                  </a:cubicBezTo>
                  <a:cubicBezTo>
                    <a:pt x="1121852" y="121576"/>
                    <a:pt x="1126944" y="112023"/>
                    <a:pt x="1133428" y="104032"/>
                  </a:cubicBezTo>
                  <a:cubicBezTo>
                    <a:pt x="1140028" y="96046"/>
                    <a:pt x="1147902" y="89908"/>
                    <a:pt x="1157046" y="85623"/>
                  </a:cubicBezTo>
                  <a:cubicBezTo>
                    <a:pt x="1166195" y="81226"/>
                    <a:pt x="1176385" y="79022"/>
                    <a:pt x="1187615" y="79022"/>
                  </a:cubicBezTo>
                  <a:cubicBezTo>
                    <a:pt x="1196647" y="79022"/>
                    <a:pt x="1204809" y="80297"/>
                    <a:pt x="1212105" y="82840"/>
                  </a:cubicBezTo>
                  <a:cubicBezTo>
                    <a:pt x="1219517" y="85272"/>
                    <a:pt x="1225825" y="89265"/>
                    <a:pt x="1231034" y="94825"/>
                  </a:cubicBezTo>
                  <a:cubicBezTo>
                    <a:pt x="1236360" y="100384"/>
                    <a:pt x="1240412" y="107617"/>
                    <a:pt x="1243189" y="116532"/>
                  </a:cubicBezTo>
                  <a:cubicBezTo>
                    <a:pt x="1245966" y="125331"/>
                    <a:pt x="1247357" y="136157"/>
                    <a:pt x="1247357" y="149008"/>
                  </a:cubicBezTo>
                  <a:lnTo>
                    <a:pt x="1247357" y="270408"/>
                  </a:lnTo>
                  <a:lnTo>
                    <a:pt x="1205329" y="270408"/>
                  </a:lnTo>
                  <a:lnTo>
                    <a:pt x="1205329" y="148833"/>
                  </a:lnTo>
                  <a:cubicBezTo>
                    <a:pt x="1205329" y="139800"/>
                    <a:pt x="1203996" y="132680"/>
                    <a:pt x="1201336" y="127471"/>
                  </a:cubicBezTo>
                  <a:cubicBezTo>
                    <a:pt x="1198787" y="122145"/>
                    <a:pt x="1195028" y="118380"/>
                    <a:pt x="1190047" y="116182"/>
                  </a:cubicBezTo>
                  <a:cubicBezTo>
                    <a:pt x="1185183" y="113867"/>
                    <a:pt x="1179104" y="112709"/>
                    <a:pt x="1171813" y="112709"/>
                  </a:cubicBezTo>
                  <a:cubicBezTo>
                    <a:pt x="1164522" y="112709"/>
                    <a:pt x="1158209" y="114212"/>
                    <a:pt x="1152533" y="117223"/>
                  </a:cubicBezTo>
                  <a:cubicBezTo>
                    <a:pt x="1146861" y="120233"/>
                    <a:pt x="1142056" y="124343"/>
                    <a:pt x="1138116" y="129552"/>
                  </a:cubicBezTo>
                  <a:cubicBezTo>
                    <a:pt x="1134293" y="134762"/>
                    <a:pt x="1131341" y="140783"/>
                    <a:pt x="1129259" y="147617"/>
                  </a:cubicBezTo>
                  <a:cubicBezTo>
                    <a:pt x="1127178" y="154445"/>
                    <a:pt x="1126132" y="161741"/>
                    <a:pt x="1126132" y="169499"/>
                  </a:cubicBezTo>
                  <a:close/>
                  <a:moveTo>
                    <a:pt x="1346701" y="270418"/>
                  </a:moveTo>
                  <a:lnTo>
                    <a:pt x="1304843" y="270418"/>
                  </a:lnTo>
                  <a:lnTo>
                    <a:pt x="1304843" y="64436"/>
                  </a:lnTo>
                  <a:cubicBezTo>
                    <a:pt x="1304843" y="50428"/>
                    <a:pt x="1307450" y="38672"/>
                    <a:pt x="1312659" y="29178"/>
                  </a:cubicBezTo>
                  <a:cubicBezTo>
                    <a:pt x="1317985" y="19567"/>
                    <a:pt x="1325567" y="12330"/>
                    <a:pt x="1335412" y="7471"/>
                  </a:cubicBezTo>
                  <a:cubicBezTo>
                    <a:pt x="1345256" y="2490"/>
                    <a:pt x="1356890" y="0"/>
                    <a:pt x="1370319" y="0"/>
                  </a:cubicBezTo>
                  <a:cubicBezTo>
                    <a:pt x="1374488" y="0"/>
                    <a:pt x="1378597" y="292"/>
                    <a:pt x="1382649" y="871"/>
                  </a:cubicBezTo>
                  <a:cubicBezTo>
                    <a:pt x="1386701" y="1333"/>
                    <a:pt x="1390640" y="2087"/>
                    <a:pt x="1394458" y="3127"/>
                  </a:cubicBezTo>
                  <a:lnTo>
                    <a:pt x="1393418" y="35433"/>
                  </a:lnTo>
                  <a:cubicBezTo>
                    <a:pt x="1391102" y="34854"/>
                    <a:pt x="1388554" y="34450"/>
                    <a:pt x="1385776" y="34217"/>
                  </a:cubicBezTo>
                  <a:cubicBezTo>
                    <a:pt x="1383116" y="33983"/>
                    <a:pt x="1380217" y="33867"/>
                    <a:pt x="1377095" y="33867"/>
                  </a:cubicBezTo>
                  <a:cubicBezTo>
                    <a:pt x="1370728" y="33867"/>
                    <a:pt x="1365227" y="35083"/>
                    <a:pt x="1360596" y="37515"/>
                  </a:cubicBezTo>
                  <a:cubicBezTo>
                    <a:pt x="1356083" y="39830"/>
                    <a:pt x="1352605" y="43244"/>
                    <a:pt x="1350178" y="47763"/>
                  </a:cubicBezTo>
                  <a:cubicBezTo>
                    <a:pt x="1347863" y="52281"/>
                    <a:pt x="1346706" y="57836"/>
                    <a:pt x="1346706" y="64436"/>
                  </a:cubicBezTo>
                  <a:lnTo>
                    <a:pt x="1346706" y="270418"/>
                  </a:lnTo>
                  <a:close/>
                  <a:moveTo>
                    <a:pt x="1385431" y="82500"/>
                  </a:moveTo>
                  <a:lnTo>
                    <a:pt x="1385431" y="113069"/>
                  </a:lnTo>
                  <a:lnTo>
                    <a:pt x="1276015" y="113069"/>
                  </a:lnTo>
                  <a:lnTo>
                    <a:pt x="1276015" y="82500"/>
                  </a:lnTo>
                  <a:lnTo>
                    <a:pt x="1385431" y="82500"/>
                  </a:lnTo>
                  <a:close/>
                </a:path>
              </a:pathLst>
            </a:custGeom>
            <a:solidFill>
              <a:schemeClr val="tx1"/>
            </a:solidFill>
            <a:ln w="4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7" name="Полилиния: фигура 46">
              <a:extLst>
                <a:ext uri="{FF2B5EF4-FFF2-40B4-BE49-F238E27FC236}">
                  <a16:creationId xmlns:a16="http://schemas.microsoft.com/office/drawing/2014/main" id="{0E6F0FB0-99D0-4190-B058-29B8184B7C5F}"/>
                </a:ext>
              </a:extLst>
            </p:cNvPr>
            <p:cNvSpPr/>
            <p:nvPr/>
          </p:nvSpPr>
          <p:spPr>
            <a:xfrm>
              <a:off x="8902858" y="5892336"/>
              <a:ext cx="774600" cy="259834"/>
            </a:xfrm>
            <a:custGeom>
              <a:avLst/>
              <a:gdLst>
                <a:gd name="connsiteX0" fmla="*/ 174372 w 774600"/>
                <a:gd name="connsiteY0" fmla="*/ 223015 h 259834"/>
                <a:gd name="connsiteX1" fmla="*/ 174372 w 774600"/>
                <a:gd name="connsiteY1" fmla="*/ 256362 h 259834"/>
                <a:gd name="connsiteX2" fmla="*/ 4859 w 774600"/>
                <a:gd name="connsiteY2" fmla="*/ 256362 h 259834"/>
                <a:gd name="connsiteX3" fmla="*/ 4859 w 774600"/>
                <a:gd name="connsiteY3" fmla="*/ 227704 h 259834"/>
                <a:gd name="connsiteX4" fmla="*/ 87193 w 774600"/>
                <a:gd name="connsiteY4" fmla="*/ 137913 h 259834"/>
                <a:gd name="connsiteX5" fmla="*/ 108541 w 774600"/>
                <a:gd name="connsiteY5" fmla="*/ 111513 h 259834"/>
                <a:gd name="connsiteX6" fmla="*/ 119499 w 774600"/>
                <a:gd name="connsiteY6" fmla="*/ 91542 h 259834"/>
                <a:gd name="connsiteX7" fmla="*/ 122797 w 774600"/>
                <a:gd name="connsiteY7" fmla="*/ 73998 h 259834"/>
                <a:gd name="connsiteX8" fmla="*/ 118278 w 774600"/>
                <a:gd name="connsiteY8" fmla="*/ 52981 h 259834"/>
                <a:gd name="connsiteX9" fmla="*/ 105413 w 774600"/>
                <a:gd name="connsiteY9" fmla="*/ 38565 h 259834"/>
                <a:gd name="connsiteX10" fmla="*/ 84752 w 774600"/>
                <a:gd name="connsiteY10" fmla="*/ 33181 h 259834"/>
                <a:gd name="connsiteX11" fmla="*/ 61138 w 774600"/>
                <a:gd name="connsiteY11" fmla="*/ 39261 h 259834"/>
                <a:gd name="connsiteX12" fmla="*/ 46712 w 774600"/>
                <a:gd name="connsiteY12" fmla="*/ 56109 h 259834"/>
                <a:gd name="connsiteX13" fmla="*/ 41853 w 774600"/>
                <a:gd name="connsiteY13" fmla="*/ 80423 h 259834"/>
                <a:gd name="connsiteX14" fmla="*/ 0 w 774600"/>
                <a:gd name="connsiteY14" fmla="*/ 80423 h 259834"/>
                <a:gd name="connsiteX15" fmla="*/ 10083 w 774600"/>
                <a:gd name="connsiteY15" fmla="*/ 40131 h 259834"/>
                <a:gd name="connsiteX16" fmla="*/ 39261 w 774600"/>
                <a:gd name="connsiteY16" fmla="*/ 10953 h 259834"/>
                <a:gd name="connsiteX17" fmla="*/ 85272 w 774600"/>
                <a:gd name="connsiteY17" fmla="*/ 10 h 259834"/>
                <a:gd name="connsiteX18" fmla="*/ 128346 w 774600"/>
                <a:gd name="connsiteY18" fmla="*/ 8521 h 259834"/>
                <a:gd name="connsiteX19" fmla="*/ 155277 w 774600"/>
                <a:gd name="connsiteY19" fmla="*/ 32660 h 259834"/>
                <a:gd name="connsiteX20" fmla="*/ 164654 w 774600"/>
                <a:gd name="connsiteY20" fmla="*/ 69655 h 259834"/>
                <a:gd name="connsiteX21" fmla="*/ 160827 w 774600"/>
                <a:gd name="connsiteY21" fmla="*/ 93103 h 259834"/>
                <a:gd name="connsiteX22" fmla="*/ 149888 w 774600"/>
                <a:gd name="connsiteY22" fmla="*/ 116376 h 259834"/>
                <a:gd name="connsiteX23" fmla="*/ 133400 w 774600"/>
                <a:gd name="connsiteY23" fmla="*/ 139475 h 259834"/>
                <a:gd name="connsiteX24" fmla="*/ 112378 w 774600"/>
                <a:gd name="connsiteY24" fmla="*/ 162748 h 259834"/>
                <a:gd name="connsiteX25" fmla="*/ 57675 w 774600"/>
                <a:gd name="connsiteY25" fmla="*/ 223015 h 259834"/>
                <a:gd name="connsiteX26" fmla="*/ 174377 w 774600"/>
                <a:gd name="connsiteY26" fmla="*/ 223015 h 259834"/>
                <a:gd name="connsiteX27" fmla="*/ 371848 w 774600"/>
                <a:gd name="connsiteY27" fmla="*/ 108735 h 259834"/>
                <a:gd name="connsiteX28" fmla="*/ 371848 w 774600"/>
                <a:gd name="connsiteY28" fmla="*/ 150068 h 259834"/>
                <a:gd name="connsiteX29" fmla="*/ 365938 w 774600"/>
                <a:gd name="connsiteY29" fmla="*/ 200783 h 259834"/>
                <a:gd name="connsiteX30" fmla="*/ 349260 w 774600"/>
                <a:gd name="connsiteY30" fmla="*/ 234650 h 259834"/>
                <a:gd name="connsiteX31" fmla="*/ 323035 w 774600"/>
                <a:gd name="connsiteY31" fmla="*/ 253755 h 259834"/>
                <a:gd name="connsiteX32" fmla="*/ 289168 w 774600"/>
                <a:gd name="connsiteY32" fmla="*/ 259834 h 259834"/>
                <a:gd name="connsiteX33" fmla="*/ 261381 w 774600"/>
                <a:gd name="connsiteY33" fmla="*/ 256011 h 259834"/>
                <a:gd name="connsiteX34" fmla="*/ 238468 w 774600"/>
                <a:gd name="connsiteY34" fmla="*/ 244027 h 259834"/>
                <a:gd name="connsiteX35" fmla="*/ 220914 w 774600"/>
                <a:gd name="connsiteY35" fmla="*/ 223011 h 259834"/>
                <a:gd name="connsiteX36" fmla="*/ 209800 w 774600"/>
                <a:gd name="connsiteY36" fmla="*/ 191921 h 259834"/>
                <a:gd name="connsiteX37" fmla="*/ 205972 w 774600"/>
                <a:gd name="connsiteY37" fmla="*/ 150063 h 259834"/>
                <a:gd name="connsiteX38" fmla="*/ 205972 w 774600"/>
                <a:gd name="connsiteY38" fmla="*/ 108730 h 259834"/>
                <a:gd name="connsiteX39" fmla="*/ 211882 w 774600"/>
                <a:gd name="connsiteY39" fmla="*/ 58366 h 259834"/>
                <a:gd name="connsiteX40" fmla="*/ 228730 w 774600"/>
                <a:gd name="connsiteY40" fmla="*/ 24844 h 259834"/>
                <a:gd name="connsiteX41" fmla="*/ 254786 w 774600"/>
                <a:gd name="connsiteY41" fmla="*/ 5914 h 259834"/>
                <a:gd name="connsiteX42" fmla="*/ 288827 w 774600"/>
                <a:gd name="connsiteY42" fmla="*/ 10 h 259834"/>
                <a:gd name="connsiteX43" fmla="*/ 316614 w 774600"/>
                <a:gd name="connsiteY43" fmla="*/ 3833 h 259834"/>
                <a:gd name="connsiteX44" fmla="*/ 339542 w 774600"/>
                <a:gd name="connsiteY44" fmla="*/ 15467 h 259834"/>
                <a:gd name="connsiteX45" fmla="*/ 356906 w 774600"/>
                <a:gd name="connsiteY45" fmla="*/ 36308 h 259834"/>
                <a:gd name="connsiteX46" fmla="*/ 368020 w 774600"/>
                <a:gd name="connsiteY46" fmla="*/ 67048 h 259834"/>
                <a:gd name="connsiteX47" fmla="*/ 371848 w 774600"/>
                <a:gd name="connsiteY47" fmla="*/ 108730 h 259834"/>
                <a:gd name="connsiteX48" fmla="*/ 329995 w 774600"/>
                <a:gd name="connsiteY48" fmla="*/ 155978 h 259834"/>
                <a:gd name="connsiteX49" fmla="*/ 329995 w 774600"/>
                <a:gd name="connsiteY49" fmla="*/ 102485 h 259834"/>
                <a:gd name="connsiteX50" fmla="*/ 328258 w 774600"/>
                <a:gd name="connsiteY50" fmla="*/ 75914 h 259834"/>
                <a:gd name="connsiteX51" fmla="*/ 323039 w 774600"/>
                <a:gd name="connsiteY51" fmla="*/ 56289 h 259834"/>
                <a:gd name="connsiteX52" fmla="*/ 314708 w 774600"/>
                <a:gd name="connsiteY52" fmla="*/ 43088 h 259834"/>
                <a:gd name="connsiteX53" fmla="*/ 303234 w 774600"/>
                <a:gd name="connsiteY53" fmla="*/ 35623 h 259834"/>
                <a:gd name="connsiteX54" fmla="*/ 288823 w 774600"/>
                <a:gd name="connsiteY54" fmla="*/ 33191 h 259834"/>
                <a:gd name="connsiteX55" fmla="*/ 271459 w 774600"/>
                <a:gd name="connsiteY55" fmla="*/ 37014 h 259834"/>
                <a:gd name="connsiteX56" fmla="*/ 258613 w 774600"/>
                <a:gd name="connsiteY56" fmla="*/ 48823 h 259834"/>
                <a:gd name="connsiteX57" fmla="*/ 250608 w 774600"/>
                <a:gd name="connsiteY57" fmla="*/ 70360 h 259834"/>
                <a:gd name="connsiteX58" fmla="*/ 248015 w 774600"/>
                <a:gd name="connsiteY58" fmla="*/ 102490 h 259834"/>
                <a:gd name="connsiteX59" fmla="*/ 248015 w 774600"/>
                <a:gd name="connsiteY59" fmla="*/ 155982 h 259834"/>
                <a:gd name="connsiteX60" fmla="*/ 249752 w 774600"/>
                <a:gd name="connsiteY60" fmla="*/ 182904 h 259834"/>
                <a:gd name="connsiteX61" fmla="*/ 254956 w 774600"/>
                <a:gd name="connsiteY61" fmla="*/ 202874 h 259834"/>
                <a:gd name="connsiteX62" fmla="*/ 263302 w 774600"/>
                <a:gd name="connsiteY62" fmla="*/ 216420 h 259834"/>
                <a:gd name="connsiteX63" fmla="*/ 274756 w 774600"/>
                <a:gd name="connsiteY63" fmla="*/ 224061 h 259834"/>
                <a:gd name="connsiteX64" fmla="*/ 289168 w 774600"/>
                <a:gd name="connsiteY64" fmla="*/ 226493 h 259834"/>
                <a:gd name="connsiteX65" fmla="*/ 306721 w 774600"/>
                <a:gd name="connsiteY65" fmla="*/ 222670 h 259834"/>
                <a:gd name="connsiteX66" fmla="*/ 319567 w 774600"/>
                <a:gd name="connsiteY66" fmla="*/ 210511 h 259834"/>
                <a:gd name="connsiteX67" fmla="*/ 327383 w 774600"/>
                <a:gd name="connsiteY67" fmla="*/ 188453 h 259834"/>
                <a:gd name="connsiteX68" fmla="*/ 329995 w 774600"/>
                <a:gd name="connsiteY68" fmla="*/ 155978 h 259834"/>
                <a:gd name="connsiteX69" fmla="*/ 578701 w 774600"/>
                <a:gd name="connsiteY69" fmla="*/ 223015 h 259834"/>
                <a:gd name="connsiteX70" fmla="*/ 578701 w 774600"/>
                <a:gd name="connsiteY70" fmla="*/ 256362 h 259834"/>
                <a:gd name="connsiteX71" fmla="*/ 409187 w 774600"/>
                <a:gd name="connsiteY71" fmla="*/ 256362 h 259834"/>
                <a:gd name="connsiteX72" fmla="*/ 409187 w 774600"/>
                <a:gd name="connsiteY72" fmla="*/ 227704 h 259834"/>
                <a:gd name="connsiteX73" fmla="*/ 491507 w 774600"/>
                <a:gd name="connsiteY73" fmla="*/ 137913 h 259834"/>
                <a:gd name="connsiteX74" fmla="*/ 512874 w 774600"/>
                <a:gd name="connsiteY74" fmla="*/ 111513 h 259834"/>
                <a:gd name="connsiteX75" fmla="*/ 523813 w 774600"/>
                <a:gd name="connsiteY75" fmla="*/ 91542 h 259834"/>
                <a:gd name="connsiteX76" fmla="*/ 527110 w 774600"/>
                <a:gd name="connsiteY76" fmla="*/ 73998 h 259834"/>
                <a:gd name="connsiteX77" fmla="*/ 522592 w 774600"/>
                <a:gd name="connsiteY77" fmla="*/ 52981 h 259834"/>
                <a:gd name="connsiteX78" fmla="*/ 509746 w 774600"/>
                <a:gd name="connsiteY78" fmla="*/ 38565 h 259834"/>
                <a:gd name="connsiteX79" fmla="*/ 489085 w 774600"/>
                <a:gd name="connsiteY79" fmla="*/ 33181 h 259834"/>
                <a:gd name="connsiteX80" fmla="*/ 465452 w 774600"/>
                <a:gd name="connsiteY80" fmla="*/ 39261 h 259834"/>
                <a:gd name="connsiteX81" fmla="*/ 451040 w 774600"/>
                <a:gd name="connsiteY81" fmla="*/ 56109 h 259834"/>
                <a:gd name="connsiteX82" fmla="*/ 446181 w 774600"/>
                <a:gd name="connsiteY82" fmla="*/ 80423 h 259834"/>
                <a:gd name="connsiteX83" fmla="*/ 404328 w 774600"/>
                <a:gd name="connsiteY83" fmla="*/ 80423 h 259834"/>
                <a:gd name="connsiteX84" fmla="*/ 414391 w 774600"/>
                <a:gd name="connsiteY84" fmla="*/ 40131 h 259834"/>
                <a:gd name="connsiteX85" fmla="*/ 443569 w 774600"/>
                <a:gd name="connsiteY85" fmla="*/ 10953 h 259834"/>
                <a:gd name="connsiteX86" fmla="*/ 489596 w 774600"/>
                <a:gd name="connsiteY86" fmla="*/ 10 h 259834"/>
                <a:gd name="connsiteX87" fmla="*/ 532670 w 774600"/>
                <a:gd name="connsiteY87" fmla="*/ 8521 h 259834"/>
                <a:gd name="connsiteX88" fmla="*/ 559581 w 774600"/>
                <a:gd name="connsiteY88" fmla="*/ 32660 h 259834"/>
                <a:gd name="connsiteX89" fmla="*/ 568958 w 774600"/>
                <a:gd name="connsiteY89" fmla="*/ 69655 h 259834"/>
                <a:gd name="connsiteX90" fmla="*/ 565145 w 774600"/>
                <a:gd name="connsiteY90" fmla="*/ 93103 h 259834"/>
                <a:gd name="connsiteX91" fmla="*/ 554207 w 774600"/>
                <a:gd name="connsiteY91" fmla="*/ 116376 h 259834"/>
                <a:gd name="connsiteX92" fmla="*/ 537704 w 774600"/>
                <a:gd name="connsiteY92" fmla="*/ 139475 h 259834"/>
                <a:gd name="connsiteX93" fmla="*/ 516697 w 774600"/>
                <a:gd name="connsiteY93" fmla="*/ 162748 h 259834"/>
                <a:gd name="connsiteX94" fmla="*/ 461979 w 774600"/>
                <a:gd name="connsiteY94" fmla="*/ 223015 h 259834"/>
                <a:gd name="connsiteX95" fmla="*/ 578701 w 774600"/>
                <a:gd name="connsiteY95" fmla="*/ 223015 h 259834"/>
                <a:gd name="connsiteX96" fmla="*/ 660505 w 774600"/>
                <a:gd name="connsiteY96" fmla="*/ 110992 h 259834"/>
                <a:gd name="connsiteX97" fmla="*/ 685510 w 774600"/>
                <a:gd name="connsiteY97" fmla="*/ 110992 h 259834"/>
                <a:gd name="connsiteX98" fmla="*/ 709639 w 774600"/>
                <a:gd name="connsiteY98" fmla="*/ 105953 h 259834"/>
                <a:gd name="connsiteX99" fmla="*/ 724065 w 774600"/>
                <a:gd name="connsiteY99" fmla="*/ 92057 h 259834"/>
                <a:gd name="connsiteX100" fmla="*/ 728754 w 774600"/>
                <a:gd name="connsiteY100" fmla="*/ 71736 h 259834"/>
                <a:gd name="connsiteX101" fmla="*/ 724411 w 774600"/>
                <a:gd name="connsiteY101" fmla="*/ 51240 h 259834"/>
                <a:gd name="connsiteX102" fmla="*/ 711565 w 774600"/>
                <a:gd name="connsiteY102" fmla="*/ 37865 h 259834"/>
                <a:gd name="connsiteX103" fmla="*/ 689858 w 774600"/>
                <a:gd name="connsiteY103" fmla="*/ 33176 h 259834"/>
                <a:gd name="connsiteX104" fmla="*/ 669712 w 774600"/>
                <a:gd name="connsiteY104" fmla="*/ 37690 h 259834"/>
                <a:gd name="connsiteX105" fmla="*/ 655626 w 774600"/>
                <a:gd name="connsiteY105" fmla="*/ 50195 h 259834"/>
                <a:gd name="connsiteX106" fmla="*/ 650422 w 774600"/>
                <a:gd name="connsiteY106" fmla="*/ 69300 h 259834"/>
                <a:gd name="connsiteX107" fmla="*/ 608394 w 774600"/>
                <a:gd name="connsiteY107" fmla="*/ 69300 h 259834"/>
                <a:gd name="connsiteX108" fmla="*/ 618992 w 774600"/>
                <a:gd name="connsiteY108" fmla="*/ 33521 h 259834"/>
                <a:gd name="connsiteX109" fmla="*/ 647810 w 774600"/>
                <a:gd name="connsiteY109" fmla="*/ 9032 h 259834"/>
                <a:gd name="connsiteX110" fmla="*/ 689148 w 774600"/>
                <a:gd name="connsiteY110" fmla="*/ 0 h 259834"/>
                <a:gd name="connsiteX111" fmla="*/ 731876 w 774600"/>
                <a:gd name="connsiteY111" fmla="*/ 8161 h 259834"/>
                <a:gd name="connsiteX112" fmla="*/ 760524 w 774600"/>
                <a:gd name="connsiteY112" fmla="*/ 32130 h 259834"/>
                <a:gd name="connsiteX113" fmla="*/ 770777 w 774600"/>
                <a:gd name="connsiteY113" fmla="*/ 71731 h 259834"/>
                <a:gd name="connsiteX114" fmla="*/ 765743 w 774600"/>
                <a:gd name="connsiteY114" fmla="*/ 93614 h 259834"/>
                <a:gd name="connsiteX115" fmla="*/ 750802 w 774600"/>
                <a:gd name="connsiteY115" fmla="*/ 113935 h 259834"/>
                <a:gd name="connsiteX116" fmla="*/ 726137 w 774600"/>
                <a:gd name="connsiteY116" fmla="*/ 128696 h 259834"/>
                <a:gd name="connsiteX117" fmla="*/ 691925 w 774600"/>
                <a:gd name="connsiteY117" fmla="*/ 134256 h 259834"/>
                <a:gd name="connsiteX118" fmla="*/ 660495 w 774600"/>
                <a:gd name="connsiteY118" fmla="*/ 134256 h 259834"/>
                <a:gd name="connsiteX119" fmla="*/ 660495 w 774600"/>
                <a:gd name="connsiteY119" fmla="*/ 110982 h 259834"/>
                <a:gd name="connsiteX120" fmla="*/ 660505 w 774600"/>
                <a:gd name="connsiteY120" fmla="*/ 143643 h 259834"/>
                <a:gd name="connsiteX121" fmla="*/ 660505 w 774600"/>
                <a:gd name="connsiteY121" fmla="*/ 120715 h 259834"/>
                <a:gd name="connsiteX122" fmla="*/ 691935 w 774600"/>
                <a:gd name="connsiteY122" fmla="*/ 120715 h 259834"/>
                <a:gd name="connsiteX123" fmla="*/ 729790 w 774600"/>
                <a:gd name="connsiteY123" fmla="*/ 125924 h 259834"/>
                <a:gd name="connsiteX124" fmla="*/ 755500 w 774600"/>
                <a:gd name="connsiteY124" fmla="*/ 140340 h 259834"/>
                <a:gd name="connsiteX125" fmla="*/ 769911 w 774600"/>
                <a:gd name="connsiteY125" fmla="*/ 161007 h 259834"/>
                <a:gd name="connsiteX126" fmla="*/ 774600 w 774600"/>
                <a:gd name="connsiteY126" fmla="*/ 185671 h 259834"/>
                <a:gd name="connsiteX127" fmla="*/ 768175 w 774600"/>
                <a:gd name="connsiteY127" fmla="*/ 217281 h 259834"/>
                <a:gd name="connsiteX128" fmla="*/ 750296 w 774600"/>
                <a:gd name="connsiteY128" fmla="*/ 240554 h 259834"/>
                <a:gd name="connsiteX129" fmla="*/ 723024 w 774600"/>
                <a:gd name="connsiteY129" fmla="*/ 254971 h 259834"/>
                <a:gd name="connsiteX130" fmla="*/ 689328 w 774600"/>
                <a:gd name="connsiteY130" fmla="*/ 259834 h 259834"/>
                <a:gd name="connsiteX131" fmla="*/ 658068 w 774600"/>
                <a:gd name="connsiteY131" fmla="*/ 255316 h 259834"/>
                <a:gd name="connsiteX132" fmla="*/ 631327 w 774600"/>
                <a:gd name="connsiteY132" fmla="*/ 241945 h 259834"/>
                <a:gd name="connsiteX133" fmla="*/ 612572 w 774600"/>
                <a:gd name="connsiteY133" fmla="*/ 219543 h 259834"/>
                <a:gd name="connsiteX134" fmla="*/ 605787 w 774600"/>
                <a:gd name="connsiteY134" fmla="*/ 188283 h 259834"/>
                <a:gd name="connsiteX135" fmla="*/ 647640 w 774600"/>
                <a:gd name="connsiteY135" fmla="*/ 188283 h 259834"/>
                <a:gd name="connsiteX136" fmla="*/ 652859 w 774600"/>
                <a:gd name="connsiteY136" fmla="*/ 208254 h 259834"/>
                <a:gd name="connsiteX137" fmla="*/ 667786 w 774600"/>
                <a:gd name="connsiteY137" fmla="*/ 221624 h 259834"/>
                <a:gd name="connsiteX138" fmla="*/ 690028 w 774600"/>
                <a:gd name="connsiteY138" fmla="*/ 226488 h 259834"/>
                <a:gd name="connsiteX139" fmla="*/ 712767 w 774600"/>
                <a:gd name="connsiteY139" fmla="*/ 221799 h 259834"/>
                <a:gd name="connsiteX140" fmla="*/ 727363 w 774600"/>
                <a:gd name="connsiteY140" fmla="*/ 207904 h 259834"/>
                <a:gd name="connsiteX141" fmla="*/ 732567 w 774600"/>
                <a:gd name="connsiteY141" fmla="*/ 185671 h 259834"/>
                <a:gd name="connsiteX142" fmla="*/ 726847 w 774600"/>
                <a:gd name="connsiteY142" fmla="*/ 161702 h 259834"/>
                <a:gd name="connsiteX143" fmla="*/ 710515 w 774600"/>
                <a:gd name="connsiteY143" fmla="*/ 148157 h 259834"/>
                <a:gd name="connsiteX144" fmla="*/ 685510 w 774600"/>
                <a:gd name="connsiteY144" fmla="*/ 143643 h 259834"/>
                <a:gd name="connsiteX145" fmla="*/ 660505 w 774600"/>
                <a:gd name="connsiteY145" fmla="*/ 143643 h 2598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</a:cxnLst>
              <a:rect l="l" t="t" r="r" b="b"/>
              <a:pathLst>
                <a:path w="774600" h="259834">
                  <a:moveTo>
                    <a:pt x="174372" y="223015"/>
                  </a:moveTo>
                  <a:lnTo>
                    <a:pt x="174372" y="256362"/>
                  </a:lnTo>
                  <a:lnTo>
                    <a:pt x="4859" y="256362"/>
                  </a:lnTo>
                  <a:lnTo>
                    <a:pt x="4859" y="227704"/>
                  </a:lnTo>
                  <a:lnTo>
                    <a:pt x="87193" y="137913"/>
                  </a:lnTo>
                  <a:cubicBezTo>
                    <a:pt x="96211" y="127724"/>
                    <a:pt x="103336" y="118925"/>
                    <a:pt x="108541" y="111513"/>
                  </a:cubicBezTo>
                  <a:cubicBezTo>
                    <a:pt x="113760" y="104100"/>
                    <a:pt x="117403" y="97446"/>
                    <a:pt x="119499" y="91542"/>
                  </a:cubicBezTo>
                  <a:cubicBezTo>
                    <a:pt x="121697" y="85520"/>
                    <a:pt x="122797" y="79674"/>
                    <a:pt x="122797" y="73998"/>
                  </a:cubicBezTo>
                  <a:cubicBezTo>
                    <a:pt x="122797" y="66012"/>
                    <a:pt x="121284" y="59003"/>
                    <a:pt x="118278" y="52981"/>
                  </a:cubicBezTo>
                  <a:cubicBezTo>
                    <a:pt x="115374" y="46843"/>
                    <a:pt x="111099" y="42038"/>
                    <a:pt x="105413" y="38565"/>
                  </a:cubicBezTo>
                  <a:cubicBezTo>
                    <a:pt x="99747" y="34976"/>
                    <a:pt x="92860" y="33181"/>
                    <a:pt x="84752" y="33181"/>
                  </a:cubicBezTo>
                  <a:cubicBezTo>
                    <a:pt x="75374" y="33181"/>
                    <a:pt x="67510" y="35209"/>
                    <a:pt x="61138" y="39261"/>
                  </a:cubicBezTo>
                  <a:cubicBezTo>
                    <a:pt x="54766" y="43312"/>
                    <a:pt x="49956" y="48930"/>
                    <a:pt x="46712" y="56109"/>
                  </a:cubicBezTo>
                  <a:cubicBezTo>
                    <a:pt x="43482" y="63171"/>
                    <a:pt x="41853" y="71279"/>
                    <a:pt x="41853" y="80423"/>
                  </a:cubicBezTo>
                  <a:lnTo>
                    <a:pt x="0" y="80423"/>
                  </a:lnTo>
                  <a:cubicBezTo>
                    <a:pt x="0" y="65720"/>
                    <a:pt x="3366" y="52286"/>
                    <a:pt x="10083" y="40131"/>
                  </a:cubicBezTo>
                  <a:cubicBezTo>
                    <a:pt x="16800" y="27860"/>
                    <a:pt x="26517" y="18132"/>
                    <a:pt x="39261" y="10953"/>
                  </a:cubicBezTo>
                  <a:cubicBezTo>
                    <a:pt x="51989" y="3658"/>
                    <a:pt x="67325" y="10"/>
                    <a:pt x="85272" y="10"/>
                  </a:cubicBezTo>
                  <a:cubicBezTo>
                    <a:pt x="102189" y="10"/>
                    <a:pt x="116546" y="2845"/>
                    <a:pt x="128346" y="8521"/>
                  </a:cubicBezTo>
                  <a:cubicBezTo>
                    <a:pt x="140160" y="14193"/>
                    <a:pt x="149129" y="22242"/>
                    <a:pt x="155277" y="32660"/>
                  </a:cubicBezTo>
                  <a:cubicBezTo>
                    <a:pt x="161527" y="43079"/>
                    <a:pt x="164654" y="55413"/>
                    <a:pt x="164654" y="69655"/>
                  </a:cubicBezTo>
                  <a:cubicBezTo>
                    <a:pt x="164654" y="77529"/>
                    <a:pt x="163385" y="85345"/>
                    <a:pt x="160827" y="93103"/>
                  </a:cubicBezTo>
                  <a:cubicBezTo>
                    <a:pt x="158283" y="100861"/>
                    <a:pt x="154645" y="108619"/>
                    <a:pt x="149888" y="116376"/>
                  </a:cubicBezTo>
                  <a:cubicBezTo>
                    <a:pt x="145267" y="124017"/>
                    <a:pt x="139757" y="131717"/>
                    <a:pt x="133400" y="139475"/>
                  </a:cubicBezTo>
                  <a:cubicBezTo>
                    <a:pt x="127028" y="147116"/>
                    <a:pt x="120019" y="154873"/>
                    <a:pt x="112378" y="162748"/>
                  </a:cubicBezTo>
                  <a:lnTo>
                    <a:pt x="57675" y="223015"/>
                  </a:lnTo>
                  <a:lnTo>
                    <a:pt x="174377" y="223015"/>
                  </a:lnTo>
                  <a:close/>
                  <a:moveTo>
                    <a:pt x="371848" y="108735"/>
                  </a:moveTo>
                  <a:lnTo>
                    <a:pt x="371848" y="150068"/>
                  </a:lnTo>
                  <a:cubicBezTo>
                    <a:pt x="371848" y="169869"/>
                    <a:pt x="369873" y="186770"/>
                    <a:pt x="365938" y="200783"/>
                  </a:cubicBezTo>
                  <a:cubicBezTo>
                    <a:pt x="362125" y="214674"/>
                    <a:pt x="356561" y="225963"/>
                    <a:pt x="349260" y="234650"/>
                  </a:cubicBezTo>
                  <a:cubicBezTo>
                    <a:pt x="341960" y="243332"/>
                    <a:pt x="333219" y="249703"/>
                    <a:pt x="323035" y="253755"/>
                  </a:cubicBezTo>
                  <a:cubicBezTo>
                    <a:pt x="312971" y="257806"/>
                    <a:pt x="301668" y="259834"/>
                    <a:pt x="289168" y="259834"/>
                  </a:cubicBezTo>
                  <a:cubicBezTo>
                    <a:pt x="279221" y="259834"/>
                    <a:pt x="269951" y="258560"/>
                    <a:pt x="261381" y="256011"/>
                  </a:cubicBezTo>
                  <a:cubicBezTo>
                    <a:pt x="252933" y="253463"/>
                    <a:pt x="245287" y="249470"/>
                    <a:pt x="238468" y="244027"/>
                  </a:cubicBezTo>
                  <a:cubicBezTo>
                    <a:pt x="231634" y="238584"/>
                    <a:pt x="225773" y="231581"/>
                    <a:pt x="220914" y="223011"/>
                  </a:cubicBezTo>
                  <a:cubicBezTo>
                    <a:pt x="216172" y="214329"/>
                    <a:pt x="212466" y="203964"/>
                    <a:pt x="209800" y="191921"/>
                  </a:cubicBezTo>
                  <a:cubicBezTo>
                    <a:pt x="207256" y="179878"/>
                    <a:pt x="205972" y="165929"/>
                    <a:pt x="205972" y="150063"/>
                  </a:cubicBezTo>
                  <a:lnTo>
                    <a:pt x="205972" y="108730"/>
                  </a:lnTo>
                  <a:cubicBezTo>
                    <a:pt x="205972" y="88813"/>
                    <a:pt x="207947" y="72028"/>
                    <a:pt x="211882" y="58366"/>
                  </a:cubicBezTo>
                  <a:cubicBezTo>
                    <a:pt x="215831" y="44587"/>
                    <a:pt x="221430" y="33414"/>
                    <a:pt x="228730" y="24844"/>
                  </a:cubicBezTo>
                  <a:cubicBezTo>
                    <a:pt x="236031" y="16162"/>
                    <a:pt x="244722" y="9849"/>
                    <a:pt x="254786" y="5914"/>
                  </a:cubicBezTo>
                  <a:cubicBezTo>
                    <a:pt x="264970" y="1980"/>
                    <a:pt x="276323" y="10"/>
                    <a:pt x="288827" y="10"/>
                  </a:cubicBezTo>
                  <a:cubicBezTo>
                    <a:pt x="298910" y="10"/>
                    <a:pt x="308166" y="1284"/>
                    <a:pt x="316614" y="3833"/>
                  </a:cubicBezTo>
                  <a:cubicBezTo>
                    <a:pt x="325184" y="6265"/>
                    <a:pt x="332825" y="10141"/>
                    <a:pt x="339542" y="15467"/>
                  </a:cubicBezTo>
                  <a:cubicBezTo>
                    <a:pt x="346376" y="20793"/>
                    <a:pt x="352164" y="27743"/>
                    <a:pt x="356906" y="36308"/>
                  </a:cubicBezTo>
                  <a:cubicBezTo>
                    <a:pt x="361765" y="44762"/>
                    <a:pt x="365476" y="55010"/>
                    <a:pt x="368020" y="67048"/>
                  </a:cubicBezTo>
                  <a:cubicBezTo>
                    <a:pt x="370578" y="78974"/>
                    <a:pt x="371848" y="92870"/>
                    <a:pt x="371848" y="108730"/>
                  </a:cubicBezTo>
                  <a:close/>
                  <a:moveTo>
                    <a:pt x="329995" y="155978"/>
                  </a:moveTo>
                  <a:lnTo>
                    <a:pt x="329995" y="102485"/>
                  </a:lnTo>
                  <a:cubicBezTo>
                    <a:pt x="329995" y="92412"/>
                    <a:pt x="329411" y="83555"/>
                    <a:pt x="328258" y="75914"/>
                  </a:cubicBezTo>
                  <a:cubicBezTo>
                    <a:pt x="327091" y="68157"/>
                    <a:pt x="325355" y="61615"/>
                    <a:pt x="323039" y="56289"/>
                  </a:cubicBezTo>
                  <a:cubicBezTo>
                    <a:pt x="320841" y="50846"/>
                    <a:pt x="318059" y="46445"/>
                    <a:pt x="314708" y="43088"/>
                  </a:cubicBezTo>
                  <a:cubicBezTo>
                    <a:pt x="311342" y="39616"/>
                    <a:pt x="307529" y="37125"/>
                    <a:pt x="303234" y="35623"/>
                  </a:cubicBezTo>
                  <a:cubicBezTo>
                    <a:pt x="298959" y="34003"/>
                    <a:pt x="294148" y="33191"/>
                    <a:pt x="288823" y="33191"/>
                  </a:cubicBezTo>
                  <a:cubicBezTo>
                    <a:pt x="282349" y="33191"/>
                    <a:pt x="276542" y="34465"/>
                    <a:pt x="271459" y="37014"/>
                  </a:cubicBezTo>
                  <a:cubicBezTo>
                    <a:pt x="266357" y="39445"/>
                    <a:pt x="262081" y="43380"/>
                    <a:pt x="258613" y="48823"/>
                  </a:cubicBezTo>
                  <a:cubicBezTo>
                    <a:pt x="255126" y="54266"/>
                    <a:pt x="252466" y="61445"/>
                    <a:pt x="250608" y="70360"/>
                  </a:cubicBezTo>
                  <a:cubicBezTo>
                    <a:pt x="248871" y="79159"/>
                    <a:pt x="248015" y="89869"/>
                    <a:pt x="248015" y="102490"/>
                  </a:cubicBezTo>
                  <a:lnTo>
                    <a:pt x="248015" y="155982"/>
                  </a:lnTo>
                  <a:cubicBezTo>
                    <a:pt x="248015" y="166172"/>
                    <a:pt x="248584" y="175146"/>
                    <a:pt x="249752" y="182904"/>
                  </a:cubicBezTo>
                  <a:cubicBezTo>
                    <a:pt x="250904" y="190661"/>
                    <a:pt x="252636" y="197320"/>
                    <a:pt x="254956" y="202874"/>
                  </a:cubicBezTo>
                  <a:cubicBezTo>
                    <a:pt x="257276" y="208317"/>
                    <a:pt x="260058" y="212831"/>
                    <a:pt x="263302" y="216420"/>
                  </a:cubicBezTo>
                  <a:cubicBezTo>
                    <a:pt x="266653" y="219893"/>
                    <a:pt x="270481" y="222441"/>
                    <a:pt x="274756" y="224061"/>
                  </a:cubicBezTo>
                  <a:cubicBezTo>
                    <a:pt x="279153" y="225681"/>
                    <a:pt x="283964" y="226493"/>
                    <a:pt x="289168" y="226493"/>
                  </a:cubicBezTo>
                  <a:cubicBezTo>
                    <a:pt x="295778" y="226493"/>
                    <a:pt x="301619" y="225219"/>
                    <a:pt x="306721" y="222670"/>
                  </a:cubicBezTo>
                  <a:cubicBezTo>
                    <a:pt x="311804" y="220121"/>
                    <a:pt x="316099" y="216070"/>
                    <a:pt x="319567" y="210511"/>
                  </a:cubicBezTo>
                  <a:cubicBezTo>
                    <a:pt x="323035" y="204839"/>
                    <a:pt x="325646" y="197485"/>
                    <a:pt x="327383" y="188453"/>
                  </a:cubicBezTo>
                  <a:cubicBezTo>
                    <a:pt x="329119" y="179421"/>
                    <a:pt x="329995" y="168594"/>
                    <a:pt x="329995" y="155978"/>
                  </a:cubicBezTo>
                  <a:close/>
                  <a:moveTo>
                    <a:pt x="578701" y="223015"/>
                  </a:moveTo>
                  <a:lnTo>
                    <a:pt x="578701" y="256362"/>
                  </a:lnTo>
                  <a:lnTo>
                    <a:pt x="409187" y="256362"/>
                  </a:lnTo>
                  <a:lnTo>
                    <a:pt x="409187" y="227704"/>
                  </a:lnTo>
                  <a:lnTo>
                    <a:pt x="491507" y="137913"/>
                  </a:lnTo>
                  <a:cubicBezTo>
                    <a:pt x="500539" y="127724"/>
                    <a:pt x="507670" y="118925"/>
                    <a:pt x="512874" y="111513"/>
                  </a:cubicBezTo>
                  <a:cubicBezTo>
                    <a:pt x="518078" y="104100"/>
                    <a:pt x="521736" y="97446"/>
                    <a:pt x="523813" y="91542"/>
                  </a:cubicBezTo>
                  <a:cubicBezTo>
                    <a:pt x="526011" y="85520"/>
                    <a:pt x="527110" y="79674"/>
                    <a:pt x="527110" y="73998"/>
                  </a:cubicBezTo>
                  <a:cubicBezTo>
                    <a:pt x="527110" y="66012"/>
                    <a:pt x="525617" y="59003"/>
                    <a:pt x="522592" y="52981"/>
                  </a:cubicBezTo>
                  <a:cubicBezTo>
                    <a:pt x="519708" y="46843"/>
                    <a:pt x="515413" y="42038"/>
                    <a:pt x="509746" y="38565"/>
                  </a:cubicBezTo>
                  <a:cubicBezTo>
                    <a:pt x="504080" y="34976"/>
                    <a:pt x="497193" y="33181"/>
                    <a:pt x="489085" y="33181"/>
                  </a:cubicBezTo>
                  <a:cubicBezTo>
                    <a:pt x="479708" y="33181"/>
                    <a:pt x="471823" y="35209"/>
                    <a:pt x="465452" y="39261"/>
                  </a:cubicBezTo>
                  <a:cubicBezTo>
                    <a:pt x="459095" y="43312"/>
                    <a:pt x="454289" y="48930"/>
                    <a:pt x="451040" y="56109"/>
                  </a:cubicBezTo>
                  <a:cubicBezTo>
                    <a:pt x="447796" y="63171"/>
                    <a:pt x="446181" y="71279"/>
                    <a:pt x="446181" y="80423"/>
                  </a:cubicBezTo>
                  <a:lnTo>
                    <a:pt x="404328" y="80423"/>
                  </a:lnTo>
                  <a:cubicBezTo>
                    <a:pt x="404328" y="65720"/>
                    <a:pt x="407679" y="52286"/>
                    <a:pt x="414391" y="40131"/>
                  </a:cubicBezTo>
                  <a:cubicBezTo>
                    <a:pt x="421108" y="27860"/>
                    <a:pt x="430846" y="18132"/>
                    <a:pt x="443569" y="10953"/>
                  </a:cubicBezTo>
                  <a:cubicBezTo>
                    <a:pt x="456313" y="3658"/>
                    <a:pt x="471648" y="10"/>
                    <a:pt x="489596" y="10"/>
                  </a:cubicBezTo>
                  <a:cubicBezTo>
                    <a:pt x="506497" y="10"/>
                    <a:pt x="520855" y="2845"/>
                    <a:pt x="532670" y="8521"/>
                  </a:cubicBezTo>
                  <a:cubicBezTo>
                    <a:pt x="544484" y="14193"/>
                    <a:pt x="553453" y="22242"/>
                    <a:pt x="559581" y="32660"/>
                  </a:cubicBezTo>
                  <a:cubicBezTo>
                    <a:pt x="565831" y="43079"/>
                    <a:pt x="568958" y="55413"/>
                    <a:pt x="568958" y="69655"/>
                  </a:cubicBezTo>
                  <a:cubicBezTo>
                    <a:pt x="568958" y="77529"/>
                    <a:pt x="567689" y="85345"/>
                    <a:pt x="565145" y="93103"/>
                  </a:cubicBezTo>
                  <a:cubicBezTo>
                    <a:pt x="562601" y="100861"/>
                    <a:pt x="558944" y="108619"/>
                    <a:pt x="554207" y="116376"/>
                  </a:cubicBezTo>
                  <a:cubicBezTo>
                    <a:pt x="549571" y="124017"/>
                    <a:pt x="544075" y="131717"/>
                    <a:pt x="537704" y="139475"/>
                  </a:cubicBezTo>
                  <a:cubicBezTo>
                    <a:pt x="531332" y="147116"/>
                    <a:pt x="524323" y="154873"/>
                    <a:pt x="516697" y="162748"/>
                  </a:cubicBezTo>
                  <a:lnTo>
                    <a:pt x="461979" y="223015"/>
                  </a:lnTo>
                  <a:lnTo>
                    <a:pt x="578701" y="223015"/>
                  </a:lnTo>
                  <a:close/>
                  <a:moveTo>
                    <a:pt x="660505" y="110992"/>
                  </a:moveTo>
                  <a:lnTo>
                    <a:pt x="685510" y="110992"/>
                  </a:lnTo>
                  <a:cubicBezTo>
                    <a:pt x="695233" y="110992"/>
                    <a:pt x="703287" y="109314"/>
                    <a:pt x="709639" y="105953"/>
                  </a:cubicBezTo>
                  <a:cubicBezTo>
                    <a:pt x="716132" y="102597"/>
                    <a:pt x="720943" y="97962"/>
                    <a:pt x="724065" y="92057"/>
                  </a:cubicBezTo>
                  <a:cubicBezTo>
                    <a:pt x="727188" y="86153"/>
                    <a:pt x="728754" y="79377"/>
                    <a:pt x="728754" y="71736"/>
                  </a:cubicBezTo>
                  <a:cubicBezTo>
                    <a:pt x="728754" y="64095"/>
                    <a:pt x="727295" y="56916"/>
                    <a:pt x="724411" y="51240"/>
                  </a:cubicBezTo>
                  <a:cubicBezTo>
                    <a:pt x="721628" y="45452"/>
                    <a:pt x="717353" y="40992"/>
                    <a:pt x="711565" y="37865"/>
                  </a:cubicBezTo>
                  <a:cubicBezTo>
                    <a:pt x="705879" y="34737"/>
                    <a:pt x="698652" y="33176"/>
                    <a:pt x="689858" y="33176"/>
                  </a:cubicBezTo>
                  <a:cubicBezTo>
                    <a:pt x="682441" y="33176"/>
                    <a:pt x="675724" y="34684"/>
                    <a:pt x="669712" y="37690"/>
                  </a:cubicBezTo>
                  <a:cubicBezTo>
                    <a:pt x="663803" y="40584"/>
                    <a:pt x="659114" y="44752"/>
                    <a:pt x="655626" y="50195"/>
                  </a:cubicBezTo>
                  <a:cubicBezTo>
                    <a:pt x="652159" y="55520"/>
                    <a:pt x="650422" y="61887"/>
                    <a:pt x="650422" y="69300"/>
                  </a:cubicBezTo>
                  <a:lnTo>
                    <a:pt x="608394" y="69300"/>
                  </a:lnTo>
                  <a:cubicBezTo>
                    <a:pt x="608394" y="55871"/>
                    <a:pt x="611916" y="43945"/>
                    <a:pt x="618992" y="33521"/>
                  </a:cubicBezTo>
                  <a:cubicBezTo>
                    <a:pt x="626050" y="23103"/>
                    <a:pt x="635670" y="14937"/>
                    <a:pt x="647810" y="9032"/>
                  </a:cubicBezTo>
                  <a:cubicBezTo>
                    <a:pt x="660092" y="3011"/>
                    <a:pt x="673866" y="0"/>
                    <a:pt x="689148" y="0"/>
                  </a:cubicBezTo>
                  <a:cubicBezTo>
                    <a:pt x="705480" y="0"/>
                    <a:pt x="719717" y="2724"/>
                    <a:pt x="731876" y="8161"/>
                  </a:cubicBezTo>
                  <a:cubicBezTo>
                    <a:pt x="744138" y="13487"/>
                    <a:pt x="753705" y="21479"/>
                    <a:pt x="760524" y="32130"/>
                  </a:cubicBezTo>
                  <a:cubicBezTo>
                    <a:pt x="767358" y="42782"/>
                    <a:pt x="770777" y="55982"/>
                    <a:pt x="770777" y="71731"/>
                  </a:cubicBezTo>
                  <a:cubicBezTo>
                    <a:pt x="770777" y="78910"/>
                    <a:pt x="769094" y="86206"/>
                    <a:pt x="765743" y="93614"/>
                  </a:cubicBezTo>
                  <a:cubicBezTo>
                    <a:pt x="762378" y="101026"/>
                    <a:pt x="757397" y="107797"/>
                    <a:pt x="750802" y="113935"/>
                  </a:cubicBezTo>
                  <a:cubicBezTo>
                    <a:pt x="744206" y="119956"/>
                    <a:pt x="735982" y="124873"/>
                    <a:pt x="726137" y="128696"/>
                  </a:cubicBezTo>
                  <a:cubicBezTo>
                    <a:pt x="716298" y="132403"/>
                    <a:pt x="704892" y="134256"/>
                    <a:pt x="691925" y="134256"/>
                  </a:cubicBezTo>
                  <a:lnTo>
                    <a:pt x="660495" y="134256"/>
                  </a:lnTo>
                  <a:lnTo>
                    <a:pt x="660495" y="110982"/>
                  </a:lnTo>
                  <a:close/>
                  <a:moveTo>
                    <a:pt x="660505" y="143643"/>
                  </a:moveTo>
                  <a:lnTo>
                    <a:pt x="660505" y="120715"/>
                  </a:lnTo>
                  <a:lnTo>
                    <a:pt x="691935" y="120715"/>
                  </a:lnTo>
                  <a:cubicBezTo>
                    <a:pt x="706755" y="120715"/>
                    <a:pt x="719381" y="122451"/>
                    <a:pt x="729790" y="125924"/>
                  </a:cubicBezTo>
                  <a:cubicBezTo>
                    <a:pt x="740335" y="129397"/>
                    <a:pt x="748905" y="134202"/>
                    <a:pt x="755500" y="140340"/>
                  </a:cubicBezTo>
                  <a:cubicBezTo>
                    <a:pt x="762095" y="146362"/>
                    <a:pt x="766906" y="153249"/>
                    <a:pt x="769911" y="161007"/>
                  </a:cubicBezTo>
                  <a:cubicBezTo>
                    <a:pt x="773039" y="168764"/>
                    <a:pt x="774600" y="176984"/>
                    <a:pt x="774600" y="185671"/>
                  </a:cubicBezTo>
                  <a:cubicBezTo>
                    <a:pt x="774600" y="197480"/>
                    <a:pt x="772470" y="208015"/>
                    <a:pt x="768175" y="217281"/>
                  </a:cubicBezTo>
                  <a:cubicBezTo>
                    <a:pt x="764016" y="226430"/>
                    <a:pt x="758044" y="234188"/>
                    <a:pt x="750296" y="240554"/>
                  </a:cubicBezTo>
                  <a:cubicBezTo>
                    <a:pt x="742533" y="246921"/>
                    <a:pt x="733447" y="251726"/>
                    <a:pt x="723024" y="254971"/>
                  </a:cubicBezTo>
                  <a:cubicBezTo>
                    <a:pt x="712718" y="258215"/>
                    <a:pt x="701487" y="259834"/>
                    <a:pt x="689328" y="259834"/>
                  </a:cubicBezTo>
                  <a:cubicBezTo>
                    <a:pt x="678457" y="259834"/>
                    <a:pt x="668029" y="258327"/>
                    <a:pt x="658068" y="255316"/>
                  </a:cubicBezTo>
                  <a:cubicBezTo>
                    <a:pt x="648107" y="252305"/>
                    <a:pt x="639192" y="247850"/>
                    <a:pt x="631327" y="241945"/>
                  </a:cubicBezTo>
                  <a:cubicBezTo>
                    <a:pt x="623443" y="235924"/>
                    <a:pt x="617193" y="228458"/>
                    <a:pt x="612572" y="219543"/>
                  </a:cubicBezTo>
                  <a:cubicBezTo>
                    <a:pt x="608054" y="210511"/>
                    <a:pt x="605787" y="200092"/>
                    <a:pt x="605787" y="188283"/>
                  </a:cubicBezTo>
                  <a:lnTo>
                    <a:pt x="647640" y="188283"/>
                  </a:lnTo>
                  <a:cubicBezTo>
                    <a:pt x="647640" y="195807"/>
                    <a:pt x="649377" y="202466"/>
                    <a:pt x="652859" y="208254"/>
                  </a:cubicBezTo>
                  <a:cubicBezTo>
                    <a:pt x="656449" y="213925"/>
                    <a:pt x="661429" y="218385"/>
                    <a:pt x="667786" y="221624"/>
                  </a:cubicBezTo>
                  <a:cubicBezTo>
                    <a:pt x="674279" y="224869"/>
                    <a:pt x="681682" y="226488"/>
                    <a:pt x="690028" y="226488"/>
                  </a:cubicBezTo>
                  <a:cubicBezTo>
                    <a:pt x="698822" y="226488"/>
                    <a:pt x="706415" y="224927"/>
                    <a:pt x="712767" y="221799"/>
                  </a:cubicBezTo>
                  <a:cubicBezTo>
                    <a:pt x="719138" y="218672"/>
                    <a:pt x="723997" y="214042"/>
                    <a:pt x="727363" y="207904"/>
                  </a:cubicBezTo>
                  <a:cubicBezTo>
                    <a:pt x="730831" y="201765"/>
                    <a:pt x="732567" y="194358"/>
                    <a:pt x="732567" y="185671"/>
                  </a:cubicBezTo>
                  <a:cubicBezTo>
                    <a:pt x="732567" y="175827"/>
                    <a:pt x="730660" y="167840"/>
                    <a:pt x="726847" y="161702"/>
                  </a:cubicBezTo>
                  <a:cubicBezTo>
                    <a:pt x="723019" y="155564"/>
                    <a:pt x="717572" y="151050"/>
                    <a:pt x="710515" y="148157"/>
                  </a:cubicBezTo>
                  <a:cubicBezTo>
                    <a:pt x="703457" y="145146"/>
                    <a:pt x="695111" y="143643"/>
                    <a:pt x="685510" y="143643"/>
                  </a:cubicBezTo>
                  <a:lnTo>
                    <a:pt x="660505" y="143643"/>
                  </a:lnTo>
                  <a:close/>
                </a:path>
              </a:pathLst>
            </a:custGeom>
            <a:solidFill>
              <a:srgbClr val="EE3431"/>
            </a:solidFill>
            <a:ln w="4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8" name="Полилиния: фигура 47">
              <a:extLst>
                <a:ext uri="{FF2B5EF4-FFF2-40B4-BE49-F238E27FC236}">
                  <a16:creationId xmlns:a16="http://schemas.microsoft.com/office/drawing/2014/main" id="{C3ADAD60-17B9-4A06-AE0E-BCB35AB4E7E8}"/>
                </a:ext>
              </a:extLst>
            </p:cNvPr>
            <p:cNvSpPr/>
            <p:nvPr/>
          </p:nvSpPr>
          <p:spPr>
            <a:xfrm>
              <a:off x="8902858" y="5870060"/>
              <a:ext cx="774600" cy="259829"/>
            </a:xfrm>
            <a:custGeom>
              <a:avLst/>
              <a:gdLst>
                <a:gd name="connsiteX0" fmla="*/ 174372 w 774600"/>
                <a:gd name="connsiteY0" fmla="*/ 223011 h 259829"/>
                <a:gd name="connsiteX1" fmla="*/ 174372 w 774600"/>
                <a:gd name="connsiteY1" fmla="*/ 256357 h 259829"/>
                <a:gd name="connsiteX2" fmla="*/ 4859 w 774600"/>
                <a:gd name="connsiteY2" fmla="*/ 256357 h 259829"/>
                <a:gd name="connsiteX3" fmla="*/ 4859 w 774600"/>
                <a:gd name="connsiteY3" fmla="*/ 227699 h 259829"/>
                <a:gd name="connsiteX4" fmla="*/ 87193 w 774600"/>
                <a:gd name="connsiteY4" fmla="*/ 137908 h 259829"/>
                <a:gd name="connsiteX5" fmla="*/ 108541 w 774600"/>
                <a:gd name="connsiteY5" fmla="*/ 111508 h 259829"/>
                <a:gd name="connsiteX6" fmla="*/ 119499 w 774600"/>
                <a:gd name="connsiteY6" fmla="*/ 91537 h 259829"/>
                <a:gd name="connsiteX7" fmla="*/ 122797 w 774600"/>
                <a:gd name="connsiteY7" fmla="*/ 73993 h 259829"/>
                <a:gd name="connsiteX8" fmla="*/ 118278 w 774600"/>
                <a:gd name="connsiteY8" fmla="*/ 52977 h 259829"/>
                <a:gd name="connsiteX9" fmla="*/ 105413 w 774600"/>
                <a:gd name="connsiteY9" fmla="*/ 38560 h 259829"/>
                <a:gd name="connsiteX10" fmla="*/ 84752 w 774600"/>
                <a:gd name="connsiteY10" fmla="*/ 33176 h 259829"/>
                <a:gd name="connsiteX11" fmla="*/ 61138 w 774600"/>
                <a:gd name="connsiteY11" fmla="*/ 39256 h 259829"/>
                <a:gd name="connsiteX12" fmla="*/ 46712 w 774600"/>
                <a:gd name="connsiteY12" fmla="*/ 56104 h 259829"/>
                <a:gd name="connsiteX13" fmla="*/ 41853 w 774600"/>
                <a:gd name="connsiteY13" fmla="*/ 80418 h 259829"/>
                <a:gd name="connsiteX14" fmla="*/ 0 w 774600"/>
                <a:gd name="connsiteY14" fmla="*/ 80418 h 259829"/>
                <a:gd name="connsiteX15" fmla="*/ 10083 w 774600"/>
                <a:gd name="connsiteY15" fmla="*/ 40126 h 259829"/>
                <a:gd name="connsiteX16" fmla="*/ 39261 w 774600"/>
                <a:gd name="connsiteY16" fmla="*/ 10948 h 259829"/>
                <a:gd name="connsiteX17" fmla="*/ 85272 w 774600"/>
                <a:gd name="connsiteY17" fmla="*/ 5 h 259829"/>
                <a:gd name="connsiteX18" fmla="*/ 128346 w 774600"/>
                <a:gd name="connsiteY18" fmla="*/ 8517 h 259829"/>
                <a:gd name="connsiteX19" fmla="*/ 155277 w 774600"/>
                <a:gd name="connsiteY19" fmla="*/ 32660 h 259829"/>
                <a:gd name="connsiteX20" fmla="*/ 164654 w 774600"/>
                <a:gd name="connsiteY20" fmla="*/ 69655 h 259829"/>
                <a:gd name="connsiteX21" fmla="*/ 160827 w 774600"/>
                <a:gd name="connsiteY21" fmla="*/ 93103 h 259829"/>
                <a:gd name="connsiteX22" fmla="*/ 149888 w 774600"/>
                <a:gd name="connsiteY22" fmla="*/ 116376 h 259829"/>
                <a:gd name="connsiteX23" fmla="*/ 133400 w 774600"/>
                <a:gd name="connsiteY23" fmla="*/ 139475 h 259829"/>
                <a:gd name="connsiteX24" fmla="*/ 112378 w 774600"/>
                <a:gd name="connsiteY24" fmla="*/ 162748 h 259829"/>
                <a:gd name="connsiteX25" fmla="*/ 57675 w 774600"/>
                <a:gd name="connsiteY25" fmla="*/ 223015 h 259829"/>
                <a:gd name="connsiteX26" fmla="*/ 174377 w 774600"/>
                <a:gd name="connsiteY26" fmla="*/ 223015 h 259829"/>
                <a:gd name="connsiteX27" fmla="*/ 371848 w 774600"/>
                <a:gd name="connsiteY27" fmla="*/ 108730 h 259829"/>
                <a:gd name="connsiteX28" fmla="*/ 371848 w 774600"/>
                <a:gd name="connsiteY28" fmla="*/ 150063 h 259829"/>
                <a:gd name="connsiteX29" fmla="*/ 365938 w 774600"/>
                <a:gd name="connsiteY29" fmla="*/ 200778 h 259829"/>
                <a:gd name="connsiteX30" fmla="*/ 349260 w 774600"/>
                <a:gd name="connsiteY30" fmla="*/ 234645 h 259829"/>
                <a:gd name="connsiteX31" fmla="*/ 323035 w 774600"/>
                <a:gd name="connsiteY31" fmla="*/ 253750 h 259829"/>
                <a:gd name="connsiteX32" fmla="*/ 289168 w 774600"/>
                <a:gd name="connsiteY32" fmla="*/ 259830 h 259829"/>
                <a:gd name="connsiteX33" fmla="*/ 261381 w 774600"/>
                <a:gd name="connsiteY33" fmla="*/ 256011 h 259829"/>
                <a:gd name="connsiteX34" fmla="*/ 238468 w 774600"/>
                <a:gd name="connsiteY34" fmla="*/ 244027 h 259829"/>
                <a:gd name="connsiteX35" fmla="*/ 220914 w 774600"/>
                <a:gd name="connsiteY35" fmla="*/ 223011 h 259829"/>
                <a:gd name="connsiteX36" fmla="*/ 209800 w 774600"/>
                <a:gd name="connsiteY36" fmla="*/ 191921 h 259829"/>
                <a:gd name="connsiteX37" fmla="*/ 205972 w 774600"/>
                <a:gd name="connsiteY37" fmla="*/ 150063 h 259829"/>
                <a:gd name="connsiteX38" fmla="*/ 205972 w 774600"/>
                <a:gd name="connsiteY38" fmla="*/ 108730 h 259829"/>
                <a:gd name="connsiteX39" fmla="*/ 211882 w 774600"/>
                <a:gd name="connsiteY39" fmla="*/ 58366 h 259829"/>
                <a:gd name="connsiteX40" fmla="*/ 228730 w 774600"/>
                <a:gd name="connsiteY40" fmla="*/ 24844 h 259829"/>
                <a:gd name="connsiteX41" fmla="*/ 254786 w 774600"/>
                <a:gd name="connsiteY41" fmla="*/ 5914 h 259829"/>
                <a:gd name="connsiteX42" fmla="*/ 288827 w 774600"/>
                <a:gd name="connsiteY42" fmla="*/ 10 h 259829"/>
                <a:gd name="connsiteX43" fmla="*/ 316614 w 774600"/>
                <a:gd name="connsiteY43" fmla="*/ 3833 h 259829"/>
                <a:gd name="connsiteX44" fmla="*/ 339542 w 774600"/>
                <a:gd name="connsiteY44" fmla="*/ 15467 h 259829"/>
                <a:gd name="connsiteX45" fmla="*/ 356906 w 774600"/>
                <a:gd name="connsiteY45" fmla="*/ 36308 h 259829"/>
                <a:gd name="connsiteX46" fmla="*/ 368020 w 774600"/>
                <a:gd name="connsiteY46" fmla="*/ 67048 h 259829"/>
                <a:gd name="connsiteX47" fmla="*/ 371848 w 774600"/>
                <a:gd name="connsiteY47" fmla="*/ 108730 h 259829"/>
                <a:gd name="connsiteX48" fmla="*/ 329995 w 774600"/>
                <a:gd name="connsiteY48" fmla="*/ 155968 h 259829"/>
                <a:gd name="connsiteX49" fmla="*/ 329995 w 774600"/>
                <a:gd name="connsiteY49" fmla="*/ 102476 h 259829"/>
                <a:gd name="connsiteX50" fmla="*/ 328258 w 774600"/>
                <a:gd name="connsiteY50" fmla="*/ 75905 h 259829"/>
                <a:gd name="connsiteX51" fmla="*/ 323039 w 774600"/>
                <a:gd name="connsiteY51" fmla="*/ 56279 h 259829"/>
                <a:gd name="connsiteX52" fmla="*/ 314708 w 774600"/>
                <a:gd name="connsiteY52" fmla="*/ 43079 h 259829"/>
                <a:gd name="connsiteX53" fmla="*/ 303234 w 774600"/>
                <a:gd name="connsiteY53" fmla="*/ 35613 h 259829"/>
                <a:gd name="connsiteX54" fmla="*/ 288823 w 774600"/>
                <a:gd name="connsiteY54" fmla="*/ 33181 h 259829"/>
                <a:gd name="connsiteX55" fmla="*/ 271459 w 774600"/>
                <a:gd name="connsiteY55" fmla="*/ 37004 h 259829"/>
                <a:gd name="connsiteX56" fmla="*/ 258613 w 774600"/>
                <a:gd name="connsiteY56" fmla="*/ 48813 h 259829"/>
                <a:gd name="connsiteX57" fmla="*/ 250608 w 774600"/>
                <a:gd name="connsiteY57" fmla="*/ 70350 h 259829"/>
                <a:gd name="connsiteX58" fmla="*/ 248015 w 774600"/>
                <a:gd name="connsiteY58" fmla="*/ 102480 h 259829"/>
                <a:gd name="connsiteX59" fmla="*/ 248015 w 774600"/>
                <a:gd name="connsiteY59" fmla="*/ 155973 h 259829"/>
                <a:gd name="connsiteX60" fmla="*/ 249752 w 774600"/>
                <a:gd name="connsiteY60" fmla="*/ 182894 h 259829"/>
                <a:gd name="connsiteX61" fmla="*/ 254956 w 774600"/>
                <a:gd name="connsiteY61" fmla="*/ 202865 h 259829"/>
                <a:gd name="connsiteX62" fmla="*/ 263302 w 774600"/>
                <a:gd name="connsiteY62" fmla="*/ 216410 h 259829"/>
                <a:gd name="connsiteX63" fmla="*/ 274756 w 774600"/>
                <a:gd name="connsiteY63" fmla="*/ 224051 h 259829"/>
                <a:gd name="connsiteX64" fmla="*/ 289168 w 774600"/>
                <a:gd name="connsiteY64" fmla="*/ 226483 h 259829"/>
                <a:gd name="connsiteX65" fmla="*/ 306721 w 774600"/>
                <a:gd name="connsiteY65" fmla="*/ 222660 h 259829"/>
                <a:gd name="connsiteX66" fmla="*/ 319567 w 774600"/>
                <a:gd name="connsiteY66" fmla="*/ 210501 h 259829"/>
                <a:gd name="connsiteX67" fmla="*/ 327383 w 774600"/>
                <a:gd name="connsiteY67" fmla="*/ 188443 h 259829"/>
                <a:gd name="connsiteX68" fmla="*/ 329995 w 774600"/>
                <a:gd name="connsiteY68" fmla="*/ 155963 h 259829"/>
                <a:gd name="connsiteX69" fmla="*/ 578701 w 774600"/>
                <a:gd name="connsiteY69" fmla="*/ 223006 h 259829"/>
                <a:gd name="connsiteX70" fmla="*/ 578701 w 774600"/>
                <a:gd name="connsiteY70" fmla="*/ 256352 h 259829"/>
                <a:gd name="connsiteX71" fmla="*/ 409187 w 774600"/>
                <a:gd name="connsiteY71" fmla="*/ 256352 h 259829"/>
                <a:gd name="connsiteX72" fmla="*/ 409187 w 774600"/>
                <a:gd name="connsiteY72" fmla="*/ 227694 h 259829"/>
                <a:gd name="connsiteX73" fmla="*/ 491507 w 774600"/>
                <a:gd name="connsiteY73" fmla="*/ 137904 h 259829"/>
                <a:gd name="connsiteX74" fmla="*/ 512874 w 774600"/>
                <a:gd name="connsiteY74" fmla="*/ 111503 h 259829"/>
                <a:gd name="connsiteX75" fmla="*/ 523813 w 774600"/>
                <a:gd name="connsiteY75" fmla="*/ 91532 h 259829"/>
                <a:gd name="connsiteX76" fmla="*/ 527110 w 774600"/>
                <a:gd name="connsiteY76" fmla="*/ 73988 h 259829"/>
                <a:gd name="connsiteX77" fmla="*/ 522592 w 774600"/>
                <a:gd name="connsiteY77" fmla="*/ 52972 h 259829"/>
                <a:gd name="connsiteX78" fmla="*/ 509746 w 774600"/>
                <a:gd name="connsiteY78" fmla="*/ 38555 h 259829"/>
                <a:gd name="connsiteX79" fmla="*/ 489085 w 774600"/>
                <a:gd name="connsiteY79" fmla="*/ 33171 h 259829"/>
                <a:gd name="connsiteX80" fmla="*/ 465452 w 774600"/>
                <a:gd name="connsiteY80" fmla="*/ 39251 h 259829"/>
                <a:gd name="connsiteX81" fmla="*/ 451040 w 774600"/>
                <a:gd name="connsiteY81" fmla="*/ 56099 h 259829"/>
                <a:gd name="connsiteX82" fmla="*/ 446181 w 774600"/>
                <a:gd name="connsiteY82" fmla="*/ 80413 h 259829"/>
                <a:gd name="connsiteX83" fmla="*/ 404328 w 774600"/>
                <a:gd name="connsiteY83" fmla="*/ 80413 h 259829"/>
                <a:gd name="connsiteX84" fmla="*/ 414391 w 774600"/>
                <a:gd name="connsiteY84" fmla="*/ 40122 h 259829"/>
                <a:gd name="connsiteX85" fmla="*/ 443569 w 774600"/>
                <a:gd name="connsiteY85" fmla="*/ 10944 h 259829"/>
                <a:gd name="connsiteX86" fmla="*/ 489596 w 774600"/>
                <a:gd name="connsiteY86" fmla="*/ 0 h 259829"/>
                <a:gd name="connsiteX87" fmla="*/ 532670 w 774600"/>
                <a:gd name="connsiteY87" fmla="*/ 8512 h 259829"/>
                <a:gd name="connsiteX88" fmla="*/ 559581 w 774600"/>
                <a:gd name="connsiteY88" fmla="*/ 32656 h 259829"/>
                <a:gd name="connsiteX89" fmla="*/ 568958 w 774600"/>
                <a:gd name="connsiteY89" fmla="*/ 69650 h 259829"/>
                <a:gd name="connsiteX90" fmla="*/ 565145 w 774600"/>
                <a:gd name="connsiteY90" fmla="*/ 93098 h 259829"/>
                <a:gd name="connsiteX91" fmla="*/ 554207 w 774600"/>
                <a:gd name="connsiteY91" fmla="*/ 116372 h 259829"/>
                <a:gd name="connsiteX92" fmla="*/ 537704 w 774600"/>
                <a:gd name="connsiteY92" fmla="*/ 139470 h 259829"/>
                <a:gd name="connsiteX93" fmla="*/ 516697 w 774600"/>
                <a:gd name="connsiteY93" fmla="*/ 162743 h 259829"/>
                <a:gd name="connsiteX94" fmla="*/ 461979 w 774600"/>
                <a:gd name="connsiteY94" fmla="*/ 223011 h 259829"/>
                <a:gd name="connsiteX95" fmla="*/ 578701 w 774600"/>
                <a:gd name="connsiteY95" fmla="*/ 223011 h 259829"/>
                <a:gd name="connsiteX96" fmla="*/ 660505 w 774600"/>
                <a:gd name="connsiteY96" fmla="*/ 110982 h 259829"/>
                <a:gd name="connsiteX97" fmla="*/ 685510 w 774600"/>
                <a:gd name="connsiteY97" fmla="*/ 110982 h 259829"/>
                <a:gd name="connsiteX98" fmla="*/ 709639 w 774600"/>
                <a:gd name="connsiteY98" fmla="*/ 105948 h 259829"/>
                <a:gd name="connsiteX99" fmla="*/ 724065 w 774600"/>
                <a:gd name="connsiteY99" fmla="*/ 92052 h 259829"/>
                <a:gd name="connsiteX100" fmla="*/ 728754 w 774600"/>
                <a:gd name="connsiteY100" fmla="*/ 71731 h 259829"/>
                <a:gd name="connsiteX101" fmla="*/ 724411 w 774600"/>
                <a:gd name="connsiteY101" fmla="*/ 51240 h 259829"/>
                <a:gd name="connsiteX102" fmla="*/ 711565 w 774600"/>
                <a:gd name="connsiteY102" fmla="*/ 37865 h 259829"/>
                <a:gd name="connsiteX103" fmla="*/ 689858 w 774600"/>
                <a:gd name="connsiteY103" fmla="*/ 33176 h 259829"/>
                <a:gd name="connsiteX104" fmla="*/ 669712 w 774600"/>
                <a:gd name="connsiteY104" fmla="*/ 37690 h 259829"/>
                <a:gd name="connsiteX105" fmla="*/ 655626 w 774600"/>
                <a:gd name="connsiteY105" fmla="*/ 50195 h 259829"/>
                <a:gd name="connsiteX106" fmla="*/ 650422 w 774600"/>
                <a:gd name="connsiteY106" fmla="*/ 69300 h 259829"/>
                <a:gd name="connsiteX107" fmla="*/ 608394 w 774600"/>
                <a:gd name="connsiteY107" fmla="*/ 69300 h 259829"/>
                <a:gd name="connsiteX108" fmla="*/ 618992 w 774600"/>
                <a:gd name="connsiteY108" fmla="*/ 33521 h 259829"/>
                <a:gd name="connsiteX109" fmla="*/ 647810 w 774600"/>
                <a:gd name="connsiteY109" fmla="*/ 9032 h 259829"/>
                <a:gd name="connsiteX110" fmla="*/ 689148 w 774600"/>
                <a:gd name="connsiteY110" fmla="*/ 0 h 259829"/>
                <a:gd name="connsiteX111" fmla="*/ 731876 w 774600"/>
                <a:gd name="connsiteY111" fmla="*/ 8161 h 259829"/>
                <a:gd name="connsiteX112" fmla="*/ 760524 w 774600"/>
                <a:gd name="connsiteY112" fmla="*/ 32130 h 259829"/>
                <a:gd name="connsiteX113" fmla="*/ 770777 w 774600"/>
                <a:gd name="connsiteY113" fmla="*/ 71727 h 259829"/>
                <a:gd name="connsiteX114" fmla="*/ 765743 w 774600"/>
                <a:gd name="connsiteY114" fmla="*/ 93609 h 259829"/>
                <a:gd name="connsiteX115" fmla="*/ 750802 w 774600"/>
                <a:gd name="connsiteY115" fmla="*/ 113930 h 259829"/>
                <a:gd name="connsiteX116" fmla="*/ 726137 w 774600"/>
                <a:gd name="connsiteY116" fmla="*/ 128692 h 259829"/>
                <a:gd name="connsiteX117" fmla="*/ 691925 w 774600"/>
                <a:gd name="connsiteY117" fmla="*/ 134251 h 259829"/>
                <a:gd name="connsiteX118" fmla="*/ 660495 w 774600"/>
                <a:gd name="connsiteY118" fmla="*/ 134251 h 259829"/>
                <a:gd name="connsiteX119" fmla="*/ 660495 w 774600"/>
                <a:gd name="connsiteY119" fmla="*/ 110978 h 259829"/>
                <a:gd name="connsiteX120" fmla="*/ 660505 w 774600"/>
                <a:gd name="connsiteY120" fmla="*/ 143633 h 259829"/>
                <a:gd name="connsiteX121" fmla="*/ 660505 w 774600"/>
                <a:gd name="connsiteY121" fmla="*/ 120705 h 259829"/>
                <a:gd name="connsiteX122" fmla="*/ 691935 w 774600"/>
                <a:gd name="connsiteY122" fmla="*/ 120705 h 259829"/>
                <a:gd name="connsiteX123" fmla="*/ 729790 w 774600"/>
                <a:gd name="connsiteY123" fmla="*/ 125914 h 259829"/>
                <a:gd name="connsiteX124" fmla="*/ 755500 w 774600"/>
                <a:gd name="connsiteY124" fmla="*/ 140331 h 259829"/>
                <a:gd name="connsiteX125" fmla="*/ 769911 w 774600"/>
                <a:gd name="connsiteY125" fmla="*/ 160997 h 259829"/>
                <a:gd name="connsiteX126" fmla="*/ 774600 w 774600"/>
                <a:gd name="connsiteY126" fmla="*/ 185661 h 259829"/>
                <a:gd name="connsiteX127" fmla="*/ 768175 w 774600"/>
                <a:gd name="connsiteY127" fmla="*/ 217271 h 259829"/>
                <a:gd name="connsiteX128" fmla="*/ 750296 w 774600"/>
                <a:gd name="connsiteY128" fmla="*/ 240545 h 259829"/>
                <a:gd name="connsiteX129" fmla="*/ 723024 w 774600"/>
                <a:gd name="connsiteY129" fmla="*/ 254961 h 259829"/>
                <a:gd name="connsiteX130" fmla="*/ 689328 w 774600"/>
                <a:gd name="connsiteY130" fmla="*/ 259825 h 259829"/>
                <a:gd name="connsiteX131" fmla="*/ 658068 w 774600"/>
                <a:gd name="connsiteY131" fmla="*/ 255311 h 259829"/>
                <a:gd name="connsiteX132" fmla="*/ 631327 w 774600"/>
                <a:gd name="connsiteY132" fmla="*/ 241940 h 259829"/>
                <a:gd name="connsiteX133" fmla="*/ 612572 w 774600"/>
                <a:gd name="connsiteY133" fmla="*/ 219538 h 259829"/>
                <a:gd name="connsiteX134" fmla="*/ 605787 w 774600"/>
                <a:gd name="connsiteY134" fmla="*/ 188273 h 259829"/>
                <a:gd name="connsiteX135" fmla="*/ 647640 w 774600"/>
                <a:gd name="connsiteY135" fmla="*/ 188273 h 259829"/>
                <a:gd name="connsiteX136" fmla="*/ 652859 w 774600"/>
                <a:gd name="connsiteY136" fmla="*/ 208249 h 259829"/>
                <a:gd name="connsiteX137" fmla="*/ 667786 w 774600"/>
                <a:gd name="connsiteY137" fmla="*/ 221619 h 259829"/>
                <a:gd name="connsiteX138" fmla="*/ 690028 w 774600"/>
                <a:gd name="connsiteY138" fmla="*/ 226483 h 259829"/>
                <a:gd name="connsiteX139" fmla="*/ 712767 w 774600"/>
                <a:gd name="connsiteY139" fmla="*/ 221795 h 259829"/>
                <a:gd name="connsiteX140" fmla="*/ 727363 w 774600"/>
                <a:gd name="connsiteY140" fmla="*/ 207899 h 259829"/>
                <a:gd name="connsiteX141" fmla="*/ 732567 w 774600"/>
                <a:gd name="connsiteY141" fmla="*/ 185671 h 259829"/>
                <a:gd name="connsiteX142" fmla="*/ 726847 w 774600"/>
                <a:gd name="connsiteY142" fmla="*/ 161702 h 259829"/>
                <a:gd name="connsiteX143" fmla="*/ 710515 w 774600"/>
                <a:gd name="connsiteY143" fmla="*/ 148157 h 259829"/>
                <a:gd name="connsiteX144" fmla="*/ 685510 w 774600"/>
                <a:gd name="connsiteY144" fmla="*/ 143643 h 259829"/>
                <a:gd name="connsiteX145" fmla="*/ 660505 w 774600"/>
                <a:gd name="connsiteY145" fmla="*/ 143643 h 2598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</a:cxnLst>
              <a:rect l="l" t="t" r="r" b="b"/>
              <a:pathLst>
                <a:path w="774600" h="259829">
                  <a:moveTo>
                    <a:pt x="174372" y="223011"/>
                  </a:moveTo>
                  <a:lnTo>
                    <a:pt x="174372" y="256357"/>
                  </a:lnTo>
                  <a:lnTo>
                    <a:pt x="4859" y="256357"/>
                  </a:lnTo>
                  <a:lnTo>
                    <a:pt x="4859" y="227699"/>
                  </a:lnTo>
                  <a:lnTo>
                    <a:pt x="87193" y="137908"/>
                  </a:lnTo>
                  <a:cubicBezTo>
                    <a:pt x="96211" y="127719"/>
                    <a:pt x="103336" y="118920"/>
                    <a:pt x="108541" y="111508"/>
                  </a:cubicBezTo>
                  <a:cubicBezTo>
                    <a:pt x="113760" y="104095"/>
                    <a:pt x="117403" y="97442"/>
                    <a:pt x="119499" y="91537"/>
                  </a:cubicBezTo>
                  <a:cubicBezTo>
                    <a:pt x="121697" y="85516"/>
                    <a:pt x="122797" y="79669"/>
                    <a:pt x="122797" y="73993"/>
                  </a:cubicBezTo>
                  <a:cubicBezTo>
                    <a:pt x="122797" y="66002"/>
                    <a:pt x="121284" y="58998"/>
                    <a:pt x="118278" y="52977"/>
                  </a:cubicBezTo>
                  <a:cubicBezTo>
                    <a:pt x="115374" y="46838"/>
                    <a:pt x="111099" y="42033"/>
                    <a:pt x="105413" y="38560"/>
                  </a:cubicBezTo>
                  <a:cubicBezTo>
                    <a:pt x="99747" y="34971"/>
                    <a:pt x="92860" y="33176"/>
                    <a:pt x="84752" y="33176"/>
                  </a:cubicBezTo>
                  <a:cubicBezTo>
                    <a:pt x="75374" y="33176"/>
                    <a:pt x="67510" y="35204"/>
                    <a:pt x="61138" y="39256"/>
                  </a:cubicBezTo>
                  <a:cubicBezTo>
                    <a:pt x="54766" y="43307"/>
                    <a:pt x="49956" y="48925"/>
                    <a:pt x="46712" y="56104"/>
                  </a:cubicBezTo>
                  <a:cubicBezTo>
                    <a:pt x="43482" y="63166"/>
                    <a:pt x="41853" y="71274"/>
                    <a:pt x="41853" y="80418"/>
                  </a:cubicBezTo>
                  <a:lnTo>
                    <a:pt x="0" y="80418"/>
                  </a:lnTo>
                  <a:cubicBezTo>
                    <a:pt x="0" y="65715"/>
                    <a:pt x="3366" y="52281"/>
                    <a:pt x="10083" y="40126"/>
                  </a:cubicBezTo>
                  <a:cubicBezTo>
                    <a:pt x="16800" y="27855"/>
                    <a:pt x="26517" y="18127"/>
                    <a:pt x="39261" y="10948"/>
                  </a:cubicBezTo>
                  <a:cubicBezTo>
                    <a:pt x="51989" y="3653"/>
                    <a:pt x="67325" y="5"/>
                    <a:pt x="85272" y="5"/>
                  </a:cubicBezTo>
                  <a:cubicBezTo>
                    <a:pt x="102189" y="5"/>
                    <a:pt x="116546" y="2840"/>
                    <a:pt x="128346" y="8517"/>
                  </a:cubicBezTo>
                  <a:cubicBezTo>
                    <a:pt x="140160" y="14193"/>
                    <a:pt x="149129" y="22237"/>
                    <a:pt x="155277" y="32660"/>
                  </a:cubicBezTo>
                  <a:cubicBezTo>
                    <a:pt x="161527" y="43079"/>
                    <a:pt x="164654" y="55413"/>
                    <a:pt x="164654" y="69655"/>
                  </a:cubicBezTo>
                  <a:cubicBezTo>
                    <a:pt x="164654" y="77529"/>
                    <a:pt x="163385" y="85345"/>
                    <a:pt x="160827" y="93103"/>
                  </a:cubicBezTo>
                  <a:cubicBezTo>
                    <a:pt x="158283" y="100861"/>
                    <a:pt x="154645" y="108619"/>
                    <a:pt x="149888" y="116376"/>
                  </a:cubicBezTo>
                  <a:cubicBezTo>
                    <a:pt x="145267" y="124017"/>
                    <a:pt x="139757" y="131717"/>
                    <a:pt x="133400" y="139475"/>
                  </a:cubicBezTo>
                  <a:cubicBezTo>
                    <a:pt x="127028" y="147116"/>
                    <a:pt x="120019" y="154873"/>
                    <a:pt x="112378" y="162748"/>
                  </a:cubicBezTo>
                  <a:lnTo>
                    <a:pt x="57675" y="223015"/>
                  </a:lnTo>
                  <a:lnTo>
                    <a:pt x="174377" y="223015"/>
                  </a:lnTo>
                  <a:close/>
                  <a:moveTo>
                    <a:pt x="371848" y="108730"/>
                  </a:moveTo>
                  <a:lnTo>
                    <a:pt x="371848" y="150063"/>
                  </a:lnTo>
                  <a:cubicBezTo>
                    <a:pt x="371848" y="169864"/>
                    <a:pt x="369873" y="186765"/>
                    <a:pt x="365938" y="200778"/>
                  </a:cubicBezTo>
                  <a:cubicBezTo>
                    <a:pt x="362125" y="214674"/>
                    <a:pt x="356561" y="225963"/>
                    <a:pt x="349260" y="234645"/>
                  </a:cubicBezTo>
                  <a:cubicBezTo>
                    <a:pt x="341960" y="243327"/>
                    <a:pt x="333219" y="249698"/>
                    <a:pt x="323035" y="253750"/>
                  </a:cubicBezTo>
                  <a:cubicBezTo>
                    <a:pt x="312971" y="257801"/>
                    <a:pt x="301668" y="259830"/>
                    <a:pt x="289168" y="259830"/>
                  </a:cubicBezTo>
                  <a:cubicBezTo>
                    <a:pt x="279221" y="259830"/>
                    <a:pt x="269951" y="258555"/>
                    <a:pt x="261381" y="256011"/>
                  </a:cubicBezTo>
                  <a:cubicBezTo>
                    <a:pt x="252933" y="253463"/>
                    <a:pt x="245287" y="249470"/>
                    <a:pt x="238468" y="244027"/>
                  </a:cubicBezTo>
                  <a:cubicBezTo>
                    <a:pt x="231634" y="238584"/>
                    <a:pt x="225773" y="231581"/>
                    <a:pt x="220914" y="223011"/>
                  </a:cubicBezTo>
                  <a:cubicBezTo>
                    <a:pt x="216172" y="214329"/>
                    <a:pt x="212466" y="203964"/>
                    <a:pt x="209800" y="191921"/>
                  </a:cubicBezTo>
                  <a:cubicBezTo>
                    <a:pt x="207256" y="179878"/>
                    <a:pt x="205972" y="165929"/>
                    <a:pt x="205972" y="150063"/>
                  </a:cubicBezTo>
                  <a:lnTo>
                    <a:pt x="205972" y="108730"/>
                  </a:lnTo>
                  <a:cubicBezTo>
                    <a:pt x="205972" y="88813"/>
                    <a:pt x="207947" y="72028"/>
                    <a:pt x="211882" y="58366"/>
                  </a:cubicBezTo>
                  <a:cubicBezTo>
                    <a:pt x="215831" y="44587"/>
                    <a:pt x="221430" y="33414"/>
                    <a:pt x="228730" y="24844"/>
                  </a:cubicBezTo>
                  <a:cubicBezTo>
                    <a:pt x="236031" y="16162"/>
                    <a:pt x="244722" y="9849"/>
                    <a:pt x="254786" y="5914"/>
                  </a:cubicBezTo>
                  <a:cubicBezTo>
                    <a:pt x="264970" y="1975"/>
                    <a:pt x="276323" y="10"/>
                    <a:pt x="288827" y="10"/>
                  </a:cubicBezTo>
                  <a:cubicBezTo>
                    <a:pt x="298910" y="10"/>
                    <a:pt x="308166" y="1284"/>
                    <a:pt x="316614" y="3833"/>
                  </a:cubicBezTo>
                  <a:cubicBezTo>
                    <a:pt x="325184" y="6265"/>
                    <a:pt x="332825" y="10141"/>
                    <a:pt x="339542" y="15467"/>
                  </a:cubicBezTo>
                  <a:cubicBezTo>
                    <a:pt x="346376" y="20793"/>
                    <a:pt x="352164" y="27738"/>
                    <a:pt x="356906" y="36308"/>
                  </a:cubicBezTo>
                  <a:cubicBezTo>
                    <a:pt x="361765" y="44762"/>
                    <a:pt x="365476" y="55010"/>
                    <a:pt x="368020" y="67048"/>
                  </a:cubicBezTo>
                  <a:cubicBezTo>
                    <a:pt x="370578" y="78974"/>
                    <a:pt x="371848" y="92870"/>
                    <a:pt x="371848" y="108730"/>
                  </a:cubicBezTo>
                  <a:close/>
                  <a:moveTo>
                    <a:pt x="329995" y="155968"/>
                  </a:moveTo>
                  <a:lnTo>
                    <a:pt x="329995" y="102476"/>
                  </a:lnTo>
                  <a:cubicBezTo>
                    <a:pt x="329995" y="92403"/>
                    <a:pt x="329411" y="83546"/>
                    <a:pt x="328258" y="75905"/>
                  </a:cubicBezTo>
                  <a:cubicBezTo>
                    <a:pt x="327091" y="68147"/>
                    <a:pt x="325355" y="61605"/>
                    <a:pt x="323039" y="56279"/>
                  </a:cubicBezTo>
                  <a:cubicBezTo>
                    <a:pt x="320841" y="50837"/>
                    <a:pt x="318059" y="46440"/>
                    <a:pt x="314708" y="43079"/>
                  </a:cubicBezTo>
                  <a:cubicBezTo>
                    <a:pt x="311342" y="39606"/>
                    <a:pt x="307529" y="37116"/>
                    <a:pt x="303234" y="35613"/>
                  </a:cubicBezTo>
                  <a:cubicBezTo>
                    <a:pt x="298959" y="33993"/>
                    <a:pt x="294148" y="33181"/>
                    <a:pt x="288823" y="33181"/>
                  </a:cubicBezTo>
                  <a:cubicBezTo>
                    <a:pt x="282349" y="33181"/>
                    <a:pt x="276542" y="34455"/>
                    <a:pt x="271459" y="37004"/>
                  </a:cubicBezTo>
                  <a:cubicBezTo>
                    <a:pt x="266357" y="39436"/>
                    <a:pt x="262081" y="43371"/>
                    <a:pt x="258613" y="48813"/>
                  </a:cubicBezTo>
                  <a:cubicBezTo>
                    <a:pt x="255126" y="54256"/>
                    <a:pt x="252466" y="61435"/>
                    <a:pt x="250608" y="70350"/>
                  </a:cubicBezTo>
                  <a:cubicBezTo>
                    <a:pt x="248871" y="79149"/>
                    <a:pt x="248015" y="89859"/>
                    <a:pt x="248015" y="102480"/>
                  </a:cubicBezTo>
                  <a:lnTo>
                    <a:pt x="248015" y="155973"/>
                  </a:lnTo>
                  <a:cubicBezTo>
                    <a:pt x="248015" y="166162"/>
                    <a:pt x="248584" y="175136"/>
                    <a:pt x="249752" y="182894"/>
                  </a:cubicBezTo>
                  <a:cubicBezTo>
                    <a:pt x="250904" y="190652"/>
                    <a:pt x="252636" y="197310"/>
                    <a:pt x="254956" y="202865"/>
                  </a:cubicBezTo>
                  <a:cubicBezTo>
                    <a:pt x="257276" y="208307"/>
                    <a:pt x="260058" y="212821"/>
                    <a:pt x="263302" y="216410"/>
                  </a:cubicBezTo>
                  <a:cubicBezTo>
                    <a:pt x="266653" y="219883"/>
                    <a:pt x="270481" y="222432"/>
                    <a:pt x="274756" y="224051"/>
                  </a:cubicBezTo>
                  <a:cubicBezTo>
                    <a:pt x="279153" y="225671"/>
                    <a:pt x="283964" y="226483"/>
                    <a:pt x="289168" y="226483"/>
                  </a:cubicBezTo>
                  <a:cubicBezTo>
                    <a:pt x="295778" y="226483"/>
                    <a:pt x="301619" y="225209"/>
                    <a:pt x="306721" y="222660"/>
                  </a:cubicBezTo>
                  <a:cubicBezTo>
                    <a:pt x="311804" y="220112"/>
                    <a:pt x="316099" y="216060"/>
                    <a:pt x="319567" y="210501"/>
                  </a:cubicBezTo>
                  <a:cubicBezTo>
                    <a:pt x="323035" y="204830"/>
                    <a:pt x="325646" y="197476"/>
                    <a:pt x="327383" y="188443"/>
                  </a:cubicBezTo>
                  <a:cubicBezTo>
                    <a:pt x="329119" y="179411"/>
                    <a:pt x="329995" y="168585"/>
                    <a:pt x="329995" y="155963"/>
                  </a:cubicBezTo>
                  <a:close/>
                  <a:moveTo>
                    <a:pt x="578701" y="223006"/>
                  </a:moveTo>
                  <a:lnTo>
                    <a:pt x="578701" y="256352"/>
                  </a:lnTo>
                  <a:lnTo>
                    <a:pt x="409187" y="256352"/>
                  </a:lnTo>
                  <a:lnTo>
                    <a:pt x="409187" y="227694"/>
                  </a:lnTo>
                  <a:lnTo>
                    <a:pt x="491507" y="137904"/>
                  </a:lnTo>
                  <a:cubicBezTo>
                    <a:pt x="500539" y="127714"/>
                    <a:pt x="507670" y="118915"/>
                    <a:pt x="512874" y="111503"/>
                  </a:cubicBezTo>
                  <a:cubicBezTo>
                    <a:pt x="518078" y="104090"/>
                    <a:pt x="521736" y="97437"/>
                    <a:pt x="523813" y="91532"/>
                  </a:cubicBezTo>
                  <a:cubicBezTo>
                    <a:pt x="526011" y="85511"/>
                    <a:pt x="527110" y="79664"/>
                    <a:pt x="527110" y="73988"/>
                  </a:cubicBezTo>
                  <a:cubicBezTo>
                    <a:pt x="527110" y="65997"/>
                    <a:pt x="525617" y="58993"/>
                    <a:pt x="522592" y="52972"/>
                  </a:cubicBezTo>
                  <a:cubicBezTo>
                    <a:pt x="519708" y="46834"/>
                    <a:pt x="515413" y="42028"/>
                    <a:pt x="509746" y="38555"/>
                  </a:cubicBezTo>
                  <a:cubicBezTo>
                    <a:pt x="504080" y="34966"/>
                    <a:pt x="497193" y="33171"/>
                    <a:pt x="489085" y="33171"/>
                  </a:cubicBezTo>
                  <a:cubicBezTo>
                    <a:pt x="479708" y="33171"/>
                    <a:pt x="471823" y="35199"/>
                    <a:pt x="465452" y="39251"/>
                  </a:cubicBezTo>
                  <a:cubicBezTo>
                    <a:pt x="459095" y="43302"/>
                    <a:pt x="454289" y="48920"/>
                    <a:pt x="451040" y="56099"/>
                  </a:cubicBezTo>
                  <a:cubicBezTo>
                    <a:pt x="447796" y="63161"/>
                    <a:pt x="446181" y="71269"/>
                    <a:pt x="446181" y="80413"/>
                  </a:cubicBezTo>
                  <a:lnTo>
                    <a:pt x="404328" y="80413"/>
                  </a:lnTo>
                  <a:cubicBezTo>
                    <a:pt x="404328" y="65710"/>
                    <a:pt x="407679" y="52276"/>
                    <a:pt x="414391" y="40122"/>
                  </a:cubicBezTo>
                  <a:cubicBezTo>
                    <a:pt x="421108" y="27850"/>
                    <a:pt x="430846" y="18123"/>
                    <a:pt x="443569" y="10944"/>
                  </a:cubicBezTo>
                  <a:cubicBezTo>
                    <a:pt x="456313" y="3648"/>
                    <a:pt x="471648" y="0"/>
                    <a:pt x="489596" y="0"/>
                  </a:cubicBezTo>
                  <a:cubicBezTo>
                    <a:pt x="506497" y="0"/>
                    <a:pt x="520855" y="2836"/>
                    <a:pt x="532670" y="8512"/>
                  </a:cubicBezTo>
                  <a:cubicBezTo>
                    <a:pt x="544484" y="14188"/>
                    <a:pt x="553453" y="22232"/>
                    <a:pt x="559581" y="32656"/>
                  </a:cubicBezTo>
                  <a:cubicBezTo>
                    <a:pt x="565831" y="43074"/>
                    <a:pt x="568958" y="55409"/>
                    <a:pt x="568958" y="69650"/>
                  </a:cubicBezTo>
                  <a:cubicBezTo>
                    <a:pt x="568958" y="77524"/>
                    <a:pt x="567689" y="85340"/>
                    <a:pt x="565145" y="93098"/>
                  </a:cubicBezTo>
                  <a:cubicBezTo>
                    <a:pt x="562601" y="100856"/>
                    <a:pt x="558944" y="108614"/>
                    <a:pt x="554207" y="116372"/>
                  </a:cubicBezTo>
                  <a:cubicBezTo>
                    <a:pt x="549571" y="124013"/>
                    <a:pt x="544075" y="131712"/>
                    <a:pt x="537704" y="139470"/>
                  </a:cubicBezTo>
                  <a:cubicBezTo>
                    <a:pt x="531332" y="147111"/>
                    <a:pt x="524323" y="154869"/>
                    <a:pt x="516697" y="162743"/>
                  </a:cubicBezTo>
                  <a:lnTo>
                    <a:pt x="461979" y="223011"/>
                  </a:lnTo>
                  <a:lnTo>
                    <a:pt x="578701" y="223011"/>
                  </a:lnTo>
                  <a:close/>
                  <a:moveTo>
                    <a:pt x="660505" y="110982"/>
                  </a:moveTo>
                  <a:lnTo>
                    <a:pt x="685510" y="110982"/>
                  </a:lnTo>
                  <a:cubicBezTo>
                    <a:pt x="695233" y="110982"/>
                    <a:pt x="703287" y="109304"/>
                    <a:pt x="709639" y="105948"/>
                  </a:cubicBezTo>
                  <a:cubicBezTo>
                    <a:pt x="716132" y="102592"/>
                    <a:pt x="720943" y="97957"/>
                    <a:pt x="724065" y="92052"/>
                  </a:cubicBezTo>
                  <a:cubicBezTo>
                    <a:pt x="727193" y="86148"/>
                    <a:pt x="728754" y="79373"/>
                    <a:pt x="728754" y="71731"/>
                  </a:cubicBezTo>
                  <a:cubicBezTo>
                    <a:pt x="728754" y="64090"/>
                    <a:pt x="727295" y="56911"/>
                    <a:pt x="724411" y="51240"/>
                  </a:cubicBezTo>
                  <a:cubicBezTo>
                    <a:pt x="721628" y="45452"/>
                    <a:pt x="717353" y="40992"/>
                    <a:pt x="711565" y="37865"/>
                  </a:cubicBezTo>
                  <a:cubicBezTo>
                    <a:pt x="705879" y="34737"/>
                    <a:pt x="698652" y="33176"/>
                    <a:pt x="689858" y="33176"/>
                  </a:cubicBezTo>
                  <a:cubicBezTo>
                    <a:pt x="682441" y="33176"/>
                    <a:pt x="675724" y="34679"/>
                    <a:pt x="669712" y="37690"/>
                  </a:cubicBezTo>
                  <a:cubicBezTo>
                    <a:pt x="663803" y="40584"/>
                    <a:pt x="659114" y="44752"/>
                    <a:pt x="655626" y="50195"/>
                  </a:cubicBezTo>
                  <a:cubicBezTo>
                    <a:pt x="652159" y="55520"/>
                    <a:pt x="650422" y="61887"/>
                    <a:pt x="650422" y="69300"/>
                  </a:cubicBezTo>
                  <a:lnTo>
                    <a:pt x="608394" y="69300"/>
                  </a:lnTo>
                  <a:cubicBezTo>
                    <a:pt x="608394" y="55866"/>
                    <a:pt x="611916" y="43945"/>
                    <a:pt x="618992" y="33521"/>
                  </a:cubicBezTo>
                  <a:cubicBezTo>
                    <a:pt x="626050" y="23103"/>
                    <a:pt x="635670" y="14937"/>
                    <a:pt x="647810" y="9032"/>
                  </a:cubicBezTo>
                  <a:cubicBezTo>
                    <a:pt x="660092" y="3011"/>
                    <a:pt x="673866" y="0"/>
                    <a:pt x="689148" y="0"/>
                  </a:cubicBezTo>
                  <a:cubicBezTo>
                    <a:pt x="705480" y="0"/>
                    <a:pt x="719717" y="2724"/>
                    <a:pt x="731876" y="8161"/>
                  </a:cubicBezTo>
                  <a:cubicBezTo>
                    <a:pt x="744138" y="13487"/>
                    <a:pt x="753705" y="21479"/>
                    <a:pt x="760524" y="32130"/>
                  </a:cubicBezTo>
                  <a:cubicBezTo>
                    <a:pt x="767358" y="42782"/>
                    <a:pt x="770777" y="55982"/>
                    <a:pt x="770777" y="71727"/>
                  </a:cubicBezTo>
                  <a:cubicBezTo>
                    <a:pt x="770777" y="78906"/>
                    <a:pt x="769094" y="86201"/>
                    <a:pt x="765743" y="93609"/>
                  </a:cubicBezTo>
                  <a:cubicBezTo>
                    <a:pt x="762378" y="101021"/>
                    <a:pt x="757397" y="107792"/>
                    <a:pt x="750802" y="113930"/>
                  </a:cubicBezTo>
                  <a:cubicBezTo>
                    <a:pt x="744206" y="119951"/>
                    <a:pt x="735982" y="124869"/>
                    <a:pt x="726137" y="128692"/>
                  </a:cubicBezTo>
                  <a:cubicBezTo>
                    <a:pt x="716298" y="132398"/>
                    <a:pt x="704892" y="134251"/>
                    <a:pt x="691925" y="134251"/>
                  </a:cubicBezTo>
                  <a:lnTo>
                    <a:pt x="660495" y="134251"/>
                  </a:lnTo>
                  <a:lnTo>
                    <a:pt x="660495" y="110978"/>
                  </a:lnTo>
                  <a:close/>
                  <a:moveTo>
                    <a:pt x="660505" y="143633"/>
                  </a:moveTo>
                  <a:lnTo>
                    <a:pt x="660505" y="120705"/>
                  </a:lnTo>
                  <a:lnTo>
                    <a:pt x="691935" y="120705"/>
                  </a:lnTo>
                  <a:cubicBezTo>
                    <a:pt x="706755" y="120705"/>
                    <a:pt x="719381" y="122442"/>
                    <a:pt x="729790" y="125914"/>
                  </a:cubicBezTo>
                  <a:cubicBezTo>
                    <a:pt x="740335" y="129387"/>
                    <a:pt x="748905" y="134193"/>
                    <a:pt x="755500" y="140331"/>
                  </a:cubicBezTo>
                  <a:cubicBezTo>
                    <a:pt x="762095" y="146352"/>
                    <a:pt x="766906" y="153239"/>
                    <a:pt x="769911" y="160997"/>
                  </a:cubicBezTo>
                  <a:cubicBezTo>
                    <a:pt x="773039" y="168755"/>
                    <a:pt x="774600" y="176975"/>
                    <a:pt x="774600" y="185661"/>
                  </a:cubicBezTo>
                  <a:cubicBezTo>
                    <a:pt x="774600" y="197471"/>
                    <a:pt x="772470" y="208006"/>
                    <a:pt x="768175" y="217271"/>
                  </a:cubicBezTo>
                  <a:cubicBezTo>
                    <a:pt x="764016" y="226420"/>
                    <a:pt x="758044" y="234178"/>
                    <a:pt x="750296" y="240545"/>
                  </a:cubicBezTo>
                  <a:cubicBezTo>
                    <a:pt x="742533" y="246911"/>
                    <a:pt x="733447" y="251717"/>
                    <a:pt x="723024" y="254961"/>
                  </a:cubicBezTo>
                  <a:cubicBezTo>
                    <a:pt x="712718" y="258205"/>
                    <a:pt x="701487" y="259825"/>
                    <a:pt x="689328" y="259825"/>
                  </a:cubicBezTo>
                  <a:cubicBezTo>
                    <a:pt x="678457" y="259825"/>
                    <a:pt x="668029" y="258322"/>
                    <a:pt x="658068" y="255311"/>
                  </a:cubicBezTo>
                  <a:cubicBezTo>
                    <a:pt x="648107" y="252300"/>
                    <a:pt x="639192" y="247845"/>
                    <a:pt x="631327" y="241940"/>
                  </a:cubicBezTo>
                  <a:cubicBezTo>
                    <a:pt x="623443" y="235919"/>
                    <a:pt x="617193" y="228453"/>
                    <a:pt x="612572" y="219538"/>
                  </a:cubicBezTo>
                  <a:cubicBezTo>
                    <a:pt x="608054" y="210506"/>
                    <a:pt x="605787" y="200087"/>
                    <a:pt x="605787" y="188273"/>
                  </a:cubicBezTo>
                  <a:lnTo>
                    <a:pt x="647640" y="188273"/>
                  </a:lnTo>
                  <a:cubicBezTo>
                    <a:pt x="647640" y="195802"/>
                    <a:pt x="649377" y="202456"/>
                    <a:pt x="652859" y="208249"/>
                  </a:cubicBezTo>
                  <a:cubicBezTo>
                    <a:pt x="656449" y="213920"/>
                    <a:pt x="661429" y="218380"/>
                    <a:pt x="667786" y="221619"/>
                  </a:cubicBezTo>
                  <a:cubicBezTo>
                    <a:pt x="674279" y="224864"/>
                    <a:pt x="681682" y="226483"/>
                    <a:pt x="690028" y="226483"/>
                  </a:cubicBezTo>
                  <a:cubicBezTo>
                    <a:pt x="698822" y="226483"/>
                    <a:pt x="706415" y="224922"/>
                    <a:pt x="712767" y="221795"/>
                  </a:cubicBezTo>
                  <a:cubicBezTo>
                    <a:pt x="719138" y="218667"/>
                    <a:pt x="723997" y="214037"/>
                    <a:pt x="727363" y="207899"/>
                  </a:cubicBezTo>
                  <a:cubicBezTo>
                    <a:pt x="730831" y="201761"/>
                    <a:pt x="732567" y="194353"/>
                    <a:pt x="732567" y="185671"/>
                  </a:cubicBezTo>
                  <a:cubicBezTo>
                    <a:pt x="732567" y="175827"/>
                    <a:pt x="730660" y="167840"/>
                    <a:pt x="726847" y="161702"/>
                  </a:cubicBezTo>
                  <a:cubicBezTo>
                    <a:pt x="723019" y="155564"/>
                    <a:pt x="717572" y="151050"/>
                    <a:pt x="710515" y="148157"/>
                  </a:cubicBezTo>
                  <a:cubicBezTo>
                    <a:pt x="703457" y="145146"/>
                    <a:pt x="695111" y="143643"/>
                    <a:pt x="685510" y="143643"/>
                  </a:cubicBezTo>
                  <a:lnTo>
                    <a:pt x="660505" y="143643"/>
                  </a:lnTo>
                  <a:close/>
                </a:path>
              </a:pathLst>
            </a:custGeom>
            <a:solidFill>
              <a:schemeClr val="tx1"/>
            </a:solidFill>
            <a:ln w="4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pic>
        <p:nvPicPr>
          <p:cNvPr id="327" name="Рисунок 326">
            <a:extLst>
              <a:ext uri="{FF2B5EF4-FFF2-40B4-BE49-F238E27FC236}">
                <a16:creationId xmlns:a16="http://schemas.microsoft.com/office/drawing/2014/main" id="{5FBFD731-DA0C-468F-932D-BEB32E313CC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503721" y="6049020"/>
            <a:ext cx="1688608" cy="472507"/>
          </a:xfrm>
          <a:prstGeom prst="rect">
            <a:avLst/>
          </a:prstGeom>
        </p:spPr>
      </p:pic>
      <p:sp>
        <p:nvSpPr>
          <p:cNvPr id="817" name="Shape_фон">
            <a:extLst>
              <a:ext uri="{FF2B5EF4-FFF2-40B4-BE49-F238E27FC236}">
                <a16:creationId xmlns:a16="http://schemas.microsoft.com/office/drawing/2014/main" id="{8C3218E2-A51F-4FB1-BED8-CDE77873EB75}"/>
              </a:ext>
            </a:extLst>
          </p:cNvPr>
          <p:cNvSpPr/>
          <p:nvPr/>
        </p:nvSpPr>
        <p:spPr>
          <a:xfrm>
            <a:off x="5641364" y="941530"/>
            <a:ext cx="6428342" cy="4294469"/>
          </a:xfrm>
          <a:prstGeom prst="roundRect">
            <a:avLst>
              <a:gd name="adj" fmla="val 8571"/>
            </a:avLst>
          </a:prstGeom>
          <a:solidFill>
            <a:schemeClr val="bg1"/>
          </a:solidFill>
          <a:ln w="12700" cap="flat">
            <a:noFill/>
            <a:prstDash val="solid"/>
            <a:miter/>
          </a:ln>
          <a:effectLst>
            <a:outerShdw blurRad="1003300" sx="102000" sy="102000" algn="ctr" rotWithShape="0">
              <a:schemeClr val="tx1">
                <a:alpha val="20000"/>
              </a:schemeClr>
            </a:outerShdw>
          </a:effectLst>
        </p:spPr>
        <p:txBody>
          <a:bodyPr lIns="0" tIns="0" rIns="0" bIns="0" anchor="ctr"/>
          <a:lstStyle/>
          <a:p>
            <a:pPr marL="0" marR="0" lvl="0" indent="0" algn="ctr" defTabSz="309563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itchFamily="2" charset="0"/>
                <a:ea typeface="Roboto" pitchFamily="2" charset="0"/>
                <a:cs typeface="Poppins Bold"/>
                <a:sym typeface="Poppins Bold"/>
              </a:rPr>
              <a:t> 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" pitchFamily="2" charset="0"/>
              <a:ea typeface="Roboto" pitchFamily="2" charset="0"/>
              <a:cs typeface="Poppins Bold"/>
              <a:sym typeface="Poppins Bold"/>
            </a:endParaRPr>
          </a:p>
        </p:txBody>
      </p:sp>
      <p:sp>
        <p:nvSpPr>
          <p:cNvPr id="328" name="Заголовок">
            <a:extLst>
              <a:ext uri="{FF2B5EF4-FFF2-40B4-BE49-F238E27FC236}">
                <a16:creationId xmlns:a16="http://schemas.microsoft.com/office/drawing/2014/main" id="{0D424A7E-5ED8-4606-A34F-F807A4E10376}"/>
              </a:ext>
            </a:extLst>
          </p:cNvPr>
          <p:cNvSpPr txBox="1"/>
          <p:nvPr/>
        </p:nvSpPr>
        <p:spPr>
          <a:xfrm>
            <a:off x="5861724" y="1357759"/>
            <a:ext cx="640990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3600" dirty="0">
                <a:latin typeface="SB Sans Text" panose="020B0503040504020204" pitchFamily="34" charset="-52"/>
                <a:ea typeface="Roboto" pitchFamily="2" charset="0"/>
                <a:cs typeface="SB Sans Text" panose="020B0503040504020204" pitchFamily="34" charset="-52"/>
              </a:rPr>
              <a:t>Данные туда и обратно</a:t>
            </a:r>
          </a:p>
        </p:txBody>
      </p:sp>
      <p:sp>
        <p:nvSpPr>
          <p:cNvPr id="330" name="Заголовок">
            <a:extLst>
              <a:ext uri="{FF2B5EF4-FFF2-40B4-BE49-F238E27FC236}">
                <a16:creationId xmlns:a16="http://schemas.microsoft.com/office/drawing/2014/main" id="{12CD9A50-719D-46FF-822B-53E886D3F915}"/>
              </a:ext>
            </a:extLst>
          </p:cNvPr>
          <p:cNvSpPr txBox="1"/>
          <p:nvPr/>
        </p:nvSpPr>
        <p:spPr>
          <a:xfrm>
            <a:off x="5843292" y="1925676"/>
            <a:ext cx="610576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3600" dirty="0">
                <a:solidFill>
                  <a:schemeClr val="bg2"/>
                </a:solidFill>
                <a:latin typeface="SB Sans Text" panose="020B0503040504020204" pitchFamily="34" charset="-52"/>
                <a:ea typeface="Roboto" pitchFamily="2" charset="0"/>
                <a:cs typeface="SB Sans Text" panose="020B0503040504020204" pitchFamily="34" charset="-52"/>
              </a:rPr>
              <a:t>Дополнительный </a:t>
            </a:r>
            <a:r>
              <a:rPr lang="ru-RU" sz="3600" dirty="0" err="1">
                <a:solidFill>
                  <a:schemeClr val="bg2"/>
                </a:solidFill>
                <a:latin typeface="SB Sans Text" panose="020B0503040504020204" pitchFamily="34" charset="-52"/>
                <a:ea typeface="Roboto" pitchFamily="2" charset="0"/>
                <a:cs typeface="SB Sans Text" panose="020B0503040504020204" pitchFamily="34" charset="-52"/>
              </a:rPr>
              <a:t>дедап</a:t>
            </a:r>
            <a:endParaRPr lang="ru-RU" sz="3600" dirty="0">
              <a:solidFill>
                <a:schemeClr val="bg2"/>
              </a:solidFill>
              <a:latin typeface="SB Sans Text" panose="020B0503040504020204" pitchFamily="34" charset="-52"/>
              <a:ea typeface="Roboto" pitchFamily="2" charset="0"/>
              <a:cs typeface="SB Sans Text" panose="020B0503040504020204" pitchFamily="34" charset="-52"/>
            </a:endParaRPr>
          </a:p>
        </p:txBody>
      </p:sp>
      <p:sp>
        <p:nvSpPr>
          <p:cNvPr id="331" name="Motion design">
            <a:extLst>
              <a:ext uri="{FF2B5EF4-FFF2-40B4-BE49-F238E27FC236}">
                <a16:creationId xmlns:a16="http://schemas.microsoft.com/office/drawing/2014/main" id="{4D89375E-C7BF-4A9A-BD42-8D7566DFD5E9}"/>
              </a:ext>
            </a:extLst>
          </p:cNvPr>
          <p:cNvSpPr txBox="1"/>
          <p:nvPr/>
        </p:nvSpPr>
        <p:spPr>
          <a:xfrm>
            <a:off x="5979249" y="3747618"/>
            <a:ext cx="5667986" cy="116442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0" tIns="0" rIns="0" bIns="0" anchor="ctr">
            <a:spAutoFit/>
          </a:bodyPr>
          <a:lstStyle>
            <a:lvl1pPr>
              <a:lnSpc>
                <a:spcPct val="130000"/>
              </a:lnSpc>
              <a:defRPr sz="3000">
                <a:latin typeface="+mn-lt"/>
                <a:ea typeface="+mn-ea"/>
                <a:cs typeface="+mn-cs"/>
                <a:sym typeface="Poppins SemiBold"/>
              </a:defRPr>
            </a:lvl1pPr>
          </a:lstStyle>
          <a:p>
            <a:pPr defTabSz="309563" hangingPunct="0">
              <a:buClrTx/>
              <a:defRPr/>
            </a:pPr>
            <a:r>
              <a:rPr lang="ru-RU" sz="2000" dirty="0">
                <a:solidFill>
                  <a:schemeClr val="bg2"/>
                </a:solidFill>
                <a:latin typeface="SB Sans Text" panose="020B0503040504020204" pitchFamily="34" charset="-52"/>
                <a:ea typeface="Roboto Light" panose="02000000000000000000" pitchFamily="2" charset="0"/>
                <a:cs typeface="SB Sans Text" panose="020B0503040504020204" pitchFamily="34" charset="-52"/>
              </a:rPr>
              <a:t>тем самым обогащает клиентов НПФ </a:t>
            </a:r>
            <a:br>
              <a:rPr lang="ru-RU" sz="2000" dirty="0">
                <a:solidFill>
                  <a:schemeClr val="bg2"/>
                </a:solidFill>
                <a:latin typeface="SB Sans Text" panose="020B0503040504020204" pitchFamily="34" charset="-52"/>
                <a:ea typeface="Roboto Light" panose="02000000000000000000" pitchFamily="2" charset="0"/>
                <a:cs typeface="SB Sans Text" panose="020B0503040504020204" pitchFamily="34" charset="-52"/>
              </a:rPr>
            </a:br>
            <a:r>
              <a:rPr lang="ru-RU" sz="2000" dirty="0">
                <a:solidFill>
                  <a:schemeClr val="bg2"/>
                </a:solidFill>
                <a:latin typeface="SB Sans Text" panose="020B0503040504020204" pitchFamily="34" charset="-52"/>
                <a:ea typeface="Roboto Light" panose="02000000000000000000" pitchFamily="2" charset="0"/>
                <a:cs typeface="SB Sans Text" panose="020B0503040504020204" pitchFamily="34" charset="-52"/>
              </a:rPr>
              <a:t>и позволяет проводить дополнительное объединение. </a:t>
            </a:r>
          </a:p>
        </p:txBody>
      </p:sp>
      <p:grpSp>
        <p:nvGrpSpPr>
          <p:cNvPr id="332" name="Группа 331">
            <a:extLst>
              <a:ext uri="{FF2B5EF4-FFF2-40B4-BE49-F238E27FC236}">
                <a16:creationId xmlns:a16="http://schemas.microsoft.com/office/drawing/2014/main" id="{27F84F59-EDE4-4294-A046-50CEDAB0CAB1}"/>
              </a:ext>
            </a:extLst>
          </p:cNvPr>
          <p:cNvGrpSpPr/>
          <p:nvPr/>
        </p:nvGrpSpPr>
        <p:grpSpPr>
          <a:xfrm>
            <a:off x="1560390" y="716966"/>
            <a:ext cx="2114300" cy="2097626"/>
            <a:chOff x="1385147" y="1331374"/>
            <a:chExt cx="2114300" cy="2097626"/>
          </a:xfrm>
        </p:grpSpPr>
        <p:sp>
          <p:nvSpPr>
            <p:cNvPr id="333" name="Shape_фон">
              <a:extLst>
                <a:ext uri="{FF2B5EF4-FFF2-40B4-BE49-F238E27FC236}">
                  <a16:creationId xmlns:a16="http://schemas.microsoft.com/office/drawing/2014/main" id="{3D1BD017-0ECE-4148-9378-914268625341}"/>
                </a:ext>
              </a:extLst>
            </p:cNvPr>
            <p:cNvSpPr/>
            <p:nvPr/>
          </p:nvSpPr>
          <p:spPr>
            <a:xfrm>
              <a:off x="1385147" y="1331374"/>
              <a:ext cx="2114300" cy="2097626"/>
            </a:xfrm>
            <a:prstGeom prst="roundRect">
              <a:avLst>
                <a:gd name="adj" fmla="val 8571"/>
              </a:avLst>
            </a:prstGeom>
            <a:solidFill>
              <a:schemeClr val="bg1"/>
            </a:solidFill>
            <a:ln w="12700" cap="flat">
              <a:noFill/>
              <a:prstDash val="solid"/>
              <a:miter/>
            </a:ln>
            <a:effectLst>
              <a:outerShdw blurRad="1003300" sx="102000" sy="102000" algn="ctr" rotWithShape="0">
                <a:schemeClr val="tx1">
                  <a:alpha val="20000"/>
                </a:schemeClr>
              </a:outerShdw>
            </a:effectLst>
          </p:spPr>
          <p:txBody>
            <a:bodyPr lIns="0" tIns="0" rIns="0" bIns="0" anchor="ctr"/>
            <a:lstStyle/>
            <a:p>
              <a:pPr marL="0" marR="0" lvl="0" indent="0" algn="ctr" defTabSz="309563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Roboto" pitchFamily="2" charset="0"/>
                  <a:ea typeface="Roboto" pitchFamily="2" charset="0"/>
                  <a:cs typeface="Poppins Bold"/>
                  <a:sym typeface="Poppins Bold"/>
                </a:rPr>
                <a:t> </a:t>
              </a:r>
              <a:endPara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itchFamily="2" charset="0"/>
                <a:ea typeface="Roboto" pitchFamily="2" charset="0"/>
                <a:cs typeface="Poppins Bold"/>
                <a:sym typeface="Poppins Bold"/>
              </a:endParaRPr>
            </a:p>
          </p:txBody>
        </p:sp>
        <p:pic>
          <p:nvPicPr>
            <p:cNvPr id="334" name="Рисунок 333">
              <a:extLst>
                <a:ext uri="{FF2B5EF4-FFF2-40B4-BE49-F238E27FC236}">
                  <a16:creationId xmlns:a16="http://schemas.microsoft.com/office/drawing/2014/main" id="{69450686-C10C-4114-93C7-87811A203A7D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1716984" y="1711898"/>
              <a:ext cx="1450626" cy="1336102"/>
            </a:xfrm>
            <a:prstGeom prst="rect">
              <a:avLst/>
            </a:prstGeom>
          </p:spPr>
        </p:pic>
      </p:grpSp>
      <p:grpSp>
        <p:nvGrpSpPr>
          <p:cNvPr id="335" name="Группа 334">
            <a:extLst>
              <a:ext uri="{FF2B5EF4-FFF2-40B4-BE49-F238E27FC236}">
                <a16:creationId xmlns:a16="http://schemas.microsoft.com/office/drawing/2014/main" id="{04D6BD14-A1F0-4E06-AD5E-8D4788525635}"/>
              </a:ext>
            </a:extLst>
          </p:cNvPr>
          <p:cNvGrpSpPr/>
          <p:nvPr/>
        </p:nvGrpSpPr>
        <p:grpSpPr>
          <a:xfrm>
            <a:off x="1560390" y="3402084"/>
            <a:ext cx="2114300" cy="2097626"/>
            <a:chOff x="1385147" y="1331374"/>
            <a:chExt cx="2114300" cy="2097626"/>
          </a:xfrm>
        </p:grpSpPr>
        <p:sp>
          <p:nvSpPr>
            <p:cNvPr id="336" name="Shape_фон">
              <a:extLst>
                <a:ext uri="{FF2B5EF4-FFF2-40B4-BE49-F238E27FC236}">
                  <a16:creationId xmlns:a16="http://schemas.microsoft.com/office/drawing/2014/main" id="{6C5761D0-28E5-40C2-9CEB-DD09CA13D1C6}"/>
                </a:ext>
              </a:extLst>
            </p:cNvPr>
            <p:cNvSpPr/>
            <p:nvPr/>
          </p:nvSpPr>
          <p:spPr>
            <a:xfrm>
              <a:off x="1385147" y="1331374"/>
              <a:ext cx="2114300" cy="2097626"/>
            </a:xfrm>
            <a:prstGeom prst="roundRect">
              <a:avLst>
                <a:gd name="adj" fmla="val 8571"/>
              </a:avLst>
            </a:prstGeom>
            <a:solidFill>
              <a:schemeClr val="bg1"/>
            </a:solidFill>
            <a:ln w="12700" cap="flat">
              <a:noFill/>
              <a:prstDash val="solid"/>
              <a:miter/>
            </a:ln>
            <a:effectLst>
              <a:outerShdw blurRad="1003300" sx="102000" sy="102000" algn="ctr" rotWithShape="0">
                <a:schemeClr val="tx1">
                  <a:alpha val="20000"/>
                </a:schemeClr>
              </a:outerShdw>
            </a:effectLst>
          </p:spPr>
          <p:txBody>
            <a:bodyPr lIns="0" tIns="0" rIns="0" bIns="0" anchor="ctr"/>
            <a:lstStyle/>
            <a:p>
              <a:pPr marL="0" marR="0" lvl="0" indent="0" algn="ctr" defTabSz="309563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Roboto" pitchFamily="2" charset="0"/>
                  <a:ea typeface="Roboto" pitchFamily="2" charset="0"/>
                  <a:cs typeface="Poppins Bold"/>
                  <a:sym typeface="Poppins Bold"/>
                </a:rPr>
                <a:t> </a:t>
              </a:r>
              <a:endPara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itchFamily="2" charset="0"/>
                <a:ea typeface="Roboto" pitchFamily="2" charset="0"/>
                <a:cs typeface="Poppins Bold"/>
                <a:sym typeface="Poppins Bold"/>
              </a:endParaRPr>
            </a:p>
          </p:txBody>
        </p:sp>
        <p:pic>
          <p:nvPicPr>
            <p:cNvPr id="337" name="Рисунок 336">
              <a:extLst>
                <a:ext uri="{FF2B5EF4-FFF2-40B4-BE49-F238E27FC236}">
                  <a16:creationId xmlns:a16="http://schemas.microsoft.com/office/drawing/2014/main" id="{1A84B5A2-85EF-4F53-B5CE-6981F8B817B6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rcRect/>
            <a:stretch/>
          </p:blipFill>
          <p:spPr>
            <a:xfrm>
              <a:off x="2017994" y="1711898"/>
              <a:ext cx="848605" cy="1336102"/>
            </a:xfrm>
            <a:prstGeom prst="rect">
              <a:avLst/>
            </a:prstGeom>
          </p:spPr>
        </p:pic>
      </p:grpSp>
      <p:sp>
        <p:nvSpPr>
          <p:cNvPr id="338" name="Полилиния: фигура 337">
            <a:extLst>
              <a:ext uri="{FF2B5EF4-FFF2-40B4-BE49-F238E27FC236}">
                <a16:creationId xmlns:a16="http://schemas.microsoft.com/office/drawing/2014/main" id="{C6AC60CE-4BEB-4074-B01D-ACA2EBC59D02}"/>
              </a:ext>
            </a:extLst>
          </p:cNvPr>
          <p:cNvSpPr/>
          <p:nvPr/>
        </p:nvSpPr>
        <p:spPr>
          <a:xfrm rot="20593362">
            <a:off x="583513" y="2355628"/>
            <a:ext cx="899868" cy="1481602"/>
          </a:xfrm>
          <a:custGeom>
            <a:avLst/>
            <a:gdLst>
              <a:gd name="connsiteX0" fmla="*/ 238840 w 1248408"/>
              <a:gd name="connsiteY0" fmla="*/ 1752004 h 2055465"/>
              <a:gd name="connsiteX1" fmla="*/ 279480 w 1248408"/>
              <a:gd name="connsiteY1" fmla="*/ 1800343 h 2055465"/>
              <a:gd name="connsiteX2" fmla="*/ 158454 w 1248408"/>
              <a:gd name="connsiteY2" fmla="*/ 1865153 h 2055465"/>
              <a:gd name="connsiteX3" fmla="*/ 720797 w 1248408"/>
              <a:gd name="connsiteY3" fmla="*/ 2055466 h 2055465"/>
              <a:gd name="connsiteX4" fmla="*/ 530485 w 1248408"/>
              <a:gd name="connsiteY4" fmla="*/ 1510488 h 2055465"/>
              <a:gd name="connsiteX5" fmla="*/ 461199 w 1248408"/>
              <a:gd name="connsiteY5" fmla="*/ 1601258 h 2055465"/>
              <a:gd name="connsiteX6" fmla="*/ 461199 w 1248408"/>
              <a:gd name="connsiteY6" fmla="*/ 571817 h 2055465"/>
              <a:gd name="connsiteX7" fmla="*/ 1248408 w 1248408"/>
              <a:gd name="connsiteY7" fmla="*/ 269071 h 2055465"/>
              <a:gd name="connsiteX8" fmla="*/ 1166232 w 1248408"/>
              <a:gd name="connsiteY8" fmla="*/ 879 h 2055465"/>
              <a:gd name="connsiteX9" fmla="*/ 136791 w 1248408"/>
              <a:gd name="connsiteY9" fmla="*/ 558926 h 2055465"/>
              <a:gd name="connsiteX10" fmla="*/ 238840 w 1248408"/>
              <a:gd name="connsiteY10" fmla="*/ 1752004 h 20554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248408" h="2055465">
                <a:moveTo>
                  <a:pt x="238840" y="1752004"/>
                </a:moveTo>
                <a:lnTo>
                  <a:pt x="279480" y="1800343"/>
                </a:lnTo>
                <a:lnTo>
                  <a:pt x="158454" y="1865153"/>
                </a:lnTo>
                <a:lnTo>
                  <a:pt x="720797" y="2055466"/>
                </a:lnTo>
                <a:lnTo>
                  <a:pt x="530485" y="1510488"/>
                </a:lnTo>
                <a:lnTo>
                  <a:pt x="461199" y="1601258"/>
                </a:lnTo>
                <a:cubicBezTo>
                  <a:pt x="461199" y="1601258"/>
                  <a:pt x="97403" y="961035"/>
                  <a:pt x="461199" y="571817"/>
                </a:cubicBezTo>
                <a:cubicBezTo>
                  <a:pt x="822488" y="185284"/>
                  <a:pt x="1248408" y="269071"/>
                  <a:pt x="1248408" y="269071"/>
                </a:cubicBezTo>
                <a:lnTo>
                  <a:pt x="1166232" y="879"/>
                </a:lnTo>
                <a:cubicBezTo>
                  <a:pt x="1166232" y="879"/>
                  <a:pt x="495931" y="-46743"/>
                  <a:pt x="136791" y="558926"/>
                </a:cubicBezTo>
                <a:cubicBezTo>
                  <a:pt x="-222171" y="1164417"/>
                  <a:pt x="238840" y="1752004"/>
                  <a:pt x="238840" y="1752004"/>
                </a:cubicBezTo>
                <a:close/>
              </a:path>
            </a:pathLst>
          </a:custGeom>
          <a:solidFill>
            <a:srgbClr val="FFFFFF"/>
          </a:solidFill>
          <a:ln w="17869" cap="flat">
            <a:solidFill>
              <a:schemeClr val="bg2"/>
            </a:solidFill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339" name="Полилиния: фигура 338">
            <a:extLst>
              <a:ext uri="{FF2B5EF4-FFF2-40B4-BE49-F238E27FC236}">
                <a16:creationId xmlns:a16="http://schemas.microsoft.com/office/drawing/2014/main" id="{A585E233-01CD-4D8F-9759-158127D39C9B}"/>
              </a:ext>
            </a:extLst>
          </p:cNvPr>
          <p:cNvSpPr/>
          <p:nvPr/>
        </p:nvSpPr>
        <p:spPr>
          <a:xfrm rot="9925370">
            <a:off x="3774417" y="2355628"/>
            <a:ext cx="899868" cy="1481602"/>
          </a:xfrm>
          <a:custGeom>
            <a:avLst/>
            <a:gdLst>
              <a:gd name="connsiteX0" fmla="*/ 238840 w 1248408"/>
              <a:gd name="connsiteY0" fmla="*/ 1752004 h 2055465"/>
              <a:gd name="connsiteX1" fmla="*/ 279480 w 1248408"/>
              <a:gd name="connsiteY1" fmla="*/ 1800343 h 2055465"/>
              <a:gd name="connsiteX2" fmla="*/ 158454 w 1248408"/>
              <a:gd name="connsiteY2" fmla="*/ 1865153 h 2055465"/>
              <a:gd name="connsiteX3" fmla="*/ 720797 w 1248408"/>
              <a:gd name="connsiteY3" fmla="*/ 2055466 h 2055465"/>
              <a:gd name="connsiteX4" fmla="*/ 530485 w 1248408"/>
              <a:gd name="connsiteY4" fmla="*/ 1510488 h 2055465"/>
              <a:gd name="connsiteX5" fmla="*/ 461199 w 1248408"/>
              <a:gd name="connsiteY5" fmla="*/ 1601258 h 2055465"/>
              <a:gd name="connsiteX6" fmla="*/ 461199 w 1248408"/>
              <a:gd name="connsiteY6" fmla="*/ 571817 h 2055465"/>
              <a:gd name="connsiteX7" fmla="*/ 1248408 w 1248408"/>
              <a:gd name="connsiteY7" fmla="*/ 269071 h 2055465"/>
              <a:gd name="connsiteX8" fmla="*/ 1166232 w 1248408"/>
              <a:gd name="connsiteY8" fmla="*/ 879 h 2055465"/>
              <a:gd name="connsiteX9" fmla="*/ 136791 w 1248408"/>
              <a:gd name="connsiteY9" fmla="*/ 558926 h 2055465"/>
              <a:gd name="connsiteX10" fmla="*/ 238840 w 1248408"/>
              <a:gd name="connsiteY10" fmla="*/ 1752004 h 20554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248408" h="2055465">
                <a:moveTo>
                  <a:pt x="238840" y="1752004"/>
                </a:moveTo>
                <a:lnTo>
                  <a:pt x="279480" y="1800343"/>
                </a:lnTo>
                <a:lnTo>
                  <a:pt x="158454" y="1865153"/>
                </a:lnTo>
                <a:lnTo>
                  <a:pt x="720797" y="2055466"/>
                </a:lnTo>
                <a:lnTo>
                  <a:pt x="530485" y="1510488"/>
                </a:lnTo>
                <a:lnTo>
                  <a:pt x="461199" y="1601258"/>
                </a:lnTo>
                <a:cubicBezTo>
                  <a:pt x="461199" y="1601258"/>
                  <a:pt x="97403" y="961035"/>
                  <a:pt x="461199" y="571817"/>
                </a:cubicBezTo>
                <a:cubicBezTo>
                  <a:pt x="822488" y="185284"/>
                  <a:pt x="1248408" y="269071"/>
                  <a:pt x="1248408" y="269071"/>
                </a:cubicBezTo>
                <a:lnTo>
                  <a:pt x="1166232" y="879"/>
                </a:lnTo>
                <a:cubicBezTo>
                  <a:pt x="1166232" y="879"/>
                  <a:pt x="495931" y="-46743"/>
                  <a:pt x="136791" y="558926"/>
                </a:cubicBezTo>
                <a:cubicBezTo>
                  <a:pt x="-222171" y="1164417"/>
                  <a:pt x="238840" y="1752004"/>
                  <a:pt x="238840" y="1752004"/>
                </a:cubicBezTo>
                <a:close/>
              </a:path>
            </a:pathLst>
          </a:custGeom>
          <a:solidFill>
            <a:schemeClr val="bg2"/>
          </a:solidFill>
          <a:ln w="17869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340" name="Полилиния: фигура 339">
            <a:extLst>
              <a:ext uri="{FF2B5EF4-FFF2-40B4-BE49-F238E27FC236}">
                <a16:creationId xmlns:a16="http://schemas.microsoft.com/office/drawing/2014/main" id="{C86A507B-8E20-4409-9D03-9BB5BAFC72CE}"/>
              </a:ext>
            </a:extLst>
          </p:cNvPr>
          <p:cNvSpPr/>
          <p:nvPr/>
        </p:nvSpPr>
        <p:spPr>
          <a:xfrm>
            <a:off x="2079968" y="2589858"/>
            <a:ext cx="1075142" cy="1075142"/>
          </a:xfrm>
          <a:custGeom>
            <a:avLst/>
            <a:gdLst>
              <a:gd name="connsiteX0" fmla="*/ 549307 w 885348"/>
              <a:gd name="connsiteY0" fmla="*/ 789432 h 885348"/>
              <a:gd name="connsiteX1" fmla="*/ 454628 w 885348"/>
              <a:gd name="connsiteY1" fmla="*/ 805243 h 885348"/>
              <a:gd name="connsiteX2" fmla="*/ 415957 w 885348"/>
              <a:gd name="connsiteY2" fmla="*/ 885349 h 885348"/>
              <a:gd name="connsiteX3" fmla="*/ 272510 w 885348"/>
              <a:gd name="connsiteY3" fmla="*/ 852202 h 885348"/>
              <a:gd name="connsiteX4" fmla="*/ 272891 w 885348"/>
              <a:gd name="connsiteY4" fmla="*/ 763238 h 885348"/>
              <a:gd name="connsiteX5" fmla="*/ 194691 w 885348"/>
              <a:gd name="connsiteY5" fmla="*/ 707517 h 885348"/>
              <a:gd name="connsiteX6" fmla="*/ 110680 w 885348"/>
              <a:gd name="connsiteY6" fmla="*/ 736759 h 885348"/>
              <a:gd name="connsiteX7" fmla="*/ 32671 w 885348"/>
              <a:gd name="connsiteY7" fmla="*/ 611886 h 885348"/>
              <a:gd name="connsiteX8" fmla="*/ 95821 w 885348"/>
              <a:gd name="connsiteY8" fmla="*/ 549307 h 885348"/>
              <a:gd name="connsiteX9" fmla="*/ 80105 w 885348"/>
              <a:gd name="connsiteY9" fmla="*/ 454628 h 885348"/>
              <a:gd name="connsiteX10" fmla="*/ 0 w 885348"/>
              <a:gd name="connsiteY10" fmla="*/ 415861 h 885348"/>
              <a:gd name="connsiteX11" fmla="*/ 33147 w 885348"/>
              <a:gd name="connsiteY11" fmla="*/ 272415 h 885348"/>
              <a:gd name="connsiteX12" fmla="*/ 122111 w 885348"/>
              <a:gd name="connsiteY12" fmla="*/ 272796 h 885348"/>
              <a:gd name="connsiteX13" fmla="*/ 177832 w 885348"/>
              <a:gd name="connsiteY13" fmla="*/ 194691 h 885348"/>
              <a:gd name="connsiteX14" fmla="*/ 148495 w 885348"/>
              <a:gd name="connsiteY14" fmla="*/ 110680 h 885348"/>
              <a:gd name="connsiteX15" fmla="*/ 273367 w 885348"/>
              <a:gd name="connsiteY15" fmla="*/ 32671 h 885348"/>
              <a:gd name="connsiteX16" fmla="*/ 335947 w 885348"/>
              <a:gd name="connsiteY16" fmla="*/ 95917 h 885348"/>
              <a:gd name="connsiteX17" fmla="*/ 430625 w 885348"/>
              <a:gd name="connsiteY17" fmla="*/ 80105 h 885348"/>
              <a:gd name="connsiteX18" fmla="*/ 469392 w 885348"/>
              <a:gd name="connsiteY18" fmla="*/ 0 h 885348"/>
              <a:gd name="connsiteX19" fmla="*/ 612838 w 885348"/>
              <a:gd name="connsiteY19" fmla="*/ 33147 h 885348"/>
              <a:gd name="connsiteX20" fmla="*/ 612457 w 885348"/>
              <a:gd name="connsiteY20" fmla="*/ 122206 h 885348"/>
              <a:gd name="connsiteX21" fmla="*/ 690563 w 885348"/>
              <a:gd name="connsiteY21" fmla="*/ 177927 h 885348"/>
              <a:gd name="connsiteX22" fmla="*/ 774573 w 885348"/>
              <a:gd name="connsiteY22" fmla="*/ 148685 h 885348"/>
              <a:gd name="connsiteX23" fmla="*/ 852583 w 885348"/>
              <a:gd name="connsiteY23" fmla="*/ 273558 h 885348"/>
              <a:gd name="connsiteX24" fmla="*/ 789432 w 885348"/>
              <a:gd name="connsiteY24" fmla="*/ 336137 h 885348"/>
              <a:gd name="connsiteX25" fmla="*/ 805243 w 885348"/>
              <a:gd name="connsiteY25" fmla="*/ 430816 h 885348"/>
              <a:gd name="connsiteX26" fmla="*/ 885349 w 885348"/>
              <a:gd name="connsiteY26" fmla="*/ 469582 h 885348"/>
              <a:gd name="connsiteX27" fmla="*/ 852202 w 885348"/>
              <a:gd name="connsiteY27" fmla="*/ 613029 h 885348"/>
              <a:gd name="connsiteX28" fmla="*/ 763143 w 885348"/>
              <a:gd name="connsiteY28" fmla="*/ 612648 h 885348"/>
              <a:gd name="connsiteX29" fmla="*/ 707422 w 885348"/>
              <a:gd name="connsiteY29" fmla="*/ 690848 h 885348"/>
              <a:gd name="connsiteX30" fmla="*/ 736663 w 885348"/>
              <a:gd name="connsiteY30" fmla="*/ 774859 h 885348"/>
              <a:gd name="connsiteX31" fmla="*/ 611791 w 885348"/>
              <a:gd name="connsiteY31" fmla="*/ 852868 h 885348"/>
              <a:gd name="connsiteX32" fmla="*/ 549116 w 885348"/>
              <a:gd name="connsiteY32" fmla="*/ 789718 h 885348"/>
              <a:gd name="connsiteX33" fmla="*/ 549116 w 885348"/>
              <a:gd name="connsiteY33" fmla="*/ 789718 h 885348"/>
              <a:gd name="connsiteX34" fmla="*/ 520732 w 885348"/>
              <a:gd name="connsiteY34" fmla="*/ 580072 h 885348"/>
              <a:gd name="connsiteX35" fmla="*/ 571119 w 885348"/>
              <a:gd name="connsiteY35" fmla="*/ 362426 h 885348"/>
              <a:gd name="connsiteX36" fmla="*/ 353473 w 885348"/>
              <a:gd name="connsiteY36" fmla="*/ 312039 h 885348"/>
              <a:gd name="connsiteX37" fmla="*/ 303086 w 885348"/>
              <a:gd name="connsiteY37" fmla="*/ 529685 h 885348"/>
              <a:gd name="connsiteX38" fmla="*/ 520732 w 885348"/>
              <a:gd name="connsiteY38" fmla="*/ 580072 h 8853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</a:cxnLst>
            <a:rect l="l" t="t" r="r" b="b"/>
            <a:pathLst>
              <a:path w="885348" h="885348">
                <a:moveTo>
                  <a:pt x="549307" y="789432"/>
                </a:moveTo>
                <a:cubicBezTo>
                  <a:pt x="518255" y="798957"/>
                  <a:pt x="486346" y="804196"/>
                  <a:pt x="454628" y="805243"/>
                </a:cubicBezTo>
                <a:lnTo>
                  <a:pt x="415957" y="885349"/>
                </a:lnTo>
                <a:lnTo>
                  <a:pt x="272510" y="852202"/>
                </a:lnTo>
                <a:lnTo>
                  <a:pt x="272891" y="763238"/>
                </a:lnTo>
                <a:cubicBezTo>
                  <a:pt x="244792" y="748379"/>
                  <a:pt x="218504" y="729710"/>
                  <a:pt x="194691" y="707517"/>
                </a:cubicBezTo>
                <a:lnTo>
                  <a:pt x="110680" y="736759"/>
                </a:lnTo>
                <a:lnTo>
                  <a:pt x="32671" y="611886"/>
                </a:lnTo>
                <a:lnTo>
                  <a:pt x="95821" y="549307"/>
                </a:lnTo>
                <a:cubicBezTo>
                  <a:pt x="86201" y="518255"/>
                  <a:pt x="81058" y="486346"/>
                  <a:pt x="80105" y="454628"/>
                </a:cubicBezTo>
                <a:lnTo>
                  <a:pt x="0" y="415861"/>
                </a:lnTo>
                <a:lnTo>
                  <a:pt x="33147" y="272415"/>
                </a:lnTo>
                <a:lnTo>
                  <a:pt x="122111" y="272796"/>
                </a:lnTo>
                <a:cubicBezTo>
                  <a:pt x="136970" y="244697"/>
                  <a:pt x="155638" y="218408"/>
                  <a:pt x="177832" y="194691"/>
                </a:cubicBezTo>
                <a:lnTo>
                  <a:pt x="148495" y="110680"/>
                </a:lnTo>
                <a:lnTo>
                  <a:pt x="273367" y="32671"/>
                </a:lnTo>
                <a:lnTo>
                  <a:pt x="335947" y="95917"/>
                </a:lnTo>
                <a:cubicBezTo>
                  <a:pt x="366998" y="86296"/>
                  <a:pt x="398907" y="81153"/>
                  <a:pt x="430625" y="80105"/>
                </a:cubicBezTo>
                <a:lnTo>
                  <a:pt x="469392" y="0"/>
                </a:lnTo>
                <a:lnTo>
                  <a:pt x="612838" y="33147"/>
                </a:lnTo>
                <a:lnTo>
                  <a:pt x="612457" y="122206"/>
                </a:lnTo>
                <a:cubicBezTo>
                  <a:pt x="640556" y="137065"/>
                  <a:pt x="666845" y="155734"/>
                  <a:pt x="690563" y="177927"/>
                </a:cubicBezTo>
                <a:lnTo>
                  <a:pt x="774573" y="148685"/>
                </a:lnTo>
                <a:lnTo>
                  <a:pt x="852583" y="273558"/>
                </a:lnTo>
                <a:lnTo>
                  <a:pt x="789432" y="336137"/>
                </a:lnTo>
                <a:cubicBezTo>
                  <a:pt x="799052" y="367189"/>
                  <a:pt x="804196" y="399098"/>
                  <a:pt x="805243" y="430816"/>
                </a:cubicBezTo>
                <a:lnTo>
                  <a:pt x="885349" y="469582"/>
                </a:lnTo>
                <a:lnTo>
                  <a:pt x="852202" y="613029"/>
                </a:lnTo>
                <a:lnTo>
                  <a:pt x="763143" y="612648"/>
                </a:lnTo>
                <a:cubicBezTo>
                  <a:pt x="748284" y="640747"/>
                  <a:pt x="729615" y="667036"/>
                  <a:pt x="707422" y="690848"/>
                </a:cubicBezTo>
                <a:lnTo>
                  <a:pt x="736663" y="774859"/>
                </a:lnTo>
                <a:lnTo>
                  <a:pt x="611791" y="852868"/>
                </a:lnTo>
                <a:lnTo>
                  <a:pt x="549116" y="789718"/>
                </a:lnTo>
                <a:lnTo>
                  <a:pt x="549116" y="789718"/>
                </a:lnTo>
                <a:close/>
                <a:moveTo>
                  <a:pt x="520732" y="580072"/>
                </a:moveTo>
                <a:cubicBezTo>
                  <a:pt x="594741" y="533876"/>
                  <a:pt x="617315" y="436436"/>
                  <a:pt x="571119" y="362426"/>
                </a:cubicBezTo>
                <a:cubicBezTo>
                  <a:pt x="524923" y="288417"/>
                  <a:pt x="427482" y="265843"/>
                  <a:pt x="353473" y="312039"/>
                </a:cubicBezTo>
                <a:cubicBezTo>
                  <a:pt x="279463" y="358235"/>
                  <a:pt x="256889" y="455676"/>
                  <a:pt x="303086" y="529685"/>
                </a:cubicBezTo>
                <a:cubicBezTo>
                  <a:pt x="349282" y="603695"/>
                  <a:pt x="446722" y="626269"/>
                  <a:pt x="520732" y="580072"/>
                </a:cubicBezTo>
                <a:close/>
              </a:path>
            </a:pathLst>
          </a:custGeom>
          <a:solidFill>
            <a:schemeClr val="bg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ru-RU" dirty="0">
              <a:latin typeface="Akrobat Bold" panose="00000800000000000000" pitchFamily="50" charset="-52"/>
            </a:endParaRPr>
          </a:p>
        </p:txBody>
      </p:sp>
      <p:sp>
        <p:nvSpPr>
          <p:cNvPr id="22" name="Motion design">
            <a:extLst>
              <a:ext uri="{FF2B5EF4-FFF2-40B4-BE49-F238E27FC236}">
                <a16:creationId xmlns:a16="http://schemas.microsoft.com/office/drawing/2014/main" id="{7227C826-A9A1-47FF-BE2F-CFA25AA4CB54}"/>
              </a:ext>
            </a:extLst>
          </p:cNvPr>
          <p:cNvSpPr txBox="1"/>
          <p:nvPr/>
        </p:nvSpPr>
        <p:spPr>
          <a:xfrm>
            <a:off x="5955836" y="2898059"/>
            <a:ext cx="5961975" cy="76694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0" tIns="0" rIns="0" bIns="0" anchor="ctr">
            <a:spAutoFit/>
          </a:bodyPr>
          <a:lstStyle>
            <a:lvl1pPr>
              <a:lnSpc>
                <a:spcPct val="130000"/>
              </a:lnSpc>
              <a:defRPr sz="3000">
                <a:latin typeface="+mn-lt"/>
                <a:ea typeface="+mn-ea"/>
                <a:cs typeface="+mn-cs"/>
                <a:sym typeface="Poppins SemiBold"/>
              </a:defRPr>
            </a:lvl1pPr>
          </a:lstStyle>
          <a:p>
            <a:pPr defTabSz="309563" hangingPunct="0">
              <a:buClrTx/>
              <a:defRPr/>
            </a:pPr>
            <a:r>
              <a:rPr lang="ru-RU" sz="2000" dirty="0">
                <a:solidFill>
                  <a:srgbClr val="0D0D0D"/>
                </a:solidFill>
                <a:latin typeface="SB Sans Text Light" panose="020B0303040504020204" pitchFamily="34" charset="-52"/>
                <a:ea typeface="Roboto Light" panose="02000000000000000000" pitchFamily="2" charset="0"/>
                <a:cs typeface="SB Sans Text Light" panose="020B0303040504020204" pitchFamily="34" charset="-52"/>
              </a:rPr>
              <a:t>Но не только НПФ отправляет данные в банк. Банк тоже присылает актуальную информацию:</a:t>
            </a:r>
          </a:p>
        </p:txBody>
      </p:sp>
    </p:spTree>
    <p:extLst>
      <p:ext uri="{BB962C8B-B14F-4D97-AF65-F5344CB8AC3E}">
        <p14:creationId xmlns:p14="http://schemas.microsoft.com/office/powerpoint/2010/main" val="48016205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125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8" presetClass="emph" presetSubtype="0" repeatCount="indefinite" accel="45000" decel="48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6" dur="2250" fill="hold"/>
                                        <p:tgtEl>
                                          <p:spTgt spid="340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40" grpId="0" animBg="1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CDIConf_Black">
            <a:extLst>
              <a:ext uri="{FF2B5EF4-FFF2-40B4-BE49-F238E27FC236}">
                <a16:creationId xmlns:a16="http://schemas.microsoft.com/office/drawing/2014/main" id="{F3F1710A-CB9B-4080-B969-0477C48F22E5}"/>
              </a:ext>
            </a:extLst>
          </p:cNvPr>
          <p:cNvGrpSpPr/>
          <p:nvPr/>
        </p:nvGrpSpPr>
        <p:grpSpPr>
          <a:xfrm>
            <a:off x="9291334" y="6129083"/>
            <a:ext cx="2270483" cy="296171"/>
            <a:chOff x="7406975" y="5855999"/>
            <a:chExt cx="2270483" cy="296171"/>
          </a:xfrm>
        </p:grpSpPr>
        <p:sp>
          <p:nvSpPr>
            <p:cNvPr id="45" name="Полилиния: фигура 44">
              <a:extLst>
                <a:ext uri="{FF2B5EF4-FFF2-40B4-BE49-F238E27FC236}">
                  <a16:creationId xmlns:a16="http://schemas.microsoft.com/office/drawing/2014/main" id="{13A11B35-F320-4F31-908D-85B2D024FD4B}"/>
                </a:ext>
              </a:extLst>
            </p:cNvPr>
            <p:cNvSpPr/>
            <p:nvPr/>
          </p:nvSpPr>
          <p:spPr>
            <a:xfrm>
              <a:off x="7406975" y="5878280"/>
              <a:ext cx="1394458" cy="273890"/>
            </a:xfrm>
            <a:custGeom>
              <a:avLst/>
              <a:gdLst>
                <a:gd name="connsiteX0" fmla="*/ 157354 w 1394458"/>
                <a:gd name="connsiteY0" fmla="*/ 188093 h 273890"/>
                <a:gd name="connsiteX1" fmla="*/ 200773 w 1394458"/>
                <a:gd name="connsiteY1" fmla="*/ 188093 h 273890"/>
                <a:gd name="connsiteX2" fmla="*/ 186877 w 1394458"/>
                <a:gd name="connsiteY2" fmla="*/ 232383 h 273890"/>
                <a:gd name="connsiteX3" fmla="*/ 153706 w 1394458"/>
                <a:gd name="connsiteY3" fmla="*/ 262777 h 273890"/>
                <a:gd name="connsiteX4" fmla="*/ 101775 w 1394458"/>
                <a:gd name="connsiteY4" fmla="*/ 273891 h 273890"/>
                <a:gd name="connsiteX5" fmla="*/ 59572 w 1394458"/>
                <a:gd name="connsiteY5" fmla="*/ 265554 h 273890"/>
                <a:gd name="connsiteX6" fmla="*/ 27442 w 1394458"/>
                <a:gd name="connsiteY6" fmla="*/ 241585 h 273890"/>
                <a:gd name="connsiteX7" fmla="*/ 6950 w 1394458"/>
                <a:gd name="connsiteY7" fmla="*/ 203896 h 273890"/>
                <a:gd name="connsiteX8" fmla="*/ 0 w 1394458"/>
                <a:gd name="connsiteY8" fmla="*/ 154577 h 273890"/>
                <a:gd name="connsiteX9" fmla="*/ 0 w 1394458"/>
                <a:gd name="connsiteY9" fmla="*/ 133560 h 273890"/>
                <a:gd name="connsiteX10" fmla="*/ 7121 w 1394458"/>
                <a:gd name="connsiteY10" fmla="*/ 84236 h 273890"/>
                <a:gd name="connsiteX11" fmla="*/ 27962 w 1394458"/>
                <a:gd name="connsiteY11" fmla="*/ 46552 h 273890"/>
                <a:gd name="connsiteX12" fmla="*/ 60438 w 1394458"/>
                <a:gd name="connsiteY12" fmla="*/ 22408 h 273890"/>
                <a:gd name="connsiteX13" fmla="*/ 103336 w 1394458"/>
                <a:gd name="connsiteY13" fmla="*/ 14071 h 273890"/>
                <a:gd name="connsiteX14" fmla="*/ 154397 w 1394458"/>
                <a:gd name="connsiteY14" fmla="*/ 25185 h 273890"/>
                <a:gd name="connsiteX15" fmla="*/ 186702 w 1394458"/>
                <a:gd name="connsiteY15" fmla="*/ 55924 h 273890"/>
                <a:gd name="connsiteX16" fmla="*/ 200943 w 1394458"/>
                <a:gd name="connsiteY16" fmla="*/ 100905 h 273890"/>
                <a:gd name="connsiteX17" fmla="*/ 157524 w 1394458"/>
                <a:gd name="connsiteY17" fmla="*/ 100905 h 273890"/>
                <a:gd name="connsiteX18" fmla="*/ 149883 w 1394458"/>
                <a:gd name="connsiteY18" fmla="*/ 72943 h 273890"/>
                <a:gd name="connsiteX19" fmla="*/ 132865 w 1394458"/>
                <a:gd name="connsiteY19" fmla="*/ 55229 h 273890"/>
                <a:gd name="connsiteX20" fmla="*/ 103341 w 1394458"/>
                <a:gd name="connsiteY20" fmla="*/ 48974 h 273890"/>
                <a:gd name="connsiteX21" fmla="*/ 77291 w 1394458"/>
                <a:gd name="connsiteY21" fmla="*/ 54533 h 273890"/>
                <a:gd name="connsiteX22" fmla="*/ 58706 w 1394458"/>
                <a:gd name="connsiteY22" fmla="*/ 70861 h 273890"/>
                <a:gd name="connsiteX23" fmla="*/ 47417 w 1394458"/>
                <a:gd name="connsiteY23" fmla="*/ 97432 h 273890"/>
                <a:gd name="connsiteX24" fmla="*/ 43769 w 1394458"/>
                <a:gd name="connsiteY24" fmla="*/ 133210 h 273890"/>
                <a:gd name="connsiteX25" fmla="*/ 43769 w 1394458"/>
                <a:gd name="connsiteY25" fmla="*/ 154572 h 273890"/>
                <a:gd name="connsiteX26" fmla="*/ 47067 w 1394458"/>
                <a:gd name="connsiteY26" fmla="*/ 189304 h 273890"/>
                <a:gd name="connsiteX27" fmla="*/ 57490 w 1394458"/>
                <a:gd name="connsiteY27" fmla="*/ 215875 h 273890"/>
                <a:gd name="connsiteX28" fmla="*/ 75550 w 1394458"/>
                <a:gd name="connsiteY28" fmla="*/ 233069 h 273890"/>
                <a:gd name="connsiteX29" fmla="*/ 101775 w 1394458"/>
                <a:gd name="connsiteY29" fmla="*/ 239149 h 273890"/>
                <a:gd name="connsiteX30" fmla="*/ 131824 w 1394458"/>
                <a:gd name="connsiteY30" fmla="*/ 233244 h 273890"/>
                <a:gd name="connsiteX31" fmla="*/ 149363 w 1394458"/>
                <a:gd name="connsiteY31" fmla="*/ 216050 h 273890"/>
                <a:gd name="connsiteX32" fmla="*/ 157354 w 1394458"/>
                <a:gd name="connsiteY32" fmla="*/ 188088 h 273890"/>
                <a:gd name="connsiteX33" fmla="*/ 313837 w 1394458"/>
                <a:gd name="connsiteY33" fmla="*/ 270418 h 273890"/>
                <a:gd name="connsiteX34" fmla="*/ 259825 w 1394458"/>
                <a:gd name="connsiteY34" fmla="*/ 270418 h 273890"/>
                <a:gd name="connsiteX35" fmla="*/ 260170 w 1394458"/>
                <a:gd name="connsiteY35" fmla="*/ 235856 h 273890"/>
                <a:gd name="connsiteX36" fmla="*/ 313837 w 1394458"/>
                <a:gd name="connsiteY36" fmla="*/ 235856 h 273890"/>
                <a:gd name="connsiteX37" fmla="*/ 353088 w 1394458"/>
                <a:gd name="connsiteY37" fmla="*/ 225608 h 273890"/>
                <a:gd name="connsiteX38" fmla="*/ 377057 w 1394458"/>
                <a:gd name="connsiteY38" fmla="*/ 196255 h 273890"/>
                <a:gd name="connsiteX39" fmla="*/ 385218 w 1394458"/>
                <a:gd name="connsiteY39" fmla="*/ 150754 h 273890"/>
                <a:gd name="connsiteX40" fmla="*/ 385218 w 1394458"/>
                <a:gd name="connsiteY40" fmla="*/ 137033 h 273890"/>
                <a:gd name="connsiteX41" fmla="*/ 380530 w 1394458"/>
                <a:gd name="connsiteY41" fmla="*/ 100734 h 273890"/>
                <a:gd name="connsiteX42" fmla="*/ 366984 w 1394458"/>
                <a:gd name="connsiteY42" fmla="*/ 74163 h 273890"/>
                <a:gd name="connsiteX43" fmla="*/ 345102 w 1394458"/>
                <a:gd name="connsiteY43" fmla="*/ 57840 h 273890"/>
                <a:gd name="connsiteX44" fmla="*/ 315403 w 1394458"/>
                <a:gd name="connsiteY44" fmla="*/ 52281 h 273890"/>
                <a:gd name="connsiteX45" fmla="*/ 258784 w 1394458"/>
                <a:gd name="connsiteY45" fmla="*/ 52281 h 273890"/>
                <a:gd name="connsiteX46" fmla="*/ 258784 w 1394458"/>
                <a:gd name="connsiteY46" fmla="*/ 17544 h 273890"/>
                <a:gd name="connsiteX47" fmla="*/ 315403 w 1394458"/>
                <a:gd name="connsiteY47" fmla="*/ 17544 h 273890"/>
                <a:gd name="connsiteX48" fmla="*/ 361429 w 1394458"/>
                <a:gd name="connsiteY48" fmla="*/ 26055 h 273890"/>
                <a:gd name="connsiteX49" fmla="*/ 397383 w 1394458"/>
                <a:gd name="connsiteY49" fmla="*/ 50195 h 273890"/>
                <a:gd name="connsiteX50" fmla="*/ 420826 w 1394458"/>
                <a:gd name="connsiteY50" fmla="*/ 88054 h 273890"/>
                <a:gd name="connsiteX51" fmla="*/ 428988 w 1394458"/>
                <a:gd name="connsiteY51" fmla="*/ 137378 h 273890"/>
                <a:gd name="connsiteX52" fmla="*/ 428988 w 1394458"/>
                <a:gd name="connsiteY52" fmla="*/ 150754 h 273890"/>
                <a:gd name="connsiteX53" fmla="*/ 420826 w 1394458"/>
                <a:gd name="connsiteY53" fmla="*/ 200078 h 273890"/>
                <a:gd name="connsiteX54" fmla="*/ 397383 w 1394458"/>
                <a:gd name="connsiteY54" fmla="*/ 237938 h 273890"/>
                <a:gd name="connsiteX55" fmla="*/ 360909 w 1394458"/>
                <a:gd name="connsiteY55" fmla="*/ 262077 h 273890"/>
                <a:gd name="connsiteX56" fmla="*/ 313842 w 1394458"/>
                <a:gd name="connsiteY56" fmla="*/ 270413 h 273890"/>
                <a:gd name="connsiteX57" fmla="*/ 283964 w 1394458"/>
                <a:gd name="connsiteY57" fmla="*/ 17544 h 273890"/>
                <a:gd name="connsiteX58" fmla="*/ 283964 w 1394458"/>
                <a:gd name="connsiteY58" fmla="*/ 270418 h 273890"/>
                <a:gd name="connsiteX59" fmla="*/ 240369 w 1394458"/>
                <a:gd name="connsiteY59" fmla="*/ 270418 h 273890"/>
                <a:gd name="connsiteX60" fmla="*/ 240369 w 1394458"/>
                <a:gd name="connsiteY60" fmla="*/ 17544 h 273890"/>
                <a:gd name="connsiteX61" fmla="*/ 283964 w 1394458"/>
                <a:gd name="connsiteY61" fmla="*/ 17544 h 273890"/>
                <a:gd name="connsiteX62" fmla="*/ 519299 w 1394458"/>
                <a:gd name="connsiteY62" fmla="*/ 17544 h 273890"/>
                <a:gd name="connsiteX63" fmla="*/ 519299 w 1394458"/>
                <a:gd name="connsiteY63" fmla="*/ 270418 h 273890"/>
                <a:gd name="connsiteX64" fmla="*/ 475705 w 1394458"/>
                <a:gd name="connsiteY64" fmla="*/ 270418 h 273890"/>
                <a:gd name="connsiteX65" fmla="*/ 475705 w 1394458"/>
                <a:gd name="connsiteY65" fmla="*/ 17544 h 273890"/>
                <a:gd name="connsiteX66" fmla="*/ 519299 w 1394458"/>
                <a:gd name="connsiteY66" fmla="*/ 17544 h 273890"/>
                <a:gd name="connsiteX67" fmla="*/ 811424 w 1394458"/>
                <a:gd name="connsiteY67" fmla="*/ 188093 h 273890"/>
                <a:gd name="connsiteX68" fmla="*/ 854843 w 1394458"/>
                <a:gd name="connsiteY68" fmla="*/ 188093 h 273890"/>
                <a:gd name="connsiteX69" fmla="*/ 840947 w 1394458"/>
                <a:gd name="connsiteY69" fmla="*/ 232383 h 273890"/>
                <a:gd name="connsiteX70" fmla="*/ 807776 w 1394458"/>
                <a:gd name="connsiteY70" fmla="*/ 262777 h 273890"/>
                <a:gd name="connsiteX71" fmla="*/ 755845 w 1394458"/>
                <a:gd name="connsiteY71" fmla="*/ 273891 h 273890"/>
                <a:gd name="connsiteX72" fmla="*/ 713642 w 1394458"/>
                <a:gd name="connsiteY72" fmla="*/ 265554 h 273890"/>
                <a:gd name="connsiteX73" fmla="*/ 681512 w 1394458"/>
                <a:gd name="connsiteY73" fmla="*/ 241585 h 273890"/>
                <a:gd name="connsiteX74" fmla="*/ 661021 w 1394458"/>
                <a:gd name="connsiteY74" fmla="*/ 203896 h 273890"/>
                <a:gd name="connsiteX75" fmla="*/ 654075 w 1394458"/>
                <a:gd name="connsiteY75" fmla="*/ 154572 h 273890"/>
                <a:gd name="connsiteX76" fmla="*/ 654075 w 1394458"/>
                <a:gd name="connsiteY76" fmla="*/ 133555 h 273890"/>
                <a:gd name="connsiteX77" fmla="*/ 661196 w 1394458"/>
                <a:gd name="connsiteY77" fmla="*/ 84231 h 273890"/>
                <a:gd name="connsiteX78" fmla="*/ 682037 w 1394458"/>
                <a:gd name="connsiteY78" fmla="*/ 46547 h 273890"/>
                <a:gd name="connsiteX79" fmla="*/ 714513 w 1394458"/>
                <a:gd name="connsiteY79" fmla="*/ 22403 h 273890"/>
                <a:gd name="connsiteX80" fmla="*/ 757411 w 1394458"/>
                <a:gd name="connsiteY80" fmla="*/ 14066 h 273890"/>
                <a:gd name="connsiteX81" fmla="*/ 808472 w 1394458"/>
                <a:gd name="connsiteY81" fmla="*/ 25180 h 273890"/>
                <a:gd name="connsiteX82" fmla="*/ 840777 w 1394458"/>
                <a:gd name="connsiteY82" fmla="*/ 55919 h 273890"/>
                <a:gd name="connsiteX83" fmla="*/ 855018 w 1394458"/>
                <a:gd name="connsiteY83" fmla="*/ 100900 h 273890"/>
                <a:gd name="connsiteX84" fmla="*/ 811599 w 1394458"/>
                <a:gd name="connsiteY84" fmla="*/ 100900 h 273890"/>
                <a:gd name="connsiteX85" fmla="*/ 803958 w 1394458"/>
                <a:gd name="connsiteY85" fmla="*/ 72938 h 273890"/>
                <a:gd name="connsiteX86" fmla="*/ 786940 w 1394458"/>
                <a:gd name="connsiteY86" fmla="*/ 55224 h 273890"/>
                <a:gd name="connsiteX87" fmla="*/ 757416 w 1394458"/>
                <a:gd name="connsiteY87" fmla="*/ 48969 h 273890"/>
                <a:gd name="connsiteX88" fmla="*/ 731366 w 1394458"/>
                <a:gd name="connsiteY88" fmla="*/ 54528 h 273890"/>
                <a:gd name="connsiteX89" fmla="*/ 712781 w 1394458"/>
                <a:gd name="connsiteY89" fmla="*/ 70856 h 273890"/>
                <a:gd name="connsiteX90" fmla="*/ 701492 w 1394458"/>
                <a:gd name="connsiteY90" fmla="*/ 97427 h 273890"/>
                <a:gd name="connsiteX91" fmla="*/ 697844 w 1394458"/>
                <a:gd name="connsiteY91" fmla="*/ 133205 h 273890"/>
                <a:gd name="connsiteX92" fmla="*/ 697844 w 1394458"/>
                <a:gd name="connsiteY92" fmla="*/ 154567 h 273890"/>
                <a:gd name="connsiteX93" fmla="*/ 701142 w 1394458"/>
                <a:gd name="connsiteY93" fmla="*/ 189299 h 273890"/>
                <a:gd name="connsiteX94" fmla="*/ 711565 w 1394458"/>
                <a:gd name="connsiteY94" fmla="*/ 215870 h 273890"/>
                <a:gd name="connsiteX95" fmla="*/ 729629 w 1394458"/>
                <a:gd name="connsiteY95" fmla="*/ 233064 h 273890"/>
                <a:gd name="connsiteX96" fmla="*/ 755855 w 1394458"/>
                <a:gd name="connsiteY96" fmla="*/ 239144 h 273890"/>
                <a:gd name="connsiteX97" fmla="*/ 785904 w 1394458"/>
                <a:gd name="connsiteY97" fmla="*/ 233239 h 273890"/>
                <a:gd name="connsiteX98" fmla="*/ 803443 w 1394458"/>
                <a:gd name="connsiteY98" fmla="*/ 216046 h 273890"/>
                <a:gd name="connsiteX99" fmla="*/ 811434 w 1394458"/>
                <a:gd name="connsiteY99" fmla="*/ 188084 h 273890"/>
                <a:gd name="connsiteX100" fmla="*/ 882285 w 1394458"/>
                <a:gd name="connsiteY100" fmla="*/ 178541 h 273890"/>
                <a:gd name="connsiteX101" fmla="*/ 882285 w 1394458"/>
                <a:gd name="connsiteY101" fmla="*/ 174548 h 273890"/>
                <a:gd name="connsiteX102" fmla="*/ 888190 w 1394458"/>
                <a:gd name="connsiteY102" fmla="*/ 136858 h 273890"/>
                <a:gd name="connsiteX103" fmla="*/ 905208 w 1394458"/>
                <a:gd name="connsiteY103" fmla="*/ 106464 h 273890"/>
                <a:gd name="connsiteX104" fmla="*/ 932650 w 1394458"/>
                <a:gd name="connsiteY104" fmla="*/ 86318 h 273890"/>
                <a:gd name="connsiteX105" fmla="*/ 969469 w 1394458"/>
                <a:gd name="connsiteY105" fmla="*/ 79022 h 273890"/>
                <a:gd name="connsiteX106" fmla="*/ 1006288 w 1394458"/>
                <a:gd name="connsiteY106" fmla="*/ 86318 h 273890"/>
                <a:gd name="connsiteX107" fmla="*/ 1033899 w 1394458"/>
                <a:gd name="connsiteY107" fmla="*/ 106464 h 273890"/>
                <a:gd name="connsiteX108" fmla="*/ 1051093 w 1394458"/>
                <a:gd name="connsiteY108" fmla="*/ 136858 h 273890"/>
                <a:gd name="connsiteX109" fmla="*/ 1056998 w 1394458"/>
                <a:gd name="connsiteY109" fmla="*/ 174548 h 273890"/>
                <a:gd name="connsiteX110" fmla="*/ 1056998 w 1394458"/>
                <a:gd name="connsiteY110" fmla="*/ 178541 h 273890"/>
                <a:gd name="connsiteX111" fmla="*/ 1051093 w 1394458"/>
                <a:gd name="connsiteY111" fmla="*/ 216230 h 273890"/>
                <a:gd name="connsiteX112" fmla="*/ 1033899 w 1394458"/>
                <a:gd name="connsiteY112" fmla="*/ 246624 h 273890"/>
                <a:gd name="connsiteX113" fmla="*/ 1006458 w 1394458"/>
                <a:gd name="connsiteY113" fmla="*/ 266770 h 273890"/>
                <a:gd name="connsiteX114" fmla="*/ 969814 w 1394458"/>
                <a:gd name="connsiteY114" fmla="*/ 273891 h 273890"/>
                <a:gd name="connsiteX115" fmla="*/ 932820 w 1394458"/>
                <a:gd name="connsiteY115" fmla="*/ 266770 h 273890"/>
                <a:gd name="connsiteX116" fmla="*/ 905378 w 1394458"/>
                <a:gd name="connsiteY116" fmla="*/ 246624 h 273890"/>
                <a:gd name="connsiteX117" fmla="*/ 888185 w 1394458"/>
                <a:gd name="connsiteY117" fmla="*/ 216230 h 273890"/>
                <a:gd name="connsiteX118" fmla="*/ 882280 w 1394458"/>
                <a:gd name="connsiteY118" fmla="*/ 178541 h 273890"/>
                <a:gd name="connsiteX119" fmla="*/ 924143 w 1394458"/>
                <a:gd name="connsiteY119" fmla="*/ 174548 h 273890"/>
                <a:gd name="connsiteX120" fmla="*/ 924143 w 1394458"/>
                <a:gd name="connsiteY120" fmla="*/ 178541 h 273890"/>
                <a:gd name="connsiteX121" fmla="*/ 926750 w 1394458"/>
                <a:gd name="connsiteY121" fmla="*/ 202510 h 273890"/>
                <a:gd name="connsiteX122" fmla="*/ 934911 w 1394458"/>
                <a:gd name="connsiteY122" fmla="*/ 222310 h 273890"/>
                <a:gd name="connsiteX123" fmla="*/ 949152 w 1394458"/>
                <a:gd name="connsiteY123" fmla="*/ 235681 h 273890"/>
                <a:gd name="connsiteX124" fmla="*/ 969819 w 1394458"/>
                <a:gd name="connsiteY124" fmla="*/ 240545 h 273890"/>
                <a:gd name="connsiteX125" fmla="*/ 989965 w 1394458"/>
                <a:gd name="connsiteY125" fmla="*/ 235681 h 273890"/>
                <a:gd name="connsiteX126" fmla="*/ 1004206 w 1394458"/>
                <a:gd name="connsiteY126" fmla="*/ 222310 h 273890"/>
                <a:gd name="connsiteX127" fmla="*/ 1012367 w 1394458"/>
                <a:gd name="connsiteY127" fmla="*/ 202510 h 273890"/>
                <a:gd name="connsiteX128" fmla="*/ 1015145 w 1394458"/>
                <a:gd name="connsiteY128" fmla="*/ 178541 h 273890"/>
                <a:gd name="connsiteX129" fmla="*/ 1015145 w 1394458"/>
                <a:gd name="connsiteY129" fmla="*/ 174548 h 273890"/>
                <a:gd name="connsiteX130" fmla="*/ 1012367 w 1394458"/>
                <a:gd name="connsiteY130" fmla="*/ 150929 h 273890"/>
                <a:gd name="connsiteX131" fmla="*/ 1004031 w 1394458"/>
                <a:gd name="connsiteY131" fmla="*/ 130958 h 273890"/>
                <a:gd name="connsiteX132" fmla="*/ 989790 w 1394458"/>
                <a:gd name="connsiteY132" fmla="*/ 117412 h 273890"/>
                <a:gd name="connsiteX133" fmla="*/ 969469 w 1394458"/>
                <a:gd name="connsiteY133" fmla="*/ 112378 h 273890"/>
                <a:gd name="connsiteX134" fmla="*/ 948977 w 1394458"/>
                <a:gd name="connsiteY134" fmla="*/ 117412 h 273890"/>
                <a:gd name="connsiteX135" fmla="*/ 934911 w 1394458"/>
                <a:gd name="connsiteY135" fmla="*/ 130958 h 273890"/>
                <a:gd name="connsiteX136" fmla="*/ 926750 w 1394458"/>
                <a:gd name="connsiteY136" fmla="*/ 150929 h 273890"/>
                <a:gd name="connsiteX137" fmla="*/ 924143 w 1394458"/>
                <a:gd name="connsiteY137" fmla="*/ 174548 h 273890"/>
                <a:gd name="connsiteX138" fmla="*/ 1133598 w 1394458"/>
                <a:gd name="connsiteY138" fmla="*/ 122617 h 273890"/>
                <a:gd name="connsiteX139" fmla="*/ 1133598 w 1394458"/>
                <a:gd name="connsiteY139" fmla="*/ 270418 h 273890"/>
                <a:gd name="connsiteX140" fmla="*/ 1091745 w 1394458"/>
                <a:gd name="connsiteY140" fmla="*/ 270418 h 273890"/>
                <a:gd name="connsiteX141" fmla="*/ 1091745 w 1394458"/>
                <a:gd name="connsiteY141" fmla="*/ 82495 h 273890"/>
                <a:gd name="connsiteX142" fmla="*/ 1131171 w 1394458"/>
                <a:gd name="connsiteY142" fmla="*/ 82495 h 273890"/>
                <a:gd name="connsiteX143" fmla="*/ 1133603 w 1394458"/>
                <a:gd name="connsiteY143" fmla="*/ 122617 h 273890"/>
                <a:gd name="connsiteX144" fmla="*/ 1126132 w 1394458"/>
                <a:gd name="connsiteY144" fmla="*/ 169509 h 273890"/>
                <a:gd name="connsiteX145" fmla="*/ 1112586 w 1394458"/>
                <a:gd name="connsiteY145" fmla="*/ 169334 h 273890"/>
                <a:gd name="connsiteX146" fmla="*/ 1118145 w 1394458"/>
                <a:gd name="connsiteY146" fmla="*/ 132690 h 273890"/>
                <a:gd name="connsiteX147" fmla="*/ 1133428 w 1394458"/>
                <a:gd name="connsiteY147" fmla="*/ 104032 h 273890"/>
                <a:gd name="connsiteX148" fmla="*/ 1157046 w 1394458"/>
                <a:gd name="connsiteY148" fmla="*/ 85623 h 273890"/>
                <a:gd name="connsiteX149" fmla="*/ 1187615 w 1394458"/>
                <a:gd name="connsiteY149" fmla="*/ 79022 h 273890"/>
                <a:gd name="connsiteX150" fmla="*/ 1212105 w 1394458"/>
                <a:gd name="connsiteY150" fmla="*/ 82840 h 273890"/>
                <a:gd name="connsiteX151" fmla="*/ 1231034 w 1394458"/>
                <a:gd name="connsiteY151" fmla="*/ 94825 h 273890"/>
                <a:gd name="connsiteX152" fmla="*/ 1243189 w 1394458"/>
                <a:gd name="connsiteY152" fmla="*/ 116532 h 273890"/>
                <a:gd name="connsiteX153" fmla="*/ 1247357 w 1394458"/>
                <a:gd name="connsiteY153" fmla="*/ 149013 h 273890"/>
                <a:gd name="connsiteX154" fmla="*/ 1247357 w 1394458"/>
                <a:gd name="connsiteY154" fmla="*/ 270413 h 273890"/>
                <a:gd name="connsiteX155" fmla="*/ 1205329 w 1394458"/>
                <a:gd name="connsiteY155" fmla="*/ 270413 h 273890"/>
                <a:gd name="connsiteX156" fmla="*/ 1205329 w 1394458"/>
                <a:gd name="connsiteY156" fmla="*/ 148837 h 273890"/>
                <a:gd name="connsiteX157" fmla="*/ 1201336 w 1394458"/>
                <a:gd name="connsiteY157" fmla="*/ 127476 h 273890"/>
                <a:gd name="connsiteX158" fmla="*/ 1190047 w 1394458"/>
                <a:gd name="connsiteY158" fmla="*/ 116187 h 273890"/>
                <a:gd name="connsiteX159" fmla="*/ 1171813 w 1394458"/>
                <a:gd name="connsiteY159" fmla="*/ 112714 h 273890"/>
                <a:gd name="connsiteX160" fmla="*/ 1152533 w 1394458"/>
                <a:gd name="connsiteY160" fmla="*/ 117228 h 273890"/>
                <a:gd name="connsiteX161" fmla="*/ 1138116 w 1394458"/>
                <a:gd name="connsiteY161" fmla="*/ 129557 h 273890"/>
                <a:gd name="connsiteX162" fmla="*/ 1129259 w 1394458"/>
                <a:gd name="connsiteY162" fmla="*/ 147621 h 273890"/>
                <a:gd name="connsiteX163" fmla="*/ 1126132 w 1394458"/>
                <a:gd name="connsiteY163" fmla="*/ 169504 h 273890"/>
                <a:gd name="connsiteX164" fmla="*/ 1346701 w 1394458"/>
                <a:gd name="connsiteY164" fmla="*/ 270418 h 273890"/>
                <a:gd name="connsiteX165" fmla="*/ 1304843 w 1394458"/>
                <a:gd name="connsiteY165" fmla="*/ 270418 h 273890"/>
                <a:gd name="connsiteX166" fmla="*/ 1304843 w 1394458"/>
                <a:gd name="connsiteY166" fmla="*/ 64436 h 273890"/>
                <a:gd name="connsiteX167" fmla="*/ 1312659 w 1394458"/>
                <a:gd name="connsiteY167" fmla="*/ 29178 h 273890"/>
                <a:gd name="connsiteX168" fmla="*/ 1335412 w 1394458"/>
                <a:gd name="connsiteY168" fmla="*/ 7471 h 273890"/>
                <a:gd name="connsiteX169" fmla="*/ 1370319 w 1394458"/>
                <a:gd name="connsiteY169" fmla="*/ 0 h 273890"/>
                <a:gd name="connsiteX170" fmla="*/ 1382649 w 1394458"/>
                <a:gd name="connsiteY170" fmla="*/ 871 h 273890"/>
                <a:gd name="connsiteX171" fmla="*/ 1394458 w 1394458"/>
                <a:gd name="connsiteY171" fmla="*/ 3127 h 273890"/>
                <a:gd name="connsiteX172" fmla="*/ 1393418 w 1394458"/>
                <a:gd name="connsiteY172" fmla="*/ 35433 h 273890"/>
                <a:gd name="connsiteX173" fmla="*/ 1385776 w 1394458"/>
                <a:gd name="connsiteY173" fmla="*/ 34217 h 273890"/>
                <a:gd name="connsiteX174" fmla="*/ 1377095 w 1394458"/>
                <a:gd name="connsiteY174" fmla="*/ 33872 h 273890"/>
                <a:gd name="connsiteX175" fmla="*/ 1360596 w 1394458"/>
                <a:gd name="connsiteY175" fmla="*/ 37519 h 273890"/>
                <a:gd name="connsiteX176" fmla="*/ 1350178 w 1394458"/>
                <a:gd name="connsiteY176" fmla="*/ 47767 h 273890"/>
                <a:gd name="connsiteX177" fmla="*/ 1346706 w 1394458"/>
                <a:gd name="connsiteY177" fmla="*/ 64441 h 273890"/>
                <a:gd name="connsiteX178" fmla="*/ 1346706 w 1394458"/>
                <a:gd name="connsiteY178" fmla="*/ 270423 h 273890"/>
                <a:gd name="connsiteX179" fmla="*/ 1385431 w 1394458"/>
                <a:gd name="connsiteY179" fmla="*/ 82500 h 273890"/>
                <a:gd name="connsiteX180" fmla="*/ 1385431 w 1394458"/>
                <a:gd name="connsiteY180" fmla="*/ 113069 h 273890"/>
                <a:gd name="connsiteX181" fmla="*/ 1276015 w 1394458"/>
                <a:gd name="connsiteY181" fmla="*/ 113069 h 273890"/>
                <a:gd name="connsiteX182" fmla="*/ 1276015 w 1394458"/>
                <a:gd name="connsiteY182" fmla="*/ 82500 h 273890"/>
                <a:gd name="connsiteX183" fmla="*/ 1385431 w 1394458"/>
                <a:gd name="connsiteY183" fmla="*/ 82500 h 2738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</a:cxnLst>
              <a:rect l="l" t="t" r="r" b="b"/>
              <a:pathLst>
                <a:path w="1394458" h="273890">
                  <a:moveTo>
                    <a:pt x="157354" y="188093"/>
                  </a:moveTo>
                  <a:lnTo>
                    <a:pt x="200773" y="188093"/>
                  </a:lnTo>
                  <a:cubicBezTo>
                    <a:pt x="199382" y="204650"/>
                    <a:pt x="194752" y="219411"/>
                    <a:pt x="186877" y="232383"/>
                  </a:cubicBezTo>
                  <a:cubicBezTo>
                    <a:pt x="179003" y="245233"/>
                    <a:pt x="167947" y="255365"/>
                    <a:pt x="153706" y="262777"/>
                  </a:cubicBezTo>
                  <a:cubicBezTo>
                    <a:pt x="139465" y="270185"/>
                    <a:pt x="122155" y="273891"/>
                    <a:pt x="101775" y="273891"/>
                  </a:cubicBezTo>
                  <a:cubicBezTo>
                    <a:pt x="86143" y="273891"/>
                    <a:pt x="72077" y="271114"/>
                    <a:pt x="59572" y="265554"/>
                  </a:cubicBezTo>
                  <a:cubicBezTo>
                    <a:pt x="47067" y="259878"/>
                    <a:pt x="36357" y="251892"/>
                    <a:pt x="27442" y="241585"/>
                  </a:cubicBezTo>
                  <a:cubicBezTo>
                    <a:pt x="18526" y="231162"/>
                    <a:pt x="11697" y="218604"/>
                    <a:pt x="6950" y="203896"/>
                  </a:cubicBezTo>
                  <a:cubicBezTo>
                    <a:pt x="2315" y="189192"/>
                    <a:pt x="0" y="172753"/>
                    <a:pt x="0" y="154577"/>
                  </a:cubicBezTo>
                  <a:lnTo>
                    <a:pt x="0" y="133560"/>
                  </a:lnTo>
                  <a:cubicBezTo>
                    <a:pt x="0" y="115379"/>
                    <a:pt x="2374" y="98940"/>
                    <a:pt x="7121" y="84236"/>
                  </a:cubicBezTo>
                  <a:cubicBezTo>
                    <a:pt x="11984" y="69533"/>
                    <a:pt x="18930" y="56970"/>
                    <a:pt x="27962" y="46552"/>
                  </a:cubicBezTo>
                  <a:cubicBezTo>
                    <a:pt x="36994" y="36017"/>
                    <a:pt x="47816" y="27967"/>
                    <a:pt x="60438" y="22408"/>
                  </a:cubicBezTo>
                  <a:cubicBezTo>
                    <a:pt x="73171" y="16848"/>
                    <a:pt x="87471" y="14071"/>
                    <a:pt x="103336" y="14071"/>
                  </a:cubicBezTo>
                  <a:cubicBezTo>
                    <a:pt x="123482" y="14071"/>
                    <a:pt x="140506" y="17777"/>
                    <a:pt x="154397" y="25185"/>
                  </a:cubicBezTo>
                  <a:cubicBezTo>
                    <a:pt x="168293" y="32597"/>
                    <a:pt x="179056" y="42840"/>
                    <a:pt x="186702" y="55924"/>
                  </a:cubicBezTo>
                  <a:cubicBezTo>
                    <a:pt x="194460" y="69008"/>
                    <a:pt x="199207" y="84003"/>
                    <a:pt x="200943" y="100905"/>
                  </a:cubicBezTo>
                  <a:lnTo>
                    <a:pt x="157524" y="100905"/>
                  </a:lnTo>
                  <a:cubicBezTo>
                    <a:pt x="156367" y="90019"/>
                    <a:pt x="153818" y="80700"/>
                    <a:pt x="149883" y="72943"/>
                  </a:cubicBezTo>
                  <a:cubicBezTo>
                    <a:pt x="146065" y="65185"/>
                    <a:pt x="140389" y="59280"/>
                    <a:pt x="132865" y="55229"/>
                  </a:cubicBezTo>
                  <a:cubicBezTo>
                    <a:pt x="125340" y="51060"/>
                    <a:pt x="115496" y="48974"/>
                    <a:pt x="103341" y="48974"/>
                  </a:cubicBezTo>
                  <a:cubicBezTo>
                    <a:pt x="93385" y="48974"/>
                    <a:pt x="84698" y="50827"/>
                    <a:pt x="77291" y="54533"/>
                  </a:cubicBezTo>
                  <a:cubicBezTo>
                    <a:pt x="69878" y="58239"/>
                    <a:pt x="63687" y="63682"/>
                    <a:pt x="58706" y="70861"/>
                  </a:cubicBezTo>
                  <a:cubicBezTo>
                    <a:pt x="53730" y="78040"/>
                    <a:pt x="49966" y="86897"/>
                    <a:pt x="47417" y="97432"/>
                  </a:cubicBezTo>
                  <a:cubicBezTo>
                    <a:pt x="44985" y="107850"/>
                    <a:pt x="43769" y="119776"/>
                    <a:pt x="43769" y="133210"/>
                  </a:cubicBezTo>
                  <a:lnTo>
                    <a:pt x="43769" y="154572"/>
                  </a:lnTo>
                  <a:cubicBezTo>
                    <a:pt x="43769" y="167305"/>
                    <a:pt x="44869" y="178886"/>
                    <a:pt x="47067" y="189304"/>
                  </a:cubicBezTo>
                  <a:cubicBezTo>
                    <a:pt x="49382" y="199611"/>
                    <a:pt x="52855" y="208468"/>
                    <a:pt x="57490" y="215875"/>
                  </a:cubicBezTo>
                  <a:cubicBezTo>
                    <a:pt x="62237" y="223288"/>
                    <a:pt x="68259" y="229017"/>
                    <a:pt x="75550" y="233069"/>
                  </a:cubicBezTo>
                  <a:cubicBezTo>
                    <a:pt x="82845" y="237120"/>
                    <a:pt x="91585" y="239149"/>
                    <a:pt x="101775" y="239149"/>
                  </a:cubicBezTo>
                  <a:cubicBezTo>
                    <a:pt x="114163" y="239149"/>
                    <a:pt x="124178" y="237179"/>
                    <a:pt x="131824" y="233244"/>
                  </a:cubicBezTo>
                  <a:cubicBezTo>
                    <a:pt x="139582" y="229309"/>
                    <a:pt x="145428" y="223575"/>
                    <a:pt x="149363" y="216050"/>
                  </a:cubicBezTo>
                  <a:cubicBezTo>
                    <a:pt x="153414" y="208409"/>
                    <a:pt x="156080" y="199090"/>
                    <a:pt x="157354" y="188088"/>
                  </a:cubicBezTo>
                  <a:close/>
                  <a:moveTo>
                    <a:pt x="313837" y="270418"/>
                  </a:moveTo>
                  <a:lnTo>
                    <a:pt x="259825" y="270418"/>
                  </a:lnTo>
                  <a:lnTo>
                    <a:pt x="260170" y="235856"/>
                  </a:lnTo>
                  <a:lnTo>
                    <a:pt x="313837" y="235856"/>
                  </a:lnTo>
                  <a:cubicBezTo>
                    <a:pt x="329469" y="235856"/>
                    <a:pt x="342553" y="232441"/>
                    <a:pt x="353088" y="225608"/>
                  </a:cubicBezTo>
                  <a:cubicBezTo>
                    <a:pt x="363740" y="218779"/>
                    <a:pt x="371731" y="208993"/>
                    <a:pt x="377057" y="196255"/>
                  </a:cubicBezTo>
                  <a:cubicBezTo>
                    <a:pt x="382499" y="183521"/>
                    <a:pt x="385218" y="168351"/>
                    <a:pt x="385218" y="150754"/>
                  </a:cubicBezTo>
                  <a:lnTo>
                    <a:pt x="385218" y="137033"/>
                  </a:lnTo>
                  <a:cubicBezTo>
                    <a:pt x="385218" y="123371"/>
                    <a:pt x="383657" y="111269"/>
                    <a:pt x="380530" y="100734"/>
                  </a:cubicBezTo>
                  <a:cubicBezTo>
                    <a:pt x="377519" y="90199"/>
                    <a:pt x="373005" y="81342"/>
                    <a:pt x="366984" y="74163"/>
                  </a:cubicBezTo>
                  <a:cubicBezTo>
                    <a:pt x="361079" y="66984"/>
                    <a:pt x="353784" y="61542"/>
                    <a:pt x="345102" y="57840"/>
                  </a:cubicBezTo>
                  <a:cubicBezTo>
                    <a:pt x="336532" y="54134"/>
                    <a:pt x="326634" y="52281"/>
                    <a:pt x="315403" y="52281"/>
                  </a:cubicBezTo>
                  <a:lnTo>
                    <a:pt x="258784" y="52281"/>
                  </a:lnTo>
                  <a:lnTo>
                    <a:pt x="258784" y="17544"/>
                  </a:lnTo>
                  <a:lnTo>
                    <a:pt x="315403" y="17544"/>
                  </a:lnTo>
                  <a:cubicBezTo>
                    <a:pt x="332193" y="17544"/>
                    <a:pt x="347534" y="20379"/>
                    <a:pt x="361429" y="26055"/>
                  </a:cubicBezTo>
                  <a:cubicBezTo>
                    <a:pt x="375325" y="31615"/>
                    <a:pt x="387310" y="39660"/>
                    <a:pt x="397383" y="50195"/>
                  </a:cubicBezTo>
                  <a:cubicBezTo>
                    <a:pt x="407572" y="60730"/>
                    <a:pt x="415389" y="73351"/>
                    <a:pt x="420826" y="88054"/>
                  </a:cubicBezTo>
                  <a:cubicBezTo>
                    <a:pt x="426269" y="102758"/>
                    <a:pt x="428988" y="119202"/>
                    <a:pt x="428988" y="137378"/>
                  </a:cubicBezTo>
                  <a:lnTo>
                    <a:pt x="428988" y="150754"/>
                  </a:lnTo>
                  <a:cubicBezTo>
                    <a:pt x="428988" y="168930"/>
                    <a:pt x="426269" y="185374"/>
                    <a:pt x="420826" y="200078"/>
                  </a:cubicBezTo>
                  <a:cubicBezTo>
                    <a:pt x="415384" y="214781"/>
                    <a:pt x="407568" y="227403"/>
                    <a:pt x="397383" y="237938"/>
                  </a:cubicBezTo>
                  <a:cubicBezTo>
                    <a:pt x="387193" y="248356"/>
                    <a:pt x="375038" y="256405"/>
                    <a:pt x="360909" y="262077"/>
                  </a:cubicBezTo>
                  <a:cubicBezTo>
                    <a:pt x="346896" y="267636"/>
                    <a:pt x="331211" y="270413"/>
                    <a:pt x="313842" y="270413"/>
                  </a:cubicBezTo>
                  <a:close/>
                  <a:moveTo>
                    <a:pt x="283964" y="17544"/>
                  </a:moveTo>
                  <a:lnTo>
                    <a:pt x="283964" y="270418"/>
                  </a:lnTo>
                  <a:lnTo>
                    <a:pt x="240369" y="270418"/>
                  </a:lnTo>
                  <a:lnTo>
                    <a:pt x="240369" y="17544"/>
                  </a:lnTo>
                  <a:lnTo>
                    <a:pt x="283964" y="17544"/>
                  </a:lnTo>
                  <a:close/>
                  <a:moveTo>
                    <a:pt x="519299" y="17544"/>
                  </a:moveTo>
                  <a:lnTo>
                    <a:pt x="519299" y="270418"/>
                  </a:lnTo>
                  <a:lnTo>
                    <a:pt x="475705" y="270418"/>
                  </a:lnTo>
                  <a:lnTo>
                    <a:pt x="475705" y="17544"/>
                  </a:lnTo>
                  <a:lnTo>
                    <a:pt x="519299" y="17544"/>
                  </a:lnTo>
                  <a:close/>
                  <a:moveTo>
                    <a:pt x="811424" y="188093"/>
                  </a:moveTo>
                  <a:lnTo>
                    <a:pt x="854843" y="188093"/>
                  </a:lnTo>
                  <a:cubicBezTo>
                    <a:pt x="853452" y="204650"/>
                    <a:pt x="848822" y="219411"/>
                    <a:pt x="840947" y="232383"/>
                  </a:cubicBezTo>
                  <a:cubicBezTo>
                    <a:pt x="833073" y="245233"/>
                    <a:pt x="822017" y="255365"/>
                    <a:pt x="807776" y="262777"/>
                  </a:cubicBezTo>
                  <a:cubicBezTo>
                    <a:pt x="793535" y="270185"/>
                    <a:pt x="776225" y="273891"/>
                    <a:pt x="755845" y="273891"/>
                  </a:cubicBezTo>
                  <a:cubicBezTo>
                    <a:pt x="740213" y="273891"/>
                    <a:pt x="726147" y="271114"/>
                    <a:pt x="713642" y="265554"/>
                  </a:cubicBezTo>
                  <a:cubicBezTo>
                    <a:pt x="701137" y="259878"/>
                    <a:pt x="690427" y="251892"/>
                    <a:pt x="681512" y="241585"/>
                  </a:cubicBezTo>
                  <a:cubicBezTo>
                    <a:pt x="672596" y="231162"/>
                    <a:pt x="665768" y="218604"/>
                    <a:pt x="661021" y="203896"/>
                  </a:cubicBezTo>
                  <a:cubicBezTo>
                    <a:pt x="656390" y="189192"/>
                    <a:pt x="654075" y="172748"/>
                    <a:pt x="654075" y="154572"/>
                  </a:cubicBezTo>
                  <a:lnTo>
                    <a:pt x="654075" y="133555"/>
                  </a:lnTo>
                  <a:cubicBezTo>
                    <a:pt x="654075" y="115374"/>
                    <a:pt x="656449" y="98935"/>
                    <a:pt x="661196" y="84231"/>
                  </a:cubicBezTo>
                  <a:cubicBezTo>
                    <a:pt x="666059" y="69528"/>
                    <a:pt x="673005" y="56965"/>
                    <a:pt x="682037" y="46547"/>
                  </a:cubicBezTo>
                  <a:cubicBezTo>
                    <a:pt x="691069" y="36012"/>
                    <a:pt x="701891" y="27962"/>
                    <a:pt x="714513" y="22403"/>
                  </a:cubicBezTo>
                  <a:cubicBezTo>
                    <a:pt x="727246" y="16843"/>
                    <a:pt x="741546" y="14066"/>
                    <a:pt x="757411" y="14066"/>
                  </a:cubicBezTo>
                  <a:cubicBezTo>
                    <a:pt x="777557" y="14066"/>
                    <a:pt x="794581" y="17772"/>
                    <a:pt x="808472" y="25180"/>
                  </a:cubicBezTo>
                  <a:cubicBezTo>
                    <a:pt x="822368" y="32592"/>
                    <a:pt x="833131" y="42836"/>
                    <a:pt x="840777" y="55919"/>
                  </a:cubicBezTo>
                  <a:cubicBezTo>
                    <a:pt x="848535" y="69003"/>
                    <a:pt x="853282" y="83998"/>
                    <a:pt x="855018" y="100900"/>
                  </a:cubicBezTo>
                  <a:lnTo>
                    <a:pt x="811599" y="100900"/>
                  </a:lnTo>
                  <a:cubicBezTo>
                    <a:pt x="810442" y="90015"/>
                    <a:pt x="807893" y="80695"/>
                    <a:pt x="803958" y="72938"/>
                  </a:cubicBezTo>
                  <a:cubicBezTo>
                    <a:pt x="800140" y="65180"/>
                    <a:pt x="794464" y="59275"/>
                    <a:pt x="786940" y="55224"/>
                  </a:cubicBezTo>
                  <a:cubicBezTo>
                    <a:pt x="779415" y="51055"/>
                    <a:pt x="769571" y="48969"/>
                    <a:pt x="757416" y="48969"/>
                  </a:cubicBezTo>
                  <a:cubicBezTo>
                    <a:pt x="747460" y="48969"/>
                    <a:pt x="738773" y="50822"/>
                    <a:pt x="731366" y="54528"/>
                  </a:cubicBezTo>
                  <a:cubicBezTo>
                    <a:pt x="723953" y="58234"/>
                    <a:pt x="717762" y="63677"/>
                    <a:pt x="712781" y="70856"/>
                  </a:cubicBezTo>
                  <a:cubicBezTo>
                    <a:pt x="707801" y="78035"/>
                    <a:pt x="704041" y="86892"/>
                    <a:pt x="701492" y="97427"/>
                  </a:cubicBezTo>
                  <a:cubicBezTo>
                    <a:pt x="699060" y="107845"/>
                    <a:pt x="697844" y="119771"/>
                    <a:pt x="697844" y="133205"/>
                  </a:cubicBezTo>
                  <a:lnTo>
                    <a:pt x="697844" y="154567"/>
                  </a:lnTo>
                  <a:cubicBezTo>
                    <a:pt x="697844" y="167300"/>
                    <a:pt x="698944" y="178881"/>
                    <a:pt x="701142" y="189299"/>
                  </a:cubicBezTo>
                  <a:cubicBezTo>
                    <a:pt x="703457" y="199606"/>
                    <a:pt x="706930" y="208463"/>
                    <a:pt x="711565" y="215870"/>
                  </a:cubicBezTo>
                  <a:cubicBezTo>
                    <a:pt x="716312" y="223283"/>
                    <a:pt x="722334" y="229012"/>
                    <a:pt x="729629" y="233064"/>
                  </a:cubicBezTo>
                  <a:cubicBezTo>
                    <a:pt x="736925" y="237116"/>
                    <a:pt x="745665" y="239144"/>
                    <a:pt x="755855" y="239144"/>
                  </a:cubicBezTo>
                  <a:cubicBezTo>
                    <a:pt x="768243" y="239144"/>
                    <a:pt x="778258" y="237174"/>
                    <a:pt x="785904" y="233239"/>
                  </a:cubicBezTo>
                  <a:cubicBezTo>
                    <a:pt x="793661" y="229304"/>
                    <a:pt x="799508" y="223570"/>
                    <a:pt x="803443" y="216046"/>
                  </a:cubicBezTo>
                  <a:cubicBezTo>
                    <a:pt x="807494" y="208405"/>
                    <a:pt x="810159" y="199085"/>
                    <a:pt x="811434" y="188084"/>
                  </a:cubicBezTo>
                  <a:close/>
                  <a:moveTo>
                    <a:pt x="882285" y="178541"/>
                  </a:moveTo>
                  <a:lnTo>
                    <a:pt x="882285" y="174548"/>
                  </a:lnTo>
                  <a:cubicBezTo>
                    <a:pt x="882285" y="161002"/>
                    <a:pt x="884255" y="148439"/>
                    <a:pt x="888190" y="136858"/>
                  </a:cubicBezTo>
                  <a:cubicBezTo>
                    <a:pt x="892124" y="125165"/>
                    <a:pt x="897800" y="115034"/>
                    <a:pt x="905208" y="106464"/>
                  </a:cubicBezTo>
                  <a:cubicBezTo>
                    <a:pt x="912732" y="97782"/>
                    <a:pt x="921881" y="91065"/>
                    <a:pt x="932650" y="86318"/>
                  </a:cubicBezTo>
                  <a:cubicBezTo>
                    <a:pt x="943535" y="81454"/>
                    <a:pt x="955806" y="79022"/>
                    <a:pt x="969469" y="79022"/>
                  </a:cubicBezTo>
                  <a:cubicBezTo>
                    <a:pt x="983131" y="79022"/>
                    <a:pt x="995519" y="81454"/>
                    <a:pt x="1006288" y="86318"/>
                  </a:cubicBezTo>
                  <a:cubicBezTo>
                    <a:pt x="1017173" y="91065"/>
                    <a:pt x="1026375" y="97782"/>
                    <a:pt x="1033899" y="106464"/>
                  </a:cubicBezTo>
                  <a:cubicBezTo>
                    <a:pt x="1041424" y="115034"/>
                    <a:pt x="1047158" y="125165"/>
                    <a:pt x="1051093" y="136858"/>
                  </a:cubicBezTo>
                  <a:cubicBezTo>
                    <a:pt x="1055028" y="148439"/>
                    <a:pt x="1056998" y="160997"/>
                    <a:pt x="1056998" y="174548"/>
                  </a:cubicBezTo>
                  <a:lnTo>
                    <a:pt x="1056998" y="178541"/>
                  </a:lnTo>
                  <a:cubicBezTo>
                    <a:pt x="1056998" y="192086"/>
                    <a:pt x="1055028" y="204650"/>
                    <a:pt x="1051093" y="216230"/>
                  </a:cubicBezTo>
                  <a:cubicBezTo>
                    <a:pt x="1047153" y="227806"/>
                    <a:pt x="1041424" y="237938"/>
                    <a:pt x="1033899" y="246624"/>
                  </a:cubicBezTo>
                  <a:cubicBezTo>
                    <a:pt x="1026375" y="255194"/>
                    <a:pt x="1017226" y="261906"/>
                    <a:pt x="1006458" y="266770"/>
                  </a:cubicBezTo>
                  <a:cubicBezTo>
                    <a:pt x="995689" y="271517"/>
                    <a:pt x="983476" y="273891"/>
                    <a:pt x="969814" y="273891"/>
                  </a:cubicBezTo>
                  <a:cubicBezTo>
                    <a:pt x="956151" y="273891"/>
                    <a:pt x="943705" y="271517"/>
                    <a:pt x="932820" y="266770"/>
                  </a:cubicBezTo>
                  <a:cubicBezTo>
                    <a:pt x="922051" y="261906"/>
                    <a:pt x="912907" y="255189"/>
                    <a:pt x="905378" y="246624"/>
                  </a:cubicBezTo>
                  <a:cubicBezTo>
                    <a:pt x="897854" y="237942"/>
                    <a:pt x="892119" y="227811"/>
                    <a:pt x="888185" y="216230"/>
                  </a:cubicBezTo>
                  <a:cubicBezTo>
                    <a:pt x="884245" y="204650"/>
                    <a:pt x="882280" y="192086"/>
                    <a:pt x="882280" y="178541"/>
                  </a:cubicBezTo>
                  <a:close/>
                  <a:moveTo>
                    <a:pt x="924143" y="174548"/>
                  </a:moveTo>
                  <a:lnTo>
                    <a:pt x="924143" y="178541"/>
                  </a:lnTo>
                  <a:cubicBezTo>
                    <a:pt x="924143" y="186994"/>
                    <a:pt x="925013" y="194980"/>
                    <a:pt x="926750" y="202510"/>
                  </a:cubicBezTo>
                  <a:cubicBezTo>
                    <a:pt x="928486" y="210034"/>
                    <a:pt x="931210" y="216634"/>
                    <a:pt x="934911" y="222310"/>
                  </a:cubicBezTo>
                  <a:cubicBezTo>
                    <a:pt x="938617" y="227981"/>
                    <a:pt x="943365" y="232441"/>
                    <a:pt x="949152" y="235681"/>
                  </a:cubicBezTo>
                  <a:cubicBezTo>
                    <a:pt x="954940" y="238925"/>
                    <a:pt x="961832" y="240545"/>
                    <a:pt x="969819" y="240545"/>
                  </a:cubicBezTo>
                  <a:cubicBezTo>
                    <a:pt x="977805" y="240545"/>
                    <a:pt x="984293" y="238925"/>
                    <a:pt x="989965" y="235681"/>
                  </a:cubicBezTo>
                  <a:cubicBezTo>
                    <a:pt x="995753" y="232441"/>
                    <a:pt x="1000500" y="227981"/>
                    <a:pt x="1004206" y="222310"/>
                  </a:cubicBezTo>
                  <a:cubicBezTo>
                    <a:pt x="1007912" y="216634"/>
                    <a:pt x="1010631" y="210039"/>
                    <a:pt x="1012367" y="202510"/>
                  </a:cubicBezTo>
                  <a:cubicBezTo>
                    <a:pt x="1014220" y="194985"/>
                    <a:pt x="1015145" y="186994"/>
                    <a:pt x="1015145" y="178541"/>
                  </a:cubicBezTo>
                  <a:lnTo>
                    <a:pt x="1015145" y="174548"/>
                  </a:lnTo>
                  <a:cubicBezTo>
                    <a:pt x="1015145" y="166211"/>
                    <a:pt x="1014220" y="158336"/>
                    <a:pt x="1012367" y="150929"/>
                  </a:cubicBezTo>
                  <a:cubicBezTo>
                    <a:pt x="1010631" y="143405"/>
                    <a:pt x="1007854" y="136746"/>
                    <a:pt x="1004031" y="130958"/>
                  </a:cubicBezTo>
                  <a:cubicBezTo>
                    <a:pt x="1000325" y="125170"/>
                    <a:pt x="995578" y="120652"/>
                    <a:pt x="989790" y="117412"/>
                  </a:cubicBezTo>
                  <a:cubicBezTo>
                    <a:pt x="984118" y="114056"/>
                    <a:pt x="977343" y="112378"/>
                    <a:pt x="969469" y="112378"/>
                  </a:cubicBezTo>
                  <a:cubicBezTo>
                    <a:pt x="961594" y="112378"/>
                    <a:pt x="954765" y="114056"/>
                    <a:pt x="948977" y="117412"/>
                  </a:cubicBezTo>
                  <a:cubicBezTo>
                    <a:pt x="943301" y="120657"/>
                    <a:pt x="938613" y="125170"/>
                    <a:pt x="934911" y="130958"/>
                  </a:cubicBezTo>
                  <a:cubicBezTo>
                    <a:pt x="931205" y="136746"/>
                    <a:pt x="928486" y="143405"/>
                    <a:pt x="926750" y="150929"/>
                  </a:cubicBezTo>
                  <a:cubicBezTo>
                    <a:pt x="925013" y="158341"/>
                    <a:pt x="924143" y="166211"/>
                    <a:pt x="924143" y="174548"/>
                  </a:cubicBezTo>
                  <a:close/>
                  <a:moveTo>
                    <a:pt x="1133598" y="122617"/>
                  </a:moveTo>
                  <a:lnTo>
                    <a:pt x="1133598" y="270418"/>
                  </a:lnTo>
                  <a:lnTo>
                    <a:pt x="1091745" y="270418"/>
                  </a:lnTo>
                  <a:lnTo>
                    <a:pt x="1091745" y="82495"/>
                  </a:lnTo>
                  <a:lnTo>
                    <a:pt x="1131171" y="82495"/>
                  </a:lnTo>
                  <a:lnTo>
                    <a:pt x="1133603" y="122617"/>
                  </a:lnTo>
                  <a:close/>
                  <a:moveTo>
                    <a:pt x="1126132" y="169509"/>
                  </a:moveTo>
                  <a:lnTo>
                    <a:pt x="1112586" y="169334"/>
                  </a:lnTo>
                  <a:cubicBezTo>
                    <a:pt x="1112703" y="156016"/>
                    <a:pt x="1114556" y="143803"/>
                    <a:pt x="1118145" y="132690"/>
                  </a:cubicBezTo>
                  <a:cubicBezTo>
                    <a:pt x="1121852" y="121576"/>
                    <a:pt x="1126944" y="112023"/>
                    <a:pt x="1133428" y="104032"/>
                  </a:cubicBezTo>
                  <a:cubicBezTo>
                    <a:pt x="1140028" y="96041"/>
                    <a:pt x="1147902" y="89908"/>
                    <a:pt x="1157046" y="85623"/>
                  </a:cubicBezTo>
                  <a:cubicBezTo>
                    <a:pt x="1166195" y="81226"/>
                    <a:pt x="1176385" y="79022"/>
                    <a:pt x="1187615" y="79022"/>
                  </a:cubicBezTo>
                  <a:cubicBezTo>
                    <a:pt x="1196647" y="79022"/>
                    <a:pt x="1204809" y="80297"/>
                    <a:pt x="1212105" y="82840"/>
                  </a:cubicBezTo>
                  <a:cubicBezTo>
                    <a:pt x="1219517" y="85272"/>
                    <a:pt x="1225825" y="89265"/>
                    <a:pt x="1231034" y="94825"/>
                  </a:cubicBezTo>
                  <a:cubicBezTo>
                    <a:pt x="1236360" y="100384"/>
                    <a:pt x="1240412" y="107617"/>
                    <a:pt x="1243189" y="116532"/>
                  </a:cubicBezTo>
                  <a:cubicBezTo>
                    <a:pt x="1245966" y="125331"/>
                    <a:pt x="1247357" y="136157"/>
                    <a:pt x="1247357" y="149013"/>
                  </a:cubicBezTo>
                  <a:lnTo>
                    <a:pt x="1247357" y="270413"/>
                  </a:lnTo>
                  <a:lnTo>
                    <a:pt x="1205329" y="270413"/>
                  </a:lnTo>
                  <a:lnTo>
                    <a:pt x="1205329" y="148837"/>
                  </a:lnTo>
                  <a:cubicBezTo>
                    <a:pt x="1205329" y="139805"/>
                    <a:pt x="1203996" y="132685"/>
                    <a:pt x="1201336" y="127476"/>
                  </a:cubicBezTo>
                  <a:cubicBezTo>
                    <a:pt x="1198787" y="122150"/>
                    <a:pt x="1195028" y="118385"/>
                    <a:pt x="1190047" y="116187"/>
                  </a:cubicBezTo>
                  <a:cubicBezTo>
                    <a:pt x="1185183" y="113872"/>
                    <a:pt x="1179104" y="112714"/>
                    <a:pt x="1171813" y="112714"/>
                  </a:cubicBezTo>
                  <a:cubicBezTo>
                    <a:pt x="1164522" y="112714"/>
                    <a:pt x="1158209" y="114217"/>
                    <a:pt x="1152533" y="117228"/>
                  </a:cubicBezTo>
                  <a:cubicBezTo>
                    <a:pt x="1146861" y="120238"/>
                    <a:pt x="1142056" y="124348"/>
                    <a:pt x="1138116" y="129557"/>
                  </a:cubicBezTo>
                  <a:cubicBezTo>
                    <a:pt x="1134293" y="134766"/>
                    <a:pt x="1131341" y="140788"/>
                    <a:pt x="1129259" y="147621"/>
                  </a:cubicBezTo>
                  <a:cubicBezTo>
                    <a:pt x="1127178" y="154450"/>
                    <a:pt x="1126132" y="161746"/>
                    <a:pt x="1126132" y="169504"/>
                  </a:cubicBezTo>
                  <a:close/>
                  <a:moveTo>
                    <a:pt x="1346701" y="270418"/>
                  </a:moveTo>
                  <a:lnTo>
                    <a:pt x="1304843" y="270418"/>
                  </a:lnTo>
                  <a:lnTo>
                    <a:pt x="1304843" y="64436"/>
                  </a:lnTo>
                  <a:cubicBezTo>
                    <a:pt x="1304843" y="50428"/>
                    <a:pt x="1307450" y="38672"/>
                    <a:pt x="1312659" y="29178"/>
                  </a:cubicBezTo>
                  <a:cubicBezTo>
                    <a:pt x="1317985" y="19567"/>
                    <a:pt x="1325567" y="12330"/>
                    <a:pt x="1335412" y="7471"/>
                  </a:cubicBezTo>
                  <a:cubicBezTo>
                    <a:pt x="1345256" y="2490"/>
                    <a:pt x="1356890" y="0"/>
                    <a:pt x="1370319" y="0"/>
                  </a:cubicBezTo>
                  <a:cubicBezTo>
                    <a:pt x="1374488" y="0"/>
                    <a:pt x="1378597" y="292"/>
                    <a:pt x="1382649" y="871"/>
                  </a:cubicBezTo>
                  <a:cubicBezTo>
                    <a:pt x="1386701" y="1333"/>
                    <a:pt x="1390640" y="2087"/>
                    <a:pt x="1394458" y="3127"/>
                  </a:cubicBezTo>
                  <a:lnTo>
                    <a:pt x="1393418" y="35433"/>
                  </a:lnTo>
                  <a:cubicBezTo>
                    <a:pt x="1391102" y="34854"/>
                    <a:pt x="1388554" y="34450"/>
                    <a:pt x="1385776" y="34217"/>
                  </a:cubicBezTo>
                  <a:cubicBezTo>
                    <a:pt x="1383116" y="33983"/>
                    <a:pt x="1380217" y="33872"/>
                    <a:pt x="1377095" y="33872"/>
                  </a:cubicBezTo>
                  <a:cubicBezTo>
                    <a:pt x="1370728" y="33872"/>
                    <a:pt x="1365227" y="35088"/>
                    <a:pt x="1360596" y="37519"/>
                  </a:cubicBezTo>
                  <a:cubicBezTo>
                    <a:pt x="1356083" y="39835"/>
                    <a:pt x="1352605" y="43249"/>
                    <a:pt x="1350178" y="47767"/>
                  </a:cubicBezTo>
                  <a:cubicBezTo>
                    <a:pt x="1347863" y="52286"/>
                    <a:pt x="1346706" y="57840"/>
                    <a:pt x="1346706" y="64441"/>
                  </a:cubicBezTo>
                  <a:lnTo>
                    <a:pt x="1346706" y="270423"/>
                  </a:lnTo>
                  <a:close/>
                  <a:moveTo>
                    <a:pt x="1385431" y="82500"/>
                  </a:moveTo>
                  <a:lnTo>
                    <a:pt x="1385431" y="113069"/>
                  </a:lnTo>
                  <a:lnTo>
                    <a:pt x="1276015" y="113069"/>
                  </a:lnTo>
                  <a:lnTo>
                    <a:pt x="1276015" y="82500"/>
                  </a:lnTo>
                  <a:lnTo>
                    <a:pt x="1385431" y="82500"/>
                  </a:lnTo>
                  <a:close/>
                </a:path>
              </a:pathLst>
            </a:custGeom>
            <a:solidFill>
              <a:srgbClr val="EE3431"/>
            </a:solidFill>
            <a:ln w="4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6" name="Полилиния: фигура 45">
              <a:extLst>
                <a:ext uri="{FF2B5EF4-FFF2-40B4-BE49-F238E27FC236}">
                  <a16:creationId xmlns:a16="http://schemas.microsoft.com/office/drawing/2014/main" id="{EB80AEA3-6D76-4813-B83E-E98064CA7762}"/>
                </a:ext>
              </a:extLst>
            </p:cNvPr>
            <p:cNvSpPr/>
            <p:nvPr/>
          </p:nvSpPr>
          <p:spPr>
            <a:xfrm>
              <a:off x="7406975" y="5855999"/>
              <a:ext cx="1394458" cy="273890"/>
            </a:xfrm>
            <a:custGeom>
              <a:avLst/>
              <a:gdLst>
                <a:gd name="connsiteX0" fmla="*/ 157354 w 1394458"/>
                <a:gd name="connsiteY0" fmla="*/ 188093 h 273890"/>
                <a:gd name="connsiteX1" fmla="*/ 200773 w 1394458"/>
                <a:gd name="connsiteY1" fmla="*/ 188093 h 273890"/>
                <a:gd name="connsiteX2" fmla="*/ 186877 w 1394458"/>
                <a:gd name="connsiteY2" fmla="*/ 232383 h 273890"/>
                <a:gd name="connsiteX3" fmla="*/ 153706 w 1394458"/>
                <a:gd name="connsiteY3" fmla="*/ 262777 h 273890"/>
                <a:gd name="connsiteX4" fmla="*/ 101775 w 1394458"/>
                <a:gd name="connsiteY4" fmla="*/ 273891 h 273890"/>
                <a:gd name="connsiteX5" fmla="*/ 59572 w 1394458"/>
                <a:gd name="connsiteY5" fmla="*/ 265554 h 273890"/>
                <a:gd name="connsiteX6" fmla="*/ 27442 w 1394458"/>
                <a:gd name="connsiteY6" fmla="*/ 241585 h 273890"/>
                <a:gd name="connsiteX7" fmla="*/ 6950 w 1394458"/>
                <a:gd name="connsiteY7" fmla="*/ 203901 h 273890"/>
                <a:gd name="connsiteX8" fmla="*/ 0 w 1394458"/>
                <a:gd name="connsiteY8" fmla="*/ 154572 h 273890"/>
                <a:gd name="connsiteX9" fmla="*/ 0 w 1394458"/>
                <a:gd name="connsiteY9" fmla="*/ 133555 h 273890"/>
                <a:gd name="connsiteX10" fmla="*/ 7121 w 1394458"/>
                <a:gd name="connsiteY10" fmla="*/ 84231 h 273890"/>
                <a:gd name="connsiteX11" fmla="*/ 27962 w 1394458"/>
                <a:gd name="connsiteY11" fmla="*/ 46542 h 273890"/>
                <a:gd name="connsiteX12" fmla="*/ 60438 w 1394458"/>
                <a:gd name="connsiteY12" fmla="*/ 22403 h 273890"/>
                <a:gd name="connsiteX13" fmla="*/ 103336 w 1394458"/>
                <a:gd name="connsiteY13" fmla="*/ 14066 h 273890"/>
                <a:gd name="connsiteX14" fmla="*/ 154397 w 1394458"/>
                <a:gd name="connsiteY14" fmla="*/ 25180 h 273890"/>
                <a:gd name="connsiteX15" fmla="*/ 186702 w 1394458"/>
                <a:gd name="connsiteY15" fmla="*/ 55919 h 273890"/>
                <a:gd name="connsiteX16" fmla="*/ 200943 w 1394458"/>
                <a:gd name="connsiteY16" fmla="*/ 100900 h 273890"/>
                <a:gd name="connsiteX17" fmla="*/ 157524 w 1394458"/>
                <a:gd name="connsiteY17" fmla="*/ 100900 h 273890"/>
                <a:gd name="connsiteX18" fmla="*/ 149883 w 1394458"/>
                <a:gd name="connsiteY18" fmla="*/ 72938 h 273890"/>
                <a:gd name="connsiteX19" fmla="*/ 132865 w 1394458"/>
                <a:gd name="connsiteY19" fmla="*/ 55224 h 273890"/>
                <a:gd name="connsiteX20" fmla="*/ 103341 w 1394458"/>
                <a:gd name="connsiteY20" fmla="*/ 48969 h 273890"/>
                <a:gd name="connsiteX21" fmla="*/ 77291 w 1394458"/>
                <a:gd name="connsiteY21" fmla="*/ 54528 h 273890"/>
                <a:gd name="connsiteX22" fmla="*/ 58706 w 1394458"/>
                <a:gd name="connsiteY22" fmla="*/ 70856 h 273890"/>
                <a:gd name="connsiteX23" fmla="*/ 47417 w 1394458"/>
                <a:gd name="connsiteY23" fmla="*/ 97427 h 273890"/>
                <a:gd name="connsiteX24" fmla="*/ 43769 w 1394458"/>
                <a:gd name="connsiteY24" fmla="*/ 133205 h 273890"/>
                <a:gd name="connsiteX25" fmla="*/ 43769 w 1394458"/>
                <a:gd name="connsiteY25" fmla="*/ 154567 h 273890"/>
                <a:gd name="connsiteX26" fmla="*/ 47067 w 1394458"/>
                <a:gd name="connsiteY26" fmla="*/ 189304 h 273890"/>
                <a:gd name="connsiteX27" fmla="*/ 57490 w 1394458"/>
                <a:gd name="connsiteY27" fmla="*/ 215875 h 273890"/>
                <a:gd name="connsiteX28" fmla="*/ 75550 w 1394458"/>
                <a:gd name="connsiteY28" fmla="*/ 233069 h 273890"/>
                <a:gd name="connsiteX29" fmla="*/ 101775 w 1394458"/>
                <a:gd name="connsiteY29" fmla="*/ 239149 h 273890"/>
                <a:gd name="connsiteX30" fmla="*/ 131824 w 1394458"/>
                <a:gd name="connsiteY30" fmla="*/ 233244 h 273890"/>
                <a:gd name="connsiteX31" fmla="*/ 149363 w 1394458"/>
                <a:gd name="connsiteY31" fmla="*/ 216050 h 273890"/>
                <a:gd name="connsiteX32" fmla="*/ 157354 w 1394458"/>
                <a:gd name="connsiteY32" fmla="*/ 188088 h 273890"/>
                <a:gd name="connsiteX33" fmla="*/ 313837 w 1394458"/>
                <a:gd name="connsiteY33" fmla="*/ 270418 h 273890"/>
                <a:gd name="connsiteX34" fmla="*/ 259825 w 1394458"/>
                <a:gd name="connsiteY34" fmla="*/ 270418 h 273890"/>
                <a:gd name="connsiteX35" fmla="*/ 260170 w 1394458"/>
                <a:gd name="connsiteY35" fmla="*/ 235856 h 273890"/>
                <a:gd name="connsiteX36" fmla="*/ 313837 w 1394458"/>
                <a:gd name="connsiteY36" fmla="*/ 235856 h 273890"/>
                <a:gd name="connsiteX37" fmla="*/ 353088 w 1394458"/>
                <a:gd name="connsiteY37" fmla="*/ 225608 h 273890"/>
                <a:gd name="connsiteX38" fmla="*/ 377057 w 1394458"/>
                <a:gd name="connsiteY38" fmla="*/ 196255 h 273890"/>
                <a:gd name="connsiteX39" fmla="*/ 385218 w 1394458"/>
                <a:gd name="connsiteY39" fmla="*/ 150754 h 273890"/>
                <a:gd name="connsiteX40" fmla="*/ 385218 w 1394458"/>
                <a:gd name="connsiteY40" fmla="*/ 137033 h 273890"/>
                <a:gd name="connsiteX41" fmla="*/ 380530 w 1394458"/>
                <a:gd name="connsiteY41" fmla="*/ 100734 h 273890"/>
                <a:gd name="connsiteX42" fmla="*/ 366984 w 1394458"/>
                <a:gd name="connsiteY42" fmla="*/ 74163 h 273890"/>
                <a:gd name="connsiteX43" fmla="*/ 345102 w 1394458"/>
                <a:gd name="connsiteY43" fmla="*/ 57840 h 273890"/>
                <a:gd name="connsiteX44" fmla="*/ 315403 w 1394458"/>
                <a:gd name="connsiteY44" fmla="*/ 52281 h 273890"/>
                <a:gd name="connsiteX45" fmla="*/ 258784 w 1394458"/>
                <a:gd name="connsiteY45" fmla="*/ 52281 h 273890"/>
                <a:gd name="connsiteX46" fmla="*/ 258784 w 1394458"/>
                <a:gd name="connsiteY46" fmla="*/ 17544 h 273890"/>
                <a:gd name="connsiteX47" fmla="*/ 315403 w 1394458"/>
                <a:gd name="connsiteY47" fmla="*/ 17544 h 273890"/>
                <a:gd name="connsiteX48" fmla="*/ 361429 w 1394458"/>
                <a:gd name="connsiteY48" fmla="*/ 26055 h 273890"/>
                <a:gd name="connsiteX49" fmla="*/ 397383 w 1394458"/>
                <a:gd name="connsiteY49" fmla="*/ 50195 h 273890"/>
                <a:gd name="connsiteX50" fmla="*/ 420826 w 1394458"/>
                <a:gd name="connsiteY50" fmla="*/ 88054 h 273890"/>
                <a:gd name="connsiteX51" fmla="*/ 428988 w 1394458"/>
                <a:gd name="connsiteY51" fmla="*/ 137378 h 273890"/>
                <a:gd name="connsiteX52" fmla="*/ 428988 w 1394458"/>
                <a:gd name="connsiteY52" fmla="*/ 150754 h 273890"/>
                <a:gd name="connsiteX53" fmla="*/ 420826 w 1394458"/>
                <a:gd name="connsiteY53" fmla="*/ 200078 h 273890"/>
                <a:gd name="connsiteX54" fmla="*/ 397383 w 1394458"/>
                <a:gd name="connsiteY54" fmla="*/ 237938 h 273890"/>
                <a:gd name="connsiteX55" fmla="*/ 360909 w 1394458"/>
                <a:gd name="connsiteY55" fmla="*/ 262077 h 273890"/>
                <a:gd name="connsiteX56" fmla="*/ 313842 w 1394458"/>
                <a:gd name="connsiteY56" fmla="*/ 270413 h 273890"/>
                <a:gd name="connsiteX57" fmla="*/ 283964 w 1394458"/>
                <a:gd name="connsiteY57" fmla="*/ 17544 h 273890"/>
                <a:gd name="connsiteX58" fmla="*/ 283964 w 1394458"/>
                <a:gd name="connsiteY58" fmla="*/ 270418 h 273890"/>
                <a:gd name="connsiteX59" fmla="*/ 240369 w 1394458"/>
                <a:gd name="connsiteY59" fmla="*/ 270418 h 273890"/>
                <a:gd name="connsiteX60" fmla="*/ 240369 w 1394458"/>
                <a:gd name="connsiteY60" fmla="*/ 17544 h 273890"/>
                <a:gd name="connsiteX61" fmla="*/ 283964 w 1394458"/>
                <a:gd name="connsiteY61" fmla="*/ 17544 h 273890"/>
                <a:gd name="connsiteX62" fmla="*/ 519299 w 1394458"/>
                <a:gd name="connsiteY62" fmla="*/ 17544 h 273890"/>
                <a:gd name="connsiteX63" fmla="*/ 519299 w 1394458"/>
                <a:gd name="connsiteY63" fmla="*/ 270418 h 273890"/>
                <a:gd name="connsiteX64" fmla="*/ 475705 w 1394458"/>
                <a:gd name="connsiteY64" fmla="*/ 270418 h 273890"/>
                <a:gd name="connsiteX65" fmla="*/ 475705 w 1394458"/>
                <a:gd name="connsiteY65" fmla="*/ 17544 h 273890"/>
                <a:gd name="connsiteX66" fmla="*/ 519299 w 1394458"/>
                <a:gd name="connsiteY66" fmla="*/ 17544 h 273890"/>
                <a:gd name="connsiteX67" fmla="*/ 811424 w 1394458"/>
                <a:gd name="connsiteY67" fmla="*/ 188093 h 273890"/>
                <a:gd name="connsiteX68" fmla="*/ 854843 w 1394458"/>
                <a:gd name="connsiteY68" fmla="*/ 188093 h 273890"/>
                <a:gd name="connsiteX69" fmla="*/ 840947 w 1394458"/>
                <a:gd name="connsiteY69" fmla="*/ 232383 h 273890"/>
                <a:gd name="connsiteX70" fmla="*/ 807776 w 1394458"/>
                <a:gd name="connsiteY70" fmla="*/ 262777 h 273890"/>
                <a:gd name="connsiteX71" fmla="*/ 755845 w 1394458"/>
                <a:gd name="connsiteY71" fmla="*/ 273891 h 273890"/>
                <a:gd name="connsiteX72" fmla="*/ 713642 w 1394458"/>
                <a:gd name="connsiteY72" fmla="*/ 265554 h 273890"/>
                <a:gd name="connsiteX73" fmla="*/ 681512 w 1394458"/>
                <a:gd name="connsiteY73" fmla="*/ 241585 h 273890"/>
                <a:gd name="connsiteX74" fmla="*/ 661021 w 1394458"/>
                <a:gd name="connsiteY74" fmla="*/ 203901 h 273890"/>
                <a:gd name="connsiteX75" fmla="*/ 654075 w 1394458"/>
                <a:gd name="connsiteY75" fmla="*/ 154577 h 273890"/>
                <a:gd name="connsiteX76" fmla="*/ 654075 w 1394458"/>
                <a:gd name="connsiteY76" fmla="*/ 133560 h 273890"/>
                <a:gd name="connsiteX77" fmla="*/ 661196 w 1394458"/>
                <a:gd name="connsiteY77" fmla="*/ 84236 h 273890"/>
                <a:gd name="connsiteX78" fmla="*/ 682037 w 1394458"/>
                <a:gd name="connsiteY78" fmla="*/ 46547 h 273890"/>
                <a:gd name="connsiteX79" fmla="*/ 714513 w 1394458"/>
                <a:gd name="connsiteY79" fmla="*/ 22408 h 273890"/>
                <a:gd name="connsiteX80" fmla="*/ 757411 w 1394458"/>
                <a:gd name="connsiteY80" fmla="*/ 14071 h 273890"/>
                <a:gd name="connsiteX81" fmla="*/ 808472 w 1394458"/>
                <a:gd name="connsiteY81" fmla="*/ 25185 h 273890"/>
                <a:gd name="connsiteX82" fmla="*/ 840777 w 1394458"/>
                <a:gd name="connsiteY82" fmla="*/ 55924 h 273890"/>
                <a:gd name="connsiteX83" fmla="*/ 855018 w 1394458"/>
                <a:gd name="connsiteY83" fmla="*/ 100905 h 273890"/>
                <a:gd name="connsiteX84" fmla="*/ 811599 w 1394458"/>
                <a:gd name="connsiteY84" fmla="*/ 100905 h 273890"/>
                <a:gd name="connsiteX85" fmla="*/ 803958 w 1394458"/>
                <a:gd name="connsiteY85" fmla="*/ 72943 h 273890"/>
                <a:gd name="connsiteX86" fmla="*/ 786940 w 1394458"/>
                <a:gd name="connsiteY86" fmla="*/ 55229 h 273890"/>
                <a:gd name="connsiteX87" fmla="*/ 757416 w 1394458"/>
                <a:gd name="connsiteY87" fmla="*/ 48974 h 273890"/>
                <a:gd name="connsiteX88" fmla="*/ 731366 w 1394458"/>
                <a:gd name="connsiteY88" fmla="*/ 54533 h 273890"/>
                <a:gd name="connsiteX89" fmla="*/ 712781 w 1394458"/>
                <a:gd name="connsiteY89" fmla="*/ 70861 h 273890"/>
                <a:gd name="connsiteX90" fmla="*/ 701492 w 1394458"/>
                <a:gd name="connsiteY90" fmla="*/ 97432 h 273890"/>
                <a:gd name="connsiteX91" fmla="*/ 697844 w 1394458"/>
                <a:gd name="connsiteY91" fmla="*/ 133210 h 273890"/>
                <a:gd name="connsiteX92" fmla="*/ 697844 w 1394458"/>
                <a:gd name="connsiteY92" fmla="*/ 154572 h 273890"/>
                <a:gd name="connsiteX93" fmla="*/ 701142 w 1394458"/>
                <a:gd name="connsiteY93" fmla="*/ 189309 h 273890"/>
                <a:gd name="connsiteX94" fmla="*/ 711565 w 1394458"/>
                <a:gd name="connsiteY94" fmla="*/ 215880 h 273890"/>
                <a:gd name="connsiteX95" fmla="*/ 729629 w 1394458"/>
                <a:gd name="connsiteY95" fmla="*/ 233074 h 273890"/>
                <a:gd name="connsiteX96" fmla="*/ 755855 w 1394458"/>
                <a:gd name="connsiteY96" fmla="*/ 239154 h 273890"/>
                <a:gd name="connsiteX97" fmla="*/ 785904 w 1394458"/>
                <a:gd name="connsiteY97" fmla="*/ 233249 h 273890"/>
                <a:gd name="connsiteX98" fmla="*/ 803443 w 1394458"/>
                <a:gd name="connsiteY98" fmla="*/ 216055 h 273890"/>
                <a:gd name="connsiteX99" fmla="*/ 811434 w 1394458"/>
                <a:gd name="connsiteY99" fmla="*/ 188093 h 273890"/>
                <a:gd name="connsiteX100" fmla="*/ 882285 w 1394458"/>
                <a:gd name="connsiteY100" fmla="*/ 178541 h 273890"/>
                <a:gd name="connsiteX101" fmla="*/ 882285 w 1394458"/>
                <a:gd name="connsiteY101" fmla="*/ 174548 h 273890"/>
                <a:gd name="connsiteX102" fmla="*/ 888190 w 1394458"/>
                <a:gd name="connsiteY102" fmla="*/ 136858 h 273890"/>
                <a:gd name="connsiteX103" fmla="*/ 905208 w 1394458"/>
                <a:gd name="connsiteY103" fmla="*/ 106464 h 273890"/>
                <a:gd name="connsiteX104" fmla="*/ 932650 w 1394458"/>
                <a:gd name="connsiteY104" fmla="*/ 86318 h 273890"/>
                <a:gd name="connsiteX105" fmla="*/ 969469 w 1394458"/>
                <a:gd name="connsiteY105" fmla="*/ 79022 h 273890"/>
                <a:gd name="connsiteX106" fmla="*/ 1006288 w 1394458"/>
                <a:gd name="connsiteY106" fmla="*/ 86318 h 273890"/>
                <a:gd name="connsiteX107" fmla="*/ 1033899 w 1394458"/>
                <a:gd name="connsiteY107" fmla="*/ 106464 h 273890"/>
                <a:gd name="connsiteX108" fmla="*/ 1051093 w 1394458"/>
                <a:gd name="connsiteY108" fmla="*/ 136858 h 273890"/>
                <a:gd name="connsiteX109" fmla="*/ 1056998 w 1394458"/>
                <a:gd name="connsiteY109" fmla="*/ 174548 h 273890"/>
                <a:gd name="connsiteX110" fmla="*/ 1056998 w 1394458"/>
                <a:gd name="connsiteY110" fmla="*/ 178541 h 273890"/>
                <a:gd name="connsiteX111" fmla="*/ 1051093 w 1394458"/>
                <a:gd name="connsiteY111" fmla="*/ 216226 h 273890"/>
                <a:gd name="connsiteX112" fmla="*/ 1033899 w 1394458"/>
                <a:gd name="connsiteY112" fmla="*/ 246619 h 273890"/>
                <a:gd name="connsiteX113" fmla="*/ 1006458 w 1394458"/>
                <a:gd name="connsiteY113" fmla="*/ 266765 h 273890"/>
                <a:gd name="connsiteX114" fmla="*/ 969814 w 1394458"/>
                <a:gd name="connsiteY114" fmla="*/ 273886 h 273890"/>
                <a:gd name="connsiteX115" fmla="*/ 932820 w 1394458"/>
                <a:gd name="connsiteY115" fmla="*/ 266765 h 273890"/>
                <a:gd name="connsiteX116" fmla="*/ 905378 w 1394458"/>
                <a:gd name="connsiteY116" fmla="*/ 246619 h 273890"/>
                <a:gd name="connsiteX117" fmla="*/ 888185 w 1394458"/>
                <a:gd name="connsiteY117" fmla="*/ 216226 h 273890"/>
                <a:gd name="connsiteX118" fmla="*/ 882280 w 1394458"/>
                <a:gd name="connsiteY118" fmla="*/ 178541 h 273890"/>
                <a:gd name="connsiteX119" fmla="*/ 924143 w 1394458"/>
                <a:gd name="connsiteY119" fmla="*/ 174548 h 273890"/>
                <a:gd name="connsiteX120" fmla="*/ 924143 w 1394458"/>
                <a:gd name="connsiteY120" fmla="*/ 178541 h 273890"/>
                <a:gd name="connsiteX121" fmla="*/ 926750 w 1394458"/>
                <a:gd name="connsiteY121" fmla="*/ 202510 h 273890"/>
                <a:gd name="connsiteX122" fmla="*/ 934911 w 1394458"/>
                <a:gd name="connsiteY122" fmla="*/ 222310 h 273890"/>
                <a:gd name="connsiteX123" fmla="*/ 949152 w 1394458"/>
                <a:gd name="connsiteY123" fmla="*/ 235681 h 273890"/>
                <a:gd name="connsiteX124" fmla="*/ 969819 w 1394458"/>
                <a:gd name="connsiteY124" fmla="*/ 240545 h 273890"/>
                <a:gd name="connsiteX125" fmla="*/ 989965 w 1394458"/>
                <a:gd name="connsiteY125" fmla="*/ 235681 h 273890"/>
                <a:gd name="connsiteX126" fmla="*/ 1004206 w 1394458"/>
                <a:gd name="connsiteY126" fmla="*/ 222310 h 273890"/>
                <a:gd name="connsiteX127" fmla="*/ 1012367 w 1394458"/>
                <a:gd name="connsiteY127" fmla="*/ 202510 h 273890"/>
                <a:gd name="connsiteX128" fmla="*/ 1015145 w 1394458"/>
                <a:gd name="connsiteY128" fmla="*/ 178541 h 273890"/>
                <a:gd name="connsiteX129" fmla="*/ 1015145 w 1394458"/>
                <a:gd name="connsiteY129" fmla="*/ 174548 h 273890"/>
                <a:gd name="connsiteX130" fmla="*/ 1012367 w 1394458"/>
                <a:gd name="connsiteY130" fmla="*/ 150929 h 273890"/>
                <a:gd name="connsiteX131" fmla="*/ 1004031 w 1394458"/>
                <a:gd name="connsiteY131" fmla="*/ 130958 h 273890"/>
                <a:gd name="connsiteX132" fmla="*/ 989790 w 1394458"/>
                <a:gd name="connsiteY132" fmla="*/ 117412 h 273890"/>
                <a:gd name="connsiteX133" fmla="*/ 969469 w 1394458"/>
                <a:gd name="connsiteY133" fmla="*/ 112373 h 273890"/>
                <a:gd name="connsiteX134" fmla="*/ 948977 w 1394458"/>
                <a:gd name="connsiteY134" fmla="*/ 117412 h 273890"/>
                <a:gd name="connsiteX135" fmla="*/ 934911 w 1394458"/>
                <a:gd name="connsiteY135" fmla="*/ 130958 h 273890"/>
                <a:gd name="connsiteX136" fmla="*/ 926750 w 1394458"/>
                <a:gd name="connsiteY136" fmla="*/ 150929 h 273890"/>
                <a:gd name="connsiteX137" fmla="*/ 924143 w 1394458"/>
                <a:gd name="connsiteY137" fmla="*/ 174548 h 273890"/>
                <a:gd name="connsiteX138" fmla="*/ 1133598 w 1394458"/>
                <a:gd name="connsiteY138" fmla="*/ 122617 h 273890"/>
                <a:gd name="connsiteX139" fmla="*/ 1133598 w 1394458"/>
                <a:gd name="connsiteY139" fmla="*/ 270418 h 273890"/>
                <a:gd name="connsiteX140" fmla="*/ 1091745 w 1394458"/>
                <a:gd name="connsiteY140" fmla="*/ 270418 h 273890"/>
                <a:gd name="connsiteX141" fmla="*/ 1091745 w 1394458"/>
                <a:gd name="connsiteY141" fmla="*/ 82495 h 273890"/>
                <a:gd name="connsiteX142" fmla="*/ 1131171 w 1394458"/>
                <a:gd name="connsiteY142" fmla="*/ 82495 h 273890"/>
                <a:gd name="connsiteX143" fmla="*/ 1133603 w 1394458"/>
                <a:gd name="connsiteY143" fmla="*/ 122617 h 273890"/>
                <a:gd name="connsiteX144" fmla="*/ 1126132 w 1394458"/>
                <a:gd name="connsiteY144" fmla="*/ 169509 h 273890"/>
                <a:gd name="connsiteX145" fmla="*/ 1112586 w 1394458"/>
                <a:gd name="connsiteY145" fmla="*/ 169334 h 273890"/>
                <a:gd name="connsiteX146" fmla="*/ 1118145 w 1394458"/>
                <a:gd name="connsiteY146" fmla="*/ 132690 h 273890"/>
                <a:gd name="connsiteX147" fmla="*/ 1133428 w 1394458"/>
                <a:gd name="connsiteY147" fmla="*/ 104032 h 273890"/>
                <a:gd name="connsiteX148" fmla="*/ 1157046 w 1394458"/>
                <a:gd name="connsiteY148" fmla="*/ 85623 h 273890"/>
                <a:gd name="connsiteX149" fmla="*/ 1187615 w 1394458"/>
                <a:gd name="connsiteY149" fmla="*/ 79022 h 273890"/>
                <a:gd name="connsiteX150" fmla="*/ 1212105 w 1394458"/>
                <a:gd name="connsiteY150" fmla="*/ 82840 h 273890"/>
                <a:gd name="connsiteX151" fmla="*/ 1231034 w 1394458"/>
                <a:gd name="connsiteY151" fmla="*/ 94825 h 273890"/>
                <a:gd name="connsiteX152" fmla="*/ 1243189 w 1394458"/>
                <a:gd name="connsiteY152" fmla="*/ 116532 h 273890"/>
                <a:gd name="connsiteX153" fmla="*/ 1247357 w 1394458"/>
                <a:gd name="connsiteY153" fmla="*/ 149008 h 273890"/>
                <a:gd name="connsiteX154" fmla="*/ 1247357 w 1394458"/>
                <a:gd name="connsiteY154" fmla="*/ 270408 h 273890"/>
                <a:gd name="connsiteX155" fmla="*/ 1205329 w 1394458"/>
                <a:gd name="connsiteY155" fmla="*/ 270408 h 273890"/>
                <a:gd name="connsiteX156" fmla="*/ 1205329 w 1394458"/>
                <a:gd name="connsiteY156" fmla="*/ 148833 h 273890"/>
                <a:gd name="connsiteX157" fmla="*/ 1201336 w 1394458"/>
                <a:gd name="connsiteY157" fmla="*/ 127471 h 273890"/>
                <a:gd name="connsiteX158" fmla="*/ 1190047 w 1394458"/>
                <a:gd name="connsiteY158" fmla="*/ 116182 h 273890"/>
                <a:gd name="connsiteX159" fmla="*/ 1171813 w 1394458"/>
                <a:gd name="connsiteY159" fmla="*/ 112709 h 273890"/>
                <a:gd name="connsiteX160" fmla="*/ 1152533 w 1394458"/>
                <a:gd name="connsiteY160" fmla="*/ 117223 h 273890"/>
                <a:gd name="connsiteX161" fmla="*/ 1138116 w 1394458"/>
                <a:gd name="connsiteY161" fmla="*/ 129552 h 273890"/>
                <a:gd name="connsiteX162" fmla="*/ 1129259 w 1394458"/>
                <a:gd name="connsiteY162" fmla="*/ 147617 h 273890"/>
                <a:gd name="connsiteX163" fmla="*/ 1126132 w 1394458"/>
                <a:gd name="connsiteY163" fmla="*/ 169499 h 273890"/>
                <a:gd name="connsiteX164" fmla="*/ 1346701 w 1394458"/>
                <a:gd name="connsiteY164" fmla="*/ 270418 h 273890"/>
                <a:gd name="connsiteX165" fmla="*/ 1304843 w 1394458"/>
                <a:gd name="connsiteY165" fmla="*/ 270418 h 273890"/>
                <a:gd name="connsiteX166" fmla="*/ 1304843 w 1394458"/>
                <a:gd name="connsiteY166" fmla="*/ 64436 h 273890"/>
                <a:gd name="connsiteX167" fmla="*/ 1312659 w 1394458"/>
                <a:gd name="connsiteY167" fmla="*/ 29178 h 273890"/>
                <a:gd name="connsiteX168" fmla="*/ 1335412 w 1394458"/>
                <a:gd name="connsiteY168" fmla="*/ 7471 h 273890"/>
                <a:gd name="connsiteX169" fmla="*/ 1370319 w 1394458"/>
                <a:gd name="connsiteY169" fmla="*/ 0 h 273890"/>
                <a:gd name="connsiteX170" fmla="*/ 1382649 w 1394458"/>
                <a:gd name="connsiteY170" fmla="*/ 871 h 273890"/>
                <a:gd name="connsiteX171" fmla="*/ 1394458 w 1394458"/>
                <a:gd name="connsiteY171" fmla="*/ 3127 h 273890"/>
                <a:gd name="connsiteX172" fmla="*/ 1393418 w 1394458"/>
                <a:gd name="connsiteY172" fmla="*/ 35433 h 273890"/>
                <a:gd name="connsiteX173" fmla="*/ 1385776 w 1394458"/>
                <a:gd name="connsiteY173" fmla="*/ 34217 h 273890"/>
                <a:gd name="connsiteX174" fmla="*/ 1377095 w 1394458"/>
                <a:gd name="connsiteY174" fmla="*/ 33867 h 273890"/>
                <a:gd name="connsiteX175" fmla="*/ 1360596 w 1394458"/>
                <a:gd name="connsiteY175" fmla="*/ 37515 h 273890"/>
                <a:gd name="connsiteX176" fmla="*/ 1350178 w 1394458"/>
                <a:gd name="connsiteY176" fmla="*/ 47763 h 273890"/>
                <a:gd name="connsiteX177" fmla="*/ 1346706 w 1394458"/>
                <a:gd name="connsiteY177" fmla="*/ 64436 h 273890"/>
                <a:gd name="connsiteX178" fmla="*/ 1346706 w 1394458"/>
                <a:gd name="connsiteY178" fmla="*/ 270418 h 273890"/>
                <a:gd name="connsiteX179" fmla="*/ 1385431 w 1394458"/>
                <a:gd name="connsiteY179" fmla="*/ 82500 h 273890"/>
                <a:gd name="connsiteX180" fmla="*/ 1385431 w 1394458"/>
                <a:gd name="connsiteY180" fmla="*/ 113069 h 273890"/>
                <a:gd name="connsiteX181" fmla="*/ 1276015 w 1394458"/>
                <a:gd name="connsiteY181" fmla="*/ 113069 h 273890"/>
                <a:gd name="connsiteX182" fmla="*/ 1276015 w 1394458"/>
                <a:gd name="connsiteY182" fmla="*/ 82500 h 273890"/>
                <a:gd name="connsiteX183" fmla="*/ 1385431 w 1394458"/>
                <a:gd name="connsiteY183" fmla="*/ 82500 h 2738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</a:cxnLst>
              <a:rect l="l" t="t" r="r" b="b"/>
              <a:pathLst>
                <a:path w="1394458" h="273890">
                  <a:moveTo>
                    <a:pt x="157354" y="188093"/>
                  </a:moveTo>
                  <a:lnTo>
                    <a:pt x="200773" y="188093"/>
                  </a:lnTo>
                  <a:cubicBezTo>
                    <a:pt x="199382" y="204650"/>
                    <a:pt x="194752" y="219411"/>
                    <a:pt x="186877" y="232383"/>
                  </a:cubicBezTo>
                  <a:cubicBezTo>
                    <a:pt x="179003" y="245233"/>
                    <a:pt x="167947" y="255365"/>
                    <a:pt x="153706" y="262777"/>
                  </a:cubicBezTo>
                  <a:cubicBezTo>
                    <a:pt x="139465" y="270185"/>
                    <a:pt x="122155" y="273891"/>
                    <a:pt x="101775" y="273891"/>
                  </a:cubicBezTo>
                  <a:cubicBezTo>
                    <a:pt x="86143" y="273891"/>
                    <a:pt x="72077" y="271114"/>
                    <a:pt x="59572" y="265554"/>
                  </a:cubicBezTo>
                  <a:cubicBezTo>
                    <a:pt x="47067" y="259878"/>
                    <a:pt x="36357" y="251892"/>
                    <a:pt x="27442" y="241585"/>
                  </a:cubicBezTo>
                  <a:cubicBezTo>
                    <a:pt x="18526" y="231167"/>
                    <a:pt x="11697" y="218604"/>
                    <a:pt x="6950" y="203901"/>
                  </a:cubicBezTo>
                  <a:cubicBezTo>
                    <a:pt x="2315" y="189192"/>
                    <a:pt x="0" y="172753"/>
                    <a:pt x="0" y="154572"/>
                  </a:cubicBezTo>
                  <a:lnTo>
                    <a:pt x="0" y="133555"/>
                  </a:lnTo>
                  <a:cubicBezTo>
                    <a:pt x="0" y="115379"/>
                    <a:pt x="2374" y="98935"/>
                    <a:pt x="7121" y="84231"/>
                  </a:cubicBezTo>
                  <a:cubicBezTo>
                    <a:pt x="11984" y="69528"/>
                    <a:pt x="18930" y="56965"/>
                    <a:pt x="27962" y="46542"/>
                  </a:cubicBezTo>
                  <a:cubicBezTo>
                    <a:pt x="36994" y="36007"/>
                    <a:pt x="47816" y="27957"/>
                    <a:pt x="60438" y="22403"/>
                  </a:cubicBezTo>
                  <a:cubicBezTo>
                    <a:pt x="73171" y="16843"/>
                    <a:pt x="87471" y="14066"/>
                    <a:pt x="103336" y="14066"/>
                  </a:cubicBezTo>
                  <a:cubicBezTo>
                    <a:pt x="123482" y="14066"/>
                    <a:pt x="140506" y="17772"/>
                    <a:pt x="154397" y="25180"/>
                  </a:cubicBezTo>
                  <a:cubicBezTo>
                    <a:pt x="168293" y="32592"/>
                    <a:pt x="179056" y="42836"/>
                    <a:pt x="186702" y="55919"/>
                  </a:cubicBezTo>
                  <a:cubicBezTo>
                    <a:pt x="194460" y="69003"/>
                    <a:pt x="199207" y="83998"/>
                    <a:pt x="200943" y="100900"/>
                  </a:cubicBezTo>
                  <a:lnTo>
                    <a:pt x="157524" y="100900"/>
                  </a:lnTo>
                  <a:cubicBezTo>
                    <a:pt x="156367" y="90015"/>
                    <a:pt x="153818" y="80695"/>
                    <a:pt x="149883" y="72938"/>
                  </a:cubicBezTo>
                  <a:cubicBezTo>
                    <a:pt x="146065" y="65180"/>
                    <a:pt x="140389" y="59275"/>
                    <a:pt x="132865" y="55224"/>
                  </a:cubicBezTo>
                  <a:cubicBezTo>
                    <a:pt x="125340" y="51055"/>
                    <a:pt x="115496" y="48969"/>
                    <a:pt x="103341" y="48969"/>
                  </a:cubicBezTo>
                  <a:cubicBezTo>
                    <a:pt x="93385" y="48969"/>
                    <a:pt x="84698" y="50822"/>
                    <a:pt x="77291" y="54528"/>
                  </a:cubicBezTo>
                  <a:cubicBezTo>
                    <a:pt x="69878" y="58234"/>
                    <a:pt x="63687" y="63677"/>
                    <a:pt x="58706" y="70856"/>
                  </a:cubicBezTo>
                  <a:cubicBezTo>
                    <a:pt x="53730" y="78035"/>
                    <a:pt x="49966" y="86892"/>
                    <a:pt x="47417" y="97427"/>
                  </a:cubicBezTo>
                  <a:cubicBezTo>
                    <a:pt x="44985" y="107845"/>
                    <a:pt x="43769" y="119771"/>
                    <a:pt x="43769" y="133205"/>
                  </a:cubicBezTo>
                  <a:lnTo>
                    <a:pt x="43769" y="154567"/>
                  </a:lnTo>
                  <a:cubicBezTo>
                    <a:pt x="43769" y="167305"/>
                    <a:pt x="44869" y="178881"/>
                    <a:pt x="47067" y="189304"/>
                  </a:cubicBezTo>
                  <a:cubicBezTo>
                    <a:pt x="49382" y="199611"/>
                    <a:pt x="52855" y="208468"/>
                    <a:pt x="57490" y="215875"/>
                  </a:cubicBezTo>
                  <a:cubicBezTo>
                    <a:pt x="62237" y="223288"/>
                    <a:pt x="68259" y="229017"/>
                    <a:pt x="75550" y="233069"/>
                  </a:cubicBezTo>
                  <a:cubicBezTo>
                    <a:pt x="82845" y="237120"/>
                    <a:pt x="91585" y="239149"/>
                    <a:pt x="101775" y="239149"/>
                  </a:cubicBezTo>
                  <a:cubicBezTo>
                    <a:pt x="114163" y="239149"/>
                    <a:pt x="124178" y="237179"/>
                    <a:pt x="131824" y="233244"/>
                  </a:cubicBezTo>
                  <a:cubicBezTo>
                    <a:pt x="139582" y="229304"/>
                    <a:pt x="145428" y="223575"/>
                    <a:pt x="149363" y="216050"/>
                  </a:cubicBezTo>
                  <a:cubicBezTo>
                    <a:pt x="153414" y="208409"/>
                    <a:pt x="156080" y="199090"/>
                    <a:pt x="157354" y="188088"/>
                  </a:cubicBezTo>
                  <a:close/>
                  <a:moveTo>
                    <a:pt x="313837" y="270418"/>
                  </a:moveTo>
                  <a:lnTo>
                    <a:pt x="259825" y="270418"/>
                  </a:lnTo>
                  <a:lnTo>
                    <a:pt x="260170" y="235856"/>
                  </a:lnTo>
                  <a:lnTo>
                    <a:pt x="313837" y="235856"/>
                  </a:lnTo>
                  <a:cubicBezTo>
                    <a:pt x="329469" y="235856"/>
                    <a:pt x="342553" y="232441"/>
                    <a:pt x="353088" y="225608"/>
                  </a:cubicBezTo>
                  <a:cubicBezTo>
                    <a:pt x="363740" y="218779"/>
                    <a:pt x="371731" y="208993"/>
                    <a:pt x="377057" y="196255"/>
                  </a:cubicBezTo>
                  <a:cubicBezTo>
                    <a:pt x="382499" y="183516"/>
                    <a:pt x="385218" y="168351"/>
                    <a:pt x="385218" y="150754"/>
                  </a:cubicBezTo>
                  <a:lnTo>
                    <a:pt x="385218" y="137033"/>
                  </a:lnTo>
                  <a:cubicBezTo>
                    <a:pt x="385218" y="123371"/>
                    <a:pt x="383657" y="111269"/>
                    <a:pt x="380530" y="100734"/>
                  </a:cubicBezTo>
                  <a:cubicBezTo>
                    <a:pt x="377519" y="90199"/>
                    <a:pt x="373005" y="81342"/>
                    <a:pt x="366984" y="74163"/>
                  </a:cubicBezTo>
                  <a:cubicBezTo>
                    <a:pt x="361079" y="66984"/>
                    <a:pt x="353784" y="61542"/>
                    <a:pt x="345102" y="57840"/>
                  </a:cubicBezTo>
                  <a:cubicBezTo>
                    <a:pt x="336532" y="54134"/>
                    <a:pt x="326634" y="52281"/>
                    <a:pt x="315403" y="52281"/>
                  </a:cubicBezTo>
                  <a:lnTo>
                    <a:pt x="258784" y="52281"/>
                  </a:lnTo>
                  <a:lnTo>
                    <a:pt x="258784" y="17544"/>
                  </a:lnTo>
                  <a:lnTo>
                    <a:pt x="315403" y="17544"/>
                  </a:lnTo>
                  <a:cubicBezTo>
                    <a:pt x="332193" y="17544"/>
                    <a:pt x="347534" y="20379"/>
                    <a:pt x="361429" y="26055"/>
                  </a:cubicBezTo>
                  <a:cubicBezTo>
                    <a:pt x="375325" y="31615"/>
                    <a:pt x="387310" y="39660"/>
                    <a:pt x="397383" y="50195"/>
                  </a:cubicBezTo>
                  <a:cubicBezTo>
                    <a:pt x="407572" y="60730"/>
                    <a:pt x="415389" y="73351"/>
                    <a:pt x="420826" y="88054"/>
                  </a:cubicBezTo>
                  <a:cubicBezTo>
                    <a:pt x="426269" y="102758"/>
                    <a:pt x="428988" y="119202"/>
                    <a:pt x="428988" y="137378"/>
                  </a:cubicBezTo>
                  <a:lnTo>
                    <a:pt x="428988" y="150754"/>
                  </a:lnTo>
                  <a:cubicBezTo>
                    <a:pt x="428988" y="168930"/>
                    <a:pt x="426269" y="185374"/>
                    <a:pt x="420826" y="200078"/>
                  </a:cubicBezTo>
                  <a:cubicBezTo>
                    <a:pt x="415384" y="214781"/>
                    <a:pt x="407568" y="227403"/>
                    <a:pt x="397383" y="237938"/>
                  </a:cubicBezTo>
                  <a:cubicBezTo>
                    <a:pt x="387193" y="248356"/>
                    <a:pt x="375038" y="256405"/>
                    <a:pt x="360909" y="262077"/>
                  </a:cubicBezTo>
                  <a:cubicBezTo>
                    <a:pt x="346896" y="267636"/>
                    <a:pt x="331211" y="270413"/>
                    <a:pt x="313842" y="270413"/>
                  </a:cubicBezTo>
                  <a:close/>
                  <a:moveTo>
                    <a:pt x="283964" y="17544"/>
                  </a:moveTo>
                  <a:lnTo>
                    <a:pt x="283964" y="270418"/>
                  </a:lnTo>
                  <a:lnTo>
                    <a:pt x="240369" y="270418"/>
                  </a:lnTo>
                  <a:lnTo>
                    <a:pt x="240369" y="17544"/>
                  </a:lnTo>
                  <a:lnTo>
                    <a:pt x="283964" y="17544"/>
                  </a:lnTo>
                  <a:close/>
                  <a:moveTo>
                    <a:pt x="519299" y="17544"/>
                  </a:moveTo>
                  <a:lnTo>
                    <a:pt x="519299" y="270418"/>
                  </a:lnTo>
                  <a:lnTo>
                    <a:pt x="475705" y="270418"/>
                  </a:lnTo>
                  <a:lnTo>
                    <a:pt x="475705" y="17544"/>
                  </a:lnTo>
                  <a:lnTo>
                    <a:pt x="519299" y="17544"/>
                  </a:lnTo>
                  <a:close/>
                  <a:moveTo>
                    <a:pt x="811424" y="188093"/>
                  </a:moveTo>
                  <a:lnTo>
                    <a:pt x="854843" y="188093"/>
                  </a:lnTo>
                  <a:cubicBezTo>
                    <a:pt x="853452" y="204650"/>
                    <a:pt x="848822" y="219411"/>
                    <a:pt x="840947" y="232383"/>
                  </a:cubicBezTo>
                  <a:cubicBezTo>
                    <a:pt x="833073" y="245233"/>
                    <a:pt x="822017" y="255365"/>
                    <a:pt x="807776" y="262777"/>
                  </a:cubicBezTo>
                  <a:cubicBezTo>
                    <a:pt x="793535" y="270185"/>
                    <a:pt x="776225" y="273891"/>
                    <a:pt x="755845" y="273891"/>
                  </a:cubicBezTo>
                  <a:cubicBezTo>
                    <a:pt x="740213" y="273891"/>
                    <a:pt x="726147" y="271114"/>
                    <a:pt x="713642" y="265554"/>
                  </a:cubicBezTo>
                  <a:cubicBezTo>
                    <a:pt x="701137" y="259878"/>
                    <a:pt x="690427" y="251892"/>
                    <a:pt x="681512" y="241585"/>
                  </a:cubicBezTo>
                  <a:cubicBezTo>
                    <a:pt x="672596" y="231167"/>
                    <a:pt x="665768" y="218604"/>
                    <a:pt x="661021" y="203901"/>
                  </a:cubicBezTo>
                  <a:cubicBezTo>
                    <a:pt x="656390" y="189197"/>
                    <a:pt x="654075" y="172753"/>
                    <a:pt x="654075" y="154577"/>
                  </a:cubicBezTo>
                  <a:lnTo>
                    <a:pt x="654075" y="133560"/>
                  </a:lnTo>
                  <a:cubicBezTo>
                    <a:pt x="654075" y="115384"/>
                    <a:pt x="656449" y="98940"/>
                    <a:pt x="661196" y="84236"/>
                  </a:cubicBezTo>
                  <a:cubicBezTo>
                    <a:pt x="666059" y="69533"/>
                    <a:pt x="673005" y="56970"/>
                    <a:pt x="682037" y="46547"/>
                  </a:cubicBezTo>
                  <a:cubicBezTo>
                    <a:pt x="691069" y="36012"/>
                    <a:pt x="701891" y="27962"/>
                    <a:pt x="714513" y="22408"/>
                  </a:cubicBezTo>
                  <a:cubicBezTo>
                    <a:pt x="727246" y="16848"/>
                    <a:pt x="741546" y="14071"/>
                    <a:pt x="757411" y="14071"/>
                  </a:cubicBezTo>
                  <a:cubicBezTo>
                    <a:pt x="777557" y="14071"/>
                    <a:pt x="794581" y="17777"/>
                    <a:pt x="808472" y="25185"/>
                  </a:cubicBezTo>
                  <a:cubicBezTo>
                    <a:pt x="822368" y="32597"/>
                    <a:pt x="833131" y="42840"/>
                    <a:pt x="840777" y="55924"/>
                  </a:cubicBezTo>
                  <a:cubicBezTo>
                    <a:pt x="848535" y="69008"/>
                    <a:pt x="853282" y="84003"/>
                    <a:pt x="855018" y="100905"/>
                  </a:cubicBezTo>
                  <a:lnTo>
                    <a:pt x="811599" y="100905"/>
                  </a:lnTo>
                  <a:cubicBezTo>
                    <a:pt x="810442" y="90019"/>
                    <a:pt x="807893" y="80700"/>
                    <a:pt x="803958" y="72943"/>
                  </a:cubicBezTo>
                  <a:cubicBezTo>
                    <a:pt x="800140" y="65185"/>
                    <a:pt x="794464" y="59280"/>
                    <a:pt x="786940" y="55229"/>
                  </a:cubicBezTo>
                  <a:cubicBezTo>
                    <a:pt x="779415" y="51060"/>
                    <a:pt x="769571" y="48974"/>
                    <a:pt x="757416" y="48974"/>
                  </a:cubicBezTo>
                  <a:cubicBezTo>
                    <a:pt x="747460" y="48974"/>
                    <a:pt x="738773" y="50827"/>
                    <a:pt x="731366" y="54533"/>
                  </a:cubicBezTo>
                  <a:cubicBezTo>
                    <a:pt x="723953" y="58239"/>
                    <a:pt x="717762" y="63682"/>
                    <a:pt x="712781" y="70861"/>
                  </a:cubicBezTo>
                  <a:cubicBezTo>
                    <a:pt x="707801" y="78040"/>
                    <a:pt x="704041" y="86897"/>
                    <a:pt x="701492" y="97432"/>
                  </a:cubicBezTo>
                  <a:cubicBezTo>
                    <a:pt x="699060" y="107850"/>
                    <a:pt x="697844" y="119776"/>
                    <a:pt x="697844" y="133210"/>
                  </a:cubicBezTo>
                  <a:lnTo>
                    <a:pt x="697844" y="154572"/>
                  </a:lnTo>
                  <a:cubicBezTo>
                    <a:pt x="697844" y="167310"/>
                    <a:pt x="698944" y="178886"/>
                    <a:pt x="701142" y="189309"/>
                  </a:cubicBezTo>
                  <a:cubicBezTo>
                    <a:pt x="703457" y="199616"/>
                    <a:pt x="706930" y="208473"/>
                    <a:pt x="711565" y="215880"/>
                  </a:cubicBezTo>
                  <a:cubicBezTo>
                    <a:pt x="716312" y="223293"/>
                    <a:pt x="722334" y="229022"/>
                    <a:pt x="729629" y="233074"/>
                  </a:cubicBezTo>
                  <a:cubicBezTo>
                    <a:pt x="736925" y="237125"/>
                    <a:pt x="745665" y="239154"/>
                    <a:pt x="755855" y="239154"/>
                  </a:cubicBezTo>
                  <a:cubicBezTo>
                    <a:pt x="768243" y="239154"/>
                    <a:pt x="778258" y="237184"/>
                    <a:pt x="785904" y="233249"/>
                  </a:cubicBezTo>
                  <a:cubicBezTo>
                    <a:pt x="793661" y="229309"/>
                    <a:pt x="799508" y="223580"/>
                    <a:pt x="803443" y="216055"/>
                  </a:cubicBezTo>
                  <a:cubicBezTo>
                    <a:pt x="807494" y="208414"/>
                    <a:pt x="810159" y="199095"/>
                    <a:pt x="811434" y="188093"/>
                  </a:cubicBezTo>
                  <a:close/>
                  <a:moveTo>
                    <a:pt x="882285" y="178541"/>
                  </a:moveTo>
                  <a:lnTo>
                    <a:pt x="882285" y="174548"/>
                  </a:lnTo>
                  <a:cubicBezTo>
                    <a:pt x="882285" y="161002"/>
                    <a:pt x="884255" y="148439"/>
                    <a:pt x="888190" y="136858"/>
                  </a:cubicBezTo>
                  <a:cubicBezTo>
                    <a:pt x="892124" y="125165"/>
                    <a:pt x="897800" y="115034"/>
                    <a:pt x="905208" y="106464"/>
                  </a:cubicBezTo>
                  <a:cubicBezTo>
                    <a:pt x="912732" y="97782"/>
                    <a:pt x="921881" y="91065"/>
                    <a:pt x="932650" y="86318"/>
                  </a:cubicBezTo>
                  <a:cubicBezTo>
                    <a:pt x="943535" y="81454"/>
                    <a:pt x="955806" y="79022"/>
                    <a:pt x="969469" y="79022"/>
                  </a:cubicBezTo>
                  <a:cubicBezTo>
                    <a:pt x="983131" y="79022"/>
                    <a:pt x="995519" y="81454"/>
                    <a:pt x="1006288" y="86318"/>
                  </a:cubicBezTo>
                  <a:cubicBezTo>
                    <a:pt x="1017173" y="91065"/>
                    <a:pt x="1026375" y="97782"/>
                    <a:pt x="1033899" y="106464"/>
                  </a:cubicBezTo>
                  <a:cubicBezTo>
                    <a:pt x="1041424" y="115034"/>
                    <a:pt x="1047158" y="125165"/>
                    <a:pt x="1051093" y="136858"/>
                  </a:cubicBezTo>
                  <a:cubicBezTo>
                    <a:pt x="1055028" y="148434"/>
                    <a:pt x="1056998" y="160997"/>
                    <a:pt x="1056998" y="174548"/>
                  </a:cubicBezTo>
                  <a:lnTo>
                    <a:pt x="1056998" y="178541"/>
                  </a:lnTo>
                  <a:cubicBezTo>
                    <a:pt x="1056998" y="192086"/>
                    <a:pt x="1055028" y="204650"/>
                    <a:pt x="1051093" y="216226"/>
                  </a:cubicBezTo>
                  <a:cubicBezTo>
                    <a:pt x="1047153" y="227806"/>
                    <a:pt x="1041424" y="237938"/>
                    <a:pt x="1033899" y="246619"/>
                  </a:cubicBezTo>
                  <a:cubicBezTo>
                    <a:pt x="1026375" y="255189"/>
                    <a:pt x="1017226" y="261902"/>
                    <a:pt x="1006458" y="266765"/>
                  </a:cubicBezTo>
                  <a:cubicBezTo>
                    <a:pt x="995689" y="271512"/>
                    <a:pt x="983476" y="273886"/>
                    <a:pt x="969814" y="273886"/>
                  </a:cubicBezTo>
                  <a:cubicBezTo>
                    <a:pt x="956151" y="273886"/>
                    <a:pt x="943705" y="271512"/>
                    <a:pt x="932820" y="266765"/>
                  </a:cubicBezTo>
                  <a:cubicBezTo>
                    <a:pt x="922051" y="261902"/>
                    <a:pt x="912907" y="255189"/>
                    <a:pt x="905378" y="246619"/>
                  </a:cubicBezTo>
                  <a:cubicBezTo>
                    <a:pt x="897854" y="237938"/>
                    <a:pt x="892119" y="227806"/>
                    <a:pt x="888185" y="216226"/>
                  </a:cubicBezTo>
                  <a:cubicBezTo>
                    <a:pt x="884245" y="204650"/>
                    <a:pt x="882280" y="192086"/>
                    <a:pt x="882280" y="178541"/>
                  </a:cubicBezTo>
                  <a:close/>
                  <a:moveTo>
                    <a:pt x="924143" y="174548"/>
                  </a:moveTo>
                  <a:lnTo>
                    <a:pt x="924143" y="178541"/>
                  </a:lnTo>
                  <a:cubicBezTo>
                    <a:pt x="924143" y="186994"/>
                    <a:pt x="925013" y="194980"/>
                    <a:pt x="926750" y="202510"/>
                  </a:cubicBezTo>
                  <a:cubicBezTo>
                    <a:pt x="928486" y="210034"/>
                    <a:pt x="931210" y="216634"/>
                    <a:pt x="934911" y="222310"/>
                  </a:cubicBezTo>
                  <a:cubicBezTo>
                    <a:pt x="938617" y="227981"/>
                    <a:pt x="943365" y="232441"/>
                    <a:pt x="949152" y="235681"/>
                  </a:cubicBezTo>
                  <a:cubicBezTo>
                    <a:pt x="954940" y="238925"/>
                    <a:pt x="961832" y="240545"/>
                    <a:pt x="969819" y="240545"/>
                  </a:cubicBezTo>
                  <a:cubicBezTo>
                    <a:pt x="977805" y="240545"/>
                    <a:pt x="984293" y="238925"/>
                    <a:pt x="989965" y="235681"/>
                  </a:cubicBezTo>
                  <a:cubicBezTo>
                    <a:pt x="995753" y="232441"/>
                    <a:pt x="1000500" y="227981"/>
                    <a:pt x="1004206" y="222310"/>
                  </a:cubicBezTo>
                  <a:cubicBezTo>
                    <a:pt x="1007912" y="216634"/>
                    <a:pt x="1010631" y="210039"/>
                    <a:pt x="1012367" y="202510"/>
                  </a:cubicBezTo>
                  <a:cubicBezTo>
                    <a:pt x="1014220" y="194985"/>
                    <a:pt x="1015145" y="186994"/>
                    <a:pt x="1015145" y="178541"/>
                  </a:cubicBezTo>
                  <a:lnTo>
                    <a:pt x="1015145" y="174548"/>
                  </a:lnTo>
                  <a:cubicBezTo>
                    <a:pt x="1015145" y="166211"/>
                    <a:pt x="1014220" y="158336"/>
                    <a:pt x="1012367" y="150929"/>
                  </a:cubicBezTo>
                  <a:cubicBezTo>
                    <a:pt x="1010631" y="143405"/>
                    <a:pt x="1007854" y="136746"/>
                    <a:pt x="1004031" y="130958"/>
                  </a:cubicBezTo>
                  <a:cubicBezTo>
                    <a:pt x="1000325" y="125170"/>
                    <a:pt x="995578" y="120652"/>
                    <a:pt x="989790" y="117412"/>
                  </a:cubicBezTo>
                  <a:cubicBezTo>
                    <a:pt x="984118" y="114056"/>
                    <a:pt x="977343" y="112373"/>
                    <a:pt x="969469" y="112373"/>
                  </a:cubicBezTo>
                  <a:cubicBezTo>
                    <a:pt x="961594" y="112373"/>
                    <a:pt x="954765" y="114051"/>
                    <a:pt x="948977" y="117412"/>
                  </a:cubicBezTo>
                  <a:cubicBezTo>
                    <a:pt x="943301" y="120657"/>
                    <a:pt x="938613" y="125170"/>
                    <a:pt x="934911" y="130958"/>
                  </a:cubicBezTo>
                  <a:cubicBezTo>
                    <a:pt x="931205" y="136746"/>
                    <a:pt x="928486" y="143405"/>
                    <a:pt x="926750" y="150929"/>
                  </a:cubicBezTo>
                  <a:cubicBezTo>
                    <a:pt x="925013" y="158336"/>
                    <a:pt x="924143" y="166211"/>
                    <a:pt x="924143" y="174548"/>
                  </a:cubicBezTo>
                  <a:close/>
                  <a:moveTo>
                    <a:pt x="1133598" y="122617"/>
                  </a:moveTo>
                  <a:lnTo>
                    <a:pt x="1133598" y="270418"/>
                  </a:lnTo>
                  <a:lnTo>
                    <a:pt x="1091745" y="270418"/>
                  </a:lnTo>
                  <a:lnTo>
                    <a:pt x="1091745" y="82495"/>
                  </a:lnTo>
                  <a:lnTo>
                    <a:pt x="1131171" y="82495"/>
                  </a:lnTo>
                  <a:lnTo>
                    <a:pt x="1133603" y="122617"/>
                  </a:lnTo>
                  <a:close/>
                  <a:moveTo>
                    <a:pt x="1126132" y="169509"/>
                  </a:moveTo>
                  <a:lnTo>
                    <a:pt x="1112586" y="169334"/>
                  </a:lnTo>
                  <a:cubicBezTo>
                    <a:pt x="1112703" y="156016"/>
                    <a:pt x="1114556" y="143803"/>
                    <a:pt x="1118145" y="132690"/>
                  </a:cubicBezTo>
                  <a:cubicBezTo>
                    <a:pt x="1121852" y="121576"/>
                    <a:pt x="1126944" y="112023"/>
                    <a:pt x="1133428" y="104032"/>
                  </a:cubicBezTo>
                  <a:cubicBezTo>
                    <a:pt x="1140028" y="96046"/>
                    <a:pt x="1147902" y="89908"/>
                    <a:pt x="1157046" y="85623"/>
                  </a:cubicBezTo>
                  <a:cubicBezTo>
                    <a:pt x="1166195" y="81226"/>
                    <a:pt x="1176385" y="79022"/>
                    <a:pt x="1187615" y="79022"/>
                  </a:cubicBezTo>
                  <a:cubicBezTo>
                    <a:pt x="1196647" y="79022"/>
                    <a:pt x="1204809" y="80297"/>
                    <a:pt x="1212105" y="82840"/>
                  </a:cubicBezTo>
                  <a:cubicBezTo>
                    <a:pt x="1219517" y="85272"/>
                    <a:pt x="1225825" y="89265"/>
                    <a:pt x="1231034" y="94825"/>
                  </a:cubicBezTo>
                  <a:cubicBezTo>
                    <a:pt x="1236360" y="100384"/>
                    <a:pt x="1240412" y="107617"/>
                    <a:pt x="1243189" y="116532"/>
                  </a:cubicBezTo>
                  <a:cubicBezTo>
                    <a:pt x="1245966" y="125331"/>
                    <a:pt x="1247357" y="136157"/>
                    <a:pt x="1247357" y="149008"/>
                  </a:cubicBezTo>
                  <a:lnTo>
                    <a:pt x="1247357" y="270408"/>
                  </a:lnTo>
                  <a:lnTo>
                    <a:pt x="1205329" y="270408"/>
                  </a:lnTo>
                  <a:lnTo>
                    <a:pt x="1205329" y="148833"/>
                  </a:lnTo>
                  <a:cubicBezTo>
                    <a:pt x="1205329" y="139800"/>
                    <a:pt x="1203996" y="132680"/>
                    <a:pt x="1201336" y="127471"/>
                  </a:cubicBezTo>
                  <a:cubicBezTo>
                    <a:pt x="1198787" y="122145"/>
                    <a:pt x="1195028" y="118380"/>
                    <a:pt x="1190047" y="116182"/>
                  </a:cubicBezTo>
                  <a:cubicBezTo>
                    <a:pt x="1185183" y="113867"/>
                    <a:pt x="1179104" y="112709"/>
                    <a:pt x="1171813" y="112709"/>
                  </a:cubicBezTo>
                  <a:cubicBezTo>
                    <a:pt x="1164522" y="112709"/>
                    <a:pt x="1158209" y="114212"/>
                    <a:pt x="1152533" y="117223"/>
                  </a:cubicBezTo>
                  <a:cubicBezTo>
                    <a:pt x="1146861" y="120233"/>
                    <a:pt x="1142056" y="124343"/>
                    <a:pt x="1138116" y="129552"/>
                  </a:cubicBezTo>
                  <a:cubicBezTo>
                    <a:pt x="1134293" y="134762"/>
                    <a:pt x="1131341" y="140783"/>
                    <a:pt x="1129259" y="147617"/>
                  </a:cubicBezTo>
                  <a:cubicBezTo>
                    <a:pt x="1127178" y="154445"/>
                    <a:pt x="1126132" y="161741"/>
                    <a:pt x="1126132" y="169499"/>
                  </a:cubicBezTo>
                  <a:close/>
                  <a:moveTo>
                    <a:pt x="1346701" y="270418"/>
                  </a:moveTo>
                  <a:lnTo>
                    <a:pt x="1304843" y="270418"/>
                  </a:lnTo>
                  <a:lnTo>
                    <a:pt x="1304843" y="64436"/>
                  </a:lnTo>
                  <a:cubicBezTo>
                    <a:pt x="1304843" y="50428"/>
                    <a:pt x="1307450" y="38672"/>
                    <a:pt x="1312659" y="29178"/>
                  </a:cubicBezTo>
                  <a:cubicBezTo>
                    <a:pt x="1317985" y="19567"/>
                    <a:pt x="1325567" y="12330"/>
                    <a:pt x="1335412" y="7471"/>
                  </a:cubicBezTo>
                  <a:cubicBezTo>
                    <a:pt x="1345256" y="2490"/>
                    <a:pt x="1356890" y="0"/>
                    <a:pt x="1370319" y="0"/>
                  </a:cubicBezTo>
                  <a:cubicBezTo>
                    <a:pt x="1374488" y="0"/>
                    <a:pt x="1378597" y="292"/>
                    <a:pt x="1382649" y="871"/>
                  </a:cubicBezTo>
                  <a:cubicBezTo>
                    <a:pt x="1386701" y="1333"/>
                    <a:pt x="1390640" y="2087"/>
                    <a:pt x="1394458" y="3127"/>
                  </a:cubicBezTo>
                  <a:lnTo>
                    <a:pt x="1393418" y="35433"/>
                  </a:lnTo>
                  <a:cubicBezTo>
                    <a:pt x="1391102" y="34854"/>
                    <a:pt x="1388554" y="34450"/>
                    <a:pt x="1385776" y="34217"/>
                  </a:cubicBezTo>
                  <a:cubicBezTo>
                    <a:pt x="1383116" y="33983"/>
                    <a:pt x="1380217" y="33867"/>
                    <a:pt x="1377095" y="33867"/>
                  </a:cubicBezTo>
                  <a:cubicBezTo>
                    <a:pt x="1370728" y="33867"/>
                    <a:pt x="1365227" y="35083"/>
                    <a:pt x="1360596" y="37515"/>
                  </a:cubicBezTo>
                  <a:cubicBezTo>
                    <a:pt x="1356083" y="39830"/>
                    <a:pt x="1352605" y="43244"/>
                    <a:pt x="1350178" y="47763"/>
                  </a:cubicBezTo>
                  <a:cubicBezTo>
                    <a:pt x="1347863" y="52281"/>
                    <a:pt x="1346706" y="57836"/>
                    <a:pt x="1346706" y="64436"/>
                  </a:cubicBezTo>
                  <a:lnTo>
                    <a:pt x="1346706" y="270418"/>
                  </a:lnTo>
                  <a:close/>
                  <a:moveTo>
                    <a:pt x="1385431" y="82500"/>
                  </a:moveTo>
                  <a:lnTo>
                    <a:pt x="1385431" y="113069"/>
                  </a:lnTo>
                  <a:lnTo>
                    <a:pt x="1276015" y="113069"/>
                  </a:lnTo>
                  <a:lnTo>
                    <a:pt x="1276015" y="82500"/>
                  </a:lnTo>
                  <a:lnTo>
                    <a:pt x="1385431" y="82500"/>
                  </a:lnTo>
                  <a:close/>
                </a:path>
              </a:pathLst>
            </a:custGeom>
            <a:solidFill>
              <a:schemeClr val="tx1"/>
            </a:solidFill>
            <a:ln w="4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7" name="Полилиния: фигура 46">
              <a:extLst>
                <a:ext uri="{FF2B5EF4-FFF2-40B4-BE49-F238E27FC236}">
                  <a16:creationId xmlns:a16="http://schemas.microsoft.com/office/drawing/2014/main" id="{0E6F0FB0-99D0-4190-B058-29B8184B7C5F}"/>
                </a:ext>
              </a:extLst>
            </p:cNvPr>
            <p:cNvSpPr/>
            <p:nvPr/>
          </p:nvSpPr>
          <p:spPr>
            <a:xfrm>
              <a:off x="8902858" y="5892336"/>
              <a:ext cx="774600" cy="259834"/>
            </a:xfrm>
            <a:custGeom>
              <a:avLst/>
              <a:gdLst>
                <a:gd name="connsiteX0" fmla="*/ 174372 w 774600"/>
                <a:gd name="connsiteY0" fmla="*/ 223015 h 259834"/>
                <a:gd name="connsiteX1" fmla="*/ 174372 w 774600"/>
                <a:gd name="connsiteY1" fmla="*/ 256362 h 259834"/>
                <a:gd name="connsiteX2" fmla="*/ 4859 w 774600"/>
                <a:gd name="connsiteY2" fmla="*/ 256362 h 259834"/>
                <a:gd name="connsiteX3" fmla="*/ 4859 w 774600"/>
                <a:gd name="connsiteY3" fmla="*/ 227704 h 259834"/>
                <a:gd name="connsiteX4" fmla="*/ 87193 w 774600"/>
                <a:gd name="connsiteY4" fmla="*/ 137913 h 259834"/>
                <a:gd name="connsiteX5" fmla="*/ 108541 w 774600"/>
                <a:gd name="connsiteY5" fmla="*/ 111513 h 259834"/>
                <a:gd name="connsiteX6" fmla="*/ 119499 w 774600"/>
                <a:gd name="connsiteY6" fmla="*/ 91542 h 259834"/>
                <a:gd name="connsiteX7" fmla="*/ 122797 w 774600"/>
                <a:gd name="connsiteY7" fmla="*/ 73998 h 259834"/>
                <a:gd name="connsiteX8" fmla="*/ 118278 w 774600"/>
                <a:gd name="connsiteY8" fmla="*/ 52981 h 259834"/>
                <a:gd name="connsiteX9" fmla="*/ 105413 w 774600"/>
                <a:gd name="connsiteY9" fmla="*/ 38565 h 259834"/>
                <a:gd name="connsiteX10" fmla="*/ 84752 w 774600"/>
                <a:gd name="connsiteY10" fmla="*/ 33181 h 259834"/>
                <a:gd name="connsiteX11" fmla="*/ 61138 w 774600"/>
                <a:gd name="connsiteY11" fmla="*/ 39261 h 259834"/>
                <a:gd name="connsiteX12" fmla="*/ 46712 w 774600"/>
                <a:gd name="connsiteY12" fmla="*/ 56109 h 259834"/>
                <a:gd name="connsiteX13" fmla="*/ 41853 w 774600"/>
                <a:gd name="connsiteY13" fmla="*/ 80423 h 259834"/>
                <a:gd name="connsiteX14" fmla="*/ 0 w 774600"/>
                <a:gd name="connsiteY14" fmla="*/ 80423 h 259834"/>
                <a:gd name="connsiteX15" fmla="*/ 10083 w 774600"/>
                <a:gd name="connsiteY15" fmla="*/ 40131 h 259834"/>
                <a:gd name="connsiteX16" fmla="*/ 39261 w 774600"/>
                <a:gd name="connsiteY16" fmla="*/ 10953 h 259834"/>
                <a:gd name="connsiteX17" fmla="*/ 85272 w 774600"/>
                <a:gd name="connsiteY17" fmla="*/ 10 h 259834"/>
                <a:gd name="connsiteX18" fmla="*/ 128346 w 774600"/>
                <a:gd name="connsiteY18" fmla="*/ 8521 h 259834"/>
                <a:gd name="connsiteX19" fmla="*/ 155277 w 774600"/>
                <a:gd name="connsiteY19" fmla="*/ 32660 h 259834"/>
                <a:gd name="connsiteX20" fmla="*/ 164654 w 774600"/>
                <a:gd name="connsiteY20" fmla="*/ 69655 h 259834"/>
                <a:gd name="connsiteX21" fmla="*/ 160827 w 774600"/>
                <a:gd name="connsiteY21" fmla="*/ 93103 h 259834"/>
                <a:gd name="connsiteX22" fmla="*/ 149888 w 774600"/>
                <a:gd name="connsiteY22" fmla="*/ 116376 h 259834"/>
                <a:gd name="connsiteX23" fmla="*/ 133400 w 774600"/>
                <a:gd name="connsiteY23" fmla="*/ 139475 h 259834"/>
                <a:gd name="connsiteX24" fmla="*/ 112378 w 774600"/>
                <a:gd name="connsiteY24" fmla="*/ 162748 h 259834"/>
                <a:gd name="connsiteX25" fmla="*/ 57675 w 774600"/>
                <a:gd name="connsiteY25" fmla="*/ 223015 h 259834"/>
                <a:gd name="connsiteX26" fmla="*/ 174377 w 774600"/>
                <a:gd name="connsiteY26" fmla="*/ 223015 h 259834"/>
                <a:gd name="connsiteX27" fmla="*/ 371848 w 774600"/>
                <a:gd name="connsiteY27" fmla="*/ 108735 h 259834"/>
                <a:gd name="connsiteX28" fmla="*/ 371848 w 774600"/>
                <a:gd name="connsiteY28" fmla="*/ 150068 h 259834"/>
                <a:gd name="connsiteX29" fmla="*/ 365938 w 774600"/>
                <a:gd name="connsiteY29" fmla="*/ 200783 h 259834"/>
                <a:gd name="connsiteX30" fmla="*/ 349260 w 774600"/>
                <a:gd name="connsiteY30" fmla="*/ 234650 h 259834"/>
                <a:gd name="connsiteX31" fmla="*/ 323035 w 774600"/>
                <a:gd name="connsiteY31" fmla="*/ 253755 h 259834"/>
                <a:gd name="connsiteX32" fmla="*/ 289168 w 774600"/>
                <a:gd name="connsiteY32" fmla="*/ 259834 h 259834"/>
                <a:gd name="connsiteX33" fmla="*/ 261381 w 774600"/>
                <a:gd name="connsiteY33" fmla="*/ 256011 h 259834"/>
                <a:gd name="connsiteX34" fmla="*/ 238468 w 774600"/>
                <a:gd name="connsiteY34" fmla="*/ 244027 h 259834"/>
                <a:gd name="connsiteX35" fmla="*/ 220914 w 774600"/>
                <a:gd name="connsiteY35" fmla="*/ 223011 h 259834"/>
                <a:gd name="connsiteX36" fmla="*/ 209800 w 774600"/>
                <a:gd name="connsiteY36" fmla="*/ 191921 h 259834"/>
                <a:gd name="connsiteX37" fmla="*/ 205972 w 774600"/>
                <a:gd name="connsiteY37" fmla="*/ 150063 h 259834"/>
                <a:gd name="connsiteX38" fmla="*/ 205972 w 774600"/>
                <a:gd name="connsiteY38" fmla="*/ 108730 h 259834"/>
                <a:gd name="connsiteX39" fmla="*/ 211882 w 774600"/>
                <a:gd name="connsiteY39" fmla="*/ 58366 h 259834"/>
                <a:gd name="connsiteX40" fmla="*/ 228730 w 774600"/>
                <a:gd name="connsiteY40" fmla="*/ 24844 h 259834"/>
                <a:gd name="connsiteX41" fmla="*/ 254786 w 774600"/>
                <a:gd name="connsiteY41" fmla="*/ 5914 h 259834"/>
                <a:gd name="connsiteX42" fmla="*/ 288827 w 774600"/>
                <a:gd name="connsiteY42" fmla="*/ 10 h 259834"/>
                <a:gd name="connsiteX43" fmla="*/ 316614 w 774600"/>
                <a:gd name="connsiteY43" fmla="*/ 3833 h 259834"/>
                <a:gd name="connsiteX44" fmla="*/ 339542 w 774600"/>
                <a:gd name="connsiteY44" fmla="*/ 15467 h 259834"/>
                <a:gd name="connsiteX45" fmla="*/ 356906 w 774600"/>
                <a:gd name="connsiteY45" fmla="*/ 36308 h 259834"/>
                <a:gd name="connsiteX46" fmla="*/ 368020 w 774600"/>
                <a:gd name="connsiteY46" fmla="*/ 67048 h 259834"/>
                <a:gd name="connsiteX47" fmla="*/ 371848 w 774600"/>
                <a:gd name="connsiteY47" fmla="*/ 108730 h 259834"/>
                <a:gd name="connsiteX48" fmla="*/ 329995 w 774600"/>
                <a:gd name="connsiteY48" fmla="*/ 155978 h 259834"/>
                <a:gd name="connsiteX49" fmla="*/ 329995 w 774600"/>
                <a:gd name="connsiteY49" fmla="*/ 102485 h 259834"/>
                <a:gd name="connsiteX50" fmla="*/ 328258 w 774600"/>
                <a:gd name="connsiteY50" fmla="*/ 75914 h 259834"/>
                <a:gd name="connsiteX51" fmla="*/ 323039 w 774600"/>
                <a:gd name="connsiteY51" fmla="*/ 56289 h 259834"/>
                <a:gd name="connsiteX52" fmla="*/ 314708 w 774600"/>
                <a:gd name="connsiteY52" fmla="*/ 43088 h 259834"/>
                <a:gd name="connsiteX53" fmla="*/ 303234 w 774600"/>
                <a:gd name="connsiteY53" fmla="*/ 35623 h 259834"/>
                <a:gd name="connsiteX54" fmla="*/ 288823 w 774600"/>
                <a:gd name="connsiteY54" fmla="*/ 33191 h 259834"/>
                <a:gd name="connsiteX55" fmla="*/ 271459 w 774600"/>
                <a:gd name="connsiteY55" fmla="*/ 37014 h 259834"/>
                <a:gd name="connsiteX56" fmla="*/ 258613 w 774600"/>
                <a:gd name="connsiteY56" fmla="*/ 48823 h 259834"/>
                <a:gd name="connsiteX57" fmla="*/ 250608 w 774600"/>
                <a:gd name="connsiteY57" fmla="*/ 70360 h 259834"/>
                <a:gd name="connsiteX58" fmla="*/ 248015 w 774600"/>
                <a:gd name="connsiteY58" fmla="*/ 102490 h 259834"/>
                <a:gd name="connsiteX59" fmla="*/ 248015 w 774600"/>
                <a:gd name="connsiteY59" fmla="*/ 155982 h 259834"/>
                <a:gd name="connsiteX60" fmla="*/ 249752 w 774600"/>
                <a:gd name="connsiteY60" fmla="*/ 182904 h 259834"/>
                <a:gd name="connsiteX61" fmla="*/ 254956 w 774600"/>
                <a:gd name="connsiteY61" fmla="*/ 202874 h 259834"/>
                <a:gd name="connsiteX62" fmla="*/ 263302 w 774600"/>
                <a:gd name="connsiteY62" fmla="*/ 216420 h 259834"/>
                <a:gd name="connsiteX63" fmla="*/ 274756 w 774600"/>
                <a:gd name="connsiteY63" fmla="*/ 224061 h 259834"/>
                <a:gd name="connsiteX64" fmla="*/ 289168 w 774600"/>
                <a:gd name="connsiteY64" fmla="*/ 226493 h 259834"/>
                <a:gd name="connsiteX65" fmla="*/ 306721 w 774600"/>
                <a:gd name="connsiteY65" fmla="*/ 222670 h 259834"/>
                <a:gd name="connsiteX66" fmla="*/ 319567 w 774600"/>
                <a:gd name="connsiteY66" fmla="*/ 210511 h 259834"/>
                <a:gd name="connsiteX67" fmla="*/ 327383 w 774600"/>
                <a:gd name="connsiteY67" fmla="*/ 188453 h 259834"/>
                <a:gd name="connsiteX68" fmla="*/ 329995 w 774600"/>
                <a:gd name="connsiteY68" fmla="*/ 155978 h 259834"/>
                <a:gd name="connsiteX69" fmla="*/ 578701 w 774600"/>
                <a:gd name="connsiteY69" fmla="*/ 223015 h 259834"/>
                <a:gd name="connsiteX70" fmla="*/ 578701 w 774600"/>
                <a:gd name="connsiteY70" fmla="*/ 256362 h 259834"/>
                <a:gd name="connsiteX71" fmla="*/ 409187 w 774600"/>
                <a:gd name="connsiteY71" fmla="*/ 256362 h 259834"/>
                <a:gd name="connsiteX72" fmla="*/ 409187 w 774600"/>
                <a:gd name="connsiteY72" fmla="*/ 227704 h 259834"/>
                <a:gd name="connsiteX73" fmla="*/ 491507 w 774600"/>
                <a:gd name="connsiteY73" fmla="*/ 137913 h 259834"/>
                <a:gd name="connsiteX74" fmla="*/ 512874 w 774600"/>
                <a:gd name="connsiteY74" fmla="*/ 111513 h 259834"/>
                <a:gd name="connsiteX75" fmla="*/ 523813 w 774600"/>
                <a:gd name="connsiteY75" fmla="*/ 91542 h 259834"/>
                <a:gd name="connsiteX76" fmla="*/ 527110 w 774600"/>
                <a:gd name="connsiteY76" fmla="*/ 73998 h 259834"/>
                <a:gd name="connsiteX77" fmla="*/ 522592 w 774600"/>
                <a:gd name="connsiteY77" fmla="*/ 52981 h 259834"/>
                <a:gd name="connsiteX78" fmla="*/ 509746 w 774600"/>
                <a:gd name="connsiteY78" fmla="*/ 38565 h 259834"/>
                <a:gd name="connsiteX79" fmla="*/ 489085 w 774600"/>
                <a:gd name="connsiteY79" fmla="*/ 33181 h 259834"/>
                <a:gd name="connsiteX80" fmla="*/ 465452 w 774600"/>
                <a:gd name="connsiteY80" fmla="*/ 39261 h 259834"/>
                <a:gd name="connsiteX81" fmla="*/ 451040 w 774600"/>
                <a:gd name="connsiteY81" fmla="*/ 56109 h 259834"/>
                <a:gd name="connsiteX82" fmla="*/ 446181 w 774600"/>
                <a:gd name="connsiteY82" fmla="*/ 80423 h 259834"/>
                <a:gd name="connsiteX83" fmla="*/ 404328 w 774600"/>
                <a:gd name="connsiteY83" fmla="*/ 80423 h 259834"/>
                <a:gd name="connsiteX84" fmla="*/ 414391 w 774600"/>
                <a:gd name="connsiteY84" fmla="*/ 40131 h 259834"/>
                <a:gd name="connsiteX85" fmla="*/ 443569 w 774600"/>
                <a:gd name="connsiteY85" fmla="*/ 10953 h 259834"/>
                <a:gd name="connsiteX86" fmla="*/ 489596 w 774600"/>
                <a:gd name="connsiteY86" fmla="*/ 10 h 259834"/>
                <a:gd name="connsiteX87" fmla="*/ 532670 w 774600"/>
                <a:gd name="connsiteY87" fmla="*/ 8521 h 259834"/>
                <a:gd name="connsiteX88" fmla="*/ 559581 w 774600"/>
                <a:gd name="connsiteY88" fmla="*/ 32660 h 259834"/>
                <a:gd name="connsiteX89" fmla="*/ 568958 w 774600"/>
                <a:gd name="connsiteY89" fmla="*/ 69655 h 259834"/>
                <a:gd name="connsiteX90" fmla="*/ 565145 w 774600"/>
                <a:gd name="connsiteY90" fmla="*/ 93103 h 259834"/>
                <a:gd name="connsiteX91" fmla="*/ 554207 w 774600"/>
                <a:gd name="connsiteY91" fmla="*/ 116376 h 259834"/>
                <a:gd name="connsiteX92" fmla="*/ 537704 w 774600"/>
                <a:gd name="connsiteY92" fmla="*/ 139475 h 259834"/>
                <a:gd name="connsiteX93" fmla="*/ 516697 w 774600"/>
                <a:gd name="connsiteY93" fmla="*/ 162748 h 259834"/>
                <a:gd name="connsiteX94" fmla="*/ 461979 w 774600"/>
                <a:gd name="connsiteY94" fmla="*/ 223015 h 259834"/>
                <a:gd name="connsiteX95" fmla="*/ 578701 w 774600"/>
                <a:gd name="connsiteY95" fmla="*/ 223015 h 259834"/>
                <a:gd name="connsiteX96" fmla="*/ 660505 w 774600"/>
                <a:gd name="connsiteY96" fmla="*/ 110992 h 259834"/>
                <a:gd name="connsiteX97" fmla="*/ 685510 w 774600"/>
                <a:gd name="connsiteY97" fmla="*/ 110992 h 259834"/>
                <a:gd name="connsiteX98" fmla="*/ 709639 w 774600"/>
                <a:gd name="connsiteY98" fmla="*/ 105953 h 259834"/>
                <a:gd name="connsiteX99" fmla="*/ 724065 w 774600"/>
                <a:gd name="connsiteY99" fmla="*/ 92057 h 259834"/>
                <a:gd name="connsiteX100" fmla="*/ 728754 w 774600"/>
                <a:gd name="connsiteY100" fmla="*/ 71736 h 259834"/>
                <a:gd name="connsiteX101" fmla="*/ 724411 w 774600"/>
                <a:gd name="connsiteY101" fmla="*/ 51240 h 259834"/>
                <a:gd name="connsiteX102" fmla="*/ 711565 w 774600"/>
                <a:gd name="connsiteY102" fmla="*/ 37865 h 259834"/>
                <a:gd name="connsiteX103" fmla="*/ 689858 w 774600"/>
                <a:gd name="connsiteY103" fmla="*/ 33176 h 259834"/>
                <a:gd name="connsiteX104" fmla="*/ 669712 w 774600"/>
                <a:gd name="connsiteY104" fmla="*/ 37690 h 259834"/>
                <a:gd name="connsiteX105" fmla="*/ 655626 w 774600"/>
                <a:gd name="connsiteY105" fmla="*/ 50195 h 259834"/>
                <a:gd name="connsiteX106" fmla="*/ 650422 w 774600"/>
                <a:gd name="connsiteY106" fmla="*/ 69300 h 259834"/>
                <a:gd name="connsiteX107" fmla="*/ 608394 w 774600"/>
                <a:gd name="connsiteY107" fmla="*/ 69300 h 259834"/>
                <a:gd name="connsiteX108" fmla="*/ 618992 w 774600"/>
                <a:gd name="connsiteY108" fmla="*/ 33521 h 259834"/>
                <a:gd name="connsiteX109" fmla="*/ 647810 w 774600"/>
                <a:gd name="connsiteY109" fmla="*/ 9032 h 259834"/>
                <a:gd name="connsiteX110" fmla="*/ 689148 w 774600"/>
                <a:gd name="connsiteY110" fmla="*/ 0 h 259834"/>
                <a:gd name="connsiteX111" fmla="*/ 731876 w 774600"/>
                <a:gd name="connsiteY111" fmla="*/ 8161 h 259834"/>
                <a:gd name="connsiteX112" fmla="*/ 760524 w 774600"/>
                <a:gd name="connsiteY112" fmla="*/ 32130 h 259834"/>
                <a:gd name="connsiteX113" fmla="*/ 770777 w 774600"/>
                <a:gd name="connsiteY113" fmla="*/ 71731 h 259834"/>
                <a:gd name="connsiteX114" fmla="*/ 765743 w 774600"/>
                <a:gd name="connsiteY114" fmla="*/ 93614 h 259834"/>
                <a:gd name="connsiteX115" fmla="*/ 750802 w 774600"/>
                <a:gd name="connsiteY115" fmla="*/ 113935 h 259834"/>
                <a:gd name="connsiteX116" fmla="*/ 726137 w 774600"/>
                <a:gd name="connsiteY116" fmla="*/ 128696 h 259834"/>
                <a:gd name="connsiteX117" fmla="*/ 691925 w 774600"/>
                <a:gd name="connsiteY117" fmla="*/ 134256 h 259834"/>
                <a:gd name="connsiteX118" fmla="*/ 660495 w 774600"/>
                <a:gd name="connsiteY118" fmla="*/ 134256 h 259834"/>
                <a:gd name="connsiteX119" fmla="*/ 660495 w 774600"/>
                <a:gd name="connsiteY119" fmla="*/ 110982 h 259834"/>
                <a:gd name="connsiteX120" fmla="*/ 660505 w 774600"/>
                <a:gd name="connsiteY120" fmla="*/ 143643 h 259834"/>
                <a:gd name="connsiteX121" fmla="*/ 660505 w 774600"/>
                <a:gd name="connsiteY121" fmla="*/ 120715 h 259834"/>
                <a:gd name="connsiteX122" fmla="*/ 691935 w 774600"/>
                <a:gd name="connsiteY122" fmla="*/ 120715 h 259834"/>
                <a:gd name="connsiteX123" fmla="*/ 729790 w 774600"/>
                <a:gd name="connsiteY123" fmla="*/ 125924 h 259834"/>
                <a:gd name="connsiteX124" fmla="*/ 755500 w 774600"/>
                <a:gd name="connsiteY124" fmla="*/ 140340 h 259834"/>
                <a:gd name="connsiteX125" fmla="*/ 769911 w 774600"/>
                <a:gd name="connsiteY125" fmla="*/ 161007 h 259834"/>
                <a:gd name="connsiteX126" fmla="*/ 774600 w 774600"/>
                <a:gd name="connsiteY126" fmla="*/ 185671 h 259834"/>
                <a:gd name="connsiteX127" fmla="*/ 768175 w 774600"/>
                <a:gd name="connsiteY127" fmla="*/ 217281 h 259834"/>
                <a:gd name="connsiteX128" fmla="*/ 750296 w 774600"/>
                <a:gd name="connsiteY128" fmla="*/ 240554 h 259834"/>
                <a:gd name="connsiteX129" fmla="*/ 723024 w 774600"/>
                <a:gd name="connsiteY129" fmla="*/ 254971 h 259834"/>
                <a:gd name="connsiteX130" fmla="*/ 689328 w 774600"/>
                <a:gd name="connsiteY130" fmla="*/ 259834 h 259834"/>
                <a:gd name="connsiteX131" fmla="*/ 658068 w 774600"/>
                <a:gd name="connsiteY131" fmla="*/ 255316 h 259834"/>
                <a:gd name="connsiteX132" fmla="*/ 631327 w 774600"/>
                <a:gd name="connsiteY132" fmla="*/ 241945 h 259834"/>
                <a:gd name="connsiteX133" fmla="*/ 612572 w 774600"/>
                <a:gd name="connsiteY133" fmla="*/ 219543 h 259834"/>
                <a:gd name="connsiteX134" fmla="*/ 605787 w 774600"/>
                <a:gd name="connsiteY134" fmla="*/ 188283 h 259834"/>
                <a:gd name="connsiteX135" fmla="*/ 647640 w 774600"/>
                <a:gd name="connsiteY135" fmla="*/ 188283 h 259834"/>
                <a:gd name="connsiteX136" fmla="*/ 652859 w 774600"/>
                <a:gd name="connsiteY136" fmla="*/ 208254 h 259834"/>
                <a:gd name="connsiteX137" fmla="*/ 667786 w 774600"/>
                <a:gd name="connsiteY137" fmla="*/ 221624 h 259834"/>
                <a:gd name="connsiteX138" fmla="*/ 690028 w 774600"/>
                <a:gd name="connsiteY138" fmla="*/ 226488 h 259834"/>
                <a:gd name="connsiteX139" fmla="*/ 712767 w 774600"/>
                <a:gd name="connsiteY139" fmla="*/ 221799 h 259834"/>
                <a:gd name="connsiteX140" fmla="*/ 727363 w 774600"/>
                <a:gd name="connsiteY140" fmla="*/ 207904 h 259834"/>
                <a:gd name="connsiteX141" fmla="*/ 732567 w 774600"/>
                <a:gd name="connsiteY141" fmla="*/ 185671 h 259834"/>
                <a:gd name="connsiteX142" fmla="*/ 726847 w 774600"/>
                <a:gd name="connsiteY142" fmla="*/ 161702 h 259834"/>
                <a:gd name="connsiteX143" fmla="*/ 710515 w 774600"/>
                <a:gd name="connsiteY143" fmla="*/ 148157 h 259834"/>
                <a:gd name="connsiteX144" fmla="*/ 685510 w 774600"/>
                <a:gd name="connsiteY144" fmla="*/ 143643 h 259834"/>
                <a:gd name="connsiteX145" fmla="*/ 660505 w 774600"/>
                <a:gd name="connsiteY145" fmla="*/ 143643 h 2598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</a:cxnLst>
              <a:rect l="l" t="t" r="r" b="b"/>
              <a:pathLst>
                <a:path w="774600" h="259834">
                  <a:moveTo>
                    <a:pt x="174372" y="223015"/>
                  </a:moveTo>
                  <a:lnTo>
                    <a:pt x="174372" y="256362"/>
                  </a:lnTo>
                  <a:lnTo>
                    <a:pt x="4859" y="256362"/>
                  </a:lnTo>
                  <a:lnTo>
                    <a:pt x="4859" y="227704"/>
                  </a:lnTo>
                  <a:lnTo>
                    <a:pt x="87193" y="137913"/>
                  </a:lnTo>
                  <a:cubicBezTo>
                    <a:pt x="96211" y="127724"/>
                    <a:pt x="103336" y="118925"/>
                    <a:pt x="108541" y="111513"/>
                  </a:cubicBezTo>
                  <a:cubicBezTo>
                    <a:pt x="113760" y="104100"/>
                    <a:pt x="117403" y="97446"/>
                    <a:pt x="119499" y="91542"/>
                  </a:cubicBezTo>
                  <a:cubicBezTo>
                    <a:pt x="121697" y="85520"/>
                    <a:pt x="122797" y="79674"/>
                    <a:pt x="122797" y="73998"/>
                  </a:cubicBezTo>
                  <a:cubicBezTo>
                    <a:pt x="122797" y="66012"/>
                    <a:pt x="121284" y="59003"/>
                    <a:pt x="118278" y="52981"/>
                  </a:cubicBezTo>
                  <a:cubicBezTo>
                    <a:pt x="115374" y="46843"/>
                    <a:pt x="111099" y="42038"/>
                    <a:pt x="105413" y="38565"/>
                  </a:cubicBezTo>
                  <a:cubicBezTo>
                    <a:pt x="99747" y="34976"/>
                    <a:pt x="92860" y="33181"/>
                    <a:pt x="84752" y="33181"/>
                  </a:cubicBezTo>
                  <a:cubicBezTo>
                    <a:pt x="75374" y="33181"/>
                    <a:pt x="67510" y="35209"/>
                    <a:pt x="61138" y="39261"/>
                  </a:cubicBezTo>
                  <a:cubicBezTo>
                    <a:pt x="54766" y="43312"/>
                    <a:pt x="49956" y="48930"/>
                    <a:pt x="46712" y="56109"/>
                  </a:cubicBezTo>
                  <a:cubicBezTo>
                    <a:pt x="43482" y="63171"/>
                    <a:pt x="41853" y="71279"/>
                    <a:pt x="41853" y="80423"/>
                  </a:cubicBezTo>
                  <a:lnTo>
                    <a:pt x="0" y="80423"/>
                  </a:lnTo>
                  <a:cubicBezTo>
                    <a:pt x="0" y="65720"/>
                    <a:pt x="3366" y="52286"/>
                    <a:pt x="10083" y="40131"/>
                  </a:cubicBezTo>
                  <a:cubicBezTo>
                    <a:pt x="16800" y="27860"/>
                    <a:pt x="26517" y="18132"/>
                    <a:pt x="39261" y="10953"/>
                  </a:cubicBezTo>
                  <a:cubicBezTo>
                    <a:pt x="51989" y="3658"/>
                    <a:pt x="67325" y="10"/>
                    <a:pt x="85272" y="10"/>
                  </a:cubicBezTo>
                  <a:cubicBezTo>
                    <a:pt x="102189" y="10"/>
                    <a:pt x="116546" y="2845"/>
                    <a:pt x="128346" y="8521"/>
                  </a:cubicBezTo>
                  <a:cubicBezTo>
                    <a:pt x="140160" y="14193"/>
                    <a:pt x="149129" y="22242"/>
                    <a:pt x="155277" y="32660"/>
                  </a:cubicBezTo>
                  <a:cubicBezTo>
                    <a:pt x="161527" y="43079"/>
                    <a:pt x="164654" y="55413"/>
                    <a:pt x="164654" y="69655"/>
                  </a:cubicBezTo>
                  <a:cubicBezTo>
                    <a:pt x="164654" y="77529"/>
                    <a:pt x="163385" y="85345"/>
                    <a:pt x="160827" y="93103"/>
                  </a:cubicBezTo>
                  <a:cubicBezTo>
                    <a:pt x="158283" y="100861"/>
                    <a:pt x="154645" y="108619"/>
                    <a:pt x="149888" y="116376"/>
                  </a:cubicBezTo>
                  <a:cubicBezTo>
                    <a:pt x="145267" y="124017"/>
                    <a:pt x="139757" y="131717"/>
                    <a:pt x="133400" y="139475"/>
                  </a:cubicBezTo>
                  <a:cubicBezTo>
                    <a:pt x="127028" y="147116"/>
                    <a:pt x="120019" y="154873"/>
                    <a:pt x="112378" y="162748"/>
                  </a:cubicBezTo>
                  <a:lnTo>
                    <a:pt x="57675" y="223015"/>
                  </a:lnTo>
                  <a:lnTo>
                    <a:pt x="174377" y="223015"/>
                  </a:lnTo>
                  <a:close/>
                  <a:moveTo>
                    <a:pt x="371848" y="108735"/>
                  </a:moveTo>
                  <a:lnTo>
                    <a:pt x="371848" y="150068"/>
                  </a:lnTo>
                  <a:cubicBezTo>
                    <a:pt x="371848" y="169869"/>
                    <a:pt x="369873" y="186770"/>
                    <a:pt x="365938" y="200783"/>
                  </a:cubicBezTo>
                  <a:cubicBezTo>
                    <a:pt x="362125" y="214674"/>
                    <a:pt x="356561" y="225963"/>
                    <a:pt x="349260" y="234650"/>
                  </a:cubicBezTo>
                  <a:cubicBezTo>
                    <a:pt x="341960" y="243332"/>
                    <a:pt x="333219" y="249703"/>
                    <a:pt x="323035" y="253755"/>
                  </a:cubicBezTo>
                  <a:cubicBezTo>
                    <a:pt x="312971" y="257806"/>
                    <a:pt x="301668" y="259834"/>
                    <a:pt x="289168" y="259834"/>
                  </a:cubicBezTo>
                  <a:cubicBezTo>
                    <a:pt x="279221" y="259834"/>
                    <a:pt x="269951" y="258560"/>
                    <a:pt x="261381" y="256011"/>
                  </a:cubicBezTo>
                  <a:cubicBezTo>
                    <a:pt x="252933" y="253463"/>
                    <a:pt x="245287" y="249470"/>
                    <a:pt x="238468" y="244027"/>
                  </a:cubicBezTo>
                  <a:cubicBezTo>
                    <a:pt x="231634" y="238584"/>
                    <a:pt x="225773" y="231581"/>
                    <a:pt x="220914" y="223011"/>
                  </a:cubicBezTo>
                  <a:cubicBezTo>
                    <a:pt x="216172" y="214329"/>
                    <a:pt x="212466" y="203964"/>
                    <a:pt x="209800" y="191921"/>
                  </a:cubicBezTo>
                  <a:cubicBezTo>
                    <a:pt x="207256" y="179878"/>
                    <a:pt x="205972" y="165929"/>
                    <a:pt x="205972" y="150063"/>
                  </a:cubicBezTo>
                  <a:lnTo>
                    <a:pt x="205972" y="108730"/>
                  </a:lnTo>
                  <a:cubicBezTo>
                    <a:pt x="205972" y="88813"/>
                    <a:pt x="207947" y="72028"/>
                    <a:pt x="211882" y="58366"/>
                  </a:cubicBezTo>
                  <a:cubicBezTo>
                    <a:pt x="215831" y="44587"/>
                    <a:pt x="221430" y="33414"/>
                    <a:pt x="228730" y="24844"/>
                  </a:cubicBezTo>
                  <a:cubicBezTo>
                    <a:pt x="236031" y="16162"/>
                    <a:pt x="244722" y="9849"/>
                    <a:pt x="254786" y="5914"/>
                  </a:cubicBezTo>
                  <a:cubicBezTo>
                    <a:pt x="264970" y="1980"/>
                    <a:pt x="276323" y="10"/>
                    <a:pt x="288827" y="10"/>
                  </a:cubicBezTo>
                  <a:cubicBezTo>
                    <a:pt x="298910" y="10"/>
                    <a:pt x="308166" y="1284"/>
                    <a:pt x="316614" y="3833"/>
                  </a:cubicBezTo>
                  <a:cubicBezTo>
                    <a:pt x="325184" y="6265"/>
                    <a:pt x="332825" y="10141"/>
                    <a:pt x="339542" y="15467"/>
                  </a:cubicBezTo>
                  <a:cubicBezTo>
                    <a:pt x="346376" y="20793"/>
                    <a:pt x="352164" y="27743"/>
                    <a:pt x="356906" y="36308"/>
                  </a:cubicBezTo>
                  <a:cubicBezTo>
                    <a:pt x="361765" y="44762"/>
                    <a:pt x="365476" y="55010"/>
                    <a:pt x="368020" y="67048"/>
                  </a:cubicBezTo>
                  <a:cubicBezTo>
                    <a:pt x="370578" y="78974"/>
                    <a:pt x="371848" y="92870"/>
                    <a:pt x="371848" y="108730"/>
                  </a:cubicBezTo>
                  <a:close/>
                  <a:moveTo>
                    <a:pt x="329995" y="155978"/>
                  </a:moveTo>
                  <a:lnTo>
                    <a:pt x="329995" y="102485"/>
                  </a:lnTo>
                  <a:cubicBezTo>
                    <a:pt x="329995" y="92412"/>
                    <a:pt x="329411" y="83555"/>
                    <a:pt x="328258" y="75914"/>
                  </a:cubicBezTo>
                  <a:cubicBezTo>
                    <a:pt x="327091" y="68157"/>
                    <a:pt x="325355" y="61615"/>
                    <a:pt x="323039" y="56289"/>
                  </a:cubicBezTo>
                  <a:cubicBezTo>
                    <a:pt x="320841" y="50846"/>
                    <a:pt x="318059" y="46445"/>
                    <a:pt x="314708" y="43088"/>
                  </a:cubicBezTo>
                  <a:cubicBezTo>
                    <a:pt x="311342" y="39616"/>
                    <a:pt x="307529" y="37125"/>
                    <a:pt x="303234" y="35623"/>
                  </a:cubicBezTo>
                  <a:cubicBezTo>
                    <a:pt x="298959" y="34003"/>
                    <a:pt x="294148" y="33191"/>
                    <a:pt x="288823" y="33191"/>
                  </a:cubicBezTo>
                  <a:cubicBezTo>
                    <a:pt x="282349" y="33191"/>
                    <a:pt x="276542" y="34465"/>
                    <a:pt x="271459" y="37014"/>
                  </a:cubicBezTo>
                  <a:cubicBezTo>
                    <a:pt x="266357" y="39445"/>
                    <a:pt x="262081" y="43380"/>
                    <a:pt x="258613" y="48823"/>
                  </a:cubicBezTo>
                  <a:cubicBezTo>
                    <a:pt x="255126" y="54266"/>
                    <a:pt x="252466" y="61445"/>
                    <a:pt x="250608" y="70360"/>
                  </a:cubicBezTo>
                  <a:cubicBezTo>
                    <a:pt x="248871" y="79159"/>
                    <a:pt x="248015" y="89869"/>
                    <a:pt x="248015" y="102490"/>
                  </a:cubicBezTo>
                  <a:lnTo>
                    <a:pt x="248015" y="155982"/>
                  </a:lnTo>
                  <a:cubicBezTo>
                    <a:pt x="248015" y="166172"/>
                    <a:pt x="248584" y="175146"/>
                    <a:pt x="249752" y="182904"/>
                  </a:cubicBezTo>
                  <a:cubicBezTo>
                    <a:pt x="250904" y="190661"/>
                    <a:pt x="252636" y="197320"/>
                    <a:pt x="254956" y="202874"/>
                  </a:cubicBezTo>
                  <a:cubicBezTo>
                    <a:pt x="257276" y="208317"/>
                    <a:pt x="260058" y="212831"/>
                    <a:pt x="263302" y="216420"/>
                  </a:cubicBezTo>
                  <a:cubicBezTo>
                    <a:pt x="266653" y="219893"/>
                    <a:pt x="270481" y="222441"/>
                    <a:pt x="274756" y="224061"/>
                  </a:cubicBezTo>
                  <a:cubicBezTo>
                    <a:pt x="279153" y="225681"/>
                    <a:pt x="283964" y="226493"/>
                    <a:pt x="289168" y="226493"/>
                  </a:cubicBezTo>
                  <a:cubicBezTo>
                    <a:pt x="295778" y="226493"/>
                    <a:pt x="301619" y="225219"/>
                    <a:pt x="306721" y="222670"/>
                  </a:cubicBezTo>
                  <a:cubicBezTo>
                    <a:pt x="311804" y="220121"/>
                    <a:pt x="316099" y="216070"/>
                    <a:pt x="319567" y="210511"/>
                  </a:cubicBezTo>
                  <a:cubicBezTo>
                    <a:pt x="323035" y="204839"/>
                    <a:pt x="325646" y="197485"/>
                    <a:pt x="327383" y="188453"/>
                  </a:cubicBezTo>
                  <a:cubicBezTo>
                    <a:pt x="329119" y="179421"/>
                    <a:pt x="329995" y="168594"/>
                    <a:pt x="329995" y="155978"/>
                  </a:cubicBezTo>
                  <a:close/>
                  <a:moveTo>
                    <a:pt x="578701" y="223015"/>
                  </a:moveTo>
                  <a:lnTo>
                    <a:pt x="578701" y="256362"/>
                  </a:lnTo>
                  <a:lnTo>
                    <a:pt x="409187" y="256362"/>
                  </a:lnTo>
                  <a:lnTo>
                    <a:pt x="409187" y="227704"/>
                  </a:lnTo>
                  <a:lnTo>
                    <a:pt x="491507" y="137913"/>
                  </a:lnTo>
                  <a:cubicBezTo>
                    <a:pt x="500539" y="127724"/>
                    <a:pt x="507670" y="118925"/>
                    <a:pt x="512874" y="111513"/>
                  </a:cubicBezTo>
                  <a:cubicBezTo>
                    <a:pt x="518078" y="104100"/>
                    <a:pt x="521736" y="97446"/>
                    <a:pt x="523813" y="91542"/>
                  </a:cubicBezTo>
                  <a:cubicBezTo>
                    <a:pt x="526011" y="85520"/>
                    <a:pt x="527110" y="79674"/>
                    <a:pt x="527110" y="73998"/>
                  </a:cubicBezTo>
                  <a:cubicBezTo>
                    <a:pt x="527110" y="66012"/>
                    <a:pt x="525617" y="59003"/>
                    <a:pt x="522592" y="52981"/>
                  </a:cubicBezTo>
                  <a:cubicBezTo>
                    <a:pt x="519708" y="46843"/>
                    <a:pt x="515413" y="42038"/>
                    <a:pt x="509746" y="38565"/>
                  </a:cubicBezTo>
                  <a:cubicBezTo>
                    <a:pt x="504080" y="34976"/>
                    <a:pt x="497193" y="33181"/>
                    <a:pt x="489085" y="33181"/>
                  </a:cubicBezTo>
                  <a:cubicBezTo>
                    <a:pt x="479708" y="33181"/>
                    <a:pt x="471823" y="35209"/>
                    <a:pt x="465452" y="39261"/>
                  </a:cubicBezTo>
                  <a:cubicBezTo>
                    <a:pt x="459095" y="43312"/>
                    <a:pt x="454289" y="48930"/>
                    <a:pt x="451040" y="56109"/>
                  </a:cubicBezTo>
                  <a:cubicBezTo>
                    <a:pt x="447796" y="63171"/>
                    <a:pt x="446181" y="71279"/>
                    <a:pt x="446181" y="80423"/>
                  </a:cubicBezTo>
                  <a:lnTo>
                    <a:pt x="404328" y="80423"/>
                  </a:lnTo>
                  <a:cubicBezTo>
                    <a:pt x="404328" y="65720"/>
                    <a:pt x="407679" y="52286"/>
                    <a:pt x="414391" y="40131"/>
                  </a:cubicBezTo>
                  <a:cubicBezTo>
                    <a:pt x="421108" y="27860"/>
                    <a:pt x="430846" y="18132"/>
                    <a:pt x="443569" y="10953"/>
                  </a:cubicBezTo>
                  <a:cubicBezTo>
                    <a:pt x="456313" y="3658"/>
                    <a:pt x="471648" y="10"/>
                    <a:pt x="489596" y="10"/>
                  </a:cubicBezTo>
                  <a:cubicBezTo>
                    <a:pt x="506497" y="10"/>
                    <a:pt x="520855" y="2845"/>
                    <a:pt x="532670" y="8521"/>
                  </a:cubicBezTo>
                  <a:cubicBezTo>
                    <a:pt x="544484" y="14193"/>
                    <a:pt x="553453" y="22242"/>
                    <a:pt x="559581" y="32660"/>
                  </a:cubicBezTo>
                  <a:cubicBezTo>
                    <a:pt x="565831" y="43079"/>
                    <a:pt x="568958" y="55413"/>
                    <a:pt x="568958" y="69655"/>
                  </a:cubicBezTo>
                  <a:cubicBezTo>
                    <a:pt x="568958" y="77529"/>
                    <a:pt x="567689" y="85345"/>
                    <a:pt x="565145" y="93103"/>
                  </a:cubicBezTo>
                  <a:cubicBezTo>
                    <a:pt x="562601" y="100861"/>
                    <a:pt x="558944" y="108619"/>
                    <a:pt x="554207" y="116376"/>
                  </a:cubicBezTo>
                  <a:cubicBezTo>
                    <a:pt x="549571" y="124017"/>
                    <a:pt x="544075" y="131717"/>
                    <a:pt x="537704" y="139475"/>
                  </a:cubicBezTo>
                  <a:cubicBezTo>
                    <a:pt x="531332" y="147116"/>
                    <a:pt x="524323" y="154873"/>
                    <a:pt x="516697" y="162748"/>
                  </a:cubicBezTo>
                  <a:lnTo>
                    <a:pt x="461979" y="223015"/>
                  </a:lnTo>
                  <a:lnTo>
                    <a:pt x="578701" y="223015"/>
                  </a:lnTo>
                  <a:close/>
                  <a:moveTo>
                    <a:pt x="660505" y="110992"/>
                  </a:moveTo>
                  <a:lnTo>
                    <a:pt x="685510" y="110992"/>
                  </a:lnTo>
                  <a:cubicBezTo>
                    <a:pt x="695233" y="110992"/>
                    <a:pt x="703287" y="109314"/>
                    <a:pt x="709639" y="105953"/>
                  </a:cubicBezTo>
                  <a:cubicBezTo>
                    <a:pt x="716132" y="102597"/>
                    <a:pt x="720943" y="97962"/>
                    <a:pt x="724065" y="92057"/>
                  </a:cubicBezTo>
                  <a:cubicBezTo>
                    <a:pt x="727188" y="86153"/>
                    <a:pt x="728754" y="79377"/>
                    <a:pt x="728754" y="71736"/>
                  </a:cubicBezTo>
                  <a:cubicBezTo>
                    <a:pt x="728754" y="64095"/>
                    <a:pt x="727295" y="56916"/>
                    <a:pt x="724411" y="51240"/>
                  </a:cubicBezTo>
                  <a:cubicBezTo>
                    <a:pt x="721628" y="45452"/>
                    <a:pt x="717353" y="40992"/>
                    <a:pt x="711565" y="37865"/>
                  </a:cubicBezTo>
                  <a:cubicBezTo>
                    <a:pt x="705879" y="34737"/>
                    <a:pt x="698652" y="33176"/>
                    <a:pt x="689858" y="33176"/>
                  </a:cubicBezTo>
                  <a:cubicBezTo>
                    <a:pt x="682441" y="33176"/>
                    <a:pt x="675724" y="34684"/>
                    <a:pt x="669712" y="37690"/>
                  </a:cubicBezTo>
                  <a:cubicBezTo>
                    <a:pt x="663803" y="40584"/>
                    <a:pt x="659114" y="44752"/>
                    <a:pt x="655626" y="50195"/>
                  </a:cubicBezTo>
                  <a:cubicBezTo>
                    <a:pt x="652159" y="55520"/>
                    <a:pt x="650422" y="61887"/>
                    <a:pt x="650422" y="69300"/>
                  </a:cubicBezTo>
                  <a:lnTo>
                    <a:pt x="608394" y="69300"/>
                  </a:lnTo>
                  <a:cubicBezTo>
                    <a:pt x="608394" y="55871"/>
                    <a:pt x="611916" y="43945"/>
                    <a:pt x="618992" y="33521"/>
                  </a:cubicBezTo>
                  <a:cubicBezTo>
                    <a:pt x="626050" y="23103"/>
                    <a:pt x="635670" y="14937"/>
                    <a:pt x="647810" y="9032"/>
                  </a:cubicBezTo>
                  <a:cubicBezTo>
                    <a:pt x="660092" y="3011"/>
                    <a:pt x="673866" y="0"/>
                    <a:pt x="689148" y="0"/>
                  </a:cubicBezTo>
                  <a:cubicBezTo>
                    <a:pt x="705480" y="0"/>
                    <a:pt x="719717" y="2724"/>
                    <a:pt x="731876" y="8161"/>
                  </a:cubicBezTo>
                  <a:cubicBezTo>
                    <a:pt x="744138" y="13487"/>
                    <a:pt x="753705" y="21479"/>
                    <a:pt x="760524" y="32130"/>
                  </a:cubicBezTo>
                  <a:cubicBezTo>
                    <a:pt x="767358" y="42782"/>
                    <a:pt x="770777" y="55982"/>
                    <a:pt x="770777" y="71731"/>
                  </a:cubicBezTo>
                  <a:cubicBezTo>
                    <a:pt x="770777" y="78910"/>
                    <a:pt x="769094" y="86206"/>
                    <a:pt x="765743" y="93614"/>
                  </a:cubicBezTo>
                  <a:cubicBezTo>
                    <a:pt x="762378" y="101026"/>
                    <a:pt x="757397" y="107797"/>
                    <a:pt x="750802" y="113935"/>
                  </a:cubicBezTo>
                  <a:cubicBezTo>
                    <a:pt x="744206" y="119956"/>
                    <a:pt x="735982" y="124873"/>
                    <a:pt x="726137" y="128696"/>
                  </a:cubicBezTo>
                  <a:cubicBezTo>
                    <a:pt x="716298" y="132403"/>
                    <a:pt x="704892" y="134256"/>
                    <a:pt x="691925" y="134256"/>
                  </a:cubicBezTo>
                  <a:lnTo>
                    <a:pt x="660495" y="134256"/>
                  </a:lnTo>
                  <a:lnTo>
                    <a:pt x="660495" y="110982"/>
                  </a:lnTo>
                  <a:close/>
                  <a:moveTo>
                    <a:pt x="660505" y="143643"/>
                  </a:moveTo>
                  <a:lnTo>
                    <a:pt x="660505" y="120715"/>
                  </a:lnTo>
                  <a:lnTo>
                    <a:pt x="691935" y="120715"/>
                  </a:lnTo>
                  <a:cubicBezTo>
                    <a:pt x="706755" y="120715"/>
                    <a:pt x="719381" y="122451"/>
                    <a:pt x="729790" y="125924"/>
                  </a:cubicBezTo>
                  <a:cubicBezTo>
                    <a:pt x="740335" y="129397"/>
                    <a:pt x="748905" y="134202"/>
                    <a:pt x="755500" y="140340"/>
                  </a:cubicBezTo>
                  <a:cubicBezTo>
                    <a:pt x="762095" y="146362"/>
                    <a:pt x="766906" y="153249"/>
                    <a:pt x="769911" y="161007"/>
                  </a:cubicBezTo>
                  <a:cubicBezTo>
                    <a:pt x="773039" y="168764"/>
                    <a:pt x="774600" y="176984"/>
                    <a:pt x="774600" y="185671"/>
                  </a:cubicBezTo>
                  <a:cubicBezTo>
                    <a:pt x="774600" y="197480"/>
                    <a:pt x="772470" y="208015"/>
                    <a:pt x="768175" y="217281"/>
                  </a:cubicBezTo>
                  <a:cubicBezTo>
                    <a:pt x="764016" y="226430"/>
                    <a:pt x="758044" y="234188"/>
                    <a:pt x="750296" y="240554"/>
                  </a:cubicBezTo>
                  <a:cubicBezTo>
                    <a:pt x="742533" y="246921"/>
                    <a:pt x="733447" y="251726"/>
                    <a:pt x="723024" y="254971"/>
                  </a:cubicBezTo>
                  <a:cubicBezTo>
                    <a:pt x="712718" y="258215"/>
                    <a:pt x="701487" y="259834"/>
                    <a:pt x="689328" y="259834"/>
                  </a:cubicBezTo>
                  <a:cubicBezTo>
                    <a:pt x="678457" y="259834"/>
                    <a:pt x="668029" y="258327"/>
                    <a:pt x="658068" y="255316"/>
                  </a:cubicBezTo>
                  <a:cubicBezTo>
                    <a:pt x="648107" y="252305"/>
                    <a:pt x="639192" y="247850"/>
                    <a:pt x="631327" y="241945"/>
                  </a:cubicBezTo>
                  <a:cubicBezTo>
                    <a:pt x="623443" y="235924"/>
                    <a:pt x="617193" y="228458"/>
                    <a:pt x="612572" y="219543"/>
                  </a:cubicBezTo>
                  <a:cubicBezTo>
                    <a:pt x="608054" y="210511"/>
                    <a:pt x="605787" y="200092"/>
                    <a:pt x="605787" y="188283"/>
                  </a:cubicBezTo>
                  <a:lnTo>
                    <a:pt x="647640" y="188283"/>
                  </a:lnTo>
                  <a:cubicBezTo>
                    <a:pt x="647640" y="195807"/>
                    <a:pt x="649377" y="202466"/>
                    <a:pt x="652859" y="208254"/>
                  </a:cubicBezTo>
                  <a:cubicBezTo>
                    <a:pt x="656449" y="213925"/>
                    <a:pt x="661429" y="218385"/>
                    <a:pt x="667786" y="221624"/>
                  </a:cubicBezTo>
                  <a:cubicBezTo>
                    <a:pt x="674279" y="224869"/>
                    <a:pt x="681682" y="226488"/>
                    <a:pt x="690028" y="226488"/>
                  </a:cubicBezTo>
                  <a:cubicBezTo>
                    <a:pt x="698822" y="226488"/>
                    <a:pt x="706415" y="224927"/>
                    <a:pt x="712767" y="221799"/>
                  </a:cubicBezTo>
                  <a:cubicBezTo>
                    <a:pt x="719138" y="218672"/>
                    <a:pt x="723997" y="214042"/>
                    <a:pt x="727363" y="207904"/>
                  </a:cubicBezTo>
                  <a:cubicBezTo>
                    <a:pt x="730831" y="201765"/>
                    <a:pt x="732567" y="194358"/>
                    <a:pt x="732567" y="185671"/>
                  </a:cubicBezTo>
                  <a:cubicBezTo>
                    <a:pt x="732567" y="175827"/>
                    <a:pt x="730660" y="167840"/>
                    <a:pt x="726847" y="161702"/>
                  </a:cubicBezTo>
                  <a:cubicBezTo>
                    <a:pt x="723019" y="155564"/>
                    <a:pt x="717572" y="151050"/>
                    <a:pt x="710515" y="148157"/>
                  </a:cubicBezTo>
                  <a:cubicBezTo>
                    <a:pt x="703457" y="145146"/>
                    <a:pt x="695111" y="143643"/>
                    <a:pt x="685510" y="143643"/>
                  </a:cubicBezTo>
                  <a:lnTo>
                    <a:pt x="660505" y="143643"/>
                  </a:lnTo>
                  <a:close/>
                </a:path>
              </a:pathLst>
            </a:custGeom>
            <a:solidFill>
              <a:srgbClr val="EE3431"/>
            </a:solidFill>
            <a:ln w="4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8" name="Полилиния: фигура 47">
              <a:extLst>
                <a:ext uri="{FF2B5EF4-FFF2-40B4-BE49-F238E27FC236}">
                  <a16:creationId xmlns:a16="http://schemas.microsoft.com/office/drawing/2014/main" id="{C3ADAD60-17B9-4A06-AE0E-BCB35AB4E7E8}"/>
                </a:ext>
              </a:extLst>
            </p:cNvPr>
            <p:cNvSpPr/>
            <p:nvPr/>
          </p:nvSpPr>
          <p:spPr>
            <a:xfrm>
              <a:off x="8902858" y="5870060"/>
              <a:ext cx="774600" cy="259829"/>
            </a:xfrm>
            <a:custGeom>
              <a:avLst/>
              <a:gdLst>
                <a:gd name="connsiteX0" fmla="*/ 174372 w 774600"/>
                <a:gd name="connsiteY0" fmla="*/ 223011 h 259829"/>
                <a:gd name="connsiteX1" fmla="*/ 174372 w 774600"/>
                <a:gd name="connsiteY1" fmla="*/ 256357 h 259829"/>
                <a:gd name="connsiteX2" fmla="*/ 4859 w 774600"/>
                <a:gd name="connsiteY2" fmla="*/ 256357 h 259829"/>
                <a:gd name="connsiteX3" fmla="*/ 4859 w 774600"/>
                <a:gd name="connsiteY3" fmla="*/ 227699 h 259829"/>
                <a:gd name="connsiteX4" fmla="*/ 87193 w 774600"/>
                <a:gd name="connsiteY4" fmla="*/ 137908 h 259829"/>
                <a:gd name="connsiteX5" fmla="*/ 108541 w 774600"/>
                <a:gd name="connsiteY5" fmla="*/ 111508 h 259829"/>
                <a:gd name="connsiteX6" fmla="*/ 119499 w 774600"/>
                <a:gd name="connsiteY6" fmla="*/ 91537 h 259829"/>
                <a:gd name="connsiteX7" fmla="*/ 122797 w 774600"/>
                <a:gd name="connsiteY7" fmla="*/ 73993 h 259829"/>
                <a:gd name="connsiteX8" fmla="*/ 118278 w 774600"/>
                <a:gd name="connsiteY8" fmla="*/ 52977 h 259829"/>
                <a:gd name="connsiteX9" fmla="*/ 105413 w 774600"/>
                <a:gd name="connsiteY9" fmla="*/ 38560 h 259829"/>
                <a:gd name="connsiteX10" fmla="*/ 84752 w 774600"/>
                <a:gd name="connsiteY10" fmla="*/ 33176 h 259829"/>
                <a:gd name="connsiteX11" fmla="*/ 61138 w 774600"/>
                <a:gd name="connsiteY11" fmla="*/ 39256 h 259829"/>
                <a:gd name="connsiteX12" fmla="*/ 46712 w 774600"/>
                <a:gd name="connsiteY12" fmla="*/ 56104 h 259829"/>
                <a:gd name="connsiteX13" fmla="*/ 41853 w 774600"/>
                <a:gd name="connsiteY13" fmla="*/ 80418 h 259829"/>
                <a:gd name="connsiteX14" fmla="*/ 0 w 774600"/>
                <a:gd name="connsiteY14" fmla="*/ 80418 h 259829"/>
                <a:gd name="connsiteX15" fmla="*/ 10083 w 774600"/>
                <a:gd name="connsiteY15" fmla="*/ 40126 h 259829"/>
                <a:gd name="connsiteX16" fmla="*/ 39261 w 774600"/>
                <a:gd name="connsiteY16" fmla="*/ 10948 h 259829"/>
                <a:gd name="connsiteX17" fmla="*/ 85272 w 774600"/>
                <a:gd name="connsiteY17" fmla="*/ 5 h 259829"/>
                <a:gd name="connsiteX18" fmla="*/ 128346 w 774600"/>
                <a:gd name="connsiteY18" fmla="*/ 8517 h 259829"/>
                <a:gd name="connsiteX19" fmla="*/ 155277 w 774600"/>
                <a:gd name="connsiteY19" fmla="*/ 32660 h 259829"/>
                <a:gd name="connsiteX20" fmla="*/ 164654 w 774600"/>
                <a:gd name="connsiteY20" fmla="*/ 69655 h 259829"/>
                <a:gd name="connsiteX21" fmla="*/ 160827 w 774600"/>
                <a:gd name="connsiteY21" fmla="*/ 93103 h 259829"/>
                <a:gd name="connsiteX22" fmla="*/ 149888 w 774600"/>
                <a:gd name="connsiteY22" fmla="*/ 116376 h 259829"/>
                <a:gd name="connsiteX23" fmla="*/ 133400 w 774600"/>
                <a:gd name="connsiteY23" fmla="*/ 139475 h 259829"/>
                <a:gd name="connsiteX24" fmla="*/ 112378 w 774600"/>
                <a:gd name="connsiteY24" fmla="*/ 162748 h 259829"/>
                <a:gd name="connsiteX25" fmla="*/ 57675 w 774600"/>
                <a:gd name="connsiteY25" fmla="*/ 223015 h 259829"/>
                <a:gd name="connsiteX26" fmla="*/ 174377 w 774600"/>
                <a:gd name="connsiteY26" fmla="*/ 223015 h 259829"/>
                <a:gd name="connsiteX27" fmla="*/ 371848 w 774600"/>
                <a:gd name="connsiteY27" fmla="*/ 108730 h 259829"/>
                <a:gd name="connsiteX28" fmla="*/ 371848 w 774600"/>
                <a:gd name="connsiteY28" fmla="*/ 150063 h 259829"/>
                <a:gd name="connsiteX29" fmla="*/ 365938 w 774600"/>
                <a:gd name="connsiteY29" fmla="*/ 200778 h 259829"/>
                <a:gd name="connsiteX30" fmla="*/ 349260 w 774600"/>
                <a:gd name="connsiteY30" fmla="*/ 234645 h 259829"/>
                <a:gd name="connsiteX31" fmla="*/ 323035 w 774600"/>
                <a:gd name="connsiteY31" fmla="*/ 253750 h 259829"/>
                <a:gd name="connsiteX32" fmla="*/ 289168 w 774600"/>
                <a:gd name="connsiteY32" fmla="*/ 259830 h 259829"/>
                <a:gd name="connsiteX33" fmla="*/ 261381 w 774600"/>
                <a:gd name="connsiteY33" fmla="*/ 256011 h 259829"/>
                <a:gd name="connsiteX34" fmla="*/ 238468 w 774600"/>
                <a:gd name="connsiteY34" fmla="*/ 244027 h 259829"/>
                <a:gd name="connsiteX35" fmla="*/ 220914 w 774600"/>
                <a:gd name="connsiteY35" fmla="*/ 223011 h 259829"/>
                <a:gd name="connsiteX36" fmla="*/ 209800 w 774600"/>
                <a:gd name="connsiteY36" fmla="*/ 191921 h 259829"/>
                <a:gd name="connsiteX37" fmla="*/ 205972 w 774600"/>
                <a:gd name="connsiteY37" fmla="*/ 150063 h 259829"/>
                <a:gd name="connsiteX38" fmla="*/ 205972 w 774600"/>
                <a:gd name="connsiteY38" fmla="*/ 108730 h 259829"/>
                <a:gd name="connsiteX39" fmla="*/ 211882 w 774600"/>
                <a:gd name="connsiteY39" fmla="*/ 58366 h 259829"/>
                <a:gd name="connsiteX40" fmla="*/ 228730 w 774600"/>
                <a:gd name="connsiteY40" fmla="*/ 24844 h 259829"/>
                <a:gd name="connsiteX41" fmla="*/ 254786 w 774600"/>
                <a:gd name="connsiteY41" fmla="*/ 5914 h 259829"/>
                <a:gd name="connsiteX42" fmla="*/ 288827 w 774600"/>
                <a:gd name="connsiteY42" fmla="*/ 10 h 259829"/>
                <a:gd name="connsiteX43" fmla="*/ 316614 w 774600"/>
                <a:gd name="connsiteY43" fmla="*/ 3833 h 259829"/>
                <a:gd name="connsiteX44" fmla="*/ 339542 w 774600"/>
                <a:gd name="connsiteY44" fmla="*/ 15467 h 259829"/>
                <a:gd name="connsiteX45" fmla="*/ 356906 w 774600"/>
                <a:gd name="connsiteY45" fmla="*/ 36308 h 259829"/>
                <a:gd name="connsiteX46" fmla="*/ 368020 w 774600"/>
                <a:gd name="connsiteY46" fmla="*/ 67048 h 259829"/>
                <a:gd name="connsiteX47" fmla="*/ 371848 w 774600"/>
                <a:gd name="connsiteY47" fmla="*/ 108730 h 259829"/>
                <a:gd name="connsiteX48" fmla="*/ 329995 w 774600"/>
                <a:gd name="connsiteY48" fmla="*/ 155968 h 259829"/>
                <a:gd name="connsiteX49" fmla="*/ 329995 w 774600"/>
                <a:gd name="connsiteY49" fmla="*/ 102476 h 259829"/>
                <a:gd name="connsiteX50" fmla="*/ 328258 w 774600"/>
                <a:gd name="connsiteY50" fmla="*/ 75905 h 259829"/>
                <a:gd name="connsiteX51" fmla="*/ 323039 w 774600"/>
                <a:gd name="connsiteY51" fmla="*/ 56279 h 259829"/>
                <a:gd name="connsiteX52" fmla="*/ 314708 w 774600"/>
                <a:gd name="connsiteY52" fmla="*/ 43079 h 259829"/>
                <a:gd name="connsiteX53" fmla="*/ 303234 w 774600"/>
                <a:gd name="connsiteY53" fmla="*/ 35613 h 259829"/>
                <a:gd name="connsiteX54" fmla="*/ 288823 w 774600"/>
                <a:gd name="connsiteY54" fmla="*/ 33181 h 259829"/>
                <a:gd name="connsiteX55" fmla="*/ 271459 w 774600"/>
                <a:gd name="connsiteY55" fmla="*/ 37004 h 259829"/>
                <a:gd name="connsiteX56" fmla="*/ 258613 w 774600"/>
                <a:gd name="connsiteY56" fmla="*/ 48813 h 259829"/>
                <a:gd name="connsiteX57" fmla="*/ 250608 w 774600"/>
                <a:gd name="connsiteY57" fmla="*/ 70350 h 259829"/>
                <a:gd name="connsiteX58" fmla="*/ 248015 w 774600"/>
                <a:gd name="connsiteY58" fmla="*/ 102480 h 259829"/>
                <a:gd name="connsiteX59" fmla="*/ 248015 w 774600"/>
                <a:gd name="connsiteY59" fmla="*/ 155973 h 259829"/>
                <a:gd name="connsiteX60" fmla="*/ 249752 w 774600"/>
                <a:gd name="connsiteY60" fmla="*/ 182894 h 259829"/>
                <a:gd name="connsiteX61" fmla="*/ 254956 w 774600"/>
                <a:gd name="connsiteY61" fmla="*/ 202865 h 259829"/>
                <a:gd name="connsiteX62" fmla="*/ 263302 w 774600"/>
                <a:gd name="connsiteY62" fmla="*/ 216410 h 259829"/>
                <a:gd name="connsiteX63" fmla="*/ 274756 w 774600"/>
                <a:gd name="connsiteY63" fmla="*/ 224051 h 259829"/>
                <a:gd name="connsiteX64" fmla="*/ 289168 w 774600"/>
                <a:gd name="connsiteY64" fmla="*/ 226483 h 259829"/>
                <a:gd name="connsiteX65" fmla="*/ 306721 w 774600"/>
                <a:gd name="connsiteY65" fmla="*/ 222660 h 259829"/>
                <a:gd name="connsiteX66" fmla="*/ 319567 w 774600"/>
                <a:gd name="connsiteY66" fmla="*/ 210501 h 259829"/>
                <a:gd name="connsiteX67" fmla="*/ 327383 w 774600"/>
                <a:gd name="connsiteY67" fmla="*/ 188443 h 259829"/>
                <a:gd name="connsiteX68" fmla="*/ 329995 w 774600"/>
                <a:gd name="connsiteY68" fmla="*/ 155963 h 259829"/>
                <a:gd name="connsiteX69" fmla="*/ 578701 w 774600"/>
                <a:gd name="connsiteY69" fmla="*/ 223006 h 259829"/>
                <a:gd name="connsiteX70" fmla="*/ 578701 w 774600"/>
                <a:gd name="connsiteY70" fmla="*/ 256352 h 259829"/>
                <a:gd name="connsiteX71" fmla="*/ 409187 w 774600"/>
                <a:gd name="connsiteY71" fmla="*/ 256352 h 259829"/>
                <a:gd name="connsiteX72" fmla="*/ 409187 w 774600"/>
                <a:gd name="connsiteY72" fmla="*/ 227694 h 259829"/>
                <a:gd name="connsiteX73" fmla="*/ 491507 w 774600"/>
                <a:gd name="connsiteY73" fmla="*/ 137904 h 259829"/>
                <a:gd name="connsiteX74" fmla="*/ 512874 w 774600"/>
                <a:gd name="connsiteY74" fmla="*/ 111503 h 259829"/>
                <a:gd name="connsiteX75" fmla="*/ 523813 w 774600"/>
                <a:gd name="connsiteY75" fmla="*/ 91532 h 259829"/>
                <a:gd name="connsiteX76" fmla="*/ 527110 w 774600"/>
                <a:gd name="connsiteY76" fmla="*/ 73988 h 259829"/>
                <a:gd name="connsiteX77" fmla="*/ 522592 w 774600"/>
                <a:gd name="connsiteY77" fmla="*/ 52972 h 259829"/>
                <a:gd name="connsiteX78" fmla="*/ 509746 w 774600"/>
                <a:gd name="connsiteY78" fmla="*/ 38555 h 259829"/>
                <a:gd name="connsiteX79" fmla="*/ 489085 w 774600"/>
                <a:gd name="connsiteY79" fmla="*/ 33171 h 259829"/>
                <a:gd name="connsiteX80" fmla="*/ 465452 w 774600"/>
                <a:gd name="connsiteY80" fmla="*/ 39251 h 259829"/>
                <a:gd name="connsiteX81" fmla="*/ 451040 w 774600"/>
                <a:gd name="connsiteY81" fmla="*/ 56099 h 259829"/>
                <a:gd name="connsiteX82" fmla="*/ 446181 w 774600"/>
                <a:gd name="connsiteY82" fmla="*/ 80413 h 259829"/>
                <a:gd name="connsiteX83" fmla="*/ 404328 w 774600"/>
                <a:gd name="connsiteY83" fmla="*/ 80413 h 259829"/>
                <a:gd name="connsiteX84" fmla="*/ 414391 w 774600"/>
                <a:gd name="connsiteY84" fmla="*/ 40122 h 259829"/>
                <a:gd name="connsiteX85" fmla="*/ 443569 w 774600"/>
                <a:gd name="connsiteY85" fmla="*/ 10944 h 259829"/>
                <a:gd name="connsiteX86" fmla="*/ 489596 w 774600"/>
                <a:gd name="connsiteY86" fmla="*/ 0 h 259829"/>
                <a:gd name="connsiteX87" fmla="*/ 532670 w 774600"/>
                <a:gd name="connsiteY87" fmla="*/ 8512 h 259829"/>
                <a:gd name="connsiteX88" fmla="*/ 559581 w 774600"/>
                <a:gd name="connsiteY88" fmla="*/ 32656 h 259829"/>
                <a:gd name="connsiteX89" fmla="*/ 568958 w 774600"/>
                <a:gd name="connsiteY89" fmla="*/ 69650 h 259829"/>
                <a:gd name="connsiteX90" fmla="*/ 565145 w 774600"/>
                <a:gd name="connsiteY90" fmla="*/ 93098 h 259829"/>
                <a:gd name="connsiteX91" fmla="*/ 554207 w 774600"/>
                <a:gd name="connsiteY91" fmla="*/ 116372 h 259829"/>
                <a:gd name="connsiteX92" fmla="*/ 537704 w 774600"/>
                <a:gd name="connsiteY92" fmla="*/ 139470 h 259829"/>
                <a:gd name="connsiteX93" fmla="*/ 516697 w 774600"/>
                <a:gd name="connsiteY93" fmla="*/ 162743 h 259829"/>
                <a:gd name="connsiteX94" fmla="*/ 461979 w 774600"/>
                <a:gd name="connsiteY94" fmla="*/ 223011 h 259829"/>
                <a:gd name="connsiteX95" fmla="*/ 578701 w 774600"/>
                <a:gd name="connsiteY95" fmla="*/ 223011 h 259829"/>
                <a:gd name="connsiteX96" fmla="*/ 660505 w 774600"/>
                <a:gd name="connsiteY96" fmla="*/ 110982 h 259829"/>
                <a:gd name="connsiteX97" fmla="*/ 685510 w 774600"/>
                <a:gd name="connsiteY97" fmla="*/ 110982 h 259829"/>
                <a:gd name="connsiteX98" fmla="*/ 709639 w 774600"/>
                <a:gd name="connsiteY98" fmla="*/ 105948 h 259829"/>
                <a:gd name="connsiteX99" fmla="*/ 724065 w 774600"/>
                <a:gd name="connsiteY99" fmla="*/ 92052 h 259829"/>
                <a:gd name="connsiteX100" fmla="*/ 728754 w 774600"/>
                <a:gd name="connsiteY100" fmla="*/ 71731 h 259829"/>
                <a:gd name="connsiteX101" fmla="*/ 724411 w 774600"/>
                <a:gd name="connsiteY101" fmla="*/ 51240 h 259829"/>
                <a:gd name="connsiteX102" fmla="*/ 711565 w 774600"/>
                <a:gd name="connsiteY102" fmla="*/ 37865 h 259829"/>
                <a:gd name="connsiteX103" fmla="*/ 689858 w 774600"/>
                <a:gd name="connsiteY103" fmla="*/ 33176 h 259829"/>
                <a:gd name="connsiteX104" fmla="*/ 669712 w 774600"/>
                <a:gd name="connsiteY104" fmla="*/ 37690 h 259829"/>
                <a:gd name="connsiteX105" fmla="*/ 655626 w 774600"/>
                <a:gd name="connsiteY105" fmla="*/ 50195 h 259829"/>
                <a:gd name="connsiteX106" fmla="*/ 650422 w 774600"/>
                <a:gd name="connsiteY106" fmla="*/ 69300 h 259829"/>
                <a:gd name="connsiteX107" fmla="*/ 608394 w 774600"/>
                <a:gd name="connsiteY107" fmla="*/ 69300 h 259829"/>
                <a:gd name="connsiteX108" fmla="*/ 618992 w 774600"/>
                <a:gd name="connsiteY108" fmla="*/ 33521 h 259829"/>
                <a:gd name="connsiteX109" fmla="*/ 647810 w 774600"/>
                <a:gd name="connsiteY109" fmla="*/ 9032 h 259829"/>
                <a:gd name="connsiteX110" fmla="*/ 689148 w 774600"/>
                <a:gd name="connsiteY110" fmla="*/ 0 h 259829"/>
                <a:gd name="connsiteX111" fmla="*/ 731876 w 774600"/>
                <a:gd name="connsiteY111" fmla="*/ 8161 h 259829"/>
                <a:gd name="connsiteX112" fmla="*/ 760524 w 774600"/>
                <a:gd name="connsiteY112" fmla="*/ 32130 h 259829"/>
                <a:gd name="connsiteX113" fmla="*/ 770777 w 774600"/>
                <a:gd name="connsiteY113" fmla="*/ 71727 h 259829"/>
                <a:gd name="connsiteX114" fmla="*/ 765743 w 774600"/>
                <a:gd name="connsiteY114" fmla="*/ 93609 h 259829"/>
                <a:gd name="connsiteX115" fmla="*/ 750802 w 774600"/>
                <a:gd name="connsiteY115" fmla="*/ 113930 h 259829"/>
                <a:gd name="connsiteX116" fmla="*/ 726137 w 774600"/>
                <a:gd name="connsiteY116" fmla="*/ 128692 h 259829"/>
                <a:gd name="connsiteX117" fmla="*/ 691925 w 774600"/>
                <a:gd name="connsiteY117" fmla="*/ 134251 h 259829"/>
                <a:gd name="connsiteX118" fmla="*/ 660495 w 774600"/>
                <a:gd name="connsiteY118" fmla="*/ 134251 h 259829"/>
                <a:gd name="connsiteX119" fmla="*/ 660495 w 774600"/>
                <a:gd name="connsiteY119" fmla="*/ 110978 h 259829"/>
                <a:gd name="connsiteX120" fmla="*/ 660505 w 774600"/>
                <a:gd name="connsiteY120" fmla="*/ 143633 h 259829"/>
                <a:gd name="connsiteX121" fmla="*/ 660505 w 774600"/>
                <a:gd name="connsiteY121" fmla="*/ 120705 h 259829"/>
                <a:gd name="connsiteX122" fmla="*/ 691935 w 774600"/>
                <a:gd name="connsiteY122" fmla="*/ 120705 h 259829"/>
                <a:gd name="connsiteX123" fmla="*/ 729790 w 774600"/>
                <a:gd name="connsiteY123" fmla="*/ 125914 h 259829"/>
                <a:gd name="connsiteX124" fmla="*/ 755500 w 774600"/>
                <a:gd name="connsiteY124" fmla="*/ 140331 h 259829"/>
                <a:gd name="connsiteX125" fmla="*/ 769911 w 774600"/>
                <a:gd name="connsiteY125" fmla="*/ 160997 h 259829"/>
                <a:gd name="connsiteX126" fmla="*/ 774600 w 774600"/>
                <a:gd name="connsiteY126" fmla="*/ 185661 h 259829"/>
                <a:gd name="connsiteX127" fmla="*/ 768175 w 774600"/>
                <a:gd name="connsiteY127" fmla="*/ 217271 h 259829"/>
                <a:gd name="connsiteX128" fmla="*/ 750296 w 774600"/>
                <a:gd name="connsiteY128" fmla="*/ 240545 h 259829"/>
                <a:gd name="connsiteX129" fmla="*/ 723024 w 774600"/>
                <a:gd name="connsiteY129" fmla="*/ 254961 h 259829"/>
                <a:gd name="connsiteX130" fmla="*/ 689328 w 774600"/>
                <a:gd name="connsiteY130" fmla="*/ 259825 h 259829"/>
                <a:gd name="connsiteX131" fmla="*/ 658068 w 774600"/>
                <a:gd name="connsiteY131" fmla="*/ 255311 h 259829"/>
                <a:gd name="connsiteX132" fmla="*/ 631327 w 774600"/>
                <a:gd name="connsiteY132" fmla="*/ 241940 h 259829"/>
                <a:gd name="connsiteX133" fmla="*/ 612572 w 774600"/>
                <a:gd name="connsiteY133" fmla="*/ 219538 h 259829"/>
                <a:gd name="connsiteX134" fmla="*/ 605787 w 774600"/>
                <a:gd name="connsiteY134" fmla="*/ 188273 h 259829"/>
                <a:gd name="connsiteX135" fmla="*/ 647640 w 774600"/>
                <a:gd name="connsiteY135" fmla="*/ 188273 h 259829"/>
                <a:gd name="connsiteX136" fmla="*/ 652859 w 774600"/>
                <a:gd name="connsiteY136" fmla="*/ 208249 h 259829"/>
                <a:gd name="connsiteX137" fmla="*/ 667786 w 774600"/>
                <a:gd name="connsiteY137" fmla="*/ 221619 h 259829"/>
                <a:gd name="connsiteX138" fmla="*/ 690028 w 774600"/>
                <a:gd name="connsiteY138" fmla="*/ 226483 h 259829"/>
                <a:gd name="connsiteX139" fmla="*/ 712767 w 774600"/>
                <a:gd name="connsiteY139" fmla="*/ 221795 h 259829"/>
                <a:gd name="connsiteX140" fmla="*/ 727363 w 774600"/>
                <a:gd name="connsiteY140" fmla="*/ 207899 h 259829"/>
                <a:gd name="connsiteX141" fmla="*/ 732567 w 774600"/>
                <a:gd name="connsiteY141" fmla="*/ 185671 h 259829"/>
                <a:gd name="connsiteX142" fmla="*/ 726847 w 774600"/>
                <a:gd name="connsiteY142" fmla="*/ 161702 h 259829"/>
                <a:gd name="connsiteX143" fmla="*/ 710515 w 774600"/>
                <a:gd name="connsiteY143" fmla="*/ 148157 h 259829"/>
                <a:gd name="connsiteX144" fmla="*/ 685510 w 774600"/>
                <a:gd name="connsiteY144" fmla="*/ 143643 h 259829"/>
                <a:gd name="connsiteX145" fmla="*/ 660505 w 774600"/>
                <a:gd name="connsiteY145" fmla="*/ 143643 h 2598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</a:cxnLst>
              <a:rect l="l" t="t" r="r" b="b"/>
              <a:pathLst>
                <a:path w="774600" h="259829">
                  <a:moveTo>
                    <a:pt x="174372" y="223011"/>
                  </a:moveTo>
                  <a:lnTo>
                    <a:pt x="174372" y="256357"/>
                  </a:lnTo>
                  <a:lnTo>
                    <a:pt x="4859" y="256357"/>
                  </a:lnTo>
                  <a:lnTo>
                    <a:pt x="4859" y="227699"/>
                  </a:lnTo>
                  <a:lnTo>
                    <a:pt x="87193" y="137908"/>
                  </a:lnTo>
                  <a:cubicBezTo>
                    <a:pt x="96211" y="127719"/>
                    <a:pt x="103336" y="118920"/>
                    <a:pt x="108541" y="111508"/>
                  </a:cubicBezTo>
                  <a:cubicBezTo>
                    <a:pt x="113760" y="104095"/>
                    <a:pt x="117403" y="97442"/>
                    <a:pt x="119499" y="91537"/>
                  </a:cubicBezTo>
                  <a:cubicBezTo>
                    <a:pt x="121697" y="85516"/>
                    <a:pt x="122797" y="79669"/>
                    <a:pt x="122797" y="73993"/>
                  </a:cubicBezTo>
                  <a:cubicBezTo>
                    <a:pt x="122797" y="66002"/>
                    <a:pt x="121284" y="58998"/>
                    <a:pt x="118278" y="52977"/>
                  </a:cubicBezTo>
                  <a:cubicBezTo>
                    <a:pt x="115374" y="46838"/>
                    <a:pt x="111099" y="42033"/>
                    <a:pt x="105413" y="38560"/>
                  </a:cubicBezTo>
                  <a:cubicBezTo>
                    <a:pt x="99747" y="34971"/>
                    <a:pt x="92860" y="33176"/>
                    <a:pt x="84752" y="33176"/>
                  </a:cubicBezTo>
                  <a:cubicBezTo>
                    <a:pt x="75374" y="33176"/>
                    <a:pt x="67510" y="35204"/>
                    <a:pt x="61138" y="39256"/>
                  </a:cubicBezTo>
                  <a:cubicBezTo>
                    <a:pt x="54766" y="43307"/>
                    <a:pt x="49956" y="48925"/>
                    <a:pt x="46712" y="56104"/>
                  </a:cubicBezTo>
                  <a:cubicBezTo>
                    <a:pt x="43482" y="63166"/>
                    <a:pt x="41853" y="71274"/>
                    <a:pt x="41853" y="80418"/>
                  </a:cubicBezTo>
                  <a:lnTo>
                    <a:pt x="0" y="80418"/>
                  </a:lnTo>
                  <a:cubicBezTo>
                    <a:pt x="0" y="65715"/>
                    <a:pt x="3366" y="52281"/>
                    <a:pt x="10083" y="40126"/>
                  </a:cubicBezTo>
                  <a:cubicBezTo>
                    <a:pt x="16800" y="27855"/>
                    <a:pt x="26517" y="18127"/>
                    <a:pt x="39261" y="10948"/>
                  </a:cubicBezTo>
                  <a:cubicBezTo>
                    <a:pt x="51989" y="3653"/>
                    <a:pt x="67325" y="5"/>
                    <a:pt x="85272" y="5"/>
                  </a:cubicBezTo>
                  <a:cubicBezTo>
                    <a:pt x="102189" y="5"/>
                    <a:pt x="116546" y="2840"/>
                    <a:pt x="128346" y="8517"/>
                  </a:cubicBezTo>
                  <a:cubicBezTo>
                    <a:pt x="140160" y="14193"/>
                    <a:pt x="149129" y="22237"/>
                    <a:pt x="155277" y="32660"/>
                  </a:cubicBezTo>
                  <a:cubicBezTo>
                    <a:pt x="161527" y="43079"/>
                    <a:pt x="164654" y="55413"/>
                    <a:pt x="164654" y="69655"/>
                  </a:cubicBezTo>
                  <a:cubicBezTo>
                    <a:pt x="164654" y="77529"/>
                    <a:pt x="163385" y="85345"/>
                    <a:pt x="160827" y="93103"/>
                  </a:cubicBezTo>
                  <a:cubicBezTo>
                    <a:pt x="158283" y="100861"/>
                    <a:pt x="154645" y="108619"/>
                    <a:pt x="149888" y="116376"/>
                  </a:cubicBezTo>
                  <a:cubicBezTo>
                    <a:pt x="145267" y="124017"/>
                    <a:pt x="139757" y="131717"/>
                    <a:pt x="133400" y="139475"/>
                  </a:cubicBezTo>
                  <a:cubicBezTo>
                    <a:pt x="127028" y="147116"/>
                    <a:pt x="120019" y="154873"/>
                    <a:pt x="112378" y="162748"/>
                  </a:cubicBezTo>
                  <a:lnTo>
                    <a:pt x="57675" y="223015"/>
                  </a:lnTo>
                  <a:lnTo>
                    <a:pt x="174377" y="223015"/>
                  </a:lnTo>
                  <a:close/>
                  <a:moveTo>
                    <a:pt x="371848" y="108730"/>
                  </a:moveTo>
                  <a:lnTo>
                    <a:pt x="371848" y="150063"/>
                  </a:lnTo>
                  <a:cubicBezTo>
                    <a:pt x="371848" y="169864"/>
                    <a:pt x="369873" y="186765"/>
                    <a:pt x="365938" y="200778"/>
                  </a:cubicBezTo>
                  <a:cubicBezTo>
                    <a:pt x="362125" y="214674"/>
                    <a:pt x="356561" y="225963"/>
                    <a:pt x="349260" y="234645"/>
                  </a:cubicBezTo>
                  <a:cubicBezTo>
                    <a:pt x="341960" y="243327"/>
                    <a:pt x="333219" y="249698"/>
                    <a:pt x="323035" y="253750"/>
                  </a:cubicBezTo>
                  <a:cubicBezTo>
                    <a:pt x="312971" y="257801"/>
                    <a:pt x="301668" y="259830"/>
                    <a:pt x="289168" y="259830"/>
                  </a:cubicBezTo>
                  <a:cubicBezTo>
                    <a:pt x="279221" y="259830"/>
                    <a:pt x="269951" y="258555"/>
                    <a:pt x="261381" y="256011"/>
                  </a:cubicBezTo>
                  <a:cubicBezTo>
                    <a:pt x="252933" y="253463"/>
                    <a:pt x="245287" y="249470"/>
                    <a:pt x="238468" y="244027"/>
                  </a:cubicBezTo>
                  <a:cubicBezTo>
                    <a:pt x="231634" y="238584"/>
                    <a:pt x="225773" y="231581"/>
                    <a:pt x="220914" y="223011"/>
                  </a:cubicBezTo>
                  <a:cubicBezTo>
                    <a:pt x="216172" y="214329"/>
                    <a:pt x="212466" y="203964"/>
                    <a:pt x="209800" y="191921"/>
                  </a:cubicBezTo>
                  <a:cubicBezTo>
                    <a:pt x="207256" y="179878"/>
                    <a:pt x="205972" y="165929"/>
                    <a:pt x="205972" y="150063"/>
                  </a:cubicBezTo>
                  <a:lnTo>
                    <a:pt x="205972" y="108730"/>
                  </a:lnTo>
                  <a:cubicBezTo>
                    <a:pt x="205972" y="88813"/>
                    <a:pt x="207947" y="72028"/>
                    <a:pt x="211882" y="58366"/>
                  </a:cubicBezTo>
                  <a:cubicBezTo>
                    <a:pt x="215831" y="44587"/>
                    <a:pt x="221430" y="33414"/>
                    <a:pt x="228730" y="24844"/>
                  </a:cubicBezTo>
                  <a:cubicBezTo>
                    <a:pt x="236031" y="16162"/>
                    <a:pt x="244722" y="9849"/>
                    <a:pt x="254786" y="5914"/>
                  </a:cubicBezTo>
                  <a:cubicBezTo>
                    <a:pt x="264970" y="1975"/>
                    <a:pt x="276323" y="10"/>
                    <a:pt x="288827" y="10"/>
                  </a:cubicBezTo>
                  <a:cubicBezTo>
                    <a:pt x="298910" y="10"/>
                    <a:pt x="308166" y="1284"/>
                    <a:pt x="316614" y="3833"/>
                  </a:cubicBezTo>
                  <a:cubicBezTo>
                    <a:pt x="325184" y="6265"/>
                    <a:pt x="332825" y="10141"/>
                    <a:pt x="339542" y="15467"/>
                  </a:cubicBezTo>
                  <a:cubicBezTo>
                    <a:pt x="346376" y="20793"/>
                    <a:pt x="352164" y="27738"/>
                    <a:pt x="356906" y="36308"/>
                  </a:cubicBezTo>
                  <a:cubicBezTo>
                    <a:pt x="361765" y="44762"/>
                    <a:pt x="365476" y="55010"/>
                    <a:pt x="368020" y="67048"/>
                  </a:cubicBezTo>
                  <a:cubicBezTo>
                    <a:pt x="370578" y="78974"/>
                    <a:pt x="371848" y="92870"/>
                    <a:pt x="371848" y="108730"/>
                  </a:cubicBezTo>
                  <a:close/>
                  <a:moveTo>
                    <a:pt x="329995" y="155968"/>
                  </a:moveTo>
                  <a:lnTo>
                    <a:pt x="329995" y="102476"/>
                  </a:lnTo>
                  <a:cubicBezTo>
                    <a:pt x="329995" y="92403"/>
                    <a:pt x="329411" y="83546"/>
                    <a:pt x="328258" y="75905"/>
                  </a:cubicBezTo>
                  <a:cubicBezTo>
                    <a:pt x="327091" y="68147"/>
                    <a:pt x="325355" y="61605"/>
                    <a:pt x="323039" y="56279"/>
                  </a:cubicBezTo>
                  <a:cubicBezTo>
                    <a:pt x="320841" y="50837"/>
                    <a:pt x="318059" y="46440"/>
                    <a:pt x="314708" y="43079"/>
                  </a:cubicBezTo>
                  <a:cubicBezTo>
                    <a:pt x="311342" y="39606"/>
                    <a:pt x="307529" y="37116"/>
                    <a:pt x="303234" y="35613"/>
                  </a:cubicBezTo>
                  <a:cubicBezTo>
                    <a:pt x="298959" y="33993"/>
                    <a:pt x="294148" y="33181"/>
                    <a:pt x="288823" y="33181"/>
                  </a:cubicBezTo>
                  <a:cubicBezTo>
                    <a:pt x="282349" y="33181"/>
                    <a:pt x="276542" y="34455"/>
                    <a:pt x="271459" y="37004"/>
                  </a:cubicBezTo>
                  <a:cubicBezTo>
                    <a:pt x="266357" y="39436"/>
                    <a:pt x="262081" y="43371"/>
                    <a:pt x="258613" y="48813"/>
                  </a:cubicBezTo>
                  <a:cubicBezTo>
                    <a:pt x="255126" y="54256"/>
                    <a:pt x="252466" y="61435"/>
                    <a:pt x="250608" y="70350"/>
                  </a:cubicBezTo>
                  <a:cubicBezTo>
                    <a:pt x="248871" y="79149"/>
                    <a:pt x="248015" y="89859"/>
                    <a:pt x="248015" y="102480"/>
                  </a:cubicBezTo>
                  <a:lnTo>
                    <a:pt x="248015" y="155973"/>
                  </a:lnTo>
                  <a:cubicBezTo>
                    <a:pt x="248015" y="166162"/>
                    <a:pt x="248584" y="175136"/>
                    <a:pt x="249752" y="182894"/>
                  </a:cubicBezTo>
                  <a:cubicBezTo>
                    <a:pt x="250904" y="190652"/>
                    <a:pt x="252636" y="197310"/>
                    <a:pt x="254956" y="202865"/>
                  </a:cubicBezTo>
                  <a:cubicBezTo>
                    <a:pt x="257276" y="208307"/>
                    <a:pt x="260058" y="212821"/>
                    <a:pt x="263302" y="216410"/>
                  </a:cubicBezTo>
                  <a:cubicBezTo>
                    <a:pt x="266653" y="219883"/>
                    <a:pt x="270481" y="222432"/>
                    <a:pt x="274756" y="224051"/>
                  </a:cubicBezTo>
                  <a:cubicBezTo>
                    <a:pt x="279153" y="225671"/>
                    <a:pt x="283964" y="226483"/>
                    <a:pt x="289168" y="226483"/>
                  </a:cubicBezTo>
                  <a:cubicBezTo>
                    <a:pt x="295778" y="226483"/>
                    <a:pt x="301619" y="225209"/>
                    <a:pt x="306721" y="222660"/>
                  </a:cubicBezTo>
                  <a:cubicBezTo>
                    <a:pt x="311804" y="220112"/>
                    <a:pt x="316099" y="216060"/>
                    <a:pt x="319567" y="210501"/>
                  </a:cubicBezTo>
                  <a:cubicBezTo>
                    <a:pt x="323035" y="204830"/>
                    <a:pt x="325646" y="197476"/>
                    <a:pt x="327383" y="188443"/>
                  </a:cubicBezTo>
                  <a:cubicBezTo>
                    <a:pt x="329119" y="179411"/>
                    <a:pt x="329995" y="168585"/>
                    <a:pt x="329995" y="155963"/>
                  </a:cubicBezTo>
                  <a:close/>
                  <a:moveTo>
                    <a:pt x="578701" y="223006"/>
                  </a:moveTo>
                  <a:lnTo>
                    <a:pt x="578701" y="256352"/>
                  </a:lnTo>
                  <a:lnTo>
                    <a:pt x="409187" y="256352"/>
                  </a:lnTo>
                  <a:lnTo>
                    <a:pt x="409187" y="227694"/>
                  </a:lnTo>
                  <a:lnTo>
                    <a:pt x="491507" y="137904"/>
                  </a:lnTo>
                  <a:cubicBezTo>
                    <a:pt x="500539" y="127714"/>
                    <a:pt x="507670" y="118915"/>
                    <a:pt x="512874" y="111503"/>
                  </a:cubicBezTo>
                  <a:cubicBezTo>
                    <a:pt x="518078" y="104090"/>
                    <a:pt x="521736" y="97437"/>
                    <a:pt x="523813" y="91532"/>
                  </a:cubicBezTo>
                  <a:cubicBezTo>
                    <a:pt x="526011" y="85511"/>
                    <a:pt x="527110" y="79664"/>
                    <a:pt x="527110" y="73988"/>
                  </a:cubicBezTo>
                  <a:cubicBezTo>
                    <a:pt x="527110" y="65997"/>
                    <a:pt x="525617" y="58993"/>
                    <a:pt x="522592" y="52972"/>
                  </a:cubicBezTo>
                  <a:cubicBezTo>
                    <a:pt x="519708" y="46834"/>
                    <a:pt x="515413" y="42028"/>
                    <a:pt x="509746" y="38555"/>
                  </a:cubicBezTo>
                  <a:cubicBezTo>
                    <a:pt x="504080" y="34966"/>
                    <a:pt x="497193" y="33171"/>
                    <a:pt x="489085" y="33171"/>
                  </a:cubicBezTo>
                  <a:cubicBezTo>
                    <a:pt x="479708" y="33171"/>
                    <a:pt x="471823" y="35199"/>
                    <a:pt x="465452" y="39251"/>
                  </a:cubicBezTo>
                  <a:cubicBezTo>
                    <a:pt x="459095" y="43302"/>
                    <a:pt x="454289" y="48920"/>
                    <a:pt x="451040" y="56099"/>
                  </a:cubicBezTo>
                  <a:cubicBezTo>
                    <a:pt x="447796" y="63161"/>
                    <a:pt x="446181" y="71269"/>
                    <a:pt x="446181" y="80413"/>
                  </a:cubicBezTo>
                  <a:lnTo>
                    <a:pt x="404328" y="80413"/>
                  </a:lnTo>
                  <a:cubicBezTo>
                    <a:pt x="404328" y="65710"/>
                    <a:pt x="407679" y="52276"/>
                    <a:pt x="414391" y="40122"/>
                  </a:cubicBezTo>
                  <a:cubicBezTo>
                    <a:pt x="421108" y="27850"/>
                    <a:pt x="430846" y="18123"/>
                    <a:pt x="443569" y="10944"/>
                  </a:cubicBezTo>
                  <a:cubicBezTo>
                    <a:pt x="456313" y="3648"/>
                    <a:pt x="471648" y="0"/>
                    <a:pt x="489596" y="0"/>
                  </a:cubicBezTo>
                  <a:cubicBezTo>
                    <a:pt x="506497" y="0"/>
                    <a:pt x="520855" y="2836"/>
                    <a:pt x="532670" y="8512"/>
                  </a:cubicBezTo>
                  <a:cubicBezTo>
                    <a:pt x="544484" y="14188"/>
                    <a:pt x="553453" y="22232"/>
                    <a:pt x="559581" y="32656"/>
                  </a:cubicBezTo>
                  <a:cubicBezTo>
                    <a:pt x="565831" y="43074"/>
                    <a:pt x="568958" y="55409"/>
                    <a:pt x="568958" y="69650"/>
                  </a:cubicBezTo>
                  <a:cubicBezTo>
                    <a:pt x="568958" y="77524"/>
                    <a:pt x="567689" y="85340"/>
                    <a:pt x="565145" y="93098"/>
                  </a:cubicBezTo>
                  <a:cubicBezTo>
                    <a:pt x="562601" y="100856"/>
                    <a:pt x="558944" y="108614"/>
                    <a:pt x="554207" y="116372"/>
                  </a:cubicBezTo>
                  <a:cubicBezTo>
                    <a:pt x="549571" y="124013"/>
                    <a:pt x="544075" y="131712"/>
                    <a:pt x="537704" y="139470"/>
                  </a:cubicBezTo>
                  <a:cubicBezTo>
                    <a:pt x="531332" y="147111"/>
                    <a:pt x="524323" y="154869"/>
                    <a:pt x="516697" y="162743"/>
                  </a:cubicBezTo>
                  <a:lnTo>
                    <a:pt x="461979" y="223011"/>
                  </a:lnTo>
                  <a:lnTo>
                    <a:pt x="578701" y="223011"/>
                  </a:lnTo>
                  <a:close/>
                  <a:moveTo>
                    <a:pt x="660505" y="110982"/>
                  </a:moveTo>
                  <a:lnTo>
                    <a:pt x="685510" y="110982"/>
                  </a:lnTo>
                  <a:cubicBezTo>
                    <a:pt x="695233" y="110982"/>
                    <a:pt x="703287" y="109304"/>
                    <a:pt x="709639" y="105948"/>
                  </a:cubicBezTo>
                  <a:cubicBezTo>
                    <a:pt x="716132" y="102592"/>
                    <a:pt x="720943" y="97957"/>
                    <a:pt x="724065" y="92052"/>
                  </a:cubicBezTo>
                  <a:cubicBezTo>
                    <a:pt x="727193" y="86148"/>
                    <a:pt x="728754" y="79373"/>
                    <a:pt x="728754" y="71731"/>
                  </a:cubicBezTo>
                  <a:cubicBezTo>
                    <a:pt x="728754" y="64090"/>
                    <a:pt x="727295" y="56911"/>
                    <a:pt x="724411" y="51240"/>
                  </a:cubicBezTo>
                  <a:cubicBezTo>
                    <a:pt x="721628" y="45452"/>
                    <a:pt x="717353" y="40992"/>
                    <a:pt x="711565" y="37865"/>
                  </a:cubicBezTo>
                  <a:cubicBezTo>
                    <a:pt x="705879" y="34737"/>
                    <a:pt x="698652" y="33176"/>
                    <a:pt x="689858" y="33176"/>
                  </a:cubicBezTo>
                  <a:cubicBezTo>
                    <a:pt x="682441" y="33176"/>
                    <a:pt x="675724" y="34679"/>
                    <a:pt x="669712" y="37690"/>
                  </a:cubicBezTo>
                  <a:cubicBezTo>
                    <a:pt x="663803" y="40584"/>
                    <a:pt x="659114" y="44752"/>
                    <a:pt x="655626" y="50195"/>
                  </a:cubicBezTo>
                  <a:cubicBezTo>
                    <a:pt x="652159" y="55520"/>
                    <a:pt x="650422" y="61887"/>
                    <a:pt x="650422" y="69300"/>
                  </a:cubicBezTo>
                  <a:lnTo>
                    <a:pt x="608394" y="69300"/>
                  </a:lnTo>
                  <a:cubicBezTo>
                    <a:pt x="608394" y="55866"/>
                    <a:pt x="611916" y="43945"/>
                    <a:pt x="618992" y="33521"/>
                  </a:cubicBezTo>
                  <a:cubicBezTo>
                    <a:pt x="626050" y="23103"/>
                    <a:pt x="635670" y="14937"/>
                    <a:pt x="647810" y="9032"/>
                  </a:cubicBezTo>
                  <a:cubicBezTo>
                    <a:pt x="660092" y="3011"/>
                    <a:pt x="673866" y="0"/>
                    <a:pt x="689148" y="0"/>
                  </a:cubicBezTo>
                  <a:cubicBezTo>
                    <a:pt x="705480" y="0"/>
                    <a:pt x="719717" y="2724"/>
                    <a:pt x="731876" y="8161"/>
                  </a:cubicBezTo>
                  <a:cubicBezTo>
                    <a:pt x="744138" y="13487"/>
                    <a:pt x="753705" y="21479"/>
                    <a:pt x="760524" y="32130"/>
                  </a:cubicBezTo>
                  <a:cubicBezTo>
                    <a:pt x="767358" y="42782"/>
                    <a:pt x="770777" y="55982"/>
                    <a:pt x="770777" y="71727"/>
                  </a:cubicBezTo>
                  <a:cubicBezTo>
                    <a:pt x="770777" y="78906"/>
                    <a:pt x="769094" y="86201"/>
                    <a:pt x="765743" y="93609"/>
                  </a:cubicBezTo>
                  <a:cubicBezTo>
                    <a:pt x="762378" y="101021"/>
                    <a:pt x="757397" y="107792"/>
                    <a:pt x="750802" y="113930"/>
                  </a:cubicBezTo>
                  <a:cubicBezTo>
                    <a:pt x="744206" y="119951"/>
                    <a:pt x="735982" y="124869"/>
                    <a:pt x="726137" y="128692"/>
                  </a:cubicBezTo>
                  <a:cubicBezTo>
                    <a:pt x="716298" y="132398"/>
                    <a:pt x="704892" y="134251"/>
                    <a:pt x="691925" y="134251"/>
                  </a:cubicBezTo>
                  <a:lnTo>
                    <a:pt x="660495" y="134251"/>
                  </a:lnTo>
                  <a:lnTo>
                    <a:pt x="660495" y="110978"/>
                  </a:lnTo>
                  <a:close/>
                  <a:moveTo>
                    <a:pt x="660505" y="143633"/>
                  </a:moveTo>
                  <a:lnTo>
                    <a:pt x="660505" y="120705"/>
                  </a:lnTo>
                  <a:lnTo>
                    <a:pt x="691935" y="120705"/>
                  </a:lnTo>
                  <a:cubicBezTo>
                    <a:pt x="706755" y="120705"/>
                    <a:pt x="719381" y="122442"/>
                    <a:pt x="729790" y="125914"/>
                  </a:cubicBezTo>
                  <a:cubicBezTo>
                    <a:pt x="740335" y="129387"/>
                    <a:pt x="748905" y="134193"/>
                    <a:pt x="755500" y="140331"/>
                  </a:cubicBezTo>
                  <a:cubicBezTo>
                    <a:pt x="762095" y="146352"/>
                    <a:pt x="766906" y="153239"/>
                    <a:pt x="769911" y="160997"/>
                  </a:cubicBezTo>
                  <a:cubicBezTo>
                    <a:pt x="773039" y="168755"/>
                    <a:pt x="774600" y="176975"/>
                    <a:pt x="774600" y="185661"/>
                  </a:cubicBezTo>
                  <a:cubicBezTo>
                    <a:pt x="774600" y="197471"/>
                    <a:pt x="772470" y="208006"/>
                    <a:pt x="768175" y="217271"/>
                  </a:cubicBezTo>
                  <a:cubicBezTo>
                    <a:pt x="764016" y="226420"/>
                    <a:pt x="758044" y="234178"/>
                    <a:pt x="750296" y="240545"/>
                  </a:cubicBezTo>
                  <a:cubicBezTo>
                    <a:pt x="742533" y="246911"/>
                    <a:pt x="733447" y="251717"/>
                    <a:pt x="723024" y="254961"/>
                  </a:cubicBezTo>
                  <a:cubicBezTo>
                    <a:pt x="712718" y="258205"/>
                    <a:pt x="701487" y="259825"/>
                    <a:pt x="689328" y="259825"/>
                  </a:cubicBezTo>
                  <a:cubicBezTo>
                    <a:pt x="678457" y="259825"/>
                    <a:pt x="668029" y="258322"/>
                    <a:pt x="658068" y="255311"/>
                  </a:cubicBezTo>
                  <a:cubicBezTo>
                    <a:pt x="648107" y="252300"/>
                    <a:pt x="639192" y="247845"/>
                    <a:pt x="631327" y="241940"/>
                  </a:cubicBezTo>
                  <a:cubicBezTo>
                    <a:pt x="623443" y="235919"/>
                    <a:pt x="617193" y="228453"/>
                    <a:pt x="612572" y="219538"/>
                  </a:cubicBezTo>
                  <a:cubicBezTo>
                    <a:pt x="608054" y="210506"/>
                    <a:pt x="605787" y="200087"/>
                    <a:pt x="605787" y="188273"/>
                  </a:cubicBezTo>
                  <a:lnTo>
                    <a:pt x="647640" y="188273"/>
                  </a:lnTo>
                  <a:cubicBezTo>
                    <a:pt x="647640" y="195802"/>
                    <a:pt x="649377" y="202456"/>
                    <a:pt x="652859" y="208249"/>
                  </a:cubicBezTo>
                  <a:cubicBezTo>
                    <a:pt x="656449" y="213920"/>
                    <a:pt x="661429" y="218380"/>
                    <a:pt x="667786" y="221619"/>
                  </a:cubicBezTo>
                  <a:cubicBezTo>
                    <a:pt x="674279" y="224864"/>
                    <a:pt x="681682" y="226483"/>
                    <a:pt x="690028" y="226483"/>
                  </a:cubicBezTo>
                  <a:cubicBezTo>
                    <a:pt x="698822" y="226483"/>
                    <a:pt x="706415" y="224922"/>
                    <a:pt x="712767" y="221795"/>
                  </a:cubicBezTo>
                  <a:cubicBezTo>
                    <a:pt x="719138" y="218667"/>
                    <a:pt x="723997" y="214037"/>
                    <a:pt x="727363" y="207899"/>
                  </a:cubicBezTo>
                  <a:cubicBezTo>
                    <a:pt x="730831" y="201761"/>
                    <a:pt x="732567" y="194353"/>
                    <a:pt x="732567" y="185671"/>
                  </a:cubicBezTo>
                  <a:cubicBezTo>
                    <a:pt x="732567" y="175827"/>
                    <a:pt x="730660" y="167840"/>
                    <a:pt x="726847" y="161702"/>
                  </a:cubicBezTo>
                  <a:cubicBezTo>
                    <a:pt x="723019" y="155564"/>
                    <a:pt x="717572" y="151050"/>
                    <a:pt x="710515" y="148157"/>
                  </a:cubicBezTo>
                  <a:cubicBezTo>
                    <a:pt x="703457" y="145146"/>
                    <a:pt x="695111" y="143643"/>
                    <a:pt x="685510" y="143643"/>
                  </a:cubicBezTo>
                  <a:lnTo>
                    <a:pt x="660505" y="143643"/>
                  </a:lnTo>
                  <a:close/>
                </a:path>
              </a:pathLst>
            </a:custGeom>
            <a:solidFill>
              <a:schemeClr val="tx1"/>
            </a:solidFill>
            <a:ln w="4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pic>
        <p:nvPicPr>
          <p:cNvPr id="327" name="Рисунок 326">
            <a:extLst>
              <a:ext uri="{FF2B5EF4-FFF2-40B4-BE49-F238E27FC236}">
                <a16:creationId xmlns:a16="http://schemas.microsoft.com/office/drawing/2014/main" id="{5FBFD731-DA0C-468F-932D-BEB32E313CC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503721" y="6049020"/>
            <a:ext cx="1688608" cy="472507"/>
          </a:xfrm>
          <a:prstGeom prst="rect">
            <a:avLst/>
          </a:prstGeom>
        </p:spPr>
      </p:pic>
      <p:sp>
        <p:nvSpPr>
          <p:cNvPr id="330" name="Rounded Rectangle">
            <a:extLst>
              <a:ext uri="{FF2B5EF4-FFF2-40B4-BE49-F238E27FC236}">
                <a16:creationId xmlns:a16="http://schemas.microsoft.com/office/drawing/2014/main" id="{A61DB03D-3040-441A-ADF2-E2ED50008F8D}"/>
              </a:ext>
            </a:extLst>
          </p:cNvPr>
          <p:cNvSpPr/>
          <p:nvPr/>
        </p:nvSpPr>
        <p:spPr>
          <a:xfrm>
            <a:off x="-1" y="2147729"/>
            <a:ext cx="5192377" cy="2640296"/>
          </a:xfrm>
          <a:prstGeom prst="roundRect">
            <a:avLst>
              <a:gd name="adj" fmla="val 0"/>
            </a:avLst>
          </a:prstGeom>
          <a:solidFill>
            <a:schemeClr val="bg1">
              <a:alpha val="96000"/>
            </a:schemeClr>
          </a:solidFill>
          <a:ln w="12700" cap="flat">
            <a:noFill/>
            <a:prstDash val="solid"/>
            <a:miter/>
          </a:ln>
          <a:effectLst>
            <a:outerShdw blurRad="1003300" sx="102000" sy="102000" algn="ctr" rotWithShape="0">
              <a:schemeClr val="tx1">
                <a:alpha val="20000"/>
              </a:schemeClr>
            </a:outerShdw>
            <a:reflection endPos="0" dist="50800" dir="5400000" sy="-100000" algn="bl" rotWithShape="0"/>
            <a:softEdge rad="0"/>
          </a:effectLst>
        </p:spPr>
        <p:txBody>
          <a:bodyPr lIns="0" tIns="0" rIns="0" bIns="0" anchor="ctr"/>
          <a:lstStyle/>
          <a:p>
            <a:pPr algn="ctr" defTabSz="309563" hangingPunct="0"/>
            <a:endParaRPr sz="1200" dirty="0">
              <a:solidFill>
                <a:srgbClr val="FFFFFF"/>
              </a:solidFill>
              <a:latin typeface="Roboto" pitchFamily="2" charset="0"/>
              <a:ea typeface="Roboto" pitchFamily="2" charset="0"/>
              <a:cs typeface="Poppins Bold"/>
              <a:sym typeface="Poppins Bold"/>
            </a:endParaRPr>
          </a:p>
        </p:txBody>
      </p:sp>
      <p:grpSp>
        <p:nvGrpSpPr>
          <p:cNvPr id="331" name="Группа 330">
            <a:extLst>
              <a:ext uri="{FF2B5EF4-FFF2-40B4-BE49-F238E27FC236}">
                <a16:creationId xmlns:a16="http://schemas.microsoft.com/office/drawing/2014/main" id="{19B85087-6EB4-4180-B303-7AB17C3328A0}"/>
              </a:ext>
            </a:extLst>
          </p:cNvPr>
          <p:cNvGrpSpPr/>
          <p:nvPr/>
        </p:nvGrpSpPr>
        <p:grpSpPr>
          <a:xfrm>
            <a:off x="388248" y="2041839"/>
            <a:ext cx="5051622" cy="847113"/>
            <a:chOff x="6510195" y="1556711"/>
            <a:chExt cx="5051622" cy="847113"/>
          </a:xfrm>
        </p:grpSpPr>
        <p:sp>
          <p:nvSpPr>
            <p:cNvPr id="332" name="Rounded Rectangle">
              <a:extLst>
                <a:ext uri="{FF2B5EF4-FFF2-40B4-BE49-F238E27FC236}">
                  <a16:creationId xmlns:a16="http://schemas.microsoft.com/office/drawing/2014/main" id="{46B3E30F-A260-48BC-BD46-4600F1313BF3}"/>
                </a:ext>
              </a:extLst>
            </p:cNvPr>
            <p:cNvSpPr/>
            <p:nvPr/>
          </p:nvSpPr>
          <p:spPr>
            <a:xfrm>
              <a:off x="6510195" y="1556711"/>
              <a:ext cx="5051622" cy="847113"/>
            </a:xfrm>
            <a:prstGeom prst="roundRect">
              <a:avLst>
                <a:gd name="adj" fmla="val 50000"/>
              </a:avLst>
            </a:prstGeom>
            <a:solidFill>
              <a:schemeClr val="bg1"/>
            </a:solidFill>
            <a:ln w="12700" cap="flat">
              <a:noFill/>
              <a:prstDash val="dash"/>
              <a:miter/>
            </a:ln>
            <a:effectLst>
              <a:outerShdw blurRad="1003300" sx="102000" sy="102000" algn="ctr" rotWithShape="0">
                <a:schemeClr val="tx1">
                  <a:alpha val="15000"/>
                </a:schemeClr>
              </a:outerShdw>
            </a:effectLst>
          </p:spPr>
          <p:txBody>
            <a:bodyPr lIns="0" tIns="0" rIns="0" bIns="0" anchor="ctr"/>
            <a:lstStyle/>
            <a:p>
              <a:pPr algn="ctr" defTabSz="309563" hangingPunct="0"/>
              <a:endParaRPr sz="1200" dirty="0">
                <a:solidFill>
                  <a:srgbClr val="FFFFFF"/>
                </a:solidFill>
                <a:latin typeface="Roboto" pitchFamily="2" charset="0"/>
                <a:ea typeface="Roboto" pitchFamily="2" charset="0"/>
                <a:cs typeface="Poppins Bold"/>
                <a:sym typeface="Poppins Bold"/>
              </a:endParaRPr>
            </a:p>
          </p:txBody>
        </p:sp>
        <p:sp>
          <p:nvSpPr>
            <p:cNvPr id="333" name="Motion design">
              <a:extLst>
                <a:ext uri="{FF2B5EF4-FFF2-40B4-BE49-F238E27FC236}">
                  <a16:creationId xmlns:a16="http://schemas.microsoft.com/office/drawing/2014/main" id="{6BA01870-D2EA-46F9-B924-DDA85F1BF9FA}"/>
                </a:ext>
              </a:extLst>
            </p:cNvPr>
            <p:cNvSpPr txBox="1"/>
            <p:nvPr/>
          </p:nvSpPr>
          <p:spPr>
            <a:xfrm>
              <a:off x="7434557" y="1561202"/>
              <a:ext cx="3936875" cy="816955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</a:ext>
            </a:extLst>
          </p:spPr>
          <p:txBody>
            <a:bodyPr wrap="square" lIns="0" tIns="0" rIns="0" bIns="0" anchor="ctr">
              <a:spAutoFit/>
            </a:bodyPr>
            <a:lstStyle>
              <a:lvl1pPr>
                <a:lnSpc>
                  <a:spcPct val="130000"/>
                </a:lnSpc>
                <a:defRPr sz="3000">
                  <a:latin typeface="+mn-lt"/>
                  <a:ea typeface="+mn-ea"/>
                  <a:cs typeface="+mn-cs"/>
                  <a:sym typeface="Poppins SemiBold"/>
                </a:defRPr>
              </a:lvl1pPr>
            </a:lstStyle>
            <a:p>
              <a:pPr defTabSz="309563" hangingPunct="0">
                <a:buClrTx/>
                <a:defRPr/>
              </a:pPr>
              <a:r>
                <a:rPr lang="ru-RU" sz="1400" dirty="0">
                  <a:solidFill>
                    <a:srgbClr val="0D0D0D"/>
                  </a:solidFill>
                  <a:latin typeface="SB Sans Text Light" panose="020B0303040504020204" pitchFamily="34" charset="-52"/>
                  <a:ea typeface="Roboto Light" panose="02000000000000000000" pitchFamily="2" charset="0"/>
                  <a:cs typeface="SB Sans Text Light" panose="020B0303040504020204" pitchFamily="34" charset="-52"/>
                </a:rPr>
                <a:t>Повышается скорость и надежность работы продуктовой витрины. А значит, клиент быстрее получит услуги</a:t>
              </a:r>
            </a:p>
          </p:txBody>
        </p:sp>
        <p:sp>
          <p:nvSpPr>
            <p:cNvPr id="334" name="Circle">
              <a:extLst>
                <a:ext uri="{FF2B5EF4-FFF2-40B4-BE49-F238E27FC236}">
                  <a16:creationId xmlns:a16="http://schemas.microsoft.com/office/drawing/2014/main" id="{51FC0DC9-203D-45F5-959A-0B26EB84DC6C}"/>
                </a:ext>
              </a:extLst>
            </p:cNvPr>
            <p:cNvSpPr/>
            <p:nvPr/>
          </p:nvSpPr>
          <p:spPr>
            <a:xfrm>
              <a:off x="6636379" y="1662600"/>
              <a:ext cx="635335" cy="635335"/>
            </a:xfrm>
            <a:prstGeom prst="ellipse">
              <a:avLst/>
            </a:prstGeom>
            <a:solidFill>
              <a:schemeClr val="bg2"/>
            </a:solidFill>
            <a:ln w="12700">
              <a:miter lim="400000"/>
            </a:ln>
          </p:spPr>
          <p:txBody>
            <a:bodyPr lIns="0" tIns="0" rIns="0" bIns="0" anchor="ctr"/>
            <a:lstStyle/>
            <a:p>
              <a:pPr algn="ctr" defTabSz="309563" hangingPunct="0">
                <a:buClrTx/>
                <a:defRPr sz="3200">
                  <a:solidFill>
                    <a:srgbClr val="FFFFFF"/>
                  </a:solidFill>
                  <a:latin typeface="Poppins Bold"/>
                  <a:ea typeface="Poppins Bold"/>
                  <a:cs typeface="Poppins Bold"/>
                  <a:sym typeface="Poppins Bold"/>
                </a:defRPr>
              </a:pPr>
              <a:endParaRPr sz="1200" dirty="0">
                <a:solidFill>
                  <a:srgbClr val="FFFFFF"/>
                </a:solidFill>
                <a:latin typeface="Roboto" pitchFamily="2" charset="0"/>
                <a:ea typeface="Roboto" pitchFamily="2" charset="0"/>
                <a:cs typeface="Poppins Bold"/>
                <a:sym typeface="Poppins Bold"/>
              </a:endParaRPr>
            </a:p>
          </p:txBody>
        </p:sp>
        <p:pic>
          <p:nvPicPr>
            <p:cNvPr id="335" name="Рисунок 334">
              <a:extLst>
                <a:ext uri="{FF2B5EF4-FFF2-40B4-BE49-F238E27FC236}">
                  <a16:creationId xmlns:a16="http://schemas.microsoft.com/office/drawing/2014/main" id="{6E35888A-E78E-4EF6-9C89-FE1A2B1424FC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/>
            <a:stretch/>
          </p:blipFill>
          <p:spPr>
            <a:xfrm>
              <a:off x="6786835" y="1802015"/>
              <a:ext cx="330367" cy="330367"/>
            </a:xfrm>
            <a:prstGeom prst="rect">
              <a:avLst/>
            </a:prstGeom>
          </p:spPr>
        </p:pic>
      </p:grpSp>
      <p:grpSp>
        <p:nvGrpSpPr>
          <p:cNvPr id="336" name="Группа 335">
            <a:extLst>
              <a:ext uri="{FF2B5EF4-FFF2-40B4-BE49-F238E27FC236}">
                <a16:creationId xmlns:a16="http://schemas.microsoft.com/office/drawing/2014/main" id="{CD486CE7-9C89-4CCB-87B4-31B8BB818D38}"/>
              </a:ext>
            </a:extLst>
          </p:cNvPr>
          <p:cNvGrpSpPr/>
          <p:nvPr/>
        </p:nvGrpSpPr>
        <p:grpSpPr>
          <a:xfrm>
            <a:off x="388248" y="3067015"/>
            <a:ext cx="5051622" cy="847113"/>
            <a:chOff x="6510195" y="2581887"/>
            <a:chExt cx="5051622" cy="847113"/>
          </a:xfrm>
        </p:grpSpPr>
        <p:sp>
          <p:nvSpPr>
            <p:cNvPr id="337" name="Rounded Rectangle">
              <a:extLst>
                <a:ext uri="{FF2B5EF4-FFF2-40B4-BE49-F238E27FC236}">
                  <a16:creationId xmlns:a16="http://schemas.microsoft.com/office/drawing/2014/main" id="{62DBEE82-7085-430B-81A3-9A8036541B82}"/>
                </a:ext>
              </a:extLst>
            </p:cNvPr>
            <p:cNvSpPr/>
            <p:nvPr/>
          </p:nvSpPr>
          <p:spPr>
            <a:xfrm>
              <a:off x="6510195" y="2581887"/>
              <a:ext cx="5051622" cy="847113"/>
            </a:xfrm>
            <a:prstGeom prst="roundRect">
              <a:avLst>
                <a:gd name="adj" fmla="val 50000"/>
              </a:avLst>
            </a:prstGeom>
            <a:solidFill>
              <a:schemeClr val="bg1"/>
            </a:solidFill>
            <a:ln w="12700" cap="flat">
              <a:noFill/>
              <a:prstDash val="dash"/>
              <a:miter/>
            </a:ln>
            <a:effectLst>
              <a:outerShdw blurRad="1003300" sx="102000" sy="102000" algn="ctr" rotWithShape="0">
                <a:schemeClr val="tx1">
                  <a:alpha val="15000"/>
                </a:schemeClr>
              </a:outerShdw>
            </a:effectLst>
          </p:spPr>
          <p:txBody>
            <a:bodyPr lIns="0" tIns="0" rIns="0" bIns="0" anchor="ctr"/>
            <a:lstStyle/>
            <a:p>
              <a:pPr algn="ctr" defTabSz="309563" hangingPunct="0"/>
              <a:endParaRPr sz="1200" dirty="0">
                <a:solidFill>
                  <a:srgbClr val="FFFFFF"/>
                </a:solidFill>
                <a:latin typeface="Roboto" pitchFamily="2" charset="0"/>
                <a:ea typeface="Roboto" pitchFamily="2" charset="0"/>
                <a:cs typeface="Poppins Bold"/>
                <a:sym typeface="Poppins Bold"/>
              </a:endParaRPr>
            </a:p>
          </p:txBody>
        </p:sp>
        <p:sp>
          <p:nvSpPr>
            <p:cNvPr id="338" name="Motion design">
              <a:extLst>
                <a:ext uri="{FF2B5EF4-FFF2-40B4-BE49-F238E27FC236}">
                  <a16:creationId xmlns:a16="http://schemas.microsoft.com/office/drawing/2014/main" id="{80505229-DA2E-4673-BE20-BE6D6311E35D}"/>
                </a:ext>
              </a:extLst>
            </p:cNvPr>
            <p:cNvSpPr txBox="1"/>
            <p:nvPr/>
          </p:nvSpPr>
          <p:spPr>
            <a:xfrm>
              <a:off x="7434559" y="2726415"/>
              <a:ext cx="3229618" cy="536878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</a:ext>
            </a:extLst>
          </p:spPr>
          <p:txBody>
            <a:bodyPr lIns="0" tIns="0" rIns="0" bIns="0" anchor="ctr">
              <a:spAutoFit/>
            </a:bodyPr>
            <a:lstStyle>
              <a:lvl1pPr>
                <a:lnSpc>
                  <a:spcPct val="130000"/>
                </a:lnSpc>
                <a:defRPr sz="3000">
                  <a:latin typeface="+mn-lt"/>
                  <a:ea typeface="+mn-ea"/>
                  <a:cs typeface="+mn-cs"/>
                  <a:sym typeface="Poppins SemiBold"/>
                </a:defRPr>
              </a:lvl1pPr>
            </a:lstStyle>
            <a:p>
              <a:pPr defTabSz="309563" hangingPunct="0">
                <a:buClrTx/>
                <a:defRPr/>
              </a:pPr>
              <a:r>
                <a:rPr lang="ru-RU" sz="1400" dirty="0">
                  <a:solidFill>
                    <a:srgbClr val="0D0D0D"/>
                  </a:solidFill>
                  <a:latin typeface="SB Sans Text Light" panose="020B0303040504020204" pitchFamily="34" charset="-52"/>
                  <a:ea typeface="Roboto Light" panose="02000000000000000000" pitchFamily="2" charset="0"/>
                  <a:cs typeface="SB Sans Text Light" panose="020B0303040504020204" pitchFamily="34" charset="-52"/>
                </a:rPr>
                <a:t>Снижаются риски неполного отображения продуктового профиля</a:t>
              </a:r>
            </a:p>
          </p:txBody>
        </p:sp>
        <p:sp>
          <p:nvSpPr>
            <p:cNvPr id="339" name="Circle">
              <a:extLst>
                <a:ext uri="{FF2B5EF4-FFF2-40B4-BE49-F238E27FC236}">
                  <a16:creationId xmlns:a16="http://schemas.microsoft.com/office/drawing/2014/main" id="{6A615954-FAAD-4A1C-8F9E-5E34241A1C74}"/>
                </a:ext>
              </a:extLst>
            </p:cNvPr>
            <p:cNvSpPr/>
            <p:nvPr/>
          </p:nvSpPr>
          <p:spPr>
            <a:xfrm>
              <a:off x="6636379" y="2687776"/>
              <a:ext cx="635335" cy="635335"/>
            </a:xfrm>
            <a:prstGeom prst="ellipse">
              <a:avLst/>
            </a:prstGeom>
            <a:solidFill>
              <a:schemeClr val="bg2"/>
            </a:solidFill>
            <a:ln w="12700">
              <a:miter lim="400000"/>
            </a:ln>
          </p:spPr>
          <p:txBody>
            <a:bodyPr lIns="0" tIns="0" rIns="0" bIns="0" anchor="ctr"/>
            <a:lstStyle/>
            <a:p>
              <a:pPr algn="ctr" defTabSz="309563" hangingPunct="0">
                <a:buClrTx/>
                <a:defRPr sz="3200">
                  <a:solidFill>
                    <a:srgbClr val="FFFFFF"/>
                  </a:solidFill>
                  <a:latin typeface="Poppins Bold"/>
                  <a:ea typeface="Poppins Bold"/>
                  <a:cs typeface="Poppins Bold"/>
                  <a:sym typeface="Poppins Bold"/>
                </a:defRPr>
              </a:pPr>
              <a:endParaRPr sz="1200" dirty="0">
                <a:solidFill>
                  <a:srgbClr val="FFFFFF"/>
                </a:solidFill>
                <a:latin typeface="Roboto" pitchFamily="2" charset="0"/>
                <a:ea typeface="Roboto" pitchFamily="2" charset="0"/>
                <a:cs typeface="Poppins Bold"/>
                <a:sym typeface="Poppins Bold"/>
              </a:endParaRPr>
            </a:p>
          </p:txBody>
        </p:sp>
        <p:pic>
          <p:nvPicPr>
            <p:cNvPr id="340" name="Рисунок 339">
              <a:extLst>
                <a:ext uri="{FF2B5EF4-FFF2-40B4-BE49-F238E27FC236}">
                  <a16:creationId xmlns:a16="http://schemas.microsoft.com/office/drawing/2014/main" id="{A66A44F4-8B81-46BE-B8F0-3E855D640007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6776527" y="2838729"/>
              <a:ext cx="344999" cy="344999"/>
            </a:xfrm>
            <a:prstGeom prst="rect">
              <a:avLst/>
            </a:prstGeom>
          </p:spPr>
        </p:pic>
      </p:grpSp>
      <p:grpSp>
        <p:nvGrpSpPr>
          <p:cNvPr id="341" name="Группа 340">
            <a:extLst>
              <a:ext uri="{FF2B5EF4-FFF2-40B4-BE49-F238E27FC236}">
                <a16:creationId xmlns:a16="http://schemas.microsoft.com/office/drawing/2014/main" id="{911FA5BF-EB05-494D-B7AE-4B80DA283B5E}"/>
              </a:ext>
            </a:extLst>
          </p:cNvPr>
          <p:cNvGrpSpPr/>
          <p:nvPr/>
        </p:nvGrpSpPr>
        <p:grpSpPr>
          <a:xfrm>
            <a:off x="388248" y="4125101"/>
            <a:ext cx="5051622" cy="847113"/>
            <a:chOff x="6510195" y="3639973"/>
            <a:chExt cx="5051622" cy="847113"/>
          </a:xfrm>
        </p:grpSpPr>
        <p:sp>
          <p:nvSpPr>
            <p:cNvPr id="342" name="Rounded Rectangle">
              <a:extLst>
                <a:ext uri="{FF2B5EF4-FFF2-40B4-BE49-F238E27FC236}">
                  <a16:creationId xmlns:a16="http://schemas.microsoft.com/office/drawing/2014/main" id="{09B83E3B-21D4-4BDA-8C02-551DDBC9008B}"/>
                </a:ext>
              </a:extLst>
            </p:cNvPr>
            <p:cNvSpPr/>
            <p:nvPr/>
          </p:nvSpPr>
          <p:spPr>
            <a:xfrm>
              <a:off x="6510195" y="3639973"/>
              <a:ext cx="5051622" cy="847113"/>
            </a:xfrm>
            <a:prstGeom prst="roundRect">
              <a:avLst>
                <a:gd name="adj" fmla="val 50000"/>
              </a:avLst>
            </a:prstGeom>
            <a:solidFill>
              <a:schemeClr val="bg1"/>
            </a:solidFill>
            <a:ln w="12700" cap="flat">
              <a:noFill/>
              <a:prstDash val="dash"/>
              <a:miter/>
            </a:ln>
            <a:effectLst>
              <a:outerShdw blurRad="1003300" sx="102000" sy="102000" algn="ctr" rotWithShape="0">
                <a:schemeClr val="tx1">
                  <a:alpha val="15000"/>
                </a:schemeClr>
              </a:outerShdw>
            </a:effectLst>
          </p:spPr>
          <p:txBody>
            <a:bodyPr lIns="0" tIns="0" rIns="0" bIns="0" anchor="ctr"/>
            <a:lstStyle/>
            <a:p>
              <a:pPr algn="ctr" defTabSz="309563" hangingPunct="0"/>
              <a:endParaRPr sz="1200" dirty="0">
                <a:solidFill>
                  <a:srgbClr val="FFFFFF"/>
                </a:solidFill>
                <a:latin typeface="Roboto" pitchFamily="2" charset="0"/>
                <a:ea typeface="Roboto" pitchFamily="2" charset="0"/>
                <a:cs typeface="Poppins Bold"/>
                <a:sym typeface="Poppins Bold"/>
              </a:endParaRPr>
            </a:p>
          </p:txBody>
        </p:sp>
        <p:sp>
          <p:nvSpPr>
            <p:cNvPr id="343" name="Motion design">
              <a:extLst>
                <a:ext uri="{FF2B5EF4-FFF2-40B4-BE49-F238E27FC236}">
                  <a16:creationId xmlns:a16="http://schemas.microsoft.com/office/drawing/2014/main" id="{8D57A8E6-5AC5-45CF-B6D2-FC36C9ADC357}"/>
                </a:ext>
              </a:extLst>
            </p:cNvPr>
            <p:cNvSpPr txBox="1"/>
            <p:nvPr/>
          </p:nvSpPr>
          <p:spPr>
            <a:xfrm>
              <a:off x="7434559" y="3645394"/>
              <a:ext cx="3936873" cy="815095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</a:ext>
            </a:extLst>
          </p:spPr>
          <p:txBody>
            <a:bodyPr wrap="square" lIns="0" tIns="0" rIns="0" bIns="0" anchor="ctr">
              <a:spAutoFit/>
            </a:bodyPr>
            <a:lstStyle>
              <a:lvl1pPr>
                <a:lnSpc>
                  <a:spcPct val="130000"/>
                </a:lnSpc>
                <a:defRPr sz="3000">
                  <a:latin typeface="+mn-lt"/>
                  <a:ea typeface="+mn-ea"/>
                  <a:cs typeface="+mn-cs"/>
                  <a:sym typeface="Poppins SemiBold"/>
                </a:defRPr>
              </a:lvl1pPr>
            </a:lstStyle>
            <a:p>
              <a:pPr defTabSz="309563" hangingPunct="0">
                <a:buClrTx/>
                <a:defRPr/>
              </a:pPr>
              <a:r>
                <a:rPr lang="ru-RU" sz="1400" dirty="0">
                  <a:solidFill>
                    <a:srgbClr val="0D0D0D"/>
                  </a:solidFill>
                  <a:latin typeface="SB Sans Text Light" panose="020B0303040504020204" pitchFamily="34" charset="-52"/>
                  <a:ea typeface="Roboto Light" panose="02000000000000000000" pitchFamily="2" charset="0"/>
                  <a:cs typeface="SB Sans Text Light" panose="020B0303040504020204" pitchFamily="34" charset="-52"/>
                </a:rPr>
                <a:t>Актуализация клиентских данных происходит автоматически, без посещения клиентом </a:t>
              </a:r>
              <a:r>
                <a:rPr lang="ru-RU" sz="1400" dirty="0" err="1">
                  <a:solidFill>
                    <a:srgbClr val="0D0D0D"/>
                  </a:solidFill>
                  <a:latin typeface="SB Sans Text Light" panose="020B0303040504020204" pitchFamily="34" charset="-52"/>
                  <a:ea typeface="Roboto Light" panose="02000000000000000000" pitchFamily="2" charset="0"/>
                  <a:cs typeface="SB Sans Text Light" panose="020B0303040504020204" pitchFamily="34" charset="-52"/>
                </a:rPr>
                <a:t>СберНПФ</a:t>
              </a:r>
              <a:endParaRPr lang="ru-RU" sz="1400" dirty="0">
                <a:solidFill>
                  <a:srgbClr val="0D0D0D"/>
                </a:solidFill>
                <a:latin typeface="SB Sans Text Light" panose="020B0303040504020204" pitchFamily="34" charset="-52"/>
                <a:ea typeface="Roboto Light" panose="02000000000000000000" pitchFamily="2" charset="0"/>
                <a:cs typeface="SB Sans Text Light" panose="020B0303040504020204" pitchFamily="34" charset="-52"/>
              </a:endParaRPr>
            </a:p>
          </p:txBody>
        </p:sp>
        <p:sp>
          <p:nvSpPr>
            <p:cNvPr id="344" name="Circle">
              <a:extLst>
                <a:ext uri="{FF2B5EF4-FFF2-40B4-BE49-F238E27FC236}">
                  <a16:creationId xmlns:a16="http://schemas.microsoft.com/office/drawing/2014/main" id="{C7B4FE3D-91CE-4EA7-A81E-2D512C121C80}"/>
                </a:ext>
              </a:extLst>
            </p:cNvPr>
            <p:cNvSpPr/>
            <p:nvPr/>
          </p:nvSpPr>
          <p:spPr>
            <a:xfrm>
              <a:off x="6636379" y="3745862"/>
              <a:ext cx="635335" cy="635335"/>
            </a:xfrm>
            <a:prstGeom prst="ellipse">
              <a:avLst/>
            </a:prstGeom>
            <a:solidFill>
              <a:schemeClr val="bg2"/>
            </a:solidFill>
            <a:ln w="12700">
              <a:miter lim="400000"/>
            </a:ln>
          </p:spPr>
          <p:txBody>
            <a:bodyPr lIns="0" tIns="0" rIns="0" bIns="0" anchor="ctr"/>
            <a:lstStyle/>
            <a:p>
              <a:pPr algn="ctr" defTabSz="309563" hangingPunct="0">
                <a:buClrTx/>
                <a:defRPr sz="3200">
                  <a:solidFill>
                    <a:srgbClr val="FFFFFF"/>
                  </a:solidFill>
                  <a:latin typeface="Poppins Bold"/>
                  <a:ea typeface="Poppins Bold"/>
                  <a:cs typeface="Poppins Bold"/>
                  <a:sym typeface="Poppins Bold"/>
                </a:defRPr>
              </a:pPr>
              <a:endParaRPr sz="1200" dirty="0">
                <a:solidFill>
                  <a:srgbClr val="FFFFFF"/>
                </a:solidFill>
                <a:latin typeface="Roboto" pitchFamily="2" charset="0"/>
                <a:ea typeface="Roboto" pitchFamily="2" charset="0"/>
                <a:cs typeface="Poppins Bold"/>
                <a:sym typeface="Poppins Bold"/>
              </a:endParaRPr>
            </a:p>
          </p:txBody>
        </p:sp>
        <p:pic>
          <p:nvPicPr>
            <p:cNvPr id="345" name="Рисунок 344">
              <a:extLst>
                <a:ext uri="{FF2B5EF4-FFF2-40B4-BE49-F238E27FC236}">
                  <a16:creationId xmlns:a16="http://schemas.microsoft.com/office/drawing/2014/main" id="{E1F4F9B9-2D58-418C-9BFE-A0A6006B6DE9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rcRect/>
            <a:stretch/>
          </p:blipFill>
          <p:spPr>
            <a:xfrm>
              <a:off x="6768621" y="3935820"/>
              <a:ext cx="378376" cy="249998"/>
            </a:xfrm>
            <a:prstGeom prst="rect">
              <a:avLst/>
            </a:prstGeom>
          </p:spPr>
        </p:pic>
      </p:grpSp>
      <p:sp>
        <p:nvSpPr>
          <p:cNvPr id="346" name="Заголовок">
            <a:extLst>
              <a:ext uri="{FF2B5EF4-FFF2-40B4-BE49-F238E27FC236}">
                <a16:creationId xmlns:a16="http://schemas.microsoft.com/office/drawing/2014/main" id="{1A61AA49-7545-45F6-BF28-90BA2FD972B2}"/>
              </a:ext>
            </a:extLst>
          </p:cNvPr>
          <p:cNvSpPr txBox="1"/>
          <p:nvPr/>
        </p:nvSpPr>
        <p:spPr>
          <a:xfrm>
            <a:off x="507067" y="376044"/>
            <a:ext cx="7168350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4400" dirty="0">
                <a:solidFill>
                  <a:srgbClr val="0D0D0D">
                    <a:lumMod val="75000"/>
                    <a:lumOff val="25000"/>
                  </a:srgbClr>
                </a:solidFill>
                <a:latin typeface="SB Sans Text Medium" panose="020B0603040504020204" pitchFamily="34" charset="-52"/>
                <a:ea typeface="Roboto" pitchFamily="2" charset="0"/>
                <a:cs typeface="SB Sans Text Medium" panose="020B0603040504020204" pitchFamily="34" charset="-52"/>
              </a:rPr>
              <a:t>Выгоды </a:t>
            </a:r>
            <a:r>
              <a:rPr lang="ru-RU" sz="4400" dirty="0" err="1">
                <a:solidFill>
                  <a:srgbClr val="0D0D0D">
                    <a:lumMod val="75000"/>
                    <a:lumOff val="25000"/>
                  </a:srgbClr>
                </a:solidFill>
                <a:latin typeface="SB Sans Text Medium" panose="020B0603040504020204" pitchFamily="34" charset="-52"/>
                <a:ea typeface="Roboto" pitchFamily="2" charset="0"/>
                <a:cs typeface="SB Sans Text Medium" panose="020B0603040504020204" pitchFamily="34" charset="-52"/>
              </a:rPr>
              <a:t>СберНПФ</a:t>
            </a:r>
            <a:endParaRPr lang="ru-RU" sz="4400" dirty="0">
              <a:solidFill>
                <a:srgbClr val="0D0D0D">
                  <a:lumMod val="75000"/>
                  <a:lumOff val="25000"/>
                </a:srgbClr>
              </a:solidFill>
              <a:latin typeface="SB Sans Text Medium" panose="020B0603040504020204" pitchFamily="34" charset="-52"/>
              <a:ea typeface="Roboto" pitchFamily="2" charset="0"/>
              <a:cs typeface="SB Sans Text Medium" panose="020B0603040504020204" pitchFamily="34" charset="-52"/>
            </a:endParaRPr>
          </a:p>
        </p:txBody>
      </p:sp>
      <p:grpSp>
        <p:nvGrpSpPr>
          <p:cNvPr id="5" name="Рисунок 2">
            <a:extLst>
              <a:ext uri="{FF2B5EF4-FFF2-40B4-BE49-F238E27FC236}">
                <a16:creationId xmlns:a16="http://schemas.microsoft.com/office/drawing/2014/main" id="{18FB7E78-4923-4A07-9C16-E8AA8C316592}"/>
              </a:ext>
            </a:extLst>
          </p:cNvPr>
          <p:cNvGrpSpPr/>
          <p:nvPr/>
        </p:nvGrpSpPr>
        <p:grpSpPr>
          <a:xfrm>
            <a:off x="6369804" y="908215"/>
            <a:ext cx="4605771" cy="4835510"/>
            <a:chOff x="6369804" y="908215"/>
            <a:chExt cx="4605771" cy="4835510"/>
          </a:xfrm>
        </p:grpSpPr>
        <p:sp>
          <p:nvSpPr>
            <p:cNvPr id="6" name="Полилиния: фигура 5">
              <a:extLst>
                <a:ext uri="{FF2B5EF4-FFF2-40B4-BE49-F238E27FC236}">
                  <a16:creationId xmlns:a16="http://schemas.microsoft.com/office/drawing/2014/main" id="{B425C7DA-5BD4-4D71-89AE-EB256D5EEA85}"/>
                </a:ext>
              </a:extLst>
            </p:cNvPr>
            <p:cNvSpPr/>
            <p:nvPr/>
          </p:nvSpPr>
          <p:spPr>
            <a:xfrm>
              <a:off x="6369804" y="908215"/>
              <a:ext cx="4605771" cy="4835510"/>
            </a:xfrm>
            <a:custGeom>
              <a:avLst/>
              <a:gdLst>
                <a:gd name="connsiteX0" fmla="*/ 2433974 w 4605771"/>
                <a:gd name="connsiteY0" fmla="*/ 43668 h 4835510"/>
                <a:gd name="connsiteX1" fmla="*/ 3579319 w 4605771"/>
                <a:gd name="connsiteY1" fmla="*/ 801863 h 4835510"/>
                <a:gd name="connsiteX2" fmla="*/ 4587454 w 4605771"/>
                <a:gd name="connsiteY2" fmla="*/ 2652196 h 4835510"/>
                <a:gd name="connsiteX3" fmla="*/ 4594527 w 4605771"/>
                <a:gd name="connsiteY3" fmla="*/ 3186349 h 4835510"/>
                <a:gd name="connsiteX4" fmla="*/ 4552199 w 4605771"/>
                <a:gd name="connsiteY4" fmla="*/ 3444776 h 4835510"/>
                <a:gd name="connsiteX5" fmla="*/ 3157023 w 4605771"/>
                <a:gd name="connsiteY5" fmla="*/ 4800018 h 4835510"/>
                <a:gd name="connsiteX6" fmla="*/ 1485250 w 4605771"/>
                <a:gd name="connsiteY6" fmla="*/ 4087741 h 4835510"/>
                <a:gd name="connsiteX7" fmla="*/ 19891 w 4605771"/>
                <a:gd name="connsiteY7" fmla="*/ 2217713 h 4835510"/>
                <a:gd name="connsiteX8" fmla="*/ 12383 w 4605771"/>
                <a:gd name="connsiteY8" fmla="*/ 1668653 h 4835510"/>
                <a:gd name="connsiteX9" fmla="*/ 542293 w 4605771"/>
                <a:gd name="connsiteY9" fmla="*/ 515799 h 4835510"/>
                <a:gd name="connsiteX10" fmla="*/ 614652 w 4605771"/>
                <a:gd name="connsiteY10" fmla="*/ 452145 h 4835510"/>
                <a:gd name="connsiteX11" fmla="*/ 2433974 w 4605771"/>
                <a:gd name="connsiteY11" fmla="*/ 43668 h 48355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4605771" h="4835510">
                  <a:moveTo>
                    <a:pt x="2433974" y="43668"/>
                  </a:moveTo>
                  <a:cubicBezTo>
                    <a:pt x="2874332" y="132240"/>
                    <a:pt x="3374754" y="377174"/>
                    <a:pt x="3579319" y="801863"/>
                  </a:cubicBezTo>
                  <a:cubicBezTo>
                    <a:pt x="3888451" y="1443522"/>
                    <a:pt x="4444585" y="1437103"/>
                    <a:pt x="4587454" y="2652196"/>
                  </a:cubicBezTo>
                  <a:cubicBezTo>
                    <a:pt x="4609760" y="2841636"/>
                    <a:pt x="4611175" y="3019869"/>
                    <a:pt x="4594527" y="3186349"/>
                  </a:cubicBezTo>
                  <a:cubicBezTo>
                    <a:pt x="4585604" y="3275901"/>
                    <a:pt x="4571350" y="3362080"/>
                    <a:pt x="4552199" y="3444776"/>
                  </a:cubicBezTo>
                  <a:cubicBezTo>
                    <a:pt x="4379516" y="4195681"/>
                    <a:pt x="3809781" y="4664113"/>
                    <a:pt x="3157023" y="4800018"/>
                  </a:cubicBezTo>
                  <a:cubicBezTo>
                    <a:pt x="2298395" y="4978903"/>
                    <a:pt x="1789486" y="4441268"/>
                    <a:pt x="1485250" y="4087741"/>
                  </a:cubicBezTo>
                  <a:cubicBezTo>
                    <a:pt x="1181014" y="3734105"/>
                    <a:pt x="169833" y="3411153"/>
                    <a:pt x="19891" y="2217713"/>
                  </a:cubicBezTo>
                  <a:cubicBezTo>
                    <a:pt x="-2851" y="2035781"/>
                    <a:pt x="-7094" y="1851238"/>
                    <a:pt x="12383" y="1668653"/>
                  </a:cubicBezTo>
                  <a:cubicBezTo>
                    <a:pt x="56560" y="1251906"/>
                    <a:pt x="230549" y="807630"/>
                    <a:pt x="542293" y="515799"/>
                  </a:cubicBezTo>
                  <a:cubicBezTo>
                    <a:pt x="565687" y="493928"/>
                    <a:pt x="589843" y="472710"/>
                    <a:pt x="614652" y="452145"/>
                  </a:cubicBezTo>
                  <a:cubicBezTo>
                    <a:pt x="1099623" y="50632"/>
                    <a:pt x="1833663" y="-77112"/>
                    <a:pt x="2433974" y="43668"/>
                  </a:cubicBezTo>
                  <a:close/>
                </a:path>
              </a:pathLst>
            </a:custGeom>
            <a:solidFill>
              <a:srgbClr val="21A038"/>
            </a:solidFill>
            <a:ln w="10863" cap="flat">
              <a:solidFill>
                <a:srgbClr val="000000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7" name="Полилиния: фигура 6">
              <a:extLst>
                <a:ext uri="{FF2B5EF4-FFF2-40B4-BE49-F238E27FC236}">
                  <a16:creationId xmlns:a16="http://schemas.microsoft.com/office/drawing/2014/main" id="{6B61FA7F-F987-4CAE-9E33-D735EFCB6F46}"/>
                </a:ext>
              </a:extLst>
            </p:cNvPr>
            <p:cNvSpPr/>
            <p:nvPr/>
          </p:nvSpPr>
          <p:spPr>
            <a:xfrm>
              <a:off x="6369804" y="908215"/>
              <a:ext cx="4605771" cy="4835510"/>
            </a:xfrm>
            <a:custGeom>
              <a:avLst/>
              <a:gdLst>
                <a:gd name="connsiteX0" fmla="*/ 2433974 w 4605771"/>
                <a:gd name="connsiteY0" fmla="*/ 43668 h 4835510"/>
                <a:gd name="connsiteX1" fmla="*/ 3579319 w 4605771"/>
                <a:gd name="connsiteY1" fmla="*/ 801863 h 4835510"/>
                <a:gd name="connsiteX2" fmla="*/ 4587454 w 4605771"/>
                <a:gd name="connsiteY2" fmla="*/ 2652196 h 4835510"/>
                <a:gd name="connsiteX3" fmla="*/ 4594527 w 4605771"/>
                <a:gd name="connsiteY3" fmla="*/ 3186349 h 4835510"/>
                <a:gd name="connsiteX4" fmla="*/ 4552199 w 4605771"/>
                <a:gd name="connsiteY4" fmla="*/ 3444776 h 4835510"/>
                <a:gd name="connsiteX5" fmla="*/ 3157023 w 4605771"/>
                <a:gd name="connsiteY5" fmla="*/ 4800018 h 4835510"/>
                <a:gd name="connsiteX6" fmla="*/ 1485250 w 4605771"/>
                <a:gd name="connsiteY6" fmla="*/ 4087741 h 4835510"/>
                <a:gd name="connsiteX7" fmla="*/ 19891 w 4605771"/>
                <a:gd name="connsiteY7" fmla="*/ 2217713 h 4835510"/>
                <a:gd name="connsiteX8" fmla="*/ 12383 w 4605771"/>
                <a:gd name="connsiteY8" fmla="*/ 1668653 h 4835510"/>
                <a:gd name="connsiteX9" fmla="*/ 542293 w 4605771"/>
                <a:gd name="connsiteY9" fmla="*/ 515799 h 4835510"/>
                <a:gd name="connsiteX10" fmla="*/ 614652 w 4605771"/>
                <a:gd name="connsiteY10" fmla="*/ 452145 h 4835510"/>
                <a:gd name="connsiteX11" fmla="*/ 2433974 w 4605771"/>
                <a:gd name="connsiteY11" fmla="*/ 43668 h 48355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4605771" h="4835510">
                  <a:moveTo>
                    <a:pt x="2433974" y="43668"/>
                  </a:moveTo>
                  <a:cubicBezTo>
                    <a:pt x="2874332" y="132240"/>
                    <a:pt x="3374754" y="377174"/>
                    <a:pt x="3579319" y="801863"/>
                  </a:cubicBezTo>
                  <a:cubicBezTo>
                    <a:pt x="3888451" y="1443522"/>
                    <a:pt x="4444585" y="1437103"/>
                    <a:pt x="4587454" y="2652196"/>
                  </a:cubicBezTo>
                  <a:cubicBezTo>
                    <a:pt x="4609760" y="2841636"/>
                    <a:pt x="4611175" y="3019869"/>
                    <a:pt x="4594527" y="3186349"/>
                  </a:cubicBezTo>
                  <a:cubicBezTo>
                    <a:pt x="4585604" y="3275901"/>
                    <a:pt x="4571350" y="3362080"/>
                    <a:pt x="4552199" y="3444776"/>
                  </a:cubicBezTo>
                  <a:cubicBezTo>
                    <a:pt x="4379516" y="4195681"/>
                    <a:pt x="3809781" y="4664113"/>
                    <a:pt x="3157023" y="4800018"/>
                  </a:cubicBezTo>
                  <a:cubicBezTo>
                    <a:pt x="2298395" y="4978903"/>
                    <a:pt x="1789486" y="4441268"/>
                    <a:pt x="1485250" y="4087741"/>
                  </a:cubicBezTo>
                  <a:cubicBezTo>
                    <a:pt x="1181014" y="3734105"/>
                    <a:pt x="169833" y="3411153"/>
                    <a:pt x="19891" y="2217713"/>
                  </a:cubicBezTo>
                  <a:cubicBezTo>
                    <a:pt x="-2851" y="2035781"/>
                    <a:pt x="-7094" y="1851238"/>
                    <a:pt x="12383" y="1668653"/>
                  </a:cubicBezTo>
                  <a:cubicBezTo>
                    <a:pt x="56560" y="1251906"/>
                    <a:pt x="230549" y="807630"/>
                    <a:pt x="542293" y="515799"/>
                  </a:cubicBezTo>
                  <a:cubicBezTo>
                    <a:pt x="565687" y="493928"/>
                    <a:pt x="589843" y="472710"/>
                    <a:pt x="614652" y="452145"/>
                  </a:cubicBezTo>
                  <a:cubicBezTo>
                    <a:pt x="1099623" y="50632"/>
                    <a:pt x="1833663" y="-77112"/>
                    <a:pt x="2433974" y="43668"/>
                  </a:cubicBezTo>
                  <a:close/>
                </a:path>
              </a:pathLst>
            </a:custGeom>
            <a:solidFill>
              <a:srgbClr val="FFFFFF">
                <a:alpha val="70000"/>
              </a:srgbClr>
            </a:solidFill>
            <a:ln w="108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sp>
        <p:nvSpPr>
          <p:cNvPr id="9" name="Полилиния: фигура 8">
            <a:extLst>
              <a:ext uri="{FF2B5EF4-FFF2-40B4-BE49-F238E27FC236}">
                <a16:creationId xmlns:a16="http://schemas.microsoft.com/office/drawing/2014/main" id="{08B701FC-6CAE-4846-ADC1-BE859A268F17}"/>
              </a:ext>
            </a:extLst>
          </p:cNvPr>
          <p:cNvSpPr/>
          <p:nvPr/>
        </p:nvSpPr>
        <p:spPr>
          <a:xfrm>
            <a:off x="9610503" y="2768593"/>
            <a:ext cx="1091701" cy="1014880"/>
          </a:xfrm>
          <a:custGeom>
            <a:avLst/>
            <a:gdLst>
              <a:gd name="connsiteX0" fmla="*/ 1091702 w 1091701"/>
              <a:gd name="connsiteY0" fmla="*/ 0 h 1014880"/>
              <a:gd name="connsiteX1" fmla="*/ 673214 w 1091701"/>
              <a:gd name="connsiteY1" fmla="*/ 109 h 1014880"/>
              <a:gd name="connsiteX2" fmla="*/ 797912 w 1091701"/>
              <a:gd name="connsiteY2" fmla="*/ 127309 h 1014880"/>
              <a:gd name="connsiteX3" fmla="*/ 0 w 1091701"/>
              <a:gd name="connsiteY3" fmla="*/ 857105 h 1014880"/>
              <a:gd name="connsiteX4" fmla="*/ 147983 w 1091701"/>
              <a:gd name="connsiteY4" fmla="*/ 1014881 h 1014880"/>
              <a:gd name="connsiteX5" fmla="*/ 949486 w 1091701"/>
              <a:gd name="connsiteY5" fmla="*/ 281712 h 1014880"/>
              <a:gd name="connsiteX6" fmla="*/ 1083650 w 1091701"/>
              <a:gd name="connsiteY6" fmla="*/ 418487 h 1014880"/>
              <a:gd name="connsiteX7" fmla="*/ 1091702 w 1091701"/>
              <a:gd name="connsiteY7" fmla="*/ 0 h 10148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91701" h="1014880">
                <a:moveTo>
                  <a:pt x="1091702" y="0"/>
                </a:moveTo>
                <a:lnTo>
                  <a:pt x="673214" y="109"/>
                </a:lnTo>
                <a:lnTo>
                  <a:pt x="797912" y="127309"/>
                </a:lnTo>
                <a:lnTo>
                  <a:pt x="0" y="857105"/>
                </a:lnTo>
                <a:lnTo>
                  <a:pt x="147983" y="1014881"/>
                </a:lnTo>
                <a:lnTo>
                  <a:pt x="949486" y="281712"/>
                </a:lnTo>
                <a:lnTo>
                  <a:pt x="1083650" y="418487"/>
                </a:lnTo>
                <a:lnTo>
                  <a:pt x="1091702" y="0"/>
                </a:lnTo>
                <a:close/>
              </a:path>
            </a:pathLst>
          </a:custGeom>
          <a:solidFill>
            <a:srgbClr val="000000">
              <a:alpha val="30000"/>
            </a:srgbClr>
          </a:solidFill>
          <a:ln w="10863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10" name="Полилиния: фигура 9">
            <a:extLst>
              <a:ext uri="{FF2B5EF4-FFF2-40B4-BE49-F238E27FC236}">
                <a16:creationId xmlns:a16="http://schemas.microsoft.com/office/drawing/2014/main" id="{3F106882-982B-40F4-93DD-5D97E769B2D9}"/>
              </a:ext>
            </a:extLst>
          </p:cNvPr>
          <p:cNvSpPr/>
          <p:nvPr/>
        </p:nvSpPr>
        <p:spPr>
          <a:xfrm>
            <a:off x="9326833" y="4588567"/>
            <a:ext cx="1091701" cy="1014880"/>
          </a:xfrm>
          <a:custGeom>
            <a:avLst/>
            <a:gdLst>
              <a:gd name="connsiteX0" fmla="*/ 662007 w 1091701"/>
              <a:gd name="connsiteY0" fmla="*/ 544708 h 1014880"/>
              <a:gd name="connsiteX1" fmla="*/ 949377 w 1091701"/>
              <a:gd name="connsiteY1" fmla="*/ 281821 h 1014880"/>
              <a:gd name="connsiteX2" fmla="*/ 1083650 w 1091701"/>
              <a:gd name="connsiteY2" fmla="*/ 418487 h 1014880"/>
              <a:gd name="connsiteX3" fmla="*/ 1091702 w 1091701"/>
              <a:gd name="connsiteY3" fmla="*/ 0 h 1014880"/>
              <a:gd name="connsiteX4" fmla="*/ 673106 w 1091701"/>
              <a:gd name="connsiteY4" fmla="*/ 218 h 1014880"/>
              <a:gd name="connsiteX5" fmla="*/ 797912 w 1091701"/>
              <a:gd name="connsiteY5" fmla="*/ 127309 h 1014880"/>
              <a:gd name="connsiteX6" fmla="*/ 0 w 1091701"/>
              <a:gd name="connsiteY6" fmla="*/ 857214 h 1014880"/>
              <a:gd name="connsiteX7" fmla="*/ 147983 w 1091701"/>
              <a:gd name="connsiteY7" fmla="*/ 1014881 h 1014880"/>
              <a:gd name="connsiteX8" fmla="*/ 621094 w 1091701"/>
              <a:gd name="connsiteY8" fmla="*/ 582030 h 10148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091701" h="1014880">
                <a:moveTo>
                  <a:pt x="662007" y="544708"/>
                </a:moveTo>
                <a:lnTo>
                  <a:pt x="949377" y="281821"/>
                </a:lnTo>
                <a:lnTo>
                  <a:pt x="1083650" y="418487"/>
                </a:lnTo>
                <a:lnTo>
                  <a:pt x="1091702" y="0"/>
                </a:lnTo>
                <a:lnTo>
                  <a:pt x="673106" y="218"/>
                </a:lnTo>
                <a:lnTo>
                  <a:pt x="797912" y="127309"/>
                </a:lnTo>
                <a:lnTo>
                  <a:pt x="0" y="857214"/>
                </a:lnTo>
                <a:lnTo>
                  <a:pt x="147983" y="1014881"/>
                </a:lnTo>
                <a:lnTo>
                  <a:pt x="621094" y="582030"/>
                </a:lnTo>
              </a:path>
            </a:pathLst>
          </a:custGeom>
          <a:noFill/>
          <a:ln w="10863" cap="flat">
            <a:solidFill>
              <a:srgbClr val="263238"/>
            </a:solidFill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11" name="Полилиния: фигура 10">
            <a:extLst>
              <a:ext uri="{FF2B5EF4-FFF2-40B4-BE49-F238E27FC236}">
                <a16:creationId xmlns:a16="http://schemas.microsoft.com/office/drawing/2014/main" id="{8E4B4D17-5F77-4743-89AB-5B64761E255B}"/>
              </a:ext>
            </a:extLst>
          </p:cNvPr>
          <p:cNvSpPr/>
          <p:nvPr/>
        </p:nvSpPr>
        <p:spPr>
          <a:xfrm>
            <a:off x="6378705" y="2215942"/>
            <a:ext cx="852425" cy="792362"/>
          </a:xfrm>
          <a:custGeom>
            <a:avLst/>
            <a:gdLst>
              <a:gd name="connsiteX0" fmla="*/ 852426 w 852425"/>
              <a:gd name="connsiteY0" fmla="*/ 0 h 792362"/>
              <a:gd name="connsiteX1" fmla="*/ 525666 w 852425"/>
              <a:gd name="connsiteY1" fmla="*/ 109 h 792362"/>
              <a:gd name="connsiteX2" fmla="*/ 623052 w 852425"/>
              <a:gd name="connsiteY2" fmla="*/ 99344 h 792362"/>
              <a:gd name="connsiteX3" fmla="*/ 0 w 852425"/>
              <a:gd name="connsiteY3" fmla="*/ 669188 h 792362"/>
              <a:gd name="connsiteX4" fmla="*/ 115557 w 852425"/>
              <a:gd name="connsiteY4" fmla="*/ 792362 h 792362"/>
              <a:gd name="connsiteX5" fmla="*/ 741439 w 852425"/>
              <a:gd name="connsiteY5" fmla="*/ 219907 h 792362"/>
              <a:gd name="connsiteX6" fmla="*/ 846224 w 852425"/>
              <a:gd name="connsiteY6" fmla="*/ 326760 h 792362"/>
              <a:gd name="connsiteX7" fmla="*/ 852426 w 852425"/>
              <a:gd name="connsiteY7" fmla="*/ 0 h 7923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52425" h="792362">
                <a:moveTo>
                  <a:pt x="852426" y="0"/>
                </a:moveTo>
                <a:lnTo>
                  <a:pt x="525666" y="109"/>
                </a:lnTo>
                <a:lnTo>
                  <a:pt x="623052" y="99344"/>
                </a:lnTo>
                <a:lnTo>
                  <a:pt x="0" y="669188"/>
                </a:lnTo>
                <a:lnTo>
                  <a:pt x="115557" y="792362"/>
                </a:lnTo>
                <a:lnTo>
                  <a:pt x="741439" y="219907"/>
                </a:lnTo>
                <a:lnTo>
                  <a:pt x="846224" y="326760"/>
                </a:lnTo>
                <a:lnTo>
                  <a:pt x="852426" y="0"/>
                </a:lnTo>
                <a:close/>
              </a:path>
            </a:pathLst>
          </a:custGeom>
          <a:solidFill>
            <a:srgbClr val="000000">
              <a:alpha val="30000"/>
            </a:srgbClr>
          </a:solidFill>
          <a:ln w="10863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12" name="Полилиния: фигура 11">
            <a:extLst>
              <a:ext uri="{FF2B5EF4-FFF2-40B4-BE49-F238E27FC236}">
                <a16:creationId xmlns:a16="http://schemas.microsoft.com/office/drawing/2014/main" id="{50A2AA17-4A38-4545-A0FA-7D5F676DD0E6}"/>
              </a:ext>
            </a:extLst>
          </p:cNvPr>
          <p:cNvSpPr/>
          <p:nvPr/>
        </p:nvSpPr>
        <p:spPr>
          <a:xfrm>
            <a:off x="6443934" y="3560407"/>
            <a:ext cx="967351" cy="915540"/>
          </a:xfrm>
          <a:custGeom>
            <a:avLst/>
            <a:gdLst>
              <a:gd name="connsiteX0" fmla="*/ 647484 w 967351"/>
              <a:gd name="connsiteY0" fmla="*/ 393791 h 915540"/>
              <a:gd name="connsiteX1" fmla="*/ 848241 w 967351"/>
              <a:gd name="connsiteY1" fmla="*/ 205113 h 915540"/>
              <a:gd name="connsiteX2" fmla="*/ 736274 w 967351"/>
              <a:gd name="connsiteY2" fmla="*/ 644709 h 915540"/>
              <a:gd name="connsiteX3" fmla="*/ 763477 w 967351"/>
              <a:gd name="connsiteY3" fmla="*/ 690519 h 915540"/>
              <a:gd name="connsiteX4" fmla="*/ 798623 w 967351"/>
              <a:gd name="connsiteY4" fmla="*/ 681379 h 915540"/>
              <a:gd name="connsiteX5" fmla="*/ 809286 w 967351"/>
              <a:gd name="connsiteY5" fmla="*/ 663207 h 915540"/>
              <a:gd name="connsiteX6" fmla="*/ 966192 w 967351"/>
              <a:gd name="connsiteY6" fmla="*/ 47010 h 915540"/>
              <a:gd name="connsiteX7" fmla="*/ 957161 w 967351"/>
              <a:gd name="connsiteY7" fmla="*/ 11864 h 915540"/>
              <a:gd name="connsiteX8" fmla="*/ 922667 w 967351"/>
              <a:gd name="connsiteY8" fmla="*/ 657 h 915540"/>
              <a:gd name="connsiteX9" fmla="*/ 297874 w 967351"/>
              <a:gd name="connsiteY9" fmla="*/ 119043 h 915540"/>
              <a:gd name="connsiteX10" fmla="*/ 267842 w 967351"/>
              <a:gd name="connsiteY10" fmla="*/ 163112 h 915540"/>
              <a:gd name="connsiteX11" fmla="*/ 311911 w 967351"/>
              <a:gd name="connsiteY11" fmla="*/ 193143 h 915540"/>
              <a:gd name="connsiteX12" fmla="*/ 757601 w 967351"/>
              <a:gd name="connsiteY12" fmla="*/ 108706 h 915540"/>
              <a:gd name="connsiteX13" fmla="*/ 20841 w 967351"/>
              <a:gd name="connsiteY13" fmla="*/ 801180 h 915540"/>
              <a:gd name="connsiteX14" fmla="*/ 17903 w 967351"/>
              <a:gd name="connsiteY14" fmla="*/ 894648 h 915540"/>
              <a:gd name="connsiteX15" fmla="*/ 66107 w 967351"/>
              <a:gd name="connsiteY15" fmla="*/ 915540 h 915540"/>
              <a:gd name="connsiteX16" fmla="*/ 111372 w 967351"/>
              <a:gd name="connsiteY16" fmla="*/ 897587 h 915540"/>
              <a:gd name="connsiteX17" fmla="*/ 596669 w 967351"/>
              <a:gd name="connsiteY17" fmla="*/ 441450 h 9155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</a:cxnLst>
            <a:rect l="l" t="t" r="r" b="b"/>
            <a:pathLst>
              <a:path w="967351" h="915540">
                <a:moveTo>
                  <a:pt x="647484" y="393791"/>
                </a:moveTo>
                <a:lnTo>
                  <a:pt x="848241" y="205113"/>
                </a:lnTo>
                <a:lnTo>
                  <a:pt x="736274" y="644709"/>
                </a:lnTo>
                <a:cubicBezTo>
                  <a:pt x="731160" y="664840"/>
                  <a:pt x="743347" y="685405"/>
                  <a:pt x="763477" y="690519"/>
                </a:cubicBezTo>
                <a:cubicBezTo>
                  <a:pt x="776425" y="693783"/>
                  <a:pt x="789591" y="689975"/>
                  <a:pt x="798623" y="681379"/>
                </a:cubicBezTo>
                <a:cubicBezTo>
                  <a:pt x="803628" y="676591"/>
                  <a:pt x="807436" y="670389"/>
                  <a:pt x="809286" y="663207"/>
                </a:cubicBezTo>
                <a:lnTo>
                  <a:pt x="966192" y="47010"/>
                </a:lnTo>
                <a:cubicBezTo>
                  <a:pt x="969347" y="34497"/>
                  <a:pt x="965974" y="21331"/>
                  <a:pt x="957161" y="11864"/>
                </a:cubicBezTo>
                <a:cubicBezTo>
                  <a:pt x="948347" y="2507"/>
                  <a:pt x="935290" y="-1737"/>
                  <a:pt x="922667" y="657"/>
                </a:cubicBezTo>
                <a:lnTo>
                  <a:pt x="297874" y="119043"/>
                </a:lnTo>
                <a:cubicBezTo>
                  <a:pt x="277635" y="122960"/>
                  <a:pt x="264034" y="142655"/>
                  <a:pt x="267842" y="163112"/>
                </a:cubicBezTo>
                <a:cubicBezTo>
                  <a:pt x="271651" y="183568"/>
                  <a:pt x="291454" y="196952"/>
                  <a:pt x="311911" y="193143"/>
                </a:cubicBezTo>
                <a:lnTo>
                  <a:pt x="757601" y="108706"/>
                </a:lnTo>
                <a:lnTo>
                  <a:pt x="20841" y="801180"/>
                </a:lnTo>
                <a:cubicBezTo>
                  <a:pt x="-5818" y="826207"/>
                  <a:pt x="-7014" y="867990"/>
                  <a:pt x="17903" y="894648"/>
                </a:cubicBezTo>
                <a:cubicBezTo>
                  <a:pt x="30961" y="908468"/>
                  <a:pt x="48479" y="915540"/>
                  <a:pt x="66107" y="915540"/>
                </a:cubicBezTo>
                <a:cubicBezTo>
                  <a:pt x="82319" y="915540"/>
                  <a:pt x="98641" y="909556"/>
                  <a:pt x="111372" y="897587"/>
                </a:cubicBezTo>
                <a:lnTo>
                  <a:pt x="596669" y="441450"/>
                </a:lnTo>
              </a:path>
            </a:pathLst>
          </a:custGeom>
          <a:noFill/>
          <a:ln w="10863" cap="flat">
            <a:solidFill>
              <a:srgbClr val="263238"/>
            </a:solidFill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13" name="Полилиния: фигура 12">
            <a:extLst>
              <a:ext uri="{FF2B5EF4-FFF2-40B4-BE49-F238E27FC236}">
                <a16:creationId xmlns:a16="http://schemas.microsoft.com/office/drawing/2014/main" id="{7872CD92-9EE6-430A-86B7-19867D355C66}"/>
              </a:ext>
            </a:extLst>
          </p:cNvPr>
          <p:cNvSpPr/>
          <p:nvPr/>
        </p:nvSpPr>
        <p:spPr>
          <a:xfrm>
            <a:off x="9445642" y="2333586"/>
            <a:ext cx="414310" cy="392027"/>
          </a:xfrm>
          <a:custGeom>
            <a:avLst/>
            <a:gdLst>
              <a:gd name="connsiteX0" fmla="*/ 410013 w 414310"/>
              <a:gd name="connsiteY0" fmla="*/ 5095 h 392027"/>
              <a:gd name="connsiteX1" fmla="*/ 395215 w 414310"/>
              <a:gd name="connsiteY1" fmla="*/ 307 h 392027"/>
              <a:gd name="connsiteX2" fmla="*/ 127648 w 414310"/>
              <a:gd name="connsiteY2" fmla="*/ 51013 h 392027"/>
              <a:gd name="connsiteX3" fmla="*/ 114808 w 414310"/>
              <a:gd name="connsiteY3" fmla="*/ 69838 h 392027"/>
              <a:gd name="connsiteX4" fmla="*/ 133633 w 414310"/>
              <a:gd name="connsiteY4" fmla="*/ 82677 h 392027"/>
              <a:gd name="connsiteX5" fmla="*/ 324488 w 414310"/>
              <a:gd name="connsiteY5" fmla="*/ 46552 h 392027"/>
              <a:gd name="connsiteX6" fmla="*/ 8935 w 414310"/>
              <a:gd name="connsiteY6" fmla="*/ 343062 h 392027"/>
              <a:gd name="connsiteX7" fmla="*/ 7738 w 414310"/>
              <a:gd name="connsiteY7" fmla="*/ 383105 h 392027"/>
              <a:gd name="connsiteX8" fmla="*/ 28412 w 414310"/>
              <a:gd name="connsiteY8" fmla="*/ 392027 h 392027"/>
              <a:gd name="connsiteX9" fmla="*/ 47781 w 414310"/>
              <a:gd name="connsiteY9" fmla="*/ 384302 h 392027"/>
              <a:gd name="connsiteX10" fmla="*/ 363333 w 414310"/>
              <a:gd name="connsiteY10" fmla="*/ 87791 h 392027"/>
              <a:gd name="connsiteX11" fmla="*/ 315347 w 414310"/>
              <a:gd name="connsiteY11" fmla="*/ 276035 h 392027"/>
              <a:gd name="connsiteX12" fmla="*/ 326990 w 414310"/>
              <a:gd name="connsiteY12" fmla="*/ 295621 h 392027"/>
              <a:gd name="connsiteX13" fmla="*/ 342006 w 414310"/>
              <a:gd name="connsiteY13" fmla="*/ 291703 h 392027"/>
              <a:gd name="connsiteX14" fmla="*/ 346576 w 414310"/>
              <a:gd name="connsiteY14" fmla="*/ 283978 h 392027"/>
              <a:gd name="connsiteX15" fmla="*/ 413821 w 414310"/>
              <a:gd name="connsiteY15" fmla="*/ 20111 h 392027"/>
              <a:gd name="connsiteX16" fmla="*/ 409904 w 414310"/>
              <a:gd name="connsiteY16" fmla="*/ 5095 h 3920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414310" h="392027">
                <a:moveTo>
                  <a:pt x="410013" y="5095"/>
                </a:moveTo>
                <a:cubicBezTo>
                  <a:pt x="406204" y="1069"/>
                  <a:pt x="400655" y="-781"/>
                  <a:pt x="395215" y="307"/>
                </a:cubicBezTo>
                <a:lnTo>
                  <a:pt x="127648" y="51013"/>
                </a:lnTo>
                <a:cubicBezTo>
                  <a:pt x="118943" y="52645"/>
                  <a:pt x="113176" y="61133"/>
                  <a:pt x="114808" y="69838"/>
                </a:cubicBezTo>
                <a:cubicBezTo>
                  <a:pt x="116441" y="78543"/>
                  <a:pt x="124928" y="84309"/>
                  <a:pt x="133633" y="82677"/>
                </a:cubicBezTo>
                <a:lnTo>
                  <a:pt x="324488" y="46552"/>
                </a:lnTo>
                <a:lnTo>
                  <a:pt x="8935" y="343062"/>
                </a:lnTo>
                <a:cubicBezTo>
                  <a:pt x="-2490" y="353726"/>
                  <a:pt x="-3034" y="371679"/>
                  <a:pt x="7738" y="383105"/>
                </a:cubicBezTo>
                <a:cubicBezTo>
                  <a:pt x="13288" y="389089"/>
                  <a:pt x="20796" y="392027"/>
                  <a:pt x="28412" y="392027"/>
                </a:cubicBezTo>
                <a:cubicBezTo>
                  <a:pt x="35376" y="392027"/>
                  <a:pt x="42340" y="389524"/>
                  <a:pt x="47781" y="384302"/>
                </a:cubicBezTo>
                <a:lnTo>
                  <a:pt x="363333" y="87791"/>
                </a:lnTo>
                <a:lnTo>
                  <a:pt x="315347" y="276035"/>
                </a:lnTo>
                <a:cubicBezTo>
                  <a:pt x="313171" y="284631"/>
                  <a:pt x="318394" y="293444"/>
                  <a:pt x="326990" y="295621"/>
                </a:cubicBezTo>
                <a:cubicBezTo>
                  <a:pt x="332539" y="297035"/>
                  <a:pt x="338198" y="295403"/>
                  <a:pt x="342006" y="291703"/>
                </a:cubicBezTo>
                <a:cubicBezTo>
                  <a:pt x="344182" y="289636"/>
                  <a:pt x="345814" y="287024"/>
                  <a:pt x="346576" y="283978"/>
                </a:cubicBezTo>
                <a:lnTo>
                  <a:pt x="413821" y="20111"/>
                </a:lnTo>
                <a:cubicBezTo>
                  <a:pt x="415127" y="14779"/>
                  <a:pt x="413821" y="9121"/>
                  <a:pt x="409904" y="5095"/>
                </a:cubicBezTo>
                <a:close/>
              </a:path>
            </a:pathLst>
          </a:custGeom>
          <a:noFill/>
          <a:ln w="10863" cap="flat">
            <a:solidFill>
              <a:srgbClr val="263238"/>
            </a:solidFill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14" name="Полилиния: фигура 13">
            <a:extLst>
              <a:ext uri="{FF2B5EF4-FFF2-40B4-BE49-F238E27FC236}">
                <a16:creationId xmlns:a16="http://schemas.microsoft.com/office/drawing/2014/main" id="{4CAFCA3E-3BFD-4D40-9730-FB1B958801B1}"/>
              </a:ext>
            </a:extLst>
          </p:cNvPr>
          <p:cNvSpPr/>
          <p:nvPr/>
        </p:nvSpPr>
        <p:spPr>
          <a:xfrm>
            <a:off x="8449150" y="4914802"/>
            <a:ext cx="414310" cy="392027"/>
          </a:xfrm>
          <a:custGeom>
            <a:avLst/>
            <a:gdLst>
              <a:gd name="connsiteX0" fmla="*/ 410013 w 414310"/>
              <a:gd name="connsiteY0" fmla="*/ 5095 h 392027"/>
              <a:gd name="connsiteX1" fmla="*/ 395215 w 414310"/>
              <a:gd name="connsiteY1" fmla="*/ 307 h 392027"/>
              <a:gd name="connsiteX2" fmla="*/ 127648 w 414310"/>
              <a:gd name="connsiteY2" fmla="*/ 51013 h 392027"/>
              <a:gd name="connsiteX3" fmla="*/ 114808 w 414310"/>
              <a:gd name="connsiteY3" fmla="*/ 69838 h 392027"/>
              <a:gd name="connsiteX4" fmla="*/ 133633 w 414310"/>
              <a:gd name="connsiteY4" fmla="*/ 82677 h 392027"/>
              <a:gd name="connsiteX5" fmla="*/ 324487 w 414310"/>
              <a:gd name="connsiteY5" fmla="*/ 46552 h 392027"/>
              <a:gd name="connsiteX6" fmla="*/ 8935 w 414310"/>
              <a:gd name="connsiteY6" fmla="*/ 343062 h 392027"/>
              <a:gd name="connsiteX7" fmla="*/ 7738 w 414310"/>
              <a:gd name="connsiteY7" fmla="*/ 383105 h 392027"/>
              <a:gd name="connsiteX8" fmla="*/ 28412 w 414310"/>
              <a:gd name="connsiteY8" fmla="*/ 392027 h 392027"/>
              <a:gd name="connsiteX9" fmla="*/ 47781 w 414310"/>
              <a:gd name="connsiteY9" fmla="*/ 384302 h 392027"/>
              <a:gd name="connsiteX10" fmla="*/ 363333 w 414310"/>
              <a:gd name="connsiteY10" fmla="*/ 87791 h 392027"/>
              <a:gd name="connsiteX11" fmla="*/ 315347 w 414310"/>
              <a:gd name="connsiteY11" fmla="*/ 276034 h 392027"/>
              <a:gd name="connsiteX12" fmla="*/ 326990 w 414310"/>
              <a:gd name="connsiteY12" fmla="*/ 295621 h 392027"/>
              <a:gd name="connsiteX13" fmla="*/ 342006 w 414310"/>
              <a:gd name="connsiteY13" fmla="*/ 291703 h 392027"/>
              <a:gd name="connsiteX14" fmla="*/ 346576 w 414310"/>
              <a:gd name="connsiteY14" fmla="*/ 283978 h 392027"/>
              <a:gd name="connsiteX15" fmla="*/ 413821 w 414310"/>
              <a:gd name="connsiteY15" fmla="*/ 20111 h 392027"/>
              <a:gd name="connsiteX16" fmla="*/ 409904 w 414310"/>
              <a:gd name="connsiteY16" fmla="*/ 5095 h 3920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414310" h="392027">
                <a:moveTo>
                  <a:pt x="410013" y="5095"/>
                </a:moveTo>
                <a:cubicBezTo>
                  <a:pt x="406205" y="1069"/>
                  <a:pt x="400655" y="-781"/>
                  <a:pt x="395215" y="307"/>
                </a:cubicBezTo>
                <a:lnTo>
                  <a:pt x="127648" y="51013"/>
                </a:lnTo>
                <a:cubicBezTo>
                  <a:pt x="118943" y="52645"/>
                  <a:pt x="113176" y="61133"/>
                  <a:pt x="114808" y="69838"/>
                </a:cubicBezTo>
                <a:cubicBezTo>
                  <a:pt x="116441" y="78542"/>
                  <a:pt x="124928" y="84309"/>
                  <a:pt x="133633" y="82677"/>
                </a:cubicBezTo>
                <a:lnTo>
                  <a:pt x="324487" y="46552"/>
                </a:lnTo>
                <a:lnTo>
                  <a:pt x="8935" y="343062"/>
                </a:lnTo>
                <a:cubicBezTo>
                  <a:pt x="-2490" y="353726"/>
                  <a:pt x="-3034" y="371679"/>
                  <a:pt x="7738" y="383105"/>
                </a:cubicBezTo>
                <a:cubicBezTo>
                  <a:pt x="13288" y="389089"/>
                  <a:pt x="20796" y="392027"/>
                  <a:pt x="28412" y="392027"/>
                </a:cubicBezTo>
                <a:cubicBezTo>
                  <a:pt x="35376" y="392027"/>
                  <a:pt x="42340" y="389525"/>
                  <a:pt x="47781" y="384302"/>
                </a:cubicBezTo>
                <a:lnTo>
                  <a:pt x="363333" y="87791"/>
                </a:lnTo>
                <a:lnTo>
                  <a:pt x="315347" y="276034"/>
                </a:lnTo>
                <a:cubicBezTo>
                  <a:pt x="313171" y="284631"/>
                  <a:pt x="318394" y="293444"/>
                  <a:pt x="326990" y="295621"/>
                </a:cubicBezTo>
                <a:cubicBezTo>
                  <a:pt x="332539" y="297035"/>
                  <a:pt x="338198" y="295403"/>
                  <a:pt x="342006" y="291703"/>
                </a:cubicBezTo>
                <a:cubicBezTo>
                  <a:pt x="344182" y="289636"/>
                  <a:pt x="345814" y="287024"/>
                  <a:pt x="346576" y="283978"/>
                </a:cubicBezTo>
                <a:lnTo>
                  <a:pt x="413821" y="20111"/>
                </a:lnTo>
                <a:cubicBezTo>
                  <a:pt x="415127" y="14779"/>
                  <a:pt x="413821" y="9121"/>
                  <a:pt x="409904" y="5095"/>
                </a:cubicBezTo>
                <a:close/>
              </a:path>
            </a:pathLst>
          </a:custGeom>
          <a:solidFill>
            <a:srgbClr val="000000">
              <a:alpha val="30000"/>
            </a:srgbClr>
          </a:solidFill>
          <a:ln w="10863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15" name="Полилиния: фигура 14">
            <a:extLst>
              <a:ext uri="{FF2B5EF4-FFF2-40B4-BE49-F238E27FC236}">
                <a16:creationId xmlns:a16="http://schemas.microsoft.com/office/drawing/2014/main" id="{7DFD34C4-F1F1-4FE0-A79F-75762AE3F9EE}"/>
              </a:ext>
            </a:extLst>
          </p:cNvPr>
          <p:cNvSpPr/>
          <p:nvPr/>
        </p:nvSpPr>
        <p:spPr>
          <a:xfrm>
            <a:off x="6939300" y="3199594"/>
            <a:ext cx="2453798" cy="2341614"/>
          </a:xfrm>
          <a:custGeom>
            <a:avLst/>
            <a:gdLst>
              <a:gd name="connsiteX0" fmla="*/ 2453799 w 2453798"/>
              <a:gd name="connsiteY0" fmla="*/ 0 h 2341614"/>
              <a:gd name="connsiteX1" fmla="*/ 700308 w 2453798"/>
              <a:gd name="connsiteY1" fmla="*/ 762 h 2341614"/>
              <a:gd name="connsiteX2" fmla="*/ 1223037 w 2453798"/>
              <a:gd name="connsiteY2" fmla="*/ 533392 h 2341614"/>
              <a:gd name="connsiteX3" fmla="*/ 0 w 2453798"/>
              <a:gd name="connsiteY3" fmla="*/ 1680696 h 2341614"/>
              <a:gd name="connsiteX4" fmla="*/ 620006 w 2453798"/>
              <a:gd name="connsiteY4" fmla="*/ 2341615 h 2341614"/>
              <a:gd name="connsiteX5" fmla="*/ 1857840 w 2453798"/>
              <a:gd name="connsiteY5" fmla="*/ 1180383 h 2341614"/>
              <a:gd name="connsiteX6" fmla="*/ 2420067 w 2453798"/>
              <a:gd name="connsiteY6" fmla="*/ 1753273 h 2341614"/>
              <a:gd name="connsiteX7" fmla="*/ 2453799 w 2453798"/>
              <a:gd name="connsiteY7" fmla="*/ 0 h 23416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453798" h="2341614">
                <a:moveTo>
                  <a:pt x="2453799" y="0"/>
                </a:moveTo>
                <a:lnTo>
                  <a:pt x="700308" y="762"/>
                </a:lnTo>
                <a:lnTo>
                  <a:pt x="1223037" y="533392"/>
                </a:lnTo>
                <a:lnTo>
                  <a:pt x="0" y="1680696"/>
                </a:lnTo>
                <a:lnTo>
                  <a:pt x="620006" y="2341615"/>
                </a:lnTo>
                <a:lnTo>
                  <a:pt x="1857840" y="1180383"/>
                </a:lnTo>
                <a:lnTo>
                  <a:pt x="2420067" y="1753273"/>
                </a:lnTo>
                <a:lnTo>
                  <a:pt x="2453799" y="0"/>
                </a:lnTo>
                <a:close/>
              </a:path>
            </a:pathLst>
          </a:custGeom>
          <a:solidFill>
            <a:srgbClr val="21A038"/>
          </a:solidFill>
          <a:ln w="10863" cap="flat">
            <a:solidFill>
              <a:srgbClr val="000000"/>
            </a:solidFill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grpSp>
        <p:nvGrpSpPr>
          <p:cNvPr id="16" name="Рисунок 2">
            <a:extLst>
              <a:ext uri="{FF2B5EF4-FFF2-40B4-BE49-F238E27FC236}">
                <a16:creationId xmlns:a16="http://schemas.microsoft.com/office/drawing/2014/main" id="{18FB7E78-4923-4A07-9C16-E8AA8C316592}"/>
              </a:ext>
            </a:extLst>
          </p:cNvPr>
          <p:cNvGrpSpPr/>
          <p:nvPr/>
        </p:nvGrpSpPr>
        <p:grpSpPr>
          <a:xfrm>
            <a:off x="6731144" y="1102861"/>
            <a:ext cx="4276928" cy="2945241"/>
            <a:chOff x="6731144" y="1102861"/>
            <a:chExt cx="4276928" cy="2945241"/>
          </a:xfrm>
          <a:noFill/>
        </p:grpSpPr>
        <p:sp>
          <p:nvSpPr>
            <p:cNvPr id="17" name="Полилиния: фигура 16">
              <a:extLst>
                <a:ext uri="{FF2B5EF4-FFF2-40B4-BE49-F238E27FC236}">
                  <a16:creationId xmlns:a16="http://schemas.microsoft.com/office/drawing/2014/main" id="{9B1E2B13-2DA6-410A-B4C6-5C09A0073C9C}"/>
                </a:ext>
              </a:extLst>
            </p:cNvPr>
            <p:cNvSpPr/>
            <p:nvPr/>
          </p:nvSpPr>
          <p:spPr>
            <a:xfrm>
              <a:off x="9794176" y="1678002"/>
              <a:ext cx="1213896" cy="286368"/>
            </a:xfrm>
            <a:custGeom>
              <a:avLst/>
              <a:gdLst>
                <a:gd name="connsiteX0" fmla="*/ 964719 w 1213896"/>
                <a:gd name="connsiteY0" fmla="*/ 228916 h 286368"/>
                <a:gd name="connsiteX1" fmla="*/ 773103 w 1213896"/>
                <a:gd name="connsiteY1" fmla="*/ 5310 h 286368"/>
                <a:gd name="connsiteX2" fmla="*/ 568647 w 1213896"/>
                <a:gd name="connsiteY2" fmla="*/ 133054 h 286368"/>
                <a:gd name="connsiteX3" fmla="*/ 357771 w 1213896"/>
                <a:gd name="connsiteY3" fmla="*/ 107483 h 286368"/>
                <a:gd name="connsiteX4" fmla="*/ 255597 w 1213896"/>
                <a:gd name="connsiteY4" fmla="*/ 203346 h 286368"/>
                <a:gd name="connsiteX5" fmla="*/ 115013 w 1213896"/>
                <a:gd name="connsiteY5" fmla="*/ 196926 h 286368"/>
                <a:gd name="connsiteX6" fmla="*/ 0 w 1213896"/>
                <a:gd name="connsiteY6" fmla="*/ 286369 h 286368"/>
                <a:gd name="connsiteX7" fmla="*/ 1213896 w 1213896"/>
                <a:gd name="connsiteY7" fmla="*/ 286369 h 286368"/>
                <a:gd name="connsiteX8" fmla="*/ 1124454 w 1213896"/>
                <a:gd name="connsiteY8" fmla="*/ 196926 h 286368"/>
                <a:gd name="connsiteX9" fmla="*/ 964719 w 1213896"/>
                <a:gd name="connsiteY9" fmla="*/ 228916 h 2863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213896" h="286368">
                  <a:moveTo>
                    <a:pt x="964719" y="228916"/>
                  </a:moveTo>
                  <a:cubicBezTo>
                    <a:pt x="964719" y="228916"/>
                    <a:pt x="913578" y="37300"/>
                    <a:pt x="773103" y="5310"/>
                  </a:cubicBezTo>
                  <a:cubicBezTo>
                    <a:pt x="632519" y="-26681"/>
                    <a:pt x="658090" y="94752"/>
                    <a:pt x="568647" y="133054"/>
                  </a:cubicBezTo>
                  <a:cubicBezTo>
                    <a:pt x="479204" y="171355"/>
                    <a:pt x="434483" y="94752"/>
                    <a:pt x="357771" y="107483"/>
                  </a:cubicBezTo>
                  <a:cubicBezTo>
                    <a:pt x="281059" y="120214"/>
                    <a:pt x="287479" y="171355"/>
                    <a:pt x="255597" y="203346"/>
                  </a:cubicBezTo>
                  <a:cubicBezTo>
                    <a:pt x="223716" y="235336"/>
                    <a:pt x="178885" y="190615"/>
                    <a:pt x="115013" y="196926"/>
                  </a:cubicBezTo>
                  <a:cubicBezTo>
                    <a:pt x="51141" y="203346"/>
                    <a:pt x="0" y="286369"/>
                    <a:pt x="0" y="286369"/>
                  </a:cubicBezTo>
                  <a:lnTo>
                    <a:pt x="1213896" y="286369"/>
                  </a:lnTo>
                  <a:cubicBezTo>
                    <a:pt x="1213896" y="286369"/>
                    <a:pt x="1207477" y="235227"/>
                    <a:pt x="1124454" y="196926"/>
                  </a:cubicBezTo>
                  <a:cubicBezTo>
                    <a:pt x="1041431" y="158624"/>
                    <a:pt x="1009440" y="228916"/>
                    <a:pt x="964719" y="228916"/>
                  </a:cubicBezTo>
                  <a:close/>
                </a:path>
              </a:pathLst>
            </a:custGeom>
            <a:noFill/>
            <a:ln w="10863" cap="flat">
              <a:solidFill>
                <a:srgbClr val="263238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8" name="Полилиния: фигура 17">
              <a:extLst>
                <a:ext uri="{FF2B5EF4-FFF2-40B4-BE49-F238E27FC236}">
                  <a16:creationId xmlns:a16="http://schemas.microsoft.com/office/drawing/2014/main" id="{93E6F27C-C9A7-4451-B197-500C3C2ABA4F}"/>
                </a:ext>
              </a:extLst>
            </p:cNvPr>
            <p:cNvSpPr/>
            <p:nvPr/>
          </p:nvSpPr>
          <p:spPr>
            <a:xfrm>
              <a:off x="6864329" y="2842253"/>
              <a:ext cx="525992" cy="124158"/>
            </a:xfrm>
            <a:custGeom>
              <a:avLst/>
              <a:gdLst>
                <a:gd name="connsiteX0" fmla="*/ 418052 w 525992"/>
                <a:gd name="connsiteY0" fmla="*/ 99241 h 124158"/>
                <a:gd name="connsiteX1" fmla="*/ 335029 w 525992"/>
                <a:gd name="connsiteY1" fmla="*/ 2290 h 124158"/>
                <a:gd name="connsiteX2" fmla="*/ 246457 w 525992"/>
                <a:gd name="connsiteY2" fmla="*/ 57675 h 124158"/>
                <a:gd name="connsiteX3" fmla="*/ 155056 w 525992"/>
                <a:gd name="connsiteY3" fmla="*/ 46576 h 124158"/>
                <a:gd name="connsiteX4" fmla="*/ 110770 w 525992"/>
                <a:gd name="connsiteY4" fmla="*/ 88142 h 124158"/>
                <a:gd name="connsiteX5" fmla="*/ 49835 w 525992"/>
                <a:gd name="connsiteY5" fmla="*/ 85421 h 124158"/>
                <a:gd name="connsiteX6" fmla="*/ 0 w 525992"/>
                <a:gd name="connsiteY6" fmla="*/ 124158 h 124158"/>
                <a:gd name="connsiteX7" fmla="*/ 525993 w 525992"/>
                <a:gd name="connsiteY7" fmla="*/ 124158 h 124158"/>
                <a:gd name="connsiteX8" fmla="*/ 487256 w 525992"/>
                <a:gd name="connsiteY8" fmla="*/ 85421 h 124158"/>
                <a:gd name="connsiteX9" fmla="*/ 418052 w 525992"/>
                <a:gd name="connsiteY9" fmla="*/ 99241 h 1241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25992" h="124158">
                  <a:moveTo>
                    <a:pt x="418052" y="99241"/>
                  </a:moveTo>
                  <a:cubicBezTo>
                    <a:pt x="418052" y="99241"/>
                    <a:pt x="395855" y="16218"/>
                    <a:pt x="335029" y="2290"/>
                  </a:cubicBezTo>
                  <a:cubicBezTo>
                    <a:pt x="274095" y="-11529"/>
                    <a:pt x="285194" y="41027"/>
                    <a:pt x="246457" y="57675"/>
                  </a:cubicBezTo>
                  <a:cubicBezTo>
                    <a:pt x="207720" y="74323"/>
                    <a:pt x="188352" y="41027"/>
                    <a:pt x="155056" y="46576"/>
                  </a:cubicBezTo>
                  <a:cubicBezTo>
                    <a:pt x="121868" y="52125"/>
                    <a:pt x="124589" y="74214"/>
                    <a:pt x="110770" y="88142"/>
                  </a:cubicBezTo>
                  <a:cubicBezTo>
                    <a:pt x="96951" y="102070"/>
                    <a:pt x="77582" y="82592"/>
                    <a:pt x="49835" y="85421"/>
                  </a:cubicBezTo>
                  <a:cubicBezTo>
                    <a:pt x="22197" y="88142"/>
                    <a:pt x="0" y="124158"/>
                    <a:pt x="0" y="124158"/>
                  </a:cubicBezTo>
                  <a:lnTo>
                    <a:pt x="525993" y="124158"/>
                  </a:lnTo>
                  <a:cubicBezTo>
                    <a:pt x="525993" y="124158"/>
                    <a:pt x="523273" y="101961"/>
                    <a:pt x="487256" y="85421"/>
                  </a:cubicBezTo>
                  <a:cubicBezTo>
                    <a:pt x="451240" y="68773"/>
                    <a:pt x="437421" y="99241"/>
                    <a:pt x="418052" y="99241"/>
                  </a:cubicBezTo>
                  <a:close/>
                </a:path>
              </a:pathLst>
            </a:custGeom>
            <a:noFill/>
            <a:ln w="10863" cap="flat">
              <a:solidFill>
                <a:srgbClr val="263238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9" name="Полилиния: фигура 18">
              <a:extLst>
                <a:ext uri="{FF2B5EF4-FFF2-40B4-BE49-F238E27FC236}">
                  <a16:creationId xmlns:a16="http://schemas.microsoft.com/office/drawing/2014/main" id="{A021FA3C-10E4-40D3-B27A-11431B8FB6AE}"/>
                </a:ext>
              </a:extLst>
            </p:cNvPr>
            <p:cNvSpPr/>
            <p:nvPr/>
          </p:nvSpPr>
          <p:spPr>
            <a:xfrm>
              <a:off x="9524107" y="3923944"/>
              <a:ext cx="525992" cy="124158"/>
            </a:xfrm>
            <a:custGeom>
              <a:avLst/>
              <a:gdLst>
                <a:gd name="connsiteX0" fmla="*/ 418052 w 525992"/>
                <a:gd name="connsiteY0" fmla="*/ 99240 h 124158"/>
                <a:gd name="connsiteX1" fmla="*/ 335029 w 525992"/>
                <a:gd name="connsiteY1" fmla="*/ 2290 h 124158"/>
                <a:gd name="connsiteX2" fmla="*/ 246457 w 525992"/>
                <a:gd name="connsiteY2" fmla="*/ 57675 h 124158"/>
                <a:gd name="connsiteX3" fmla="*/ 155056 w 525992"/>
                <a:gd name="connsiteY3" fmla="*/ 46576 h 124158"/>
                <a:gd name="connsiteX4" fmla="*/ 110770 w 525992"/>
                <a:gd name="connsiteY4" fmla="*/ 88142 h 124158"/>
                <a:gd name="connsiteX5" fmla="*/ 49836 w 525992"/>
                <a:gd name="connsiteY5" fmla="*/ 85422 h 124158"/>
                <a:gd name="connsiteX6" fmla="*/ 0 w 525992"/>
                <a:gd name="connsiteY6" fmla="*/ 124158 h 124158"/>
                <a:gd name="connsiteX7" fmla="*/ 525993 w 525992"/>
                <a:gd name="connsiteY7" fmla="*/ 124158 h 124158"/>
                <a:gd name="connsiteX8" fmla="*/ 487256 w 525992"/>
                <a:gd name="connsiteY8" fmla="*/ 85422 h 124158"/>
                <a:gd name="connsiteX9" fmla="*/ 418052 w 525992"/>
                <a:gd name="connsiteY9" fmla="*/ 99240 h 1241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25992" h="124158">
                  <a:moveTo>
                    <a:pt x="418052" y="99240"/>
                  </a:moveTo>
                  <a:cubicBezTo>
                    <a:pt x="418052" y="99240"/>
                    <a:pt x="395855" y="16218"/>
                    <a:pt x="335029" y="2290"/>
                  </a:cubicBezTo>
                  <a:cubicBezTo>
                    <a:pt x="274095" y="-11529"/>
                    <a:pt x="285194" y="41027"/>
                    <a:pt x="246457" y="57675"/>
                  </a:cubicBezTo>
                  <a:cubicBezTo>
                    <a:pt x="207720" y="74323"/>
                    <a:pt x="188352" y="41027"/>
                    <a:pt x="155056" y="46576"/>
                  </a:cubicBezTo>
                  <a:cubicBezTo>
                    <a:pt x="121869" y="52125"/>
                    <a:pt x="124589" y="74214"/>
                    <a:pt x="110770" y="88142"/>
                  </a:cubicBezTo>
                  <a:cubicBezTo>
                    <a:pt x="96951" y="101961"/>
                    <a:pt x="77582" y="82592"/>
                    <a:pt x="49836" y="85422"/>
                  </a:cubicBezTo>
                  <a:cubicBezTo>
                    <a:pt x="22198" y="88142"/>
                    <a:pt x="0" y="124158"/>
                    <a:pt x="0" y="124158"/>
                  </a:cubicBezTo>
                  <a:lnTo>
                    <a:pt x="525993" y="124158"/>
                  </a:lnTo>
                  <a:cubicBezTo>
                    <a:pt x="525993" y="124158"/>
                    <a:pt x="523272" y="101961"/>
                    <a:pt x="487256" y="85422"/>
                  </a:cubicBezTo>
                  <a:cubicBezTo>
                    <a:pt x="451240" y="68774"/>
                    <a:pt x="437421" y="99240"/>
                    <a:pt x="418052" y="99240"/>
                  </a:cubicBezTo>
                  <a:close/>
                </a:path>
              </a:pathLst>
            </a:custGeom>
            <a:noFill/>
            <a:ln w="10863" cap="flat">
              <a:solidFill>
                <a:srgbClr val="263238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0" name="Полилиния: фигура 19">
              <a:extLst>
                <a:ext uri="{FF2B5EF4-FFF2-40B4-BE49-F238E27FC236}">
                  <a16:creationId xmlns:a16="http://schemas.microsoft.com/office/drawing/2014/main" id="{4F6AAC6C-1637-4CFD-A186-A991CD111C06}"/>
                </a:ext>
              </a:extLst>
            </p:cNvPr>
            <p:cNvSpPr/>
            <p:nvPr/>
          </p:nvSpPr>
          <p:spPr>
            <a:xfrm>
              <a:off x="6731144" y="1102861"/>
              <a:ext cx="1057208" cy="249447"/>
            </a:xfrm>
            <a:custGeom>
              <a:avLst/>
              <a:gdLst>
                <a:gd name="connsiteX0" fmla="*/ 840130 w 1057208"/>
                <a:gd name="connsiteY0" fmla="*/ 199394 h 249447"/>
                <a:gd name="connsiteX1" fmla="*/ 673214 w 1057208"/>
                <a:gd name="connsiteY1" fmla="*/ 4622 h 249447"/>
                <a:gd name="connsiteX2" fmla="*/ 495199 w 1057208"/>
                <a:gd name="connsiteY2" fmla="*/ 115936 h 249447"/>
                <a:gd name="connsiteX3" fmla="*/ 311526 w 1057208"/>
                <a:gd name="connsiteY3" fmla="*/ 93630 h 249447"/>
                <a:gd name="connsiteX4" fmla="*/ 222519 w 1057208"/>
                <a:gd name="connsiteY4" fmla="*/ 177088 h 249447"/>
                <a:gd name="connsiteX5" fmla="*/ 100106 w 1057208"/>
                <a:gd name="connsiteY5" fmla="*/ 171538 h 249447"/>
                <a:gd name="connsiteX6" fmla="*/ 0 w 1057208"/>
                <a:gd name="connsiteY6" fmla="*/ 249447 h 249447"/>
                <a:gd name="connsiteX7" fmla="*/ 1057209 w 1057208"/>
                <a:gd name="connsiteY7" fmla="*/ 249447 h 249447"/>
                <a:gd name="connsiteX8" fmla="*/ 979300 w 1057208"/>
                <a:gd name="connsiteY8" fmla="*/ 171538 h 249447"/>
                <a:gd name="connsiteX9" fmla="*/ 840239 w 1057208"/>
                <a:gd name="connsiteY9" fmla="*/ 199394 h 2494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057208" h="249447">
                  <a:moveTo>
                    <a:pt x="840130" y="199394"/>
                  </a:moveTo>
                  <a:cubicBezTo>
                    <a:pt x="840130" y="199394"/>
                    <a:pt x="795627" y="32478"/>
                    <a:pt x="673214" y="4622"/>
                  </a:cubicBezTo>
                  <a:cubicBezTo>
                    <a:pt x="550802" y="-23233"/>
                    <a:pt x="573108" y="82531"/>
                    <a:pt x="495199" y="115936"/>
                  </a:cubicBezTo>
                  <a:cubicBezTo>
                    <a:pt x="417290" y="149341"/>
                    <a:pt x="378336" y="82531"/>
                    <a:pt x="311526" y="93630"/>
                  </a:cubicBezTo>
                  <a:cubicBezTo>
                    <a:pt x="244716" y="104728"/>
                    <a:pt x="250374" y="149232"/>
                    <a:pt x="222519" y="177088"/>
                  </a:cubicBezTo>
                  <a:cubicBezTo>
                    <a:pt x="194663" y="204943"/>
                    <a:pt x="155709" y="165989"/>
                    <a:pt x="100106" y="171538"/>
                  </a:cubicBezTo>
                  <a:cubicBezTo>
                    <a:pt x="44504" y="177088"/>
                    <a:pt x="0" y="249447"/>
                    <a:pt x="0" y="249447"/>
                  </a:cubicBezTo>
                  <a:lnTo>
                    <a:pt x="1057209" y="249447"/>
                  </a:lnTo>
                  <a:cubicBezTo>
                    <a:pt x="1057209" y="249447"/>
                    <a:pt x="1051659" y="204943"/>
                    <a:pt x="979300" y="171538"/>
                  </a:cubicBezTo>
                  <a:cubicBezTo>
                    <a:pt x="906940" y="138133"/>
                    <a:pt x="879193" y="199394"/>
                    <a:pt x="840239" y="199394"/>
                  </a:cubicBezTo>
                  <a:close/>
                </a:path>
              </a:pathLst>
            </a:custGeom>
            <a:noFill/>
            <a:ln w="10863" cap="flat">
              <a:solidFill>
                <a:srgbClr val="263238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21" name="Рисунок 2">
            <a:extLst>
              <a:ext uri="{FF2B5EF4-FFF2-40B4-BE49-F238E27FC236}">
                <a16:creationId xmlns:a16="http://schemas.microsoft.com/office/drawing/2014/main" id="{18FB7E78-4923-4A07-9C16-E8AA8C316592}"/>
              </a:ext>
            </a:extLst>
          </p:cNvPr>
          <p:cNvGrpSpPr/>
          <p:nvPr/>
        </p:nvGrpSpPr>
        <p:grpSpPr>
          <a:xfrm>
            <a:off x="7798043" y="921751"/>
            <a:ext cx="1726499" cy="2379460"/>
            <a:chOff x="7798043" y="921751"/>
            <a:chExt cx="1726499" cy="2379460"/>
          </a:xfrm>
        </p:grpSpPr>
        <p:sp>
          <p:nvSpPr>
            <p:cNvPr id="22" name="Полилиния: фигура 21">
              <a:extLst>
                <a:ext uri="{FF2B5EF4-FFF2-40B4-BE49-F238E27FC236}">
                  <a16:creationId xmlns:a16="http://schemas.microsoft.com/office/drawing/2014/main" id="{5E3E26C6-5935-48AC-89C7-8740E09F03B6}"/>
                </a:ext>
              </a:extLst>
            </p:cNvPr>
            <p:cNvSpPr/>
            <p:nvPr/>
          </p:nvSpPr>
          <p:spPr>
            <a:xfrm>
              <a:off x="7798043" y="1836409"/>
              <a:ext cx="244228" cy="271621"/>
            </a:xfrm>
            <a:custGeom>
              <a:avLst/>
              <a:gdLst>
                <a:gd name="connsiteX0" fmla="*/ 239378 w 244228"/>
                <a:gd name="connsiteY0" fmla="*/ 46898 h 271621"/>
                <a:gd name="connsiteX1" fmla="*/ 215984 w 244228"/>
                <a:gd name="connsiteY1" fmla="*/ 113599 h 271621"/>
                <a:gd name="connsiteX2" fmla="*/ 228824 w 244228"/>
                <a:gd name="connsiteY2" fmla="*/ 183782 h 271621"/>
                <a:gd name="connsiteX3" fmla="*/ 239378 w 244228"/>
                <a:gd name="connsiteY3" fmla="*/ 220016 h 271621"/>
                <a:gd name="connsiteX4" fmla="*/ 213590 w 244228"/>
                <a:gd name="connsiteY4" fmla="*/ 203586 h 271621"/>
                <a:gd name="connsiteX5" fmla="*/ 203035 w 244228"/>
                <a:gd name="connsiteY5" fmla="*/ 173118 h 271621"/>
                <a:gd name="connsiteX6" fmla="*/ 124691 w 244228"/>
                <a:gd name="connsiteY6" fmla="*/ 266696 h 271621"/>
                <a:gd name="connsiteX7" fmla="*/ 110655 w 244228"/>
                <a:gd name="connsiteY7" fmla="*/ 262017 h 271621"/>
                <a:gd name="connsiteX8" fmla="*/ 145801 w 244228"/>
                <a:gd name="connsiteY8" fmla="*/ 189440 h 271621"/>
                <a:gd name="connsiteX9" fmla="*/ 80297 w 244228"/>
                <a:gd name="connsiteY9" fmla="*/ 267784 h 271621"/>
                <a:gd name="connsiteX10" fmla="*/ 67457 w 244228"/>
                <a:gd name="connsiteY10" fmla="*/ 261908 h 271621"/>
                <a:gd name="connsiteX11" fmla="*/ 115443 w 244228"/>
                <a:gd name="connsiteY11" fmla="*/ 174206 h 271621"/>
                <a:gd name="connsiteX12" fmla="*/ 58099 w 244228"/>
                <a:gd name="connsiteY12" fmla="*/ 222192 h 271621"/>
                <a:gd name="connsiteX13" fmla="*/ 26544 w 244228"/>
                <a:gd name="connsiteY13" fmla="*/ 233944 h 271621"/>
                <a:gd name="connsiteX14" fmla="*/ 87369 w 244228"/>
                <a:gd name="connsiteY14" fmla="*/ 146242 h 271621"/>
                <a:gd name="connsiteX15" fmla="*/ 39384 w 244228"/>
                <a:gd name="connsiteY15" fmla="*/ 180191 h 271621"/>
                <a:gd name="connsiteX16" fmla="*/ 5435 w 244228"/>
                <a:gd name="connsiteY16" fmla="*/ 209461 h 271621"/>
                <a:gd name="connsiteX17" fmla="*/ 7720 w 244228"/>
                <a:gd name="connsiteY17" fmla="*/ 181388 h 271621"/>
                <a:gd name="connsiteX18" fmla="*/ 70939 w 244228"/>
                <a:gd name="connsiteY18" fmla="*/ 111205 h 271621"/>
                <a:gd name="connsiteX19" fmla="*/ 201947 w 244228"/>
                <a:gd name="connsiteY19" fmla="*/ 0 h 271621"/>
                <a:gd name="connsiteX20" fmla="*/ 239378 w 244228"/>
                <a:gd name="connsiteY20" fmla="*/ 46789 h 2716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244228" h="271621">
                  <a:moveTo>
                    <a:pt x="239378" y="46898"/>
                  </a:moveTo>
                  <a:cubicBezTo>
                    <a:pt x="239378" y="46898"/>
                    <a:pt x="217181" y="103044"/>
                    <a:pt x="215984" y="113599"/>
                  </a:cubicBezTo>
                  <a:cubicBezTo>
                    <a:pt x="214787" y="124153"/>
                    <a:pt x="218269" y="163869"/>
                    <a:pt x="228824" y="183782"/>
                  </a:cubicBezTo>
                  <a:cubicBezTo>
                    <a:pt x="239378" y="203694"/>
                    <a:pt x="251021" y="220016"/>
                    <a:pt x="239378" y="220016"/>
                  </a:cubicBezTo>
                  <a:cubicBezTo>
                    <a:pt x="227736" y="220016"/>
                    <a:pt x="221860" y="220016"/>
                    <a:pt x="213590" y="203586"/>
                  </a:cubicBezTo>
                  <a:cubicBezTo>
                    <a:pt x="205321" y="187155"/>
                    <a:pt x="203035" y="173118"/>
                    <a:pt x="203035" y="173118"/>
                  </a:cubicBezTo>
                  <a:cubicBezTo>
                    <a:pt x="203035" y="173118"/>
                    <a:pt x="129370" y="262017"/>
                    <a:pt x="124691" y="266696"/>
                  </a:cubicBezTo>
                  <a:cubicBezTo>
                    <a:pt x="120013" y="271375"/>
                    <a:pt x="109458" y="272572"/>
                    <a:pt x="110655" y="262017"/>
                  </a:cubicBezTo>
                  <a:cubicBezTo>
                    <a:pt x="111852" y="251462"/>
                    <a:pt x="145801" y="189440"/>
                    <a:pt x="145801" y="189440"/>
                  </a:cubicBezTo>
                  <a:lnTo>
                    <a:pt x="80297" y="267784"/>
                  </a:lnTo>
                  <a:cubicBezTo>
                    <a:pt x="80297" y="267784"/>
                    <a:pt x="62778" y="279536"/>
                    <a:pt x="67457" y="261908"/>
                  </a:cubicBezTo>
                  <a:cubicBezTo>
                    <a:pt x="72136" y="244390"/>
                    <a:pt x="115443" y="174206"/>
                    <a:pt x="115443" y="174206"/>
                  </a:cubicBezTo>
                  <a:cubicBezTo>
                    <a:pt x="115443" y="174206"/>
                    <a:pt x="69851" y="214031"/>
                    <a:pt x="58099" y="222192"/>
                  </a:cubicBezTo>
                  <a:cubicBezTo>
                    <a:pt x="46348" y="230353"/>
                    <a:pt x="27632" y="243302"/>
                    <a:pt x="26544" y="233944"/>
                  </a:cubicBezTo>
                  <a:cubicBezTo>
                    <a:pt x="25347" y="224586"/>
                    <a:pt x="86172" y="152009"/>
                    <a:pt x="87369" y="146242"/>
                  </a:cubicBezTo>
                  <a:cubicBezTo>
                    <a:pt x="88566" y="140366"/>
                    <a:pt x="44063" y="174315"/>
                    <a:pt x="39384" y="180191"/>
                  </a:cubicBezTo>
                  <a:cubicBezTo>
                    <a:pt x="34705" y="186067"/>
                    <a:pt x="11310" y="209461"/>
                    <a:pt x="5435" y="209461"/>
                  </a:cubicBezTo>
                  <a:cubicBezTo>
                    <a:pt x="-441" y="209461"/>
                    <a:pt x="-3923" y="202389"/>
                    <a:pt x="7720" y="181388"/>
                  </a:cubicBezTo>
                  <a:cubicBezTo>
                    <a:pt x="19362" y="160388"/>
                    <a:pt x="61581" y="122848"/>
                    <a:pt x="70939" y="111205"/>
                  </a:cubicBezTo>
                  <a:cubicBezTo>
                    <a:pt x="80297" y="99453"/>
                    <a:pt x="201947" y="0"/>
                    <a:pt x="201947" y="0"/>
                  </a:cubicBezTo>
                  <a:lnTo>
                    <a:pt x="239378" y="46789"/>
                  </a:lnTo>
                  <a:close/>
                </a:path>
              </a:pathLst>
            </a:custGeom>
            <a:solidFill>
              <a:srgbClr val="FFFFFF"/>
            </a:solidFill>
            <a:ln w="10863" cap="flat">
              <a:solidFill>
                <a:srgbClr val="263238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grpSp>
          <p:nvGrpSpPr>
            <p:cNvPr id="23" name="Рисунок 2">
              <a:extLst>
                <a:ext uri="{FF2B5EF4-FFF2-40B4-BE49-F238E27FC236}">
                  <a16:creationId xmlns:a16="http://schemas.microsoft.com/office/drawing/2014/main" id="{18FB7E78-4923-4A07-9C16-E8AA8C316592}"/>
                </a:ext>
              </a:extLst>
            </p:cNvPr>
            <p:cNvGrpSpPr/>
            <p:nvPr/>
          </p:nvGrpSpPr>
          <p:grpSpPr>
            <a:xfrm>
              <a:off x="8002610" y="3055963"/>
              <a:ext cx="153197" cy="245247"/>
              <a:chOff x="8002610" y="3055963"/>
              <a:chExt cx="153197" cy="245247"/>
            </a:xfrm>
            <a:solidFill>
              <a:srgbClr val="FFFFFF"/>
            </a:solidFill>
          </p:grpSpPr>
          <p:sp>
            <p:nvSpPr>
              <p:cNvPr id="24" name="Полилиния: фигура 23">
                <a:extLst>
                  <a:ext uri="{FF2B5EF4-FFF2-40B4-BE49-F238E27FC236}">
                    <a16:creationId xmlns:a16="http://schemas.microsoft.com/office/drawing/2014/main" id="{1B284358-BFFA-43B7-8260-0B86B22606A3}"/>
                  </a:ext>
                </a:extLst>
              </p:cNvPr>
              <p:cNvSpPr/>
              <p:nvPr/>
            </p:nvSpPr>
            <p:spPr>
              <a:xfrm>
                <a:off x="8002828" y="3055963"/>
                <a:ext cx="152980" cy="245139"/>
              </a:xfrm>
              <a:custGeom>
                <a:avLst/>
                <a:gdLst>
                  <a:gd name="connsiteX0" fmla="*/ 91720 w 152980"/>
                  <a:gd name="connsiteY0" fmla="*/ 0 h 245139"/>
                  <a:gd name="connsiteX1" fmla="*/ 7826 w 152980"/>
                  <a:gd name="connsiteY1" fmla="*/ 117951 h 245139"/>
                  <a:gd name="connsiteX2" fmla="*/ 28283 w 152980"/>
                  <a:gd name="connsiteY2" fmla="*/ 244934 h 245139"/>
                  <a:gd name="connsiteX3" fmla="*/ 128063 w 152980"/>
                  <a:gd name="connsiteY3" fmla="*/ 117951 h 245139"/>
                  <a:gd name="connsiteX4" fmla="*/ 152980 w 152980"/>
                  <a:gd name="connsiteY4" fmla="*/ 29488 h 245139"/>
                  <a:gd name="connsiteX5" fmla="*/ 91720 w 152980"/>
                  <a:gd name="connsiteY5" fmla="*/ 0 h 2451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52980" h="245139">
                    <a:moveTo>
                      <a:pt x="91720" y="0"/>
                    </a:moveTo>
                    <a:cubicBezTo>
                      <a:pt x="91720" y="0"/>
                      <a:pt x="23713" y="70292"/>
                      <a:pt x="7826" y="117951"/>
                    </a:cubicBezTo>
                    <a:cubicBezTo>
                      <a:pt x="-8060" y="165610"/>
                      <a:pt x="971" y="240472"/>
                      <a:pt x="28283" y="244934"/>
                    </a:cubicBezTo>
                    <a:cubicBezTo>
                      <a:pt x="55486" y="249504"/>
                      <a:pt x="112176" y="176927"/>
                      <a:pt x="128063" y="117951"/>
                    </a:cubicBezTo>
                    <a:cubicBezTo>
                      <a:pt x="143949" y="58976"/>
                      <a:pt x="152980" y="29488"/>
                      <a:pt x="152980" y="29488"/>
                    </a:cubicBezTo>
                    <a:lnTo>
                      <a:pt x="91720" y="0"/>
                    </a:lnTo>
                    <a:close/>
                  </a:path>
                </a:pathLst>
              </a:custGeom>
              <a:solidFill>
                <a:srgbClr val="FFFFFF"/>
              </a:solidFill>
              <a:ln w="10863" cap="flat">
                <a:solidFill>
                  <a:srgbClr val="26323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25" name="Полилиния: фигура 24">
                <a:extLst>
                  <a:ext uri="{FF2B5EF4-FFF2-40B4-BE49-F238E27FC236}">
                    <a16:creationId xmlns:a16="http://schemas.microsoft.com/office/drawing/2014/main" id="{7B826748-0C05-47CD-B971-94CCF8524B7E}"/>
                  </a:ext>
                </a:extLst>
              </p:cNvPr>
              <p:cNvSpPr/>
              <p:nvPr/>
            </p:nvSpPr>
            <p:spPr>
              <a:xfrm>
                <a:off x="8002610" y="3155852"/>
                <a:ext cx="128171" cy="145359"/>
              </a:xfrm>
              <a:custGeom>
                <a:avLst/>
                <a:gdLst>
                  <a:gd name="connsiteX0" fmla="*/ 128171 w 128171"/>
                  <a:gd name="connsiteY0" fmla="*/ 18063 h 145359"/>
                  <a:gd name="connsiteX1" fmla="*/ 91828 w 128171"/>
                  <a:gd name="connsiteY1" fmla="*/ 63437 h 145359"/>
                  <a:gd name="connsiteX2" fmla="*/ 23822 w 128171"/>
                  <a:gd name="connsiteY2" fmla="*/ 40804 h 145359"/>
                  <a:gd name="connsiteX3" fmla="*/ 19251 w 128171"/>
                  <a:gd name="connsiteY3" fmla="*/ 2285 h 145359"/>
                  <a:gd name="connsiteX4" fmla="*/ 15770 w 128171"/>
                  <a:gd name="connsiteY4" fmla="*/ 0 h 145359"/>
                  <a:gd name="connsiteX5" fmla="*/ 7826 w 128171"/>
                  <a:gd name="connsiteY5" fmla="*/ 18171 h 145359"/>
                  <a:gd name="connsiteX6" fmla="*/ 28283 w 128171"/>
                  <a:gd name="connsiteY6" fmla="*/ 145154 h 145359"/>
                  <a:gd name="connsiteX7" fmla="*/ 128063 w 128171"/>
                  <a:gd name="connsiteY7" fmla="*/ 18171 h 1453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28171" h="145359">
                    <a:moveTo>
                      <a:pt x="128171" y="18063"/>
                    </a:moveTo>
                    <a:lnTo>
                      <a:pt x="91828" y="63437"/>
                    </a:lnTo>
                    <a:lnTo>
                      <a:pt x="23822" y="40804"/>
                    </a:lnTo>
                    <a:lnTo>
                      <a:pt x="19251" y="2285"/>
                    </a:lnTo>
                    <a:lnTo>
                      <a:pt x="15770" y="0"/>
                    </a:lnTo>
                    <a:cubicBezTo>
                      <a:pt x="12505" y="6311"/>
                      <a:pt x="9785" y="12404"/>
                      <a:pt x="7826" y="18171"/>
                    </a:cubicBezTo>
                    <a:cubicBezTo>
                      <a:pt x="-8060" y="65831"/>
                      <a:pt x="971" y="140693"/>
                      <a:pt x="28283" y="145154"/>
                    </a:cubicBezTo>
                    <a:cubicBezTo>
                      <a:pt x="55486" y="149724"/>
                      <a:pt x="112176" y="77147"/>
                      <a:pt x="128063" y="18171"/>
                    </a:cubicBezTo>
                    <a:close/>
                  </a:path>
                </a:pathLst>
              </a:custGeom>
              <a:solidFill>
                <a:srgbClr val="FFFFFF"/>
              </a:solidFill>
              <a:ln w="10863" cap="flat">
                <a:solidFill>
                  <a:srgbClr val="26323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</p:grpSp>
        <p:grpSp>
          <p:nvGrpSpPr>
            <p:cNvPr id="26" name="Рисунок 2">
              <a:extLst>
                <a:ext uri="{FF2B5EF4-FFF2-40B4-BE49-F238E27FC236}">
                  <a16:creationId xmlns:a16="http://schemas.microsoft.com/office/drawing/2014/main" id="{18FB7E78-4923-4A07-9C16-E8AA8C316592}"/>
                </a:ext>
              </a:extLst>
            </p:cNvPr>
            <p:cNvGrpSpPr/>
            <p:nvPr/>
          </p:nvGrpSpPr>
          <p:grpSpPr>
            <a:xfrm>
              <a:off x="8809936" y="3063036"/>
              <a:ext cx="285609" cy="158864"/>
              <a:chOff x="8809936" y="3063036"/>
              <a:chExt cx="285609" cy="158864"/>
            </a:xfrm>
            <a:solidFill>
              <a:srgbClr val="FFFFFF"/>
            </a:solidFill>
          </p:grpSpPr>
          <p:sp>
            <p:nvSpPr>
              <p:cNvPr id="27" name="Полилиния: фигура 26">
                <a:extLst>
                  <a:ext uri="{FF2B5EF4-FFF2-40B4-BE49-F238E27FC236}">
                    <a16:creationId xmlns:a16="http://schemas.microsoft.com/office/drawing/2014/main" id="{9BDD1A8F-F3E1-41CC-9580-549B99B8E2EB}"/>
                  </a:ext>
                </a:extLst>
              </p:cNvPr>
              <p:cNvSpPr/>
              <p:nvPr/>
            </p:nvSpPr>
            <p:spPr>
              <a:xfrm>
                <a:off x="8809936" y="3063036"/>
                <a:ext cx="285609" cy="158755"/>
              </a:xfrm>
              <a:custGeom>
                <a:avLst/>
                <a:gdLst>
                  <a:gd name="connsiteX0" fmla="*/ 133555 w 285609"/>
                  <a:gd name="connsiteY0" fmla="*/ 20348 h 158755"/>
                  <a:gd name="connsiteX1" fmla="*/ 178930 w 285609"/>
                  <a:gd name="connsiteY1" fmla="*/ 74753 h 158755"/>
                  <a:gd name="connsiteX2" fmla="*/ 285564 w 285609"/>
                  <a:gd name="connsiteY2" fmla="*/ 140584 h 158755"/>
                  <a:gd name="connsiteX3" fmla="*/ 158582 w 285609"/>
                  <a:gd name="connsiteY3" fmla="*/ 158755 h 158755"/>
                  <a:gd name="connsiteX4" fmla="*/ 47377 w 285609"/>
                  <a:gd name="connsiteY4" fmla="*/ 120236 h 158755"/>
                  <a:gd name="connsiteX5" fmla="*/ 2003 w 285609"/>
                  <a:gd name="connsiteY5" fmla="*/ 70292 h 158755"/>
                  <a:gd name="connsiteX6" fmla="*/ 45092 w 285609"/>
                  <a:gd name="connsiteY6" fmla="*/ 0 h 158755"/>
                  <a:gd name="connsiteX7" fmla="*/ 133555 w 285609"/>
                  <a:gd name="connsiteY7" fmla="*/ 20457 h 1587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85609" h="158755">
                    <a:moveTo>
                      <a:pt x="133555" y="20348"/>
                    </a:moveTo>
                    <a:cubicBezTo>
                      <a:pt x="133555" y="20348"/>
                      <a:pt x="156188" y="58867"/>
                      <a:pt x="178930" y="74753"/>
                    </a:cubicBezTo>
                    <a:cubicBezTo>
                      <a:pt x="201562" y="90640"/>
                      <a:pt x="287850" y="126874"/>
                      <a:pt x="285564" y="140584"/>
                    </a:cubicBezTo>
                    <a:cubicBezTo>
                      <a:pt x="283280" y="154185"/>
                      <a:pt x="192531" y="158755"/>
                      <a:pt x="158582" y="158755"/>
                    </a:cubicBezTo>
                    <a:cubicBezTo>
                      <a:pt x="124633" y="158755"/>
                      <a:pt x="79150" y="138299"/>
                      <a:pt x="47377" y="120236"/>
                    </a:cubicBezTo>
                    <a:cubicBezTo>
                      <a:pt x="15604" y="102065"/>
                      <a:pt x="-7029" y="102065"/>
                      <a:pt x="2003" y="70292"/>
                    </a:cubicBezTo>
                    <a:cubicBezTo>
                      <a:pt x="11034" y="38519"/>
                      <a:pt x="45092" y="0"/>
                      <a:pt x="45092" y="0"/>
                    </a:cubicBezTo>
                    <a:lnTo>
                      <a:pt x="133555" y="20457"/>
                    </a:lnTo>
                    <a:close/>
                  </a:path>
                </a:pathLst>
              </a:custGeom>
              <a:solidFill>
                <a:srgbClr val="FFFFFF"/>
              </a:solidFill>
              <a:ln w="10863" cap="flat">
                <a:solidFill>
                  <a:srgbClr val="26323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28" name="Полилиния: фигура 27">
                <a:extLst>
                  <a:ext uri="{FF2B5EF4-FFF2-40B4-BE49-F238E27FC236}">
                    <a16:creationId xmlns:a16="http://schemas.microsoft.com/office/drawing/2014/main" id="{D57C7B23-202F-4BE1-9A04-96DB10DE64F7}"/>
                  </a:ext>
                </a:extLst>
              </p:cNvPr>
              <p:cNvSpPr/>
              <p:nvPr/>
            </p:nvSpPr>
            <p:spPr>
              <a:xfrm>
                <a:off x="8809936" y="3089803"/>
                <a:ext cx="285564" cy="132096"/>
              </a:xfrm>
              <a:custGeom>
                <a:avLst/>
                <a:gdLst>
                  <a:gd name="connsiteX0" fmla="*/ 285456 w 285564"/>
                  <a:gd name="connsiteY0" fmla="*/ 113816 h 132096"/>
                  <a:gd name="connsiteX1" fmla="*/ 196775 w 285564"/>
                  <a:gd name="connsiteY1" fmla="*/ 58540 h 132096"/>
                  <a:gd name="connsiteX2" fmla="*/ 174360 w 285564"/>
                  <a:gd name="connsiteY2" fmla="*/ 86614 h 132096"/>
                  <a:gd name="connsiteX3" fmla="*/ 74580 w 285564"/>
                  <a:gd name="connsiteY3" fmla="*/ 34493 h 132096"/>
                  <a:gd name="connsiteX4" fmla="*/ 24527 w 285564"/>
                  <a:gd name="connsiteY4" fmla="*/ 0 h 132096"/>
                  <a:gd name="connsiteX5" fmla="*/ 2003 w 285564"/>
                  <a:gd name="connsiteY5" fmla="*/ 43633 h 132096"/>
                  <a:gd name="connsiteX6" fmla="*/ 47377 w 285564"/>
                  <a:gd name="connsiteY6" fmla="*/ 93577 h 132096"/>
                  <a:gd name="connsiteX7" fmla="*/ 158582 w 285564"/>
                  <a:gd name="connsiteY7" fmla="*/ 132097 h 132096"/>
                  <a:gd name="connsiteX8" fmla="*/ 285564 w 285564"/>
                  <a:gd name="connsiteY8" fmla="*/ 113925 h 1320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85564" h="132096">
                    <a:moveTo>
                      <a:pt x="285456" y="113816"/>
                    </a:moveTo>
                    <a:cubicBezTo>
                      <a:pt x="287306" y="102718"/>
                      <a:pt x="230071" y="76385"/>
                      <a:pt x="196775" y="58540"/>
                    </a:cubicBezTo>
                    <a:lnTo>
                      <a:pt x="174360" y="86614"/>
                    </a:lnTo>
                    <a:cubicBezTo>
                      <a:pt x="174360" y="86614"/>
                      <a:pt x="104068" y="54841"/>
                      <a:pt x="74580" y="34493"/>
                    </a:cubicBezTo>
                    <a:cubicBezTo>
                      <a:pt x="57388" y="22524"/>
                      <a:pt x="37802" y="9140"/>
                      <a:pt x="24527" y="0"/>
                    </a:cubicBezTo>
                    <a:cubicBezTo>
                      <a:pt x="15604" y="13057"/>
                      <a:pt x="6138" y="29053"/>
                      <a:pt x="2003" y="43633"/>
                    </a:cubicBezTo>
                    <a:cubicBezTo>
                      <a:pt x="-7029" y="75406"/>
                      <a:pt x="15604" y="75406"/>
                      <a:pt x="47377" y="93577"/>
                    </a:cubicBezTo>
                    <a:cubicBezTo>
                      <a:pt x="79150" y="111749"/>
                      <a:pt x="124524" y="132097"/>
                      <a:pt x="158582" y="132097"/>
                    </a:cubicBezTo>
                    <a:cubicBezTo>
                      <a:pt x="192640" y="132097"/>
                      <a:pt x="283388" y="127527"/>
                      <a:pt x="285564" y="113925"/>
                    </a:cubicBezTo>
                    <a:close/>
                  </a:path>
                </a:pathLst>
              </a:custGeom>
              <a:solidFill>
                <a:srgbClr val="FFFFFF"/>
              </a:solidFill>
              <a:ln w="10863" cap="flat">
                <a:solidFill>
                  <a:srgbClr val="26323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</p:grpSp>
        <p:sp>
          <p:nvSpPr>
            <p:cNvPr id="29" name="Полилиния: фигура 28">
              <a:extLst>
                <a:ext uri="{FF2B5EF4-FFF2-40B4-BE49-F238E27FC236}">
                  <a16:creationId xmlns:a16="http://schemas.microsoft.com/office/drawing/2014/main" id="{934B2314-391A-4423-9901-9D1958769FA0}"/>
                </a:ext>
              </a:extLst>
            </p:cNvPr>
            <p:cNvSpPr/>
            <p:nvPr/>
          </p:nvSpPr>
          <p:spPr>
            <a:xfrm>
              <a:off x="8059937" y="1899301"/>
              <a:ext cx="1202701" cy="1234412"/>
            </a:xfrm>
            <a:custGeom>
              <a:avLst/>
              <a:gdLst>
                <a:gd name="connsiteX0" fmla="*/ 1201392 w 1202701"/>
                <a:gd name="connsiteY0" fmla="*/ 761895 h 1234412"/>
                <a:gd name="connsiteX1" fmla="*/ 937960 w 1202701"/>
                <a:gd name="connsiteY1" fmla="*/ 161040 h 1234412"/>
                <a:gd name="connsiteX2" fmla="*/ 883554 w 1202701"/>
                <a:gd name="connsiteY2" fmla="*/ 18171 h 1234412"/>
                <a:gd name="connsiteX3" fmla="*/ 638621 w 1202701"/>
                <a:gd name="connsiteY3" fmla="*/ 31773 h 1234412"/>
                <a:gd name="connsiteX4" fmla="*/ 434491 w 1202701"/>
                <a:gd name="connsiteY4" fmla="*/ 0 h 1234412"/>
                <a:gd name="connsiteX5" fmla="*/ 434491 w 1202701"/>
                <a:gd name="connsiteY5" fmla="*/ 63546 h 1234412"/>
                <a:gd name="connsiteX6" fmla="*/ 340696 w 1202701"/>
                <a:gd name="connsiteY6" fmla="*/ 288785 h 1234412"/>
                <a:gd name="connsiteX7" fmla="*/ 304788 w 1202701"/>
                <a:gd name="connsiteY7" fmla="*/ 589865 h 1234412"/>
                <a:gd name="connsiteX8" fmla="*/ 274430 w 1202701"/>
                <a:gd name="connsiteY8" fmla="*/ 761133 h 1234412"/>
                <a:gd name="connsiteX9" fmla="*/ 8 w 1202701"/>
                <a:gd name="connsiteY9" fmla="*/ 1182341 h 1234412"/>
                <a:gd name="connsiteX10" fmla="*/ 45165 w 1202701"/>
                <a:gd name="connsiteY10" fmla="*/ 1233374 h 1234412"/>
                <a:gd name="connsiteX11" fmla="*/ 95762 w 1202701"/>
                <a:gd name="connsiteY11" fmla="*/ 1232612 h 1234412"/>
                <a:gd name="connsiteX12" fmla="*/ 474642 w 1202701"/>
                <a:gd name="connsiteY12" fmla="*/ 817715 h 1234412"/>
                <a:gd name="connsiteX13" fmla="*/ 499451 w 1202701"/>
                <a:gd name="connsiteY13" fmla="*/ 754170 h 1234412"/>
                <a:gd name="connsiteX14" fmla="*/ 666259 w 1202701"/>
                <a:gd name="connsiteY14" fmla="*/ 358859 h 1234412"/>
                <a:gd name="connsiteX15" fmla="*/ 721861 w 1202701"/>
                <a:gd name="connsiteY15" fmla="*/ 396508 h 1234412"/>
                <a:gd name="connsiteX16" fmla="*/ 1008361 w 1202701"/>
                <a:gd name="connsiteY16" fmla="*/ 784854 h 1234412"/>
                <a:gd name="connsiteX17" fmla="*/ 953955 w 1202701"/>
                <a:gd name="connsiteY17" fmla="*/ 871033 h 1234412"/>
                <a:gd name="connsiteX18" fmla="*/ 795200 w 1202701"/>
                <a:gd name="connsiteY18" fmla="*/ 1163626 h 1234412"/>
                <a:gd name="connsiteX19" fmla="*/ 856460 w 1202701"/>
                <a:gd name="connsiteY19" fmla="*/ 1202145 h 1234412"/>
                <a:gd name="connsiteX20" fmla="*/ 935457 w 1202701"/>
                <a:gd name="connsiteY20" fmla="*/ 1209218 h 1234412"/>
                <a:gd name="connsiteX21" fmla="*/ 1176800 w 1202701"/>
                <a:gd name="connsiteY21" fmla="*/ 836431 h 1234412"/>
                <a:gd name="connsiteX22" fmla="*/ 1201609 w 1202701"/>
                <a:gd name="connsiteY22" fmla="*/ 761786 h 12344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202701" h="1234412">
                  <a:moveTo>
                    <a:pt x="1201392" y="761895"/>
                  </a:moveTo>
                  <a:cubicBezTo>
                    <a:pt x="1144919" y="484644"/>
                    <a:pt x="944706" y="176927"/>
                    <a:pt x="937960" y="161040"/>
                  </a:cubicBezTo>
                  <a:cubicBezTo>
                    <a:pt x="931105" y="145154"/>
                    <a:pt x="883554" y="18171"/>
                    <a:pt x="883554" y="18171"/>
                  </a:cubicBezTo>
                  <a:cubicBezTo>
                    <a:pt x="883554" y="18171"/>
                    <a:pt x="695311" y="38628"/>
                    <a:pt x="638621" y="31773"/>
                  </a:cubicBezTo>
                  <a:cubicBezTo>
                    <a:pt x="581930" y="24918"/>
                    <a:pt x="434491" y="0"/>
                    <a:pt x="434491" y="0"/>
                  </a:cubicBezTo>
                  <a:lnTo>
                    <a:pt x="434491" y="63546"/>
                  </a:lnTo>
                  <a:cubicBezTo>
                    <a:pt x="434491" y="63546"/>
                    <a:pt x="365614" y="222519"/>
                    <a:pt x="340696" y="288785"/>
                  </a:cubicBezTo>
                  <a:cubicBezTo>
                    <a:pt x="315887" y="355051"/>
                    <a:pt x="307509" y="576046"/>
                    <a:pt x="304788" y="589865"/>
                  </a:cubicBezTo>
                  <a:cubicBezTo>
                    <a:pt x="302068" y="603684"/>
                    <a:pt x="274430" y="761133"/>
                    <a:pt x="274430" y="761133"/>
                  </a:cubicBezTo>
                  <a:lnTo>
                    <a:pt x="8" y="1182341"/>
                  </a:lnTo>
                  <a:cubicBezTo>
                    <a:pt x="8" y="1182341"/>
                    <a:pt x="-1733" y="1230653"/>
                    <a:pt x="45165" y="1233374"/>
                  </a:cubicBezTo>
                  <a:cubicBezTo>
                    <a:pt x="92063" y="1236094"/>
                    <a:pt x="95762" y="1232612"/>
                    <a:pt x="95762" y="1232612"/>
                  </a:cubicBezTo>
                  <a:lnTo>
                    <a:pt x="474642" y="817715"/>
                  </a:lnTo>
                  <a:cubicBezTo>
                    <a:pt x="474642" y="817715"/>
                    <a:pt x="494011" y="765268"/>
                    <a:pt x="499451" y="754170"/>
                  </a:cubicBezTo>
                  <a:cubicBezTo>
                    <a:pt x="504783" y="743397"/>
                    <a:pt x="658533" y="381492"/>
                    <a:pt x="666259" y="358859"/>
                  </a:cubicBezTo>
                  <a:lnTo>
                    <a:pt x="721861" y="396508"/>
                  </a:lnTo>
                  <a:lnTo>
                    <a:pt x="1008361" y="784854"/>
                  </a:lnTo>
                  <a:cubicBezTo>
                    <a:pt x="1008361" y="784854"/>
                    <a:pt x="974303" y="821197"/>
                    <a:pt x="953955" y="871033"/>
                  </a:cubicBezTo>
                  <a:cubicBezTo>
                    <a:pt x="933499" y="920977"/>
                    <a:pt x="795200" y="1163626"/>
                    <a:pt x="795200" y="1163626"/>
                  </a:cubicBezTo>
                  <a:cubicBezTo>
                    <a:pt x="795200" y="1163626"/>
                    <a:pt x="833719" y="1197684"/>
                    <a:pt x="856460" y="1202145"/>
                  </a:cubicBezTo>
                  <a:cubicBezTo>
                    <a:pt x="879093" y="1206715"/>
                    <a:pt x="935457" y="1209218"/>
                    <a:pt x="935457" y="1209218"/>
                  </a:cubicBezTo>
                  <a:cubicBezTo>
                    <a:pt x="935457" y="1209218"/>
                    <a:pt x="1170054" y="859172"/>
                    <a:pt x="1176800" y="836431"/>
                  </a:cubicBezTo>
                  <a:cubicBezTo>
                    <a:pt x="1183546" y="813689"/>
                    <a:pt x="1208138" y="794103"/>
                    <a:pt x="1201609" y="761786"/>
                  </a:cubicBezTo>
                  <a:close/>
                </a:path>
              </a:pathLst>
            </a:custGeom>
            <a:solidFill>
              <a:srgbClr val="263238"/>
            </a:solidFill>
            <a:ln w="10863" cap="flat">
              <a:solidFill>
                <a:srgbClr val="263238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0" name="Полилиния: фигура 29">
              <a:extLst>
                <a:ext uri="{FF2B5EF4-FFF2-40B4-BE49-F238E27FC236}">
                  <a16:creationId xmlns:a16="http://schemas.microsoft.com/office/drawing/2014/main" id="{BB0DA485-37DA-4036-88E9-731EE4DCBBEA}"/>
                </a:ext>
              </a:extLst>
            </p:cNvPr>
            <p:cNvSpPr/>
            <p:nvPr/>
          </p:nvSpPr>
          <p:spPr>
            <a:xfrm>
              <a:off x="8545243" y="1291392"/>
              <a:ext cx="356356" cy="698376"/>
            </a:xfrm>
            <a:custGeom>
              <a:avLst/>
              <a:gdLst>
                <a:gd name="connsiteX0" fmla="*/ 124262 w 356356"/>
                <a:gd name="connsiteY0" fmla="*/ 2810 h 698376"/>
                <a:gd name="connsiteX1" fmla="*/ 31773 w 356356"/>
                <a:gd name="connsiteY1" fmla="*/ 42200 h 698376"/>
                <a:gd name="connsiteX2" fmla="*/ 92816 w 356356"/>
                <a:gd name="connsiteY2" fmla="*/ 313901 h 698376"/>
                <a:gd name="connsiteX3" fmla="*/ 0 w 356356"/>
                <a:gd name="connsiteY3" fmla="*/ 659921 h 698376"/>
                <a:gd name="connsiteX4" fmla="*/ 216534 w 356356"/>
                <a:gd name="connsiteY4" fmla="*/ 695393 h 698376"/>
                <a:gd name="connsiteX5" fmla="*/ 356356 w 356356"/>
                <a:gd name="connsiteY5" fmla="*/ 652086 h 698376"/>
                <a:gd name="connsiteX6" fmla="*/ 305433 w 356356"/>
                <a:gd name="connsiteY6" fmla="*/ 258843 h 698376"/>
                <a:gd name="connsiteX7" fmla="*/ 311309 w 356356"/>
                <a:gd name="connsiteY7" fmla="*/ 54060 h 698376"/>
                <a:gd name="connsiteX8" fmla="*/ 124262 w 356356"/>
                <a:gd name="connsiteY8" fmla="*/ 2919 h 6983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56356" h="698376">
                  <a:moveTo>
                    <a:pt x="124262" y="2810"/>
                  </a:moveTo>
                  <a:lnTo>
                    <a:pt x="31773" y="42200"/>
                  </a:lnTo>
                  <a:cubicBezTo>
                    <a:pt x="31773" y="42200"/>
                    <a:pt x="96733" y="292248"/>
                    <a:pt x="92816" y="313901"/>
                  </a:cubicBezTo>
                  <a:cubicBezTo>
                    <a:pt x="88899" y="335555"/>
                    <a:pt x="0" y="659921"/>
                    <a:pt x="0" y="659921"/>
                  </a:cubicBezTo>
                  <a:cubicBezTo>
                    <a:pt x="0" y="659921"/>
                    <a:pt x="110226" y="711062"/>
                    <a:pt x="216534" y="695393"/>
                  </a:cubicBezTo>
                  <a:cubicBezTo>
                    <a:pt x="322842" y="679724"/>
                    <a:pt x="356356" y="652086"/>
                    <a:pt x="356356" y="652086"/>
                  </a:cubicBezTo>
                  <a:cubicBezTo>
                    <a:pt x="356356" y="652086"/>
                    <a:pt x="305433" y="274621"/>
                    <a:pt x="305433" y="258843"/>
                  </a:cubicBezTo>
                  <a:cubicBezTo>
                    <a:pt x="305433" y="243065"/>
                    <a:pt x="311309" y="54060"/>
                    <a:pt x="311309" y="54060"/>
                  </a:cubicBezTo>
                  <a:cubicBezTo>
                    <a:pt x="311309" y="54060"/>
                    <a:pt x="218819" y="-14817"/>
                    <a:pt x="124262" y="2919"/>
                  </a:cubicBezTo>
                  <a:close/>
                </a:path>
              </a:pathLst>
            </a:custGeom>
            <a:solidFill>
              <a:srgbClr val="FFFFFF"/>
            </a:solidFill>
            <a:ln w="10863" cap="flat">
              <a:solidFill>
                <a:srgbClr val="263238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1" name="Полилиния: фигура 30">
              <a:extLst>
                <a:ext uri="{FF2B5EF4-FFF2-40B4-BE49-F238E27FC236}">
                  <a16:creationId xmlns:a16="http://schemas.microsoft.com/office/drawing/2014/main" id="{E7E27C8D-E439-4DC1-A3F4-744539E106BE}"/>
                </a:ext>
              </a:extLst>
            </p:cNvPr>
            <p:cNvSpPr/>
            <p:nvPr/>
          </p:nvSpPr>
          <p:spPr>
            <a:xfrm>
              <a:off x="8875158" y="1575480"/>
              <a:ext cx="418487" cy="273115"/>
            </a:xfrm>
            <a:custGeom>
              <a:avLst/>
              <a:gdLst>
                <a:gd name="connsiteX0" fmla="*/ 59737 w 418487"/>
                <a:gd name="connsiteY0" fmla="*/ 109 h 273115"/>
                <a:gd name="connsiteX1" fmla="*/ 105982 w 418487"/>
                <a:gd name="connsiteY1" fmla="*/ 130573 h 273115"/>
                <a:gd name="connsiteX2" fmla="*/ 251354 w 418487"/>
                <a:gd name="connsiteY2" fmla="*/ 150921 h 273115"/>
                <a:gd name="connsiteX3" fmla="*/ 418487 w 418487"/>
                <a:gd name="connsiteY3" fmla="*/ 183564 h 273115"/>
                <a:gd name="connsiteX4" fmla="*/ 411741 w 418487"/>
                <a:gd name="connsiteY4" fmla="*/ 254183 h 273115"/>
                <a:gd name="connsiteX5" fmla="*/ 209244 w 418487"/>
                <a:gd name="connsiteY5" fmla="*/ 269090 h 273115"/>
                <a:gd name="connsiteX6" fmla="*/ 63872 w 418487"/>
                <a:gd name="connsiteY6" fmla="*/ 273116 h 273115"/>
                <a:gd name="connsiteX7" fmla="*/ 0 w 418487"/>
                <a:gd name="connsiteY7" fmla="*/ 120889 h 273115"/>
                <a:gd name="connsiteX8" fmla="*/ 59737 w 418487"/>
                <a:gd name="connsiteY8" fmla="*/ 0 h 2731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18487" h="273115">
                  <a:moveTo>
                    <a:pt x="59737" y="109"/>
                  </a:moveTo>
                  <a:lnTo>
                    <a:pt x="105982" y="130573"/>
                  </a:lnTo>
                  <a:cubicBezTo>
                    <a:pt x="105982" y="130573"/>
                    <a:pt x="198363" y="138734"/>
                    <a:pt x="251354" y="150921"/>
                  </a:cubicBezTo>
                  <a:cubicBezTo>
                    <a:pt x="304345" y="163108"/>
                    <a:pt x="418487" y="183564"/>
                    <a:pt x="418487" y="183564"/>
                  </a:cubicBezTo>
                  <a:lnTo>
                    <a:pt x="411741" y="254183"/>
                  </a:lnTo>
                  <a:cubicBezTo>
                    <a:pt x="411741" y="254183"/>
                    <a:pt x="277251" y="265064"/>
                    <a:pt x="209244" y="269090"/>
                  </a:cubicBezTo>
                  <a:cubicBezTo>
                    <a:pt x="141346" y="273116"/>
                    <a:pt x="63872" y="273116"/>
                    <a:pt x="63872" y="273116"/>
                  </a:cubicBezTo>
                  <a:lnTo>
                    <a:pt x="0" y="120889"/>
                  </a:lnTo>
                  <a:lnTo>
                    <a:pt x="59737" y="0"/>
                  </a:lnTo>
                  <a:close/>
                </a:path>
              </a:pathLst>
            </a:custGeom>
            <a:solidFill>
              <a:srgbClr val="21A038"/>
            </a:solidFill>
            <a:ln w="10863" cap="flat">
              <a:solidFill>
                <a:srgbClr val="000000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2" name="Полилиния: фигура 31">
              <a:extLst>
                <a:ext uri="{FF2B5EF4-FFF2-40B4-BE49-F238E27FC236}">
                  <a16:creationId xmlns:a16="http://schemas.microsoft.com/office/drawing/2014/main" id="{615E056C-6322-4176-A675-4A6407B3AE31}"/>
                </a:ext>
              </a:extLst>
            </p:cNvPr>
            <p:cNvSpPr/>
            <p:nvPr/>
          </p:nvSpPr>
          <p:spPr>
            <a:xfrm>
              <a:off x="8809980" y="1303234"/>
              <a:ext cx="315334" cy="908997"/>
            </a:xfrm>
            <a:custGeom>
              <a:avLst/>
              <a:gdLst>
                <a:gd name="connsiteX0" fmla="*/ 1197 w 315334"/>
                <a:gd name="connsiteY0" fmla="*/ 99780 h 908997"/>
                <a:gd name="connsiteX1" fmla="*/ 10663 w 315334"/>
                <a:gd name="connsiteY1" fmla="*/ 334812 h 908997"/>
                <a:gd name="connsiteX2" fmla="*/ 187590 w 315334"/>
                <a:gd name="connsiteY2" fmla="*/ 905743 h 908997"/>
                <a:gd name="connsiteX3" fmla="*/ 233835 w 315334"/>
                <a:gd name="connsiteY3" fmla="*/ 896277 h 908997"/>
                <a:gd name="connsiteX4" fmla="*/ 315334 w 315334"/>
                <a:gd name="connsiteY4" fmla="*/ 821524 h 908997"/>
                <a:gd name="connsiteX5" fmla="*/ 165719 w 315334"/>
                <a:gd name="connsiteY5" fmla="*/ 596829 h 908997"/>
                <a:gd name="connsiteX6" fmla="*/ 111205 w 315334"/>
                <a:gd name="connsiteY6" fmla="*/ 408259 h 908997"/>
                <a:gd name="connsiteX7" fmla="*/ 139713 w 315334"/>
                <a:gd name="connsiteY7" fmla="*/ 273769 h 908997"/>
                <a:gd name="connsiteX8" fmla="*/ 142434 w 315334"/>
                <a:gd name="connsiteY8" fmla="*/ 208591 h 908997"/>
                <a:gd name="connsiteX9" fmla="*/ 162781 w 315334"/>
                <a:gd name="connsiteY9" fmla="*/ 82261 h 908997"/>
                <a:gd name="connsiteX10" fmla="*/ 98909 w 315334"/>
                <a:gd name="connsiteY10" fmla="*/ 31990 h 908997"/>
                <a:gd name="connsiteX11" fmla="*/ 0 w 315334"/>
                <a:gd name="connsiteY11" fmla="*/ 0 h 908997"/>
                <a:gd name="connsiteX12" fmla="*/ 1088 w 315334"/>
                <a:gd name="connsiteY12" fmla="*/ 99889 h 9089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15334" h="908997">
                  <a:moveTo>
                    <a:pt x="1197" y="99780"/>
                  </a:moveTo>
                  <a:cubicBezTo>
                    <a:pt x="1197" y="99780"/>
                    <a:pt x="2503" y="300863"/>
                    <a:pt x="10663" y="334812"/>
                  </a:cubicBezTo>
                  <a:cubicBezTo>
                    <a:pt x="18824" y="368761"/>
                    <a:pt x="187590" y="898997"/>
                    <a:pt x="187590" y="905743"/>
                  </a:cubicBezTo>
                  <a:cubicBezTo>
                    <a:pt x="187590" y="912490"/>
                    <a:pt x="206632" y="908464"/>
                    <a:pt x="233835" y="896277"/>
                  </a:cubicBezTo>
                  <a:cubicBezTo>
                    <a:pt x="261038" y="884090"/>
                    <a:pt x="315334" y="821524"/>
                    <a:pt x="315334" y="821524"/>
                  </a:cubicBezTo>
                  <a:cubicBezTo>
                    <a:pt x="315334" y="821524"/>
                    <a:pt x="203694" y="670167"/>
                    <a:pt x="165719" y="596829"/>
                  </a:cubicBezTo>
                  <a:cubicBezTo>
                    <a:pt x="127635" y="523490"/>
                    <a:pt x="113925" y="423166"/>
                    <a:pt x="111205" y="408259"/>
                  </a:cubicBezTo>
                  <a:cubicBezTo>
                    <a:pt x="108485" y="393352"/>
                    <a:pt x="138408" y="322625"/>
                    <a:pt x="139713" y="273769"/>
                  </a:cubicBezTo>
                  <a:cubicBezTo>
                    <a:pt x="141019" y="224804"/>
                    <a:pt x="142434" y="216752"/>
                    <a:pt x="142434" y="208591"/>
                  </a:cubicBezTo>
                  <a:cubicBezTo>
                    <a:pt x="142434" y="200430"/>
                    <a:pt x="160061" y="108049"/>
                    <a:pt x="162781" y="82261"/>
                  </a:cubicBezTo>
                  <a:cubicBezTo>
                    <a:pt x="165502" y="56473"/>
                    <a:pt x="135579" y="49618"/>
                    <a:pt x="98909" y="31990"/>
                  </a:cubicBezTo>
                  <a:cubicBezTo>
                    <a:pt x="62240" y="14363"/>
                    <a:pt x="0" y="0"/>
                    <a:pt x="0" y="0"/>
                  </a:cubicBezTo>
                  <a:lnTo>
                    <a:pt x="1088" y="99889"/>
                  </a:lnTo>
                  <a:close/>
                </a:path>
              </a:pathLst>
            </a:custGeom>
            <a:solidFill>
              <a:srgbClr val="21A038"/>
            </a:solidFill>
            <a:ln w="10863" cap="flat">
              <a:solidFill>
                <a:srgbClr val="000000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grpSp>
          <p:nvGrpSpPr>
            <p:cNvPr id="33" name="Рисунок 2">
              <a:extLst>
                <a:ext uri="{FF2B5EF4-FFF2-40B4-BE49-F238E27FC236}">
                  <a16:creationId xmlns:a16="http://schemas.microsoft.com/office/drawing/2014/main" id="{18FB7E78-4923-4A07-9C16-E8AA8C316592}"/>
                </a:ext>
              </a:extLst>
            </p:cNvPr>
            <p:cNvGrpSpPr/>
            <p:nvPr/>
          </p:nvGrpSpPr>
          <p:grpSpPr>
            <a:xfrm>
              <a:off x="7968109" y="1295400"/>
              <a:ext cx="740132" cy="890945"/>
              <a:chOff x="7968109" y="1295400"/>
              <a:chExt cx="740132" cy="890945"/>
            </a:xfrm>
          </p:grpSpPr>
          <p:sp>
            <p:nvSpPr>
              <p:cNvPr id="34" name="Полилиния: фигура 33">
                <a:extLst>
                  <a:ext uri="{FF2B5EF4-FFF2-40B4-BE49-F238E27FC236}">
                    <a16:creationId xmlns:a16="http://schemas.microsoft.com/office/drawing/2014/main" id="{F3928D76-2355-495D-9074-CFE2A2FAE15B}"/>
                  </a:ext>
                </a:extLst>
              </p:cNvPr>
              <p:cNvSpPr/>
              <p:nvPr/>
            </p:nvSpPr>
            <p:spPr>
              <a:xfrm>
                <a:off x="7968109" y="1295400"/>
                <a:ext cx="740132" cy="890945"/>
              </a:xfrm>
              <a:custGeom>
                <a:avLst/>
                <a:gdLst>
                  <a:gd name="connsiteX0" fmla="*/ 693671 w 740132"/>
                  <a:gd name="connsiteY0" fmla="*/ 109246 h 890945"/>
                  <a:gd name="connsiteX1" fmla="*/ 740133 w 740132"/>
                  <a:gd name="connsiteY1" fmla="*/ 289220 h 890945"/>
                  <a:gd name="connsiteX2" fmla="*/ 643182 w 740132"/>
                  <a:gd name="connsiteY2" fmla="*/ 543403 h 890945"/>
                  <a:gd name="connsiteX3" fmla="*/ 450478 w 740132"/>
                  <a:gd name="connsiteY3" fmla="*/ 890945 h 890945"/>
                  <a:gd name="connsiteX4" fmla="*/ 327086 w 740132"/>
                  <a:gd name="connsiteY4" fmla="*/ 816083 h 890945"/>
                  <a:gd name="connsiteX5" fmla="*/ 284650 w 740132"/>
                  <a:gd name="connsiteY5" fmla="*/ 733169 h 890945"/>
                  <a:gd name="connsiteX6" fmla="*/ 559615 w 740132"/>
                  <a:gd name="connsiteY6" fmla="*/ 443949 h 890945"/>
                  <a:gd name="connsiteX7" fmla="*/ 511630 w 740132"/>
                  <a:gd name="connsiteY7" fmla="*/ 273007 h 890945"/>
                  <a:gd name="connsiteX8" fmla="*/ 307391 w 740132"/>
                  <a:gd name="connsiteY8" fmla="*/ 380186 h 890945"/>
                  <a:gd name="connsiteX9" fmla="*/ 58649 w 740132"/>
                  <a:gd name="connsiteY9" fmla="*/ 628928 h 890945"/>
                  <a:gd name="connsiteX10" fmla="*/ 0 w 740132"/>
                  <a:gd name="connsiteY10" fmla="*/ 558092 h 890945"/>
                  <a:gd name="connsiteX11" fmla="*/ 205871 w 740132"/>
                  <a:gd name="connsiteY11" fmla="*/ 276163 h 890945"/>
                  <a:gd name="connsiteX12" fmla="*/ 424690 w 740132"/>
                  <a:gd name="connsiteY12" fmla="*/ 80847 h 890945"/>
                  <a:gd name="connsiteX13" fmla="*/ 647100 w 740132"/>
                  <a:gd name="connsiteY13" fmla="*/ 0 h 890945"/>
                  <a:gd name="connsiteX14" fmla="*/ 693562 w 740132"/>
                  <a:gd name="connsiteY14" fmla="*/ 109246 h 8909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740132" h="890945">
                    <a:moveTo>
                      <a:pt x="693671" y="109246"/>
                    </a:moveTo>
                    <a:cubicBezTo>
                      <a:pt x="693671" y="109246"/>
                      <a:pt x="740133" y="248742"/>
                      <a:pt x="740133" y="289220"/>
                    </a:cubicBezTo>
                    <a:cubicBezTo>
                      <a:pt x="740133" y="329698"/>
                      <a:pt x="671473" y="502925"/>
                      <a:pt x="643182" y="543403"/>
                    </a:cubicBezTo>
                    <a:cubicBezTo>
                      <a:pt x="614892" y="583880"/>
                      <a:pt x="450478" y="890945"/>
                      <a:pt x="450478" y="890945"/>
                    </a:cubicBezTo>
                    <a:cubicBezTo>
                      <a:pt x="450478" y="890945"/>
                      <a:pt x="359512" y="850467"/>
                      <a:pt x="327086" y="816083"/>
                    </a:cubicBezTo>
                    <a:cubicBezTo>
                      <a:pt x="294769" y="781699"/>
                      <a:pt x="284650" y="733169"/>
                      <a:pt x="284650" y="733169"/>
                    </a:cubicBezTo>
                    <a:lnTo>
                      <a:pt x="559615" y="443949"/>
                    </a:lnTo>
                    <a:lnTo>
                      <a:pt x="511630" y="273007"/>
                    </a:lnTo>
                    <a:lnTo>
                      <a:pt x="307391" y="380186"/>
                    </a:lnTo>
                    <a:lnTo>
                      <a:pt x="58649" y="628928"/>
                    </a:lnTo>
                    <a:lnTo>
                      <a:pt x="0" y="558092"/>
                    </a:lnTo>
                    <a:lnTo>
                      <a:pt x="205871" y="276163"/>
                    </a:lnTo>
                    <a:cubicBezTo>
                      <a:pt x="205871" y="276163"/>
                      <a:pt x="416529" y="86940"/>
                      <a:pt x="424690" y="80847"/>
                    </a:cubicBezTo>
                    <a:cubicBezTo>
                      <a:pt x="432850" y="74753"/>
                      <a:pt x="647100" y="0"/>
                      <a:pt x="647100" y="0"/>
                    </a:cubicBezTo>
                    <a:lnTo>
                      <a:pt x="693562" y="109246"/>
                    </a:lnTo>
                    <a:close/>
                  </a:path>
                </a:pathLst>
              </a:custGeom>
              <a:solidFill>
                <a:srgbClr val="21A038"/>
              </a:solidFill>
              <a:ln w="10863" cap="flat">
                <a:solidFill>
                  <a:srgbClr val="000000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35" name="Полилиния: фигура 34">
                <a:extLst>
                  <a:ext uri="{FF2B5EF4-FFF2-40B4-BE49-F238E27FC236}">
                    <a16:creationId xmlns:a16="http://schemas.microsoft.com/office/drawing/2014/main" id="{39AA4D2E-0AB6-4762-B2E5-565DA8409C1F}"/>
                  </a:ext>
                </a:extLst>
              </p:cNvPr>
              <p:cNvSpPr/>
              <p:nvPr/>
            </p:nvSpPr>
            <p:spPr>
              <a:xfrm>
                <a:off x="8394866" y="1511825"/>
                <a:ext cx="84872" cy="56581"/>
              </a:xfrm>
              <a:custGeom>
                <a:avLst/>
                <a:gdLst>
                  <a:gd name="connsiteX0" fmla="*/ 60608 w 84872"/>
                  <a:gd name="connsiteY0" fmla="*/ 0 h 56581"/>
                  <a:gd name="connsiteX1" fmla="*/ 84873 w 84872"/>
                  <a:gd name="connsiteY1" fmla="*/ 56582 h 56581"/>
                  <a:gd name="connsiteX2" fmla="*/ 0 w 84872"/>
                  <a:gd name="connsiteY2" fmla="*/ 0 h 565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4872" h="56581">
                    <a:moveTo>
                      <a:pt x="60608" y="0"/>
                    </a:moveTo>
                    <a:lnTo>
                      <a:pt x="84873" y="56582"/>
                    </a:lnTo>
                    <a:lnTo>
                      <a:pt x="0" y="0"/>
                    </a:lnTo>
                  </a:path>
                </a:pathLst>
              </a:custGeom>
              <a:noFill/>
              <a:ln w="10863" cap="flat">
                <a:solidFill>
                  <a:srgbClr val="26323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36" name="Полилиния: фигура 35">
                <a:extLst>
                  <a:ext uri="{FF2B5EF4-FFF2-40B4-BE49-F238E27FC236}">
                    <a16:creationId xmlns:a16="http://schemas.microsoft.com/office/drawing/2014/main" id="{7AFB3E5D-0F4D-4786-BACA-847D376A8B5E}"/>
                  </a:ext>
                </a:extLst>
              </p:cNvPr>
              <p:cNvSpPr/>
              <p:nvPr/>
            </p:nvSpPr>
            <p:spPr>
              <a:xfrm>
                <a:off x="8335629" y="1838802"/>
                <a:ext cx="275661" cy="347542"/>
              </a:xfrm>
              <a:custGeom>
                <a:avLst/>
                <a:gdLst>
                  <a:gd name="connsiteX0" fmla="*/ 275662 w 275661"/>
                  <a:gd name="connsiteY0" fmla="*/ 0 h 347542"/>
                  <a:gd name="connsiteX1" fmla="*/ 43 w 275661"/>
                  <a:gd name="connsiteY1" fmla="*/ 252442 h 347542"/>
                  <a:gd name="connsiteX2" fmla="*/ 82957 w 275661"/>
                  <a:gd name="connsiteY2" fmla="*/ 347543 h 347542"/>
                  <a:gd name="connsiteX3" fmla="*/ 275662 w 275661"/>
                  <a:gd name="connsiteY3" fmla="*/ 0 h 3475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75661" h="347542">
                    <a:moveTo>
                      <a:pt x="275662" y="0"/>
                    </a:moveTo>
                    <a:cubicBezTo>
                      <a:pt x="275662" y="0"/>
                      <a:pt x="-3983" y="234270"/>
                      <a:pt x="43" y="252442"/>
                    </a:cubicBezTo>
                    <a:cubicBezTo>
                      <a:pt x="4069" y="270613"/>
                      <a:pt x="40521" y="317184"/>
                      <a:pt x="82957" y="347543"/>
                    </a:cubicBezTo>
                    <a:lnTo>
                      <a:pt x="275662" y="0"/>
                    </a:lnTo>
                    <a:close/>
                  </a:path>
                </a:pathLst>
              </a:custGeom>
              <a:solidFill>
                <a:srgbClr val="21A038"/>
              </a:solidFill>
              <a:ln w="10863" cap="flat">
                <a:solidFill>
                  <a:srgbClr val="000000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</p:grpSp>
        <p:sp>
          <p:nvSpPr>
            <p:cNvPr id="37" name="Полилиния: фигура 36">
              <a:extLst>
                <a:ext uri="{FF2B5EF4-FFF2-40B4-BE49-F238E27FC236}">
                  <a16:creationId xmlns:a16="http://schemas.microsoft.com/office/drawing/2014/main" id="{98004886-6190-414D-8C9E-0D79A43E1291}"/>
                </a:ext>
              </a:extLst>
            </p:cNvPr>
            <p:cNvSpPr/>
            <p:nvPr/>
          </p:nvSpPr>
          <p:spPr>
            <a:xfrm>
              <a:off x="8586586" y="1251579"/>
              <a:ext cx="273910" cy="209849"/>
            </a:xfrm>
            <a:custGeom>
              <a:avLst/>
              <a:gdLst>
                <a:gd name="connsiteX0" fmla="*/ 70949 w 273910"/>
                <a:gd name="connsiteY0" fmla="*/ 5193 h 209849"/>
                <a:gd name="connsiteX1" fmla="*/ 31451 w 273910"/>
                <a:gd name="connsiteY1" fmla="*/ 2472 h 209849"/>
                <a:gd name="connsiteX2" fmla="*/ 10994 w 273910"/>
                <a:gd name="connsiteY2" fmla="*/ 36530 h 209849"/>
                <a:gd name="connsiteX3" fmla="*/ 113 w 273910"/>
                <a:gd name="connsiteY3" fmla="*/ 209540 h 209849"/>
                <a:gd name="connsiteX4" fmla="*/ 143091 w 273910"/>
                <a:gd name="connsiteY4" fmla="*/ 146865 h 209849"/>
                <a:gd name="connsiteX5" fmla="*/ 273882 w 273910"/>
                <a:gd name="connsiteY5" fmla="*/ 197244 h 209849"/>
                <a:gd name="connsiteX6" fmla="*/ 223502 w 273910"/>
                <a:gd name="connsiteY6" fmla="*/ 51546 h 209849"/>
                <a:gd name="connsiteX7" fmla="*/ 70949 w 273910"/>
                <a:gd name="connsiteY7" fmla="*/ 5193 h 2098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73910" h="209849">
                  <a:moveTo>
                    <a:pt x="70949" y="5193"/>
                  </a:moveTo>
                  <a:cubicBezTo>
                    <a:pt x="70949" y="5193"/>
                    <a:pt x="41026" y="-4383"/>
                    <a:pt x="31451" y="2472"/>
                  </a:cubicBezTo>
                  <a:cubicBezTo>
                    <a:pt x="21876" y="9327"/>
                    <a:pt x="10994" y="36530"/>
                    <a:pt x="10994" y="36530"/>
                  </a:cubicBezTo>
                  <a:cubicBezTo>
                    <a:pt x="10994" y="36530"/>
                    <a:pt x="-1301" y="204099"/>
                    <a:pt x="113" y="209540"/>
                  </a:cubicBezTo>
                  <a:cubicBezTo>
                    <a:pt x="1528" y="214980"/>
                    <a:pt x="143091" y="146865"/>
                    <a:pt x="143091" y="146865"/>
                  </a:cubicBezTo>
                  <a:cubicBezTo>
                    <a:pt x="143091" y="146865"/>
                    <a:pt x="272467" y="208125"/>
                    <a:pt x="273882" y="197244"/>
                  </a:cubicBezTo>
                  <a:cubicBezTo>
                    <a:pt x="275296" y="186363"/>
                    <a:pt x="223502" y="51546"/>
                    <a:pt x="223502" y="51546"/>
                  </a:cubicBezTo>
                  <a:lnTo>
                    <a:pt x="70949" y="5193"/>
                  </a:lnTo>
                  <a:close/>
                </a:path>
              </a:pathLst>
            </a:custGeom>
            <a:solidFill>
              <a:srgbClr val="FFFFFF"/>
            </a:solidFill>
            <a:ln w="10863" cap="flat">
              <a:solidFill>
                <a:srgbClr val="263238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grpSp>
          <p:nvGrpSpPr>
            <p:cNvPr id="38" name="Рисунок 2">
              <a:extLst>
                <a:ext uri="{FF2B5EF4-FFF2-40B4-BE49-F238E27FC236}">
                  <a16:creationId xmlns:a16="http://schemas.microsoft.com/office/drawing/2014/main" id="{18FB7E78-4923-4A07-9C16-E8AA8C316592}"/>
                </a:ext>
              </a:extLst>
            </p:cNvPr>
            <p:cNvGrpSpPr/>
            <p:nvPr/>
          </p:nvGrpSpPr>
          <p:grpSpPr>
            <a:xfrm>
              <a:off x="8536411" y="921751"/>
              <a:ext cx="406899" cy="569182"/>
              <a:chOff x="8536411" y="921751"/>
              <a:chExt cx="406899" cy="569182"/>
            </a:xfrm>
          </p:grpSpPr>
          <p:sp>
            <p:nvSpPr>
              <p:cNvPr id="39" name="Полилиния: фигура 38">
                <a:extLst>
                  <a:ext uri="{FF2B5EF4-FFF2-40B4-BE49-F238E27FC236}">
                    <a16:creationId xmlns:a16="http://schemas.microsoft.com/office/drawing/2014/main" id="{F519B8AA-4A48-4700-AF7B-9688E5A93F1F}"/>
                  </a:ext>
                </a:extLst>
              </p:cNvPr>
              <p:cNvSpPr/>
              <p:nvPr/>
            </p:nvSpPr>
            <p:spPr>
              <a:xfrm>
                <a:off x="8536519" y="921751"/>
                <a:ext cx="406790" cy="569182"/>
              </a:xfrm>
              <a:custGeom>
                <a:avLst/>
                <a:gdLst>
                  <a:gd name="connsiteX0" fmla="*/ 311436 w 406790"/>
                  <a:gd name="connsiteY0" fmla="*/ 45257 h 569182"/>
                  <a:gd name="connsiteX1" fmla="*/ 174878 w 406790"/>
                  <a:gd name="connsiteY1" fmla="*/ 427 h 569182"/>
                  <a:gd name="connsiteX2" fmla="*/ 4697 w 406790"/>
                  <a:gd name="connsiteY2" fmla="*/ 123601 h 569182"/>
                  <a:gd name="connsiteX3" fmla="*/ 91964 w 406790"/>
                  <a:gd name="connsiteY3" fmla="*/ 310539 h 569182"/>
                  <a:gd name="connsiteX4" fmla="*/ 131136 w 406790"/>
                  <a:gd name="connsiteY4" fmla="*/ 328492 h 569182"/>
                  <a:gd name="connsiteX5" fmla="*/ 104259 w 406790"/>
                  <a:gd name="connsiteY5" fmla="*/ 346446 h 569182"/>
                  <a:gd name="connsiteX6" fmla="*/ 93052 w 406790"/>
                  <a:gd name="connsiteY6" fmla="*/ 353193 h 569182"/>
                  <a:gd name="connsiteX7" fmla="*/ 150178 w 406790"/>
                  <a:gd name="connsiteY7" fmla="*/ 497585 h 569182"/>
                  <a:gd name="connsiteX8" fmla="*/ 201645 w 406790"/>
                  <a:gd name="connsiteY8" fmla="*/ 569182 h 569182"/>
                  <a:gd name="connsiteX9" fmla="*/ 249740 w 406790"/>
                  <a:gd name="connsiteY9" fmla="*/ 451667 h 569182"/>
                  <a:gd name="connsiteX10" fmla="*/ 287824 w 406790"/>
                  <a:gd name="connsiteY10" fmla="*/ 366576 h 569182"/>
                  <a:gd name="connsiteX11" fmla="*/ 348323 w 406790"/>
                  <a:gd name="connsiteY11" fmla="*/ 357654 h 569182"/>
                  <a:gd name="connsiteX12" fmla="*/ 378572 w 406790"/>
                  <a:gd name="connsiteY12" fmla="*/ 247972 h 569182"/>
                  <a:gd name="connsiteX13" fmla="*/ 406537 w 406790"/>
                  <a:gd name="connsiteY13" fmla="*/ 206515 h 569182"/>
                  <a:gd name="connsiteX14" fmla="*/ 372914 w 406790"/>
                  <a:gd name="connsiteY14" fmla="*/ 172893 h 569182"/>
                  <a:gd name="connsiteX15" fmla="*/ 351696 w 406790"/>
                  <a:gd name="connsiteY15" fmla="*/ 132632 h 569182"/>
                  <a:gd name="connsiteX16" fmla="*/ 311436 w 406790"/>
                  <a:gd name="connsiteY16" fmla="*/ 45366 h 5691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406790" h="569182">
                    <a:moveTo>
                      <a:pt x="311436" y="45257"/>
                    </a:moveTo>
                    <a:cubicBezTo>
                      <a:pt x="311436" y="45257"/>
                      <a:pt x="253222" y="-5122"/>
                      <a:pt x="174878" y="427"/>
                    </a:cubicBezTo>
                    <a:cubicBezTo>
                      <a:pt x="109047" y="5106"/>
                      <a:pt x="29397" y="26215"/>
                      <a:pt x="4697" y="123601"/>
                    </a:cubicBezTo>
                    <a:cubicBezTo>
                      <a:pt x="-19894" y="220987"/>
                      <a:pt x="58450" y="297155"/>
                      <a:pt x="91964" y="310539"/>
                    </a:cubicBezTo>
                    <a:cubicBezTo>
                      <a:pt x="125586" y="323922"/>
                      <a:pt x="131136" y="328492"/>
                      <a:pt x="131136" y="328492"/>
                    </a:cubicBezTo>
                    <a:cubicBezTo>
                      <a:pt x="131136" y="328492"/>
                      <a:pt x="115467" y="339700"/>
                      <a:pt x="104259" y="346446"/>
                    </a:cubicBezTo>
                    <a:lnTo>
                      <a:pt x="93052" y="353193"/>
                    </a:lnTo>
                    <a:cubicBezTo>
                      <a:pt x="93052" y="353193"/>
                      <a:pt x="106436" y="440459"/>
                      <a:pt x="150178" y="497585"/>
                    </a:cubicBezTo>
                    <a:cubicBezTo>
                      <a:pt x="193811" y="554711"/>
                      <a:pt x="201645" y="569182"/>
                      <a:pt x="201645" y="569182"/>
                    </a:cubicBezTo>
                    <a:cubicBezTo>
                      <a:pt x="201645" y="569182"/>
                      <a:pt x="243102" y="522176"/>
                      <a:pt x="249740" y="451667"/>
                    </a:cubicBezTo>
                    <a:lnTo>
                      <a:pt x="287824" y="366576"/>
                    </a:lnTo>
                    <a:cubicBezTo>
                      <a:pt x="287824" y="366576"/>
                      <a:pt x="341576" y="368861"/>
                      <a:pt x="348323" y="357654"/>
                    </a:cubicBezTo>
                    <a:cubicBezTo>
                      <a:pt x="355069" y="346446"/>
                      <a:pt x="378572" y="247972"/>
                      <a:pt x="378572" y="247972"/>
                    </a:cubicBezTo>
                    <a:cubicBezTo>
                      <a:pt x="378572" y="247972"/>
                      <a:pt x="409910" y="222184"/>
                      <a:pt x="406537" y="206515"/>
                    </a:cubicBezTo>
                    <a:cubicBezTo>
                      <a:pt x="403164" y="190846"/>
                      <a:pt x="379660" y="180727"/>
                      <a:pt x="372914" y="172893"/>
                    </a:cubicBezTo>
                    <a:cubicBezTo>
                      <a:pt x="366168" y="165058"/>
                      <a:pt x="357245" y="156136"/>
                      <a:pt x="351696" y="132632"/>
                    </a:cubicBezTo>
                    <a:cubicBezTo>
                      <a:pt x="346146" y="109129"/>
                      <a:pt x="332654" y="71045"/>
                      <a:pt x="311436" y="45366"/>
                    </a:cubicBezTo>
                    <a:close/>
                  </a:path>
                </a:pathLst>
              </a:custGeom>
              <a:solidFill>
                <a:srgbClr val="FFFFFF"/>
              </a:solidFill>
              <a:ln w="10863" cap="flat">
                <a:solidFill>
                  <a:srgbClr val="26323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40" name="Полилиния: фигура 39">
                <a:extLst>
                  <a:ext uri="{FF2B5EF4-FFF2-40B4-BE49-F238E27FC236}">
                    <a16:creationId xmlns:a16="http://schemas.microsoft.com/office/drawing/2014/main" id="{3392493F-21E5-4FB4-89C6-0D715FB88496}"/>
                  </a:ext>
                </a:extLst>
              </p:cNvPr>
              <p:cNvSpPr/>
              <p:nvPr/>
            </p:nvSpPr>
            <p:spPr>
              <a:xfrm>
                <a:off x="8536411" y="921860"/>
                <a:ext cx="311653" cy="328492"/>
              </a:xfrm>
              <a:custGeom>
                <a:avLst/>
                <a:gdLst>
                  <a:gd name="connsiteX0" fmla="*/ 254419 w 311653"/>
                  <a:gd name="connsiteY0" fmla="*/ 56356 h 328492"/>
                  <a:gd name="connsiteX1" fmla="*/ 311653 w 311653"/>
                  <a:gd name="connsiteY1" fmla="*/ 45475 h 328492"/>
                  <a:gd name="connsiteX2" fmla="*/ 311436 w 311653"/>
                  <a:gd name="connsiteY2" fmla="*/ 45257 h 328492"/>
                  <a:gd name="connsiteX3" fmla="*/ 174878 w 311653"/>
                  <a:gd name="connsiteY3" fmla="*/ 427 h 328492"/>
                  <a:gd name="connsiteX4" fmla="*/ 4697 w 311653"/>
                  <a:gd name="connsiteY4" fmla="*/ 123601 h 328492"/>
                  <a:gd name="connsiteX5" fmla="*/ 91964 w 311653"/>
                  <a:gd name="connsiteY5" fmla="*/ 310539 h 328492"/>
                  <a:gd name="connsiteX6" fmla="*/ 131136 w 311653"/>
                  <a:gd name="connsiteY6" fmla="*/ 328492 h 328492"/>
                  <a:gd name="connsiteX7" fmla="*/ 182604 w 311653"/>
                  <a:gd name="connsiteY7" fmla="*/ 283662 h 328492"/>
                  <a:gd name="connsiteX8" fmla="*/ 141147 w 311653"/>
                  <a:gd name="connsiteY8" fmla="*/ 282574 h 328492"/>
                  <a:gd name="connsiteX9" fmla="*/ 125478 w 311653"/>
                  <a:gd name="connsiteY9" fmla="*/ 208691 h 328492"/>
                  <a:gd name="connsiteX10" fmla="*/ 175857 w 311653"/>
                  <a:gd name="connsiteY10" fmla="*/ 207603 h 328492"/>
                  <a:gd name="connsiteX11" fmla="*/ 207195 w 311653"/>
                  <a:gd name="connsiteY11" fmla="*/ 200857 h 328492"/>
                  <a:gd name="connsiteX12" fmla="*/ 219490 w 311653"/>
                  <a:gd name="connsiteY12" fmla="*/ 133721 h 328492"/>
                  <a:gd name="connsiteX13" fmla="*/ 254201 w 311653"/>
                  <a:gd name="connsiteY13" fmla="*/ 56465 h 3284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311653" h="328492">
                    <a:moveTo>
                      <a:pt x="254419" y="56356"/>
                    </a:moveTo>
                    <a:cubicBezTo>
                      <a:pt x="280098" y="41884"/>
                      <a:pt x="299140" y="41775"/>
                      <a:pt x="311653" y="45475"/>
                    </a:cubicBezTo>
                    <a:cubicBezTo>
                      <a:pt x="311653" y="45475"/>
                      <a:pt x="311545" y="45257"/>
                      <a:pt x="311436" y="45257"/>
                    </a:cubicBezTo>
                    <a:cubicBezTo>
                      <a:pt x="311436" y="45257"/>
                      <a:pt x="253222" y="-5122"/>
                      <a:pt x="174878" y="427"/>
                    </a:cubicBezTo>
                    <a:cubicBezTo>
                      <a:pt x="109047" y="5106"/>
                      <a:pt x="29398" y="26215"/>
                      <a:pt x="4697" y="123601"/>
                    </a:cubicBezTo>
                    <a:cubicBezTo>
                      <a:pt x="-19894" y="220987"/>
                      <a:pt x="58450" y="297155"/>
                      <a:pt x="91964" y="310539"/>
                    </a:cubicBezTo>
                    <a:cubicBezTo>
                      <a:pt x="125478" y="323922"/>
                      <a:pt x="131136" y="328492"/>
                      <a:pt x="131136" y="328492"/>
                    </a:cubicBezTo>
                    <a:cubicBezTo>
                      <a:pt x="155727" y="322943"/>
                      <a:pt x="182604" y="283662"/>
                      <a:pt x="182604" y="283662"/>
                    </a:cubicBezTo>
                    <a:cubicBezTo>
                      <a:pt x="182604" y="283662"/>
                      <a:pt x="158012" y="287035"/>
                      <a:pt x="141147" y="282574"/>
                    </a:cubicBezTo>
                    <a:cubicBezTo>
                      <a:pt x="124390" y="278113"/>
                      <a:pt x="106436" y="236656"/>
                      <a:pt x="125478" y="208691"/>
                    </a:cubicBezTo>
                    <a:cubicBezTo>
                      <a:pt x="144520" y="180727"/>
                      <a:pt x="171396" y="204230"/>
                      <a:pt x="175857" y="207603"/>
                    </a:cubicBezTo>
                    <a:cubicBezTo>
                      <a:pt x="180318" y="210976"/>
                      <a:pt x="194899" y="212065"/>
                      <a:pt x="207195" y="200857"/>
                    </a:cubicBezTo>
                    <a:cubicBezTo>
                      <a:pt x="219490" y="189649"/>
                      <a:pt x="222864" y="154939"/>
                      <a:pt x="219490" y="133721"/>
                    </a:cubicBezTo>
                    <a:cubicBezTo>
                      <a:pt x="216117" y="112502"/>
                      <a:pt x="202733" y="85626"/>
                      <a:pt x="254201" y="56465"/>
                    </a:cubicBezTo>
                    <a:close/>
                  </a:path>
                </a:pathLst>
              </a:custGeom>
              <a:solidFill>
                <a:srgbClr val="263238"/>
              </a:solidFill>
              <a:ln w="10863" cap="flat">
                <a:solidFill>
                  <a:srgbClr val="26323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41" name="Полилиния: фигура 40">
                <a:extLst>
                  <a:ext uri="{FF2B5EF4-FFF2-40B4-BE49-F238E27FC236}">
                    <a16:creationId xmlns:a16="http://schemas.microsoft.com/office/drawing/2014/main" id="{A83EBCC2-F38A-4F2D-A3F8-303B6A92DF32}"/>
                  </a:ext>
                </a:extLst>
              </p:cNvPr>
              <p:cNvSpPr/>
              <p:nvPr/>
            </p:nvSpPr>
            <p:spPr>
              <a:xfrm>
                <a:off x="8859748" y="1069124"/>
                <a:ext cx="14607" cy="33085"/>
              </a:xfrm>
              <a:custGeom>
                <a:avLst/>
                <a:gdLst>
                  <a:gd name="connsiteX0" fmla="*/ 13887 w 14607"/>
                  <a:gd name="connsiteY0" fmla="*/ 15291 h 33085"/>
                  <a:gd name="connsiteX1" fmla="*/ 10514 w 14607"/>
                  <a:gd name="connsiteY1" fmla="*/ 33028 h 33085"/>
                  <a:gd name="connsiteX2" fmla="*/ 721 w 14607"/>
                  <a:gd name="connsiteY2" fmla="*/ 17794 h 33085"/>
                  <a:gd name="connsiteX3" fmla="*/ 4094 w 14607"/>
                  <a:gd name="connsiteY3" fmla="*/ 58 h 33085"/>
                  <a:gd name="connsiteX4" fmla="*/ 13887 w 14607"/>
                  <a:gd name="connsiteY4" fmla="*/ 15291 h 330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4607" h="33085">
                    <a:moveTo>
                      <a:pt x="13887" y="15291"/>
                    </a:moveTo>
                    <a:cubicBezTo>
                      <a:pt x="15628" y="24432"/>
                      <a:pt x="14105" y="32375"/>
                      <a:pt x="10514" y="33028"/>
                    </a:cubicBezTo>
                    <a:cubicBezTo>
                      <a:pt x="6923" y="33789"/>
                      <a:pt x="2462" y="26934"/>
                      <a:pt x="721" y="17794"/>
                    </a:cubicBezTo>
                    <a:cubicBezTo>
                      <a:pt x="-1020" y="8654"/>
                      <a:pt x="503" y="711"/>
                      <a:pt x="4094" y="58"/>
                    </a:cubicBezTo>
                    <a:cubicBezTo>
                      <a:pt x="7685" y="-704"/>
                      <a:pt x="12146" y="6151"/>
                      <a:pt x="13887" y="15291"/>
                    </a:cubicBezTo>
                    <a:close/>
                  </a:path>
                </a:pathLst>
              </a:custGeom>
              <a:solidFill>
                <a:srgbClr val="263238"/>
              </a:solidFill>
              <a:ln w="108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43" name="Полилиния: фигура 42">
                <a:extLst>
                  <a:ext uri="{FF2B5EF4-FFF2-40B4-BE49-F238E27FC236}">
                    <a16:creationId xmlns:a16="http://schemas.microsoft.com/office/drawing/2014/main" id="{A4ACD460-76BC-4E3B-8CDA-95294CAB71D2}"/>
                  </a:ext>
                </a:extLst>
              </p:cNvPr>
              <p:cNvSpPr/>
              <p:nvPr/>
            </p:nvSpPr>
            <p:spPr>
              <a:xfrm>
                <a:off x="8843494" y="1043208"/>
                <a:ext cx="30249" cy="12263"/>
              </a:xfrm>
              <a:custGeom>
                <a:avLst/>
                <a:gdLst>
                  <a:gd name="connsiteX0" fmla="*/ 0 w 30249"/>
                  <a:gd name="connsiteY0" fmla="*/ 12263 h 12263"/>
                  <a:gd name="connsiteX1" fmla="*/ 30249 w 30249"/>
                  <a:gd name="connsiteY1" fmla="*/ 4429 h 122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0249" h="12263">
                    <a:moveTo>
                      <a:pt x="0" y="12263"/>
                    </a:moveTo>
                    <a:cubicBezTo>
                      <a:pt x="0" y="12263"/>
                      <a:pt x="12296" y="-8955"/>
                      <a:pt x="30249" y="4429"/>
                    </a:cubicBezTo>
                  </a:path>
                </a:pathLst>
              </a:custGeom>
              <a:noFill/>
              <a:ln w="10863" cap="flat">
                <a:solidFill>
                  <a:srgbClr val="26323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44" name="Полилиния: фигура 43">
                <a:extLst>
                  <a:ext uri="{FF2B5EF4-FFF2-40B4-BE49-F238E27FC236}">
                    <a16:creationId xmlns:a16="http://schemas.microsoft.com/office/drawing/2014/main" id="{64AA1A6A-A2D2-4C1C-ABB2-6E192A6BB7A4}"/>
                  </a:ext>
                </a:extLst>
              </p:cNvPr>
              <p:cNvSpPr/>
              <p:nvPr/>
            </p:nvSpPr>
            <p:spPr>
              <a:xfrm>
                <a:off x="8853613" y="1169723"/>
                <a:ext cx="36886" cy="21374"/>
              </a:xfrm>
              <a:custGeom>
                <a:avLst/>
                <a:gdLst>
                  <a:gd name="connsiteX0" fmla="*/ 36887 w 36886"/>
                  <a:gd name="connsiteY0" fmla="*/ 21218 h 21374"/>
                  <a:gd name="connsiteX1" fmla="*/ 0 w 36886"/>
                  <a:gd name="connsiteY1" fmla="*/ 0 h 213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6886" h="21374">
                    <a:moveTo>
                      <a:pt x="36887" y="21218"/>
                    </a:moveTo>
                    <a:cubicBezTo>
                      <a:pt x="36887" y="21218"/>
                      <a:pt x="11099" y="24591"/>
                      <a:pt x="0" y="0"/>
                    </a:cubicBezTo>
                  </a:path>
                </a:pathLst>
              </a:custGeom>
              <a:noFill/>
              <a:ln w="10863" cap="flat">
                <a:solidFill>
                  <a:srgbClr val="26323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49" name="Полилиния: фигура 48">
                <a:extLst>
                  <a:ext uri="{FF2B5EF4-FFF2-40B4-BE49-F238E27FC236}">
                    <a16:creationId xmlns:a16="http://schemas.microsoft.com/office/drawing/2014/main" id="{F060FE08-E268-4DAE-AB7D-35D2C96D3434}"/>
                  </a:ext>
                </a:extLst>
              </p:cNvPr>
              <p:cNvSpPr/>
              <p:nvPr/>
            </p:nvSpPr>
            <p:spPr>
              <a:xfrm>
                <a:off x="8778534" y="1278208"/>
                <a:ext cx="45918" cy="45918"/>
              </a:xfrm>
              <a:custGeom>
                <a:avLst/>
                <a:gdLst>
                  <a:gd name="connsiteX0" fmla="*/ 45918 w 45918"/>
                  <a:gd name="connsiteY0" fmla="*/ 10119 h 45918"/>
                  <a:gd name="connsiteX1" fmla="*/ 0 w 45918"/>
                  <a:gd name="connsiteY1" fmla="*/ 0 h 45918"/>
                  <a:gd name="connsiteX2" fmla="*/ 25788 w 45918"/>
                  <a:gd name="connsiteY2" fmla="*/ 45918 h 45918"/>
                  <a:gd name="connsiteX3" fmla="*/ 45918 w 45918"/>
                  <a:gd name="connsiteY3" fmla="*/ 10119 h 459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5918" h="45918">
                    <a:moveTo>
                      <a:pt x="45918" y="10119"/>
                    </a:moveTo>
                    <a:lnTo>
                      <a:pt x="0" y="0"/>
                    </a:lnTo>
                    <a:lnTo>
                      <a:pt x="25788" y="45918"/>
                    </a:lnTo>
                    <a:lnTo>
                      <a:pt x="45918" y="10119"/>
                    </a:lnTo>
                    <a:close/>
                  </a:path>
                </a:pathLst>
              </a:custGeom>
              <a:solidFill>
                <a:srgbClr val="263238"/>
              </a:solidFill>
              <a:ln w="10863" cap="flat">
                <a:solidFill>
                  <a:srgbClr val="26323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</p:grpSp>
        <p:sp>
          <p:nvSpPr>
            <p:cNvPr id="50" name="Полилиния: фигура 49">
              <a:extLst>
                <a:ext uri="{FF2B5EF4-FFF2-40B4-BE49-F238E27FC236}">
                  <a16:creationId xmlns:a16="http://schemas.microsoft.com/office/drawing/2014/main" id="{B8D8C081-C1A6-4612-8473-6EC7F8358635}"/>
                </a:ext>
              </a:extLst>
            </p:cNvPr>
            <p:cNvSpPr/>
            <p:nvPr/>
          </p:nvSpPr>
          <p:spPr>
            <a:xfrm>
              <a:off x="8024745" y="947904"/>
              <a:ext cx="532139" cy="361237"/>
            </a:xfrm>
            <a:custGeom>
              <a:avLst/>
              <a:gdLst>
                <a:gd name="connsiteX0" fmla="*/ 532140 w 532139"/>
                <a:gd name="connsiteY0" fmla="*/ 52726 h 361237"/>
                <a:gd name="connsiteX1" fmla="*/ 408966 w 532139"/>
                <a:gd name="connsiteY1" fmla="*/ 62 h 361237"/>
                <a:gd name="connsiteX2" fmla="*/ 291450 w 532139"/>
                <a:gd name="connsiteY2" fmla="*/ 108655 h 361237"/>
                <a:gd name="connsiteX3" fmla="*/ 119093 w 532139"/>
                <a:gd name="connsiteY3" fmla="*/ 129873 h 361237"/>
                <a:gd name="connsiteX4" fmla="*/ 380 w 532139"/>
                <a:gd name="connsiteY4" fmla="*/ 254136 h 361237"/>
                <a:gd name="connsiteX5" fmla="*/ 236609 w 532139"/>
                <a:gd name="connsiteY5" fmla="*/ 353807 h 361237"/>
                <a:gd name="connsiteX6" fmla="*/ 389924 w 532139"/>
                <a:gd name="connsiteY6" fmla="*/ 113116 h 361237"/>
                <a:gd name="connsiteX7" fmla="*/ 524306 w 532139"/>
                <a:gd name="connsiteY7" fmla="*/ 72856 h 361237"/>
                <a:gd name="connsiteX8" fmla="*/ 532140 w 532139"/>
                <a:gd name="connsiteY8" fmla="*/ 52726 h 3612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32139" h="361237">
                  <a:moveTo>
                    <a:pt x="532140" y="52726"/>
                  </a:moveTo>
                  <a:cubicBezTo>
                    <a:pt x="532140" y="52726"/>
                    <a:pt x="467180" y="2347"/>
                    <a:pt x="408966" y="62"/>
                  </a:cubicBezTo>
                  <a:cubicBezTo>
                    <a:pt x="350752" y="-2223"/>
                    <a:pt x="309295" y="59364"/>
                    <a:pt x="291450" y="108655"/>
                  </a:cubicBezTo>
                  <a:cubicBezTo>
                    <a:pt x="273496" y="157947"/>
                    <a:pt x="187318" y="159035"/>
                    <a:pt x="119093" y="129873"/>
                  </a:cubicBezTo>
                  <a:cubicBezTo>
                    <a:pt x="50760" y="100821"/>
                    <a:pt x="-5169" y="181341"/>
                    <a:pt x="380" y="254136"/>
                  </a:cubicBezTo>
                  <a:cubicBezTo>
                    <a:pt x="5930" y="326930"/>
                    <a:pt x="157068" y="381771"/>
                    <a:pt x="236609" y="353807"/>
                  </a:cubicBezTo>
                  <a:cubicBezTo>
                    <a:pt x="316041" y="325842"/>
                    <a:pt x="360871" y="173615"/>
                    <a:pt x="389924" y="113116"/>
                  </a:cubicBezTo>
                  <a:cubicBezTo>
                    <a:pt x="418977" y="52618"/>
                    <a:pt x="524306" y="72856"/>
                    <a:pt x="524306" y="72856"/>
                  </a:cubicBezTo>
                  <a:lnTo>
                    <a:pt x="532140" y="52726"/>
                  </a:lnTo>
                  <a:close/>
                </a:path>
              </a:pathLst>
            </a:custGeom>
            <a:solidFill>
              <a:srgbClr val="263238"/>
            </a:solidFill>
            <a:ln w="10863" cap="flat">
              <a:solidFill>
                <a:srgbClr val="263238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grpSp>
          <p:nvGrpSpPr>
            <p:cNvPr id="51" name="Рисунок 2">
              <a:extLst>
                <a:ext uri="{FF2B5EF4-FFF2-40B4-BE49-F238E27FC236}">
                  <a16:creationId xmlns:a16="http://schemas.microsoft.com/office/drawing/2014/main" id="{18FB7E78-4923-4A07-9C16-E8AA8C316592}"/>
                </a:ext>
              </a:extLst>
            </p:cNvPr>
            <p:cNvGrpSpPr/>
            <p:nvPr/>
          </p:nvGrpSpPr>
          <p:grpSpPr>
            <a:xfrm>
              <a:off x="9286790" y="1713973"/>
              <a:ext cx="237752" cy="121538"/>
              <a:chOff x="9286790" y="1713973"/>
              <a:chExt cx="237752" cy="121538"/>
            </a:xfrm>
          </p:grpSpPr>
          <p:sp>
            <p:nvSpPr>
              <p:cNvPr id="52" name="Полилиния: фигура 51">
                <a:extLst>
                  <a:ext uri="{FF2B5EF4-FFF2-40B4-BE49-F238E27FC236}">
                    <a16:creationId xmlns:a16="http://schemas.microsoft.com/office/drawing/2014/main" id="{16A28B4F-BD5A-46C7-84D9-1774AD603F8F}"/>
                  </a:ext>
                </a:extLst>
              </p:cNvPr>
              <p:cNvSpPr/>
              <p:nvPr/>
            </p:nvSpPr>
            <p:spPr>
              <a:xfrm>
                <a:off x="9286790" y="1713973"/>
                <a:ext cx="237752" cy="121538"/>
              </a:xfrm>
              <a:custGeom>
                <a:avLst/>
                <a:gdLst>
                  <a:gd name="connsiteX0" fmla="*/ 6746 w 237752"/>
                  <a:gd name="connsiteY0" fmla="*/ 45071 h 121538"/>
                  <a:gd name="connsiteX1" fmla="*/ 108702 w 237752"/>
                  <a:gd name="connsiteY1" fmla="*/ 5682 h 121538"/>
                  <a:gd name="connsiteX2" fmla="*/ 195642 w 237752"/>
                  <a:gd name="connsiteY2" fmla="*/ 8402 h 121538"/>
                  <a:gd name="connsiteX3" fmla="*/ 237752 w 237752"/>
                  <a:gd name="connsiteY3" fmla="*/ 8402 h 121538"/>
                  <a:gd name="connsiteX4" fmla="*/ 214684 w 237752"/>
                  <a:gd name="connsiteY4" fmla="*/ 28750 h 121538"/>
                  <a:gd name="connsiteX5" fmla="*/ 150812 w 237752"/>
                  <a:gd name="connsiteY5" fmla="*/ 68139 h 121538"/>
                  <a:gd name="connsiteX6" fmla="*/ 152118 w 237752"/>
                  <a:gd name="connsiteY6" fmla="*/ 80326 h 121538"/>
                  <a:gd name="connsiteX7" fmla="*/ 226871 w 237752"/>
                  <a:gd name="connsiteY7" fmla="*/ 76300 h 121538"/>
                  <a:gd name="connsiteX8" fmla="*/ 182041 w 237752"/>
                  <a:gd name="connsiteY8" fmla="*/ 104809 h 121538"/>
                  <a:gd name="connsiteX9" fmla="*/ 114143 w 237752"/>
                  <a:gd name="connsiteY9" fmla="*/ 121130 h 121538"/>
                  <a:gd name="connsiteX10" fmla="*/ 0 w 237752"/>
                  <a:gd name="connsiteY10" fmla="*/ 98062 h 121538"/>
                  <a:gd name="connsiteX11" fmla="*/ 6746 w 237752"/>
                  <a:gd name="connsiteY11" fmla="*/ 45071 h 1215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237752" h="121538">
                    <a:moveTo>
                      <a:pt x="6746" y="45071"/>
                    </a:moveTo>
                    <a:cubicBezTo>
                      <a:pt x="6746" y="45071"/>
                      <a:pt x="81499" y="19283"/>
                      <a:pt x="108702" y="5682"/>
                    </a:cubicBezTo>
                    <a:cubicBezTo>
                      <a:pt x="135905" y="-7920"/>
                      <a:pt x="191616" y="6987"/>
                      <a:pt x="195642" y="8402"/>
                    </a:cubicBezTo>
                    <a:cubicBezTo>
                      <a:pt x="199668" y="9708"/>
                      <a:pt x="237752" y="-2479"/>
                      <a:pt x="237752" y="8402"/>
                    </a:cubicBezTo>
                    <a:cubicBezTo>
                      <a:pt x="237752" y="19283"/>
                      <a:pt x="233726" y="20589"/>
                      <a:pt x="214684" y="28750"/>
                    </a:cubicBezTo>
                    <a:cubicBezTo>
                      <a:pt x="195642" y="36910"/>
                      <a:pt x="157667" y="59978"/>
                      <a:pt x="150812" y="68139"/>
                    </a:cubicBezTo>
                    <a:cubicBezTo>
                      <a:pt x="144066" y="76300"/>
                      <a:pt x="139931" y="80326"/>
                      <a:pt x="152118" y="80326"/>
                    </a:cubicBezTo>
                    <a:cubicBezTo>
                      <a:pt x="164305" y="80326"/>
                      <a:pt x="228177" y="58564"/>
                      <a:pt x="226871" y="76300"/>
                    </a:cubicBezTo>
                    <a:cubicBezTo>
                      <a:pt x="225565" y="93927"/>
                      <a:pt x="201083" y="99368"/>
                      <a:pt x="182041" y="104809"/>
                    </a:cubicBezTo>
                    <a:cubicBezTo>
                      <a:pt x="162999" y="110249"/>
                      <a:pt x="173880" y="116995"/>
                      <a:pt x="114143" y="121130"/>
                    </a:cubicBezTo>
                    <a:cubicBezTo>
                      <a:pt x="54406" y="125156"/>
                      <a:pt x="0" y="98062"/>
                      <a:pt x="0" y="98062"/>
                    </a:cubicBezTo>
                    <a:lnTo>
                      <a:pt x="6746" y="45071"/>
                    </a:lnTo>
                    <a:close/>
                  </a:path>
                </a:pathLst>
              </a:custGeom>
              <a:solidFill>
                <a:srgbClr val="FFFFFF"/>
              </a:solidFill>
              <a:ln w="10863" cap="flat">
                <a:solidFill>
                  <a:srgbClr val="26323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53" name="Полилиния: фигура 52">
                <a:extLst>
                  <a:ext uri="{FF2B5EF4-FFF2-40B4-BE49-F238E27FC236}">
                    <a16:creationId xmlns:a16="http://schemas.microsoft.com/office/drawing/2014/main" id="{87494EB0-734E-465C-8C2F-4864C01746F1}"/>
                  </a:ext>
                </a:extLst>
              </p:cNvPr>
              <p:cNvSpPr/>
              <p:nvPr/>
            </p:nvSpPr>
            <p:spPr>
              <a:xfrm>
                <a:off x="9409094" y="1722375"/>
                <a:ext cx="73338" cy="23067"/>
              </a:xfrm>
              <a:custGeom>
                <a:avLst/>
                <a:gdLst>
                  <a:gd name="connsiteX0" fmla="*/ 73339 w 73338"/>
                  <a:gd name="connsiteY0" fmla="*/ 0 h 23067"/>
                  <a:gd name="connsiteX1" fmla="*/ 14907 w 73338"/>
                  <a:gd name="connsiteY1" fmla="*/ 14907 h 23067"/>
                  <a:gd name="connsiteX2" fmla="*/ 0 w 73338"/>
                  <a:gd name="connsiteY2" fmla="*/ 23068 h 230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73338" h="23067">
                    <a:moveTo>
                      <a:pt x="73339" y="0"/>
                    </a:moveTo>
                    <a:cubicBezTo>
                      <a:pt x="73339" y="0"/>
                      <a:pt x="29814" y="6746"/>
                      <a:pt x="14907" y="14907"/>
                    </a:cubicBezTo>
                    <a:lnTo>
                      <a:pt x="0" y="23068"/>
                    </a:lnTo>
                  </a:path>
                </a:pathLst>
              </a:custGeom>
              <a:noFill/>
              <a:ln w="10863" cap="flat">
                <a:solidFill>
                  <a:srgbClr val="26323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54" name="Полилиния: фигура 53">
                <a:extLst>
                  <a:ext uri="{FF2B5EF4-FFF2-40B4-BE49-F238E27FC236}">
                    <a16:creationId xmlns:a16="http://schemas.microsoft.com/office/drawing/2014/main" id="{8E5D1A80-3F65-4BB9-B9B0-138DD70EC1BB}"/>
                  </a:ext>
                </a:extLst>
              </p:cNvPr>
              <p:cNvSpPr/>
              <p:nvPr/>
            </p:nvSpPr>
            <p:spPr>
              <a:xfrm>
                <a:off x="9391358" y="1716934"/>
                <a:ext cx="39389" cy="13601"/>
              </a:xfrm>
              <a:custGeom>
                <a:avLst/>
                <a:gdLst>
                  <a:gd name="connsiteX0" fmla="*/ 0 w 39389"/>
                  <a:gd name="connsiteY0" fmla="*/ 13601 h 13601"/>
                  <a:gd name="connsiteX1" fmla="*/ 39390 w 39389"/>
                  <a:gd name="connsiteY1" fmla="*/ 0 h 136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9389" h="13601">
                    <a:moveTo>
                      <a:pt x="0" y="13601"/>
                    </a:moveTo>
                    <a:cubicBezTo>
                      <a:pt x="0" y="13601"/>
                      <a:pt x="16322" y="8161"/>
                      <a:pt x="39390" y="0"/>
                    </a:cubicBezTo>
                  </a:path>
                </a:pathLst>
              </a:custGeom>
              <a:solidFill>
                <a:srgbClr val="FFFFFF"/>
              </a:solidFill>
              <a:ln w="10863" cap="flat">
                <a:solidFill>
                  <a:srgbClr val="26323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927878069"/>
      </p:ext>
    </p:extLst>
  </p:cSld>
  <p:clrMapOvr>
    <a:masterClrMapping/>
  </p:clrMapOvr>
  <p:transition spd="slow">
    <p:push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path" presetSubtype="0" repeatCount="indefinite" accel="50000" decel="50000" autoRev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91667E-6 2.96296E-6 L 0.00769 -0.0125 " pathEditMode="relative" rAng="0" ptsTypes="AA">
                                      <p:cBhvr>
                                        <p:cTn id="6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78" y="-625"/>
                                    </p:animMotion>
                                  </p:childTnLst>
                                </p:cTn>
                              </p:par>
                              <p:par>
                                <p:cTn id="7" presetID="42" presetClass="path" presetSubtype="0" repeatCount="indefinite" accel="50000" decel="50000" autoRev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91667E-6 2.96296E-6 L 0.00769 -0.0125 " pathEditMode="relative" rAng="0" ptsTypes="AA">
                                      <p:cBhvr>
                                        <p:cTn id="8" dur="75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78" y="-625"/>
                                    </p:animMotion>
                                  </p:childTnLst>
                                </p:cTn>
                              </p:par>
                              <p:par>
                                <p:cTn id="9" presetID="42" presetClass="path" presetSubtype="0" repeatCount="indefinite" accel="50000" decel="50000" autoRev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91667E-6 2.96296E-6 L 0.00769 -0.0125 " pathEditMode="relative" rAng="0" ptsTypes="AA">
                                      <p:cBhvr>
                                        <p:cTn id="10" dur="125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78" y="-625"/>
                                    </p:animMotion>
                                  </p:childTnLst>
                                </p:cTn>
                              </p:par>
                              <p:par>
                                <p:cTn id="11" presetID="42" presetClass="path" presetSubtype="0" repeatCount="indefinite" accel="50000" decel="50000" autoRev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91667E-6 2.96296E-6 L 0.00769 -0.0125 " pathEditMode="relative" rAng="0" ptsTypes="AA">
                                      <p:cBhvr>
                                        <p:cTn id="12" dur="75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78" y="-625"/>
                                    </p:animMotion>
                                  </p:childTnLst>
                                </p:cTn>
                              </p:par>
                              <p:par>
                                <p:cTn id="13" presetID="42" presetClass="path" presetSubtype="0" repeatCount="indefinite" accel="50000" decel="50000" autoRev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91667E-6 2.96296E-6 L 0.00769 -0.0125 " pathEditMode="relative" rAng="0" ptsTypes="AA">
                                      <p:cBhvr>
                                        <p:cTn id="14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78" y="-625"/>
                                    </p:animMotion>
                                  </p:childTnLst>
                                </p:cTn>
                              </p:par>
                              <p:par>
                                <p:cTn id="15" presetID="42" presetClass="path" presetSubtype="0" repeatCount="indefinite" accel="50000" decel="50000" autoRev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91667E-6 2.96296E-6 L 0.00769 -0.0125 " pathEditMode="relative" rAng="0" ptsTypes="AA">
                                      <p:cBhvr>
                                        <p:cTn id="16" dur="75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78" y="-625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250"/>
                                        <p:tgtEl>
                                          <p:spTgt spid="3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42" presetClass="path" presetSubtype="0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1719 -0.00023 L -1.25E-6 1.85185E-6 " pathEditMode="relative" rAng="0" ptsTypes="AA">
                                      <p:cBhvr>
                                        <p:cTn id="23" dur="500" fill="hold"/>
                                        <p:tgtEl>
                                          <p:spTgt spid="33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859" y="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250"/>
                                        <p:tgtEl>
                                          <p:spTgt spid="3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42" presetClass="path" presetSubtype="0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1719 -0.00023 L -1.25E-6 1.85185E-6 " pathEditMode="relative" rAng="0" ptsTypes="AA">
                                      <p:cBhvr>
                                        <p:cTn id="30" dur="500" fill="hold"/>
                                        <p:tgtEl>
                                          <p:spTgt spid="34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859" y="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  <p:bldP spid="10" grpId="0" animBg="1"/>
      <p:bldP spid="11" grpId="0" animBg="1"/>
      <p:bldP spid="12" grpId="0" animBg="1"/>
      <p:bldP spid="13" grpId="0" animBg="1"/>
      <p:bldP spid="14" grpId="0" animBg="1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8" name="Рисунок 47">
            <a:extLst>
              <a:ext uri="{FF2B5EF4-FFF2-40B4-BE49-F238E27FC236}">
                <a16:creationId xmlns:a16="http://schemas.microsoft.com/office/drawing/2014/main" id="{E108EAE3-BF16-4D7B-BD5C-8E8B88B994ED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pSp>
        <p:nvGrpSpPr>
          <p:cNvPr id="24" name="Рисунок 2">
            <a:extLst>
              <a:ext uri="{FF2B5EF4-FFF2-40B4-BE49-F238E27FC236}">
                <a16:creationId xmlns:a16="http://schemas.microsoft.com/office/drawing/2014/main" id="{E1C817BB-5F9F-49D5-A3F4-E4E809796E50}"/>
              </a:ext>
            </a:extLst>
          </p:cNvPr>
          <p:cNvGrpSpPr/>
          <p:nvPr/>
        </p:nvGrpSpPr>
        <p:grpSpPr>
          <a:xfrm>
            <a:off x="823295" y="1113173"/>
            <a:ext cx="1488859" cy="256659"/>
            <a:chOff x="1447975" y="1300681"/>
            <a:chExt cx="3559515" cy="613613"/>
          </a:xfrm>
          <a:solidFill>
            <a:schemeClr val="bg1"/>
          </a:solidFill>
        </p:grpSpPr>
        <p:sp>
          <p:nvSpPr>
            <p:cNvPr id="25" name="Полилиния: фигура 24">
              <a:extLst>
                <a:ext uri="{FF2B5EF4-FFF2-40B4-BE49-F238E27FC236}">
                  <a16:creationId xmlns:a16="http://schemas.microsoft.com/office/drawing/2014/main" id="{24305933-DC93-423F-ABA7-E814A07D8822}"/>
                </a:ext>
              </a:extLst>
            </p:cNvPr>
            <p:cNvSpPr/>
            <p:nvPr/>
          </p:nvSpPr>
          <p:spPr>
            <a:xfrm>
              <a:off x="1622986" y="1482862"/>
              <a:ext cx="197959" cy="262511"/>
            </a:xfrm>
            <a:custGeom>
              <a:avLst/>
              <a:gdLst>
                <a:gd name="connsiteX0" fmla="*/ 197960 w 197959"/>
                <a:gd name="connsiteY0" fmla="*/ 262511 h 262511"/>
                <a:gd name="connsiteX1" fmla="*/ 162098 w 197959"/>
                <a:gd name="connsiteY1" fmla="*/ 262511 h 262511"/>
                <a:gd name="connsiteX2" fmla="*/ 162098 w 197959"/>
                <a:gd name="connsiteY2" fmla="*/ 146318 h 262511"/>
                <a:gd name="connsiteX3" fmla="*/ 34427 w 197959"/>
                <a:gd name="connsiteY3" fmla="*/ 146318 h 262511"/>
                <a:gd name="connsiteX4" fmla="*/ 34427 w 197959"/>
                <a:gd name="connsiteY4" fmla="*/ 262511 h 262511"/>
                <a:gd name="connsiteX5" fmla="*/ 0 w 197959"/>
                <a:gd name="connsiteY5" fmla="*/ 262511 h 262511"/>
                <a:gd name="connsiteX6" fmla="*/ 0 w 197959"/>
                <a:gd name="connsiteY6" fmla="*/ 0 h 262511"/>
                <a:gd name="connsiteX7" fmla="*/ 34427 w 197959"/>
                <a:gd name="connsiteY7" fmla="*/ 0 h 262511"/>
                <a:gd name="connsiteX8" fmla="*/ 34427 w 197959"/>
                <a:gd name="connsiteY8" fmla="*/ 119062 h 262511"/>
                <a:gd name="connsiteX9" fmla="*/ 162098 w 197959"/>
                <a:gd name="connsiteY9" fmla="*/ 119062 h 262511"/>
                <a:gd name="connsiteX10" fmla="*/ 162098 w 197959"/>
                <a:gd name="connsiteY10" fmla="*/ 0 h 262511"/>
                <a:gd name="connsiteX11" fmla="*/ 197960 w 197959"/>
                <a:gd name="connsiteY11" fmla="*/ 0 h 262511"/>
                <a:gd name="connsiteX12" fmla="*/ 197960 w 197959"/>
                <a:gd name="connsiteY12" fmla="*/ 262511 h 2625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97959" h="262511">
                  <a:moveTo>
                    <a:pt x="197960" y="262511"/>
                  </a:moveTo>
                  <a:lnTo>
                    <a:pt x="162098" y="262511"/>
                  </a:lnTo>
                  <a:lnTo>
                    <a:pt x="162098" y="146318"/>
                  </a:lnTo>
                  <a:lnTo>
                    <a:pt x="34427" y="146318"/>
                  </a:lnTo>
                  <a:lnTo>
                    <a:pt x="34427" y="262511"/>
                  </a:lnTo>
                  <a:lnTo>
                    <a:pt x="0" y="262511"/>
                  </a:lnTo>
                  <a:lnTo>
                    <a:pt x="0" y="0"/>
                  </a:lnTo>
                  <a:lnTo>
                    <a:pt x="34427" y="0"/>
                  </a:lnTo>
                  <a:lnTo>
                    <a:pt x="34427" y="119062"/>
                  </a:lnTo>
                  <a:lnTo>
                    <a:pt x="162098" y="119062"/>
                  </a:lnTo>
                  <a:lnTo>
                    <a:pt x="162098" y="0"/>
                  </a:lnTo>
                  <a:lnTo>
                    <a:pt x="197960" y="0"/>
                  </a:lnTo>
                  <a:lnTo>
                    <a:pt x="197960" y="262511"/>
                  </a:lnTo>
                  <a:close/>
                </a:path>
              </a:pathLst>
            </a:custGeom>
            <a:grpFill/>
            <a:ln w="140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dirty="0">
                <a:latin typeface="Akrobat" panose="00000600000000000000" pitchFamily="50" charset="-52"/>
              </a:endParaRPr>
            </a:p>
          </p:txBody>
        </p:sp>
        <p:sp>
          <p:nvSpPr>
            <p:cNvPr id="26" name="Полилиния: фигура 25">
              <a:extLst>
                <a:ext uri="{FF2B5EF4-FFF2-40B4-BE49-F238E27FC236}">
                  <a16:creationId xmlns:a16="http://schemas.microsoft.com/office/drawing/2014/main" id="{BC0EE0CB-835A-4C55-AF54-8507A76F869F}"/>
                </a:ext>
              </a:extLst>
            </p:cNvPr>
            <p:cNvSpPr/>
            <p:nvPr/>
          </p:nvSpPr>
          <p:spPr>
            <a:xfrm>
              <a:off x="2919774" y="1482862"/>
              <a:ext cx="172134" cy="262511"/>
            </a:xfrm>
            <a:custGeom>
              <a:avLst/>
              <a:gdLst>
                <a:gd name="connsiteX0" fmla="*/ 154920 w 172134"/>
                <a:gd name="connsiteY0" fmla="*/ 146318 h 262511"/>
                <a:gd name="connsiteX1" fmla="*/ 34430 w 172134"/>
                <a:gd name="connsiteY1" fmla="*/ 146318 h 262511"/>
                <a:gd name="connsiteX2" fmla="*/ 34430 w 172134"/>
                <a:gd name="connsiteY2" fmla="*/ 262511 h 262511"/>
                <a:gd name="connsiteX3" fmla="*/ 0 w 172134"/>
                <a:gd name="connsiteY3" fmla="*/ 262511 h 262511"/>
                <a:gd name="connsiteX4" fmla="*/ 0 w 172134"/>
                <a:gd name="connsiteY4" fmla="*/ 0 h 262511"/>
                <a:gd name="connsiteX5" fmla="*/ 172134 w 172134"/>
                <a:gd name="connsiteY5" fmla="*/ 0 h 262511"/>
                <a:gd name="connsiteX6" fmla="*/ 172134 w 172134"/>
                <a:gd name="connsiteY6" fmla="*/ 28690 h 262511"/>
                <a:gd name="connsiteX7" fmla="*/ 34430 w 172134"/>
                <a:gd name="connsiteY7" fmla="*/ 28690 h 262511"/>
                <a:gd name="connsiteX8" fmla="*/ 34430 w 172134"/>
                <a:gd name="connsiteY8" fmla="*/ 119062 h 262511"/>
                <a:gd name="connsiteX9" fmla="*/ 154920 w 172134"/>
                <a:gd name="connsiteY9" fmla="*/ 119062 h 262511"/>
                <a:gd name="connsiteX10" fmla="*/ 154920 w 172134"/>
                <a:gd name="connsiteY10" fmla="*/ 146318 h 2625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72134" h="262511">
                  <a:moveTo>
                    <a:pt x="154920" y="146318"/>
                  </a:moveTo>
                  <a:lnTo>
                    <a:pt x="34430" y="146318"/>
                  </a:lnTo>
                  <a:lnTo>
                    <a:pt x="34430" y="262511"/>
                  </a:lnTo>
                  <a:lnTo>
                    <a:pt x="0" y="262511"/>
                  </a:lnTo>
                  <a:lnTo>
                    <a:pt x="0" y="0"/>
                  </a:lnTo>
                  <a:lnTo>
                    <a:pt x="172134" y="0"/>
                  </a:lnTo>
                  <a:lnTo>
                    <a:pt x="172134" y="28690"/>
                  </a:lnTo>
                  <a:lnTo>
                    <a:pt x="34430" y="28690"/>
                  </a:lnTo>
                  <a:lnTo>
                    <a:pt x="34430" y="119062"/>
                  </a:lnTo>
                  <a:lnTo>
                    <a:pt x="154920" y="119062"/>
                  </a:lnTo>
                  <a:lnTo>
                    <a:pt x="154920" y="146318"/>
                  </a:lnTo>
                  <a:close/>
                </a:path>
              </a:pathLst>
            </a:custGeom>
            <a:grpFill/>
            <a:ln w="140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dirty="0">
                <a:latin typeface="Akrobat" panose="00000600000000000000" pitchFamily="50" charset="-52"/>
              </a:endParaRPr>
            </a:p>
          </p:txBody>
        </p:sp>
        <p:sp>
          <p:nvSpPr>
            <p:cNvPr id="27" name="Полилиния: фигура 26">
              <a:extLst>
                <a:ext uri="{FF2B5EF4-FFF2-40B4-BE49-F238E27FC236}">
                  <a16:creationId xmlns:a16="http://schemas.microsoft.com/office/drawing/2014/main" id="{D8CE3834-88FC-4B55-A516-DF3C7FDF6E12}"/>
                </a:ext>
              </a:extLst>
            </p:cNvPr>
            <p:cNvSpPr/>
            <p:nvPr/>
          </p:nvSpPr>
          <p:spPr>
            <a:xfrm>
              <a:off x="4078842" y="1464205"/>
              <a:ext cx="755979" cy="285464"/>
            </a:xfrm>
            <a:custGeom>
              <a:avLst/>
              <a:gdLst>
                <a:gd name="connsiteX0" fmla="*/ 35862 w 755979"/>
                <a:gd name="connsiteY0" fmla="*/ 252472 h 285464"/>
                <a:gd name="connsiteX1" fmla="*/ 159230 w 755979"/>
                <a:gd name="connsiteY1" fmla="*/ 252472 h 285464"/>
                <a:gd name="connsiteX2" fmla="*/ 159230 w 755979"/>
                <a:gd name="connsiteY2" fmla="*/ 281161 h 285464"/>
                <a:gd name="connsiteX3" fmla="*/ 0 w 755979"/>
                <a:gd name="connsiteY3" fmla="*/ 281161 h 285464"/>
                <a:gd name="connsiteX4" fmla="*/ 0 w 755979"/>
                <a:gd name="connsiteY4" fmla="*/ 18648 h 285464"/>
                <a:gd name="connsiteX5" fmla="*/ 35862 w 755979"/>
                <a:gd name="connsiteY5" fmla="*/ 18648 h 285464"/>
                <a:gd name="connsiteX6" fmla="*/ 35862 w 755979"/>
                <a:gd name="connsiteY6" fmla="*/ 252472 h 285464"/>
                <a:gd name="connsiteX7" fmla="*/ 312718 w 755979"/>
                <a:gd name="connsiteY7" fmla="*/ 281161 h 285464"/>
                <a:gd name="connsiteX8" fmla="*/ 309853 w 755979"/>
                <a:gd name="connsiteY8" fmla="*/ 265381 h 285464"/>
                <a:gd name="connsiteX9" fmla="*/ 308407 w 755979"/>
                <a:gd name="connsiteY9" fmla="*/ 252472 h 285464"/>
                <a:gd name="connsiteX10" fmla="*/ 282599 w 755979"/>
                <a:gd name="connsiteY10" fmla="*/ 275424 h 285464"/>
                <a:gd name="connsiteX11" fmla="*/ 248169 w 755979"/>
                <a:gd name="connsiteY11" fmla="*/ 285465 h 285464"/>
                <a:gd name="connsiteX12" fmla="*/ 202267 w 755979"/>
                <a:gd name="connsiteY12" fmla="*/ 269685 h 285464"/>
                <a:gd name="connsiteX13" fmla="*/ 186485 w 755979"/>
                <a:gd name="connsiteY13" fmla="*/ 226651 h 285464"/>
                <a:gd name="connsiteX14" fmla="*/ 209429 w 755979"/>
                <a:gd name="connsiteY14" fmla="*/ 183616 h 285464"/>
                <a:gd name="connsiteX15" fmla="*/ 271113 w 755979"/>
                <a:gd name="connsiteY15" fmla="*/ 167837 h 285464"/>
                <a:gd name="connsiteX16" fmla="*/ 309853 w 755979"/>
                <a:gd name="connsiteY16" fmla="*/ 167837 h 285464"/>
                <a:gd name="connsiteX17" fmla="*/ 309853 w 755979"/>
                <a:gd name="connsiteY17" fmla="*/ 147753 h 285464"/>
                <a:gd name="connsiteX18" fmla="*/ 299814 w 755979"/>
                <a:gd name="connsiteY18" fmla="*/ 120498 h 285464"/>
                <a:gd name="connsiteX19" fmla="*/ 269681 w 755979"/>
                <a:gd name="connsiteY19" fmla="*/ 110456 h 285464"/>
                <a:gd name="connsiteX20" fmla="*/ 242426 w 755979"/>
                <a:gd name="connsiteY20" fmla="*/ 119063 h 285464"/>
                <a:gd name="connsiteX21" fmla="*/ 232386 w 755979"/>
                <a:gd name="connsiteY21" fmla="*/ 139147 h 285464"/>
                <a:gd name="connsiteX22" fmla="*/ 196524 w 755979"/>
                <a:gd name="connsiteY22" fmla="*/ 139147 h 285464"/>
                <a:gd name="connsiteX23" fmla="*/ 196524 w 755979"/>
                <a:gd name="connsiteY23" fmla="*/ 137712 h 285464"/>
                <a:gd name="connsiteX24" fmla="*/ 216604 w 755979"/>
                <a:gd name="connsiteY24" fmla="*/ 98981 h 285464"/>
                <a:gd name="connsiteX25" fmla="*/ 271113 w 755979"/>
                <a:gd name="connsiteY25" fmla="*/ 81766 h 285464"/>
                <a:gd name="connsiteX26" fmla="*/ 324190 w 755979"/>
                <a:gd name="connsiteY26" fmla="*/ 98981 h 285464"/>
                <a:gd name="connsiteX27" fmla="*/ 344283 w 755979"/>
                <a:gd name="connsiteY27" fmla="*/ 147753 h 285464"/>
                <a:gd name="connsiteX28" fmla="*/ 344283 w 755979"/>
                <a:gd name="connsiteY28" fmla="*/ 240995 h 285464"/>
                <a:gd name="connsiteX29" fmla="*/ 345715 w 755979"/>
                <a:gd name="connsiteY29" fmla="*/ 261078 h 285464"/>
                <a:gd name="connsiteX30" fmla="*/ 350012 w 755979"/>
                <a:gd name="connsiteY30" fmla="*/ 279728 h 285464"/>
                <a:gd name="connsiteX31" fmla="*/ 312718 w 755979"/>
                <a:gd name="connsiteY31" fmla="*/ 279728 h 285464"/>
                <a:gd name="connsiteX32" fmla="*/ 312718 w 755979"/>
                <a:gd name="connsiteY32" fmla="*/ 281161 h 285464"/>
                <a:gd name="connsiteX33" fmla="*/ 253898 w 755979"/>
                <a:gd name="connsiteY33" fmla="*/ 255340 h 285464"/>
                <a:gd name="connsiteX34" fmla="*/ 288328 w 755979"/>
                <a:gd name="connsiteY34" fmla="*/ 245299 h 285464"/>
                <a:gd name="connsiteX35" fmla="*/ 308407 w 755979"/>
                <a:gd name="connsiteY35" fmla="*/ 222347 h 285464"/>
                <a:gd name="connsiteX36" fmla="*/ 308407 w 755979"/>
                <a:gd name="connsiteY36" fmla="*/ 190789 h 285464"/>
                <a:gd name="connsiteX37" fmla="*/ 268248 w 755979"/>
                <a:gd name="connsiteY37" fmla="*/ 190789 h 285464"/>
                <a:gd name="connsiteX38" fmla="*/ 233819 w 755979"/>
                <a:gd name="connsiteY38" fmla="*/ 200830 h 285464"/>
                <a:gd name="connsiteX39" fmla="*/ 220915 w 755979"/>
                <a:gd name="connsiteY39" fmla="*/ 226651 h 285464"/>
                <a:gd name="connsiteX40" fmla="*/ 229522 w 755979"/>
                <a:gd name="connsiteY40" fmla="*/ 246733 h 285464"/>
                <a:gd name="connsiteX41" fmla="*/ 253898 w 755979"/>
                <a:gd name="connsiteY41" fmla="*/ 255340 h 285464"/>
                <a:gd name="connsiteX42" fmla="*/ 562319 w 755979"/>
                <a:gd name="connsiteY42" fmla="*/ 190789 h 285464"/>
                <a:gd name="connsiteX43" fmla="*/ 542240 w 755979"/>
                <a:gd name="connsiteY43" fmla="*/ 258209 h 285464"/>
                <a:gd name="connsiteX44" fmla="*/ 486284 w 755979"/>
                <a:gd name="connsiteY44" fmla="*/ 284030 h 285464"/>
                <a:gd name="connsiteX45" fmla="*/ 453301 w 755979"/>
                <a:gd name="connsiteY45" fmla="*/ 276857 h 285464"/>
                <a:gd name="connsiteX46" fmla="*/ 430343 w 755979"/>
                <a:gd name="connsiteY46" fmla="*/ 255340 h 285464"/>
                <a:gd name="connsiteX47" fmla="*/ 426047 w 755979"/>
                <a:gd name="connsiteY47" fmla="*/ 281161 h 285464"/>
                <a:gd name="connsiteX48" fmla="*/ 397346 w 755979"/>
                <a:gd name="connsiteY48" fmla="*/ 281161 h 285464"/>
                <a:gd name="connsiteX49" fmla="*/ 397346 w 755979"/>
                <a:gd name="connsiteY49" fmla="*/ 0 h 285464"/>
                <a:gd name="connsiteX50" fmla="*/ 433222 w 755979"/>
                <a:gd name="connsiteY50" fmla="*/ 0 h 285464"/>
                <a:gd name="connsiteX51" fmla="*/ 433222 w 755979"/>
                <a:gd name="connsiteY51" fmla="*/ 109022 h 285464"/>
                <a:gd name="connsiteX52" fmla="*/ 456166 w 755979"/>
                <a:gd name="connsiteY52" fmla="*/ 88939 h 285464"/>
                <a:gd name="connsiteX53" fmla="*/ 487731 w 755979"/>
                <a:gd name="connsiteY53" fmla="*/ 81766 h 285464"/>
                <a:gd name="connsiteX54" fmla="*/ 543672 w 755979"/>
                <a:gd name="connsiteY54" fmla="*/ 110456 h 285464"/>
                <a:gd name="connsiteX55" fmla="*/ 563751 w 755979"/>
                <a:gd name="connsiteY55" fmla="*/ 186485 h 285464"/>
                <a:gd name="connsiteX56" fmla="*/ 563751 w 755979"/>
                <a:gd name="connsiteY56" fmla="*/ 190789 h 285464"/>
                <a:gd name="connsiteX57" fmla="*/ 562319 w 755979"/>
                <a:gd name="connsiteY57" fmla="*/ 190789 h 285464"/>
                <a:gd name="connsiteX58" fmla="*/ 526457 w 755979"/>
                <a:gd name="connsiteY58" fmla="*/ 187919 h 285464"/>
                <a:gd name="connsiteX59" fmla="*/ 513553 w 755979"/>
                <a:gd name="connsiteY59" fmla="*/ 133408 h 285464"/>
                <a:gd name="connsiteX60" fmla="*/ 476245 w 755979"/>
                <a:gd name="connsiteY60" fmla="*/ 111891 h 285464"/>
                <a:gd name="connsiteX61" fmla="*/ 448990 w 755979"/>
                <a:gd name="connsiteY61" fmla="*/ 120498 h 285464"/>
                <a:gd name="connsiteX62" fmla="*/ 431775 w 755979"/>
                <a:gd name="connsiteY62" fmla="*/ 142016 h 285464"/>
                <a:gd name="connsiteX63" fmla="*/ 431775 w 755979"/>
                <a:gd name="connsiteY63" fmla="*/ 226651 h 285464"/>
                <a:gd name="connsiteX64" fmla="*/ 448990 w 755979"/>
                <a:gd name="connsiteY64" fmla="*/ 249603 h 285464"/>
                <a:gd name="connsiteX65" fmla="*/ 476245 w 755979"/>
                <a:gd name="connsiteY65" fmla="*/ 258209 h 285464"/>
                <a:gd name="connsiteX66" fmla="*/ 513553 w 755979"/>
                <a:gd name="connsiteY66" fmla="*/ 240995 h 285464"/>
                <a:gd name="connsiteX67" fmla="*/ 526457 w 755979"/>
                <a:gd name="connsiteY67" fmla="*/ 193657 h 285464"/>
                <a:gd name="connsiteX68" fmla="*/ 526457 w 755979"/>
                <a:gd name="connsiteY68" fmla="*/ 187919 h 285464"/>
                <a:gd name="connsiteX69" fmla="*/ 718685 w 755979"/>
                <a:gd name="connsiteY69" fmla="*/ 229519 h 285464"/>
                <a:gd name="connsiteX70" fmla="*/ 710078 w 755979"/>
                <a:gd name="connsiteY70" fmla="*/ 210871 h 285464"/>
                <a:gd name="connsiteX71" fmla="*/ 675648 w 755979"/>
                <a:gd name="connsiteY71" fmla="*/ 197961 h 285464"/>
                <a:gd name="connsiteX72" fmla="*/ 622571 w 755979"/>
                <a:gd name="connsiteY72" fmla="*/ 176443 h 285464"/>
                <a:gd name="connsiteX73" fmla="*/ 605356 w 755979"/>
                <a:gd name="connsiteY73" fmla="*/ 140581 h 285464"/>
                <a:gd name="connsiteX74" fmla="*/ 625436 w 755979"/>
                <a:gd name="connsiteY74" fmla="*/ 100415 h 285464"/>
                <a:gd name="connsiteX75" fmla="*/ 678513 w 755979"/>
                <a:gd name="connsiteY75" fmla="*/ 83201 h 285464"/>
                <a:gd name="connsiteX76" fmla="*/ 733021 w 755979"/>
                <a:gd name="connsiteY76" fmla="*/ 100415 h 285464"/>
                <a:gd name="connsiteX77" fmla="*/ 751668 w 755979"/>
                <a:gd name="connsiteY77" fmla="*/ 143451 h 285464"/>
                <a:gd name="connsiteX78" fmla="*/ 751668 w 755979"/>
                <a:gd name="connsiteY78" fmla="*/ 144884 h 285464"/>
                <a:gd name="connsiteX79" fmla="*/ 717239 w 755979"/>
                <a:gd name="connsiteY79" fmla="*/ 144884 h 285464"/>
                <a:gd name="connsiteX80" fmla="*/ 707199 w 755979"/>
                <a:gd name="connsiteY80" fmla="*/ 121932 h 285464"/>
                <a:gd name="connsiteX81" fmla="*/ 678513 w 755979"/>
                <a:gd name="connsiteY81" fmla="*/ 111891 h 285464"/>
                <a:gd name="connsiteX82" fmla="*/ 649826 w 755979"/>
                <a:gd name="connsiteY82" fmla="*/ 120498 h 285464"/>
                <a:gd name="connsiteX83" fmla="*/ 641218 w 755979"/>
                <a:gd name="connsiteY83" fmla="*/ 140581 h 285464"/>
                <a:gd name="connsiteX84" fmla="*/ 649826 w 755979"/>
                <a:gd name="connsiteY84" fmla="*/ 159229 h 285464"/>
                <a:gd name="connsiteX85" fmla="*/ 682823 w 755979"/>
                <a:gd name="connsiteY85" fmla="*/ 170705 h 285464"/>
                <a:gd name="connsiteX86" fmla="*/ 737332 w 755979"/>
                <a:gd name="connsiteY86" fmla="*/ 192222 h 285464"/>
                <a:gd name="connsiteX87" fmla="*/ 755979 w 755979"/>
                <a:gd name="connsiteY87" fmla="*/ 228086 h 285464"/>
                <a:gd name="connsiteX88" fmla="*/ 734454 w 755979"/>
                <a:gd name="connsiteY88" fmla="*/ 269685 h 285464"/>
                <a:gd name="connsiteX89" fmla="*/ 679944 w 755979"/>
                <a:gd name="connsiteY89" fmla="*/ 285465 h 285464"/>
                <a:gd name="connsiteX90" fmla="*/ 621139 w 755979"/>
                <a:gd name="connsiteY90" fmla="*/ 266816 h 285464"/>
                <a:gd name="connsiteX91" fmla="*/ 601045 w 755979"/>
                <a:gd name="connsiteY91" fmla="*/ 222347 h 285464"/>
                <a:gd name="connsiteX92" fmla="*/ 601045 w 755979"/>
                <a:gd name="connsiteY92" fmla="*/ 220912 h 285464"/>
                <a:gd name="connsiteX93" fmla="*/ 635475 w 755979"/>
                <a:gd name="connsiteY93" fmla="*/ 220912 h 285464"/>
                <a:gd name="connsiteX94" fmla="*/ 649826 w 755979"/>
                <a:gd name="connsiteY94" fmla="*/ 248168 h 285464"/>
                <a:gd name="connsiteX95" fmla="*/ 679944 w 755979"/>
                <a:gd name="connsiteY95" fmla="*/ 256775 h 285464"/>
                <a:gd name="connsiteX96" fmla="*/ 710078 w 755979"/>
                <a:gd name="connsiteY96" fmla="*/ 249603 h 285464"/>
                <a:gd name="connsiteX97" fmla="*/ 718685 w 755979"/>
                <a:gd name="connsiteY97" fmla="*/ 229519 h 2854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</a:cxnLst>
              <a:rect l="l" t="t" r="r" b="b"/>
              <a:pathLst>
                <a:path w="755979" h="285464">
                  <a:moveTo>
                    <a:pt x="35862" y="252472"/>
                  </a:moveTo>
                  <a:lnTo>
                    <a:pt x="159230" y="252472"/>
                  </a:lnTo>
                  <a:lnTo>
                    <a:pt x="159230" y="281161"/>
                  </a:lnTo>
                  <a:lnTo>
                    <a:pt x="0" y="281161"/>
                  </a:lnTo>
                  <a:lnTo>
                    <a:pt x="0" y="18648"/>
                  </a:lnTo>
                  <a:lnTo>
                    <a:pt x="35862" y="18648"/>
                  </a:lnTo>
                  <a:lnTo>
                    <a:pt x="35862" y="252472"/>
                  </a:lnTo>
                  <a:close/>
                  <a:moveTo>
                    <a:pt x="312718" y="281161"/>
                  </a:moveTo>
                  <a:cubicBezTo>
                    <a:pt x="311286" y="275422"/>
                    <a:pt x="311286" y="269685"/>
                    <a:pt x="309853" y="265381"/>
                  </a:cubicBezTo>
                  <a:cubicBezTo>
                    <a:pt x="309853" y="261079"/>
                    <a:pt x="308407" y="256775"/>
                    <a:pt x="308407" y="252472"/>
                  </a:cubicBezTo>
                  <a:cubicBezTo>
                    <a:pt x="301246" y="262513"/>
                    <a:pt x="292639" y="269685"/>
                    <a:pt x="282599" y="275424"/>
                  </a:cubicBezTo>
                  <a:cubicBezTo>
                    <a:pt x="272545" y="281161"/>
                    <a:pt x="261073" y="285465"/>
                    <a:pt x="248169" y="285465"/>
                  </a:cubicBezTo>
                  <a:cubicBezTo>
                    <a:pt x="228076" y="285465"/>
                    <a:pt x="212307" y="279726"/>
                    <a:pt x="202267" y="269685"/>
                  </a:cubicBezTo>
                  <a:cubicBezTo>
                    <a:pt x="192214" y="259644"/>
                    <a:pt x="186485" y="245299"/>
                    <a:pt x="186485" y="226651"/>
                  </a:cubicBezTo>
                  <a:cubicBezTo>
                    <a:pt x="186485" y="208002"/>
                    <a:pt x="193660" y="193657"/>
                    <a:pt x="209429" y="183616"/>
                  </a:cubicBezTo>
                  <a:cubicBezTo>
                    <a:pt x="223779" y="173574"/>
                    <a:pt x="245291" y="167837"/>
                    <a:pt x="271113" y="167837"/>
                  </a:cubicBezTo>
                  <a:lnTo>
                    <a:pt x="309853" y="167837"/>
                  </a:lnTo>
                  <a:lnTo>
                    <a:pt x="309853" y="147753"/>
                  </a:lnTo>
                  <a:cubicBezTo>
                    <a:pt x="309853" y="136277"/>
                    <a:pt x="306975" y="127671"/>
                    <a:pt x="299814" y="120498"/>
                  </a:cubicBezTo>
                  <a:cubicBezTo>
                    <a:pt x="292639" y="113326"/>
                    <a:pt x="282599" y="110456"/>
                    <a:pt x="269681" y="110456"/>
                  </a:cubicBezTo>
                  <a:cubicBezTo>
                    <a:pt x="258209" y="110456"/>
                    <a:pt x="249601" y="113326"/>
                    <a:pt x="242426" y="119063"/>
                  </a:cubicBezTo>
                  <a:cubicBezTo>
                    <a:pt x="235251" y="124801"/>
                    <a:pt x="232386" y="131973"/>
                    <a:pt x="232386" y="139147"/>
                  </a:cubicBezTo>
                  <a:lnTo>
                    <a:pt x="196524" y="139147"/>
                  </a:lnTo>
                  <a:lnTo>
                    <a:pt x="196524" y="137712"/>
                  </a:lnTo>
                  <a:cubicBezTo>
                    <a:pt x="195092" y="123367"/>
                    <a:pt x="202267" y="110456"/>
                    <a:pt x="216604" y="98981"/>
                  </a:cubicBezTo>
                  <a:cubicBezTo>
                    <a:pt x="230954" y="87505"/>
                    <a:pt x="249601" y="81766"/>
                    <a:pt x="271113" y="81766"/>
                  </a:cubicBezTo>
                  <a:cubicBezTo>
                    <a:pt x="292639" y="81766"/>
                    <a:pt x="311286" y="87505"/>
                    <a:pt x="324190" y="98981"/>
                  </a:cubicBezTo>
                  <a:cubicBezTo>
                    <a:pt x="337108" y="110456"/>
                    <a:pt x="344283" y="126236"/>
                    <a:pt x="344283" y="147753"/>
                  </a:cubicBezTo>
                  <a:lnTo>
                    <a:pt x="344283" y="240995"/>
                  </a:lnTo>
                  <a:cubicBezTo>
                    <a:pt x="344283" y="248168"/>
                    <a:pt x="344283" y="255340"/>
                    <a:pt x="345715" y="261078"/>
                  </a:cubicBezTo>
                  <a:cubicBezTo>
                    <a:pt x="347148" y="268250"/>
                    <a:pt x="347148" y="273989"/>
                    <a:pt x="350012" y="279728"/>
                  </a:cubicBezTo>
                  <a:lnTo>
                    <a:pt x="312718" y="279728"/>
                  </a:lnTo>
                  <a:lnTo>
                    <a:pt x="312718" y="281161"/>
                  </a:lnTo>
                  <a:close/>
                  <a:moveTo>
                    <a:pt x="253898" y="255340"/>
                  </a:moveTo>
                  <a:cubicBezTo>
                    <a:pt x="266816" y="255340"/>
                    <a:pt x="278288" y="252472"/>
                    <a:pt x="288328" y="245299"/>
                  </a:cubicBezTo>
                  <a:cubicBezTo>
                    <a:pt x="298367" y="238127"/>
                    <a:pt x="305543" y="230954"/>
                    <a:pt x="308407" y="222347"/>
                  </a:cubicBezTo>
                  <a:lnTo>
                    <a:pt x="308407" y="190789"/>
                  </a:lnTo>
                  <a:lnTo>
                    <a:pt x="268248" y="190789"/>
                  </a:lnTo>
                  <a:cubicBezTo>
                    <a:pt x="253898" y="190789"/>
                    <a:pt x="242426" y="193657"/>
                    <a:pt x="233819" y="200830"/>
                  </a:cubicBezTo>
                  <a:cubicBezTo>
                    <a:pt x="225211" y="208002"/>
                    <a:pt x="220915" y="216610"/>
                    <a:pt x="220915" y="226651"/>
                  </a:cubicBezTo>
                  <a:cubicBezTo>
                    <a:pt x="220915" y="235258"/>
                    <a:pt x="223779" y="242430"/>
                    <a:pt x="229522" y="246733"/>
                  </a:cubicBezTo>
                  <a:cubicBezTo>
                    <a:pt x="235251" y="252472"/>
                    <a:pt x="243858" y="255340"/>
                    <a:pt x="253898" y="255340"/>
                  </a:cubicBezTo>
                  <a:close/>
                  <a:moveTo>
                    <a:pt x="562319" y="190789"/>
                  </a:moveTo>
                  <a:cubicBezTo>
                    <a:pt x="562319" y="219478"/>
                    <a:pt x="555144" y="240995"/>
                    <a:pt x="542240" y="258209"/>
                  </a:cubicBezTo>
                  <a:cubicBezTo>
                    <a:pt x="529322" y="275424"/>
                    <a:pt x="510675" y="284030"/>
                    <a:pt x="486284" y="284030"/>
                  </a:cubicBezTo>
                  <a:cubicBezTo>
                    <a:pt x="473380" y="284030"/>
                    <a:pt x="461909" y="281161"/>
                    <a:pt x="453301" y="276857"/>
                  </a:cubicBezTo>
                  <a:cubicBezTo>
                    <a:pt x="443262" y="272554"/>
                    <a:pt x="436086" y="263948"/>
                    <a:pt x="430343" y="255340"/>
                  </a:cubicBezTo>
                  <a:lnTo>
                    <a:pt x="426047" y="281161"/>
                  </a:lnTo>
                  <a:lnTo>
                    <a:pt x="397346" y="281161"/>
                  </a:lnTo>
                  <a:lnTo>
                    <a:pt x="397346" y="0"/>
                  </a:lnTo>
                  <a:lnTo>
                    <a:pt x="433222" y="0"/>
                  </a:lnTo>
                  <a:lnTo>
                    <a:pt x="433222" y="109022"/>
                  </a:lnTo>
                  <a:cubicBezTo>
                    <a:pt x="438951" y="100415"/>
                    <a:pt x="447558" y="93243"/>
                    <a:pt x="456166" y="88939"/>
                  </a:cubicBezTo>
                  <a:cubicBezTo>
                    <a:pt x="464773" y="84635"/>
                    <a:pt x="476245" y="81766"/>
                    <a:pt x="487731" y="81766"/>
                  </a:cubicBezTo>
                  <a:cubicBezTo>
                    <a:pt x="512107" y="81766"/>
                    <a:pt x="530754" y="91807"/>
                    <a:pt x="543672" y="110456"/>
                  </a:cubicBezTo>
                  <a:cubicBezTo>
                    <a:pt x="556576" y="129104"/>
                    <a:pt x="563751" y="154925"/>
                    <a:pt x="563751" y="186485"/>
                  </a:cubicBezTo>
                  <a:lnTo>
                    <a:pt x="563751" y="190789"/>
                  </a:lnTo>
                  <a:lnTo>
                    <a:pt x="562319" y="190789"/>
                  </a:lnTo>
                  <a:close/>
                  <a:moveTo>
                    <a:pt x="526457" y="187919"/>
                  </a:moveTo>
                  <a:cubicBezTo>
                    <a:pt x="526457" y="164966"/>
                    <a:pt x="522146" y="147753"/>
                    <a:pt x="513553" y="133408"/>
                  </a:cubicBezTo>
                  <a:cubicBezTo>
                    <a:pt x="504946" y="119063"/>
                    <a:pt x="493460" y="111891"/>
                    <a:pt x="476245" y="111891"/>
                  </a:cubicBezTo>
                  <a:cubicBezTo>
                    <a:pt x="464773" y="111891"/>
                    <a:pt x="456166" y="114760"/>
                    <a:pt x="448990" y="120498"/>
                  </a:cubicBezTo>
                  <a:cubicBezTo>
                    <a:pt x="441815" y="126236"/>
                    <a:pt x="436086" y="133408"/>
                    <a:pt x="431775" y="142016"/>
                  </a:cubicBezTo>
                  <a:lnTo>
                    <a:pt x="431775" y="226651"/>
                  </a:lnTo>
                  <a:cubicBezTo>
                    <a:pt x="436086" y="236692"/>
                    <a:pt x="441815" y="243864"/>
                    <a:pt x="448990" y="249603"/>
                  </a:cubicBezTo>
                  <a:cubicBezTo>
                    <a:pt x="456166" y="255340"/>
                    <a:pt x="466205" y="258209"/>
                    <a:pt x="476245" y="258209"/>
                  </a:cubicBezTo>
                  <a:cubicBezTo>
                    <a:pt x="493460" y="258209"/>
                    <a:pt x="504946" y="252472"/>
                    <a:pt x="513553" y="240995"/>
                  </a:cubicBezTo>
                  <a:cubicBezTo>
                    <a:pt x="522146" y="229519"/>
                    <a:pt x="526457" y="213740"/>
                    <a:pt x="526457" y="193657"/>
                  </a:cubicBezTo>
                  <a:lnTo>
                    <a:pt x="526457" y="187919"/>
                  </a:lnTo>
                  <a:close/>
                  <a:moveTo>
                    <a:pt x="718685" y="229519"/>
                  </a:moveTo>
                  <a:cubicBezTo>
                    <a:pt x="718685" y="222347"/>
                    <a:pt x="715806" y="215175"/>
                    <a:pt x="710078" y="210871"/>
                  </a:cubicBezTo>
                  <a:cubicBezTo>
                    <a:pt x="704335" y="206567"/>
                    <a:pt x="692863" y="200830"/>
                    <a:pt x="675648" y="197961"/>
                  </a:cubicBezTo>
                  <a:cubicBezTo>
                    <a:pt x="652690" y="192222"/>
                    <a:pt x="634043" y="186485"/>
                    <a:pt x="622571" y="176443"/>
                  </a:cubicBezTo>
                  <a:cubicBezTo>
                    <a:pt x="611099" y="167837"/>
                    <a:pt x="605356" y="154925"/>
                    <a:pt x="605356" y="140581"/>
                  </a:cubicBezTo>
                  <a:cubicBezTo>
                    <a:pt x="605356" y="124801"/>
                    <a:pt x="612532" y="111891"/>
                    <a:pt x="625436" y="100415"/>
                  </a:cubicBezTo>
                  <a:cubicBezTo>
                    <a:pt x="638354" y="88939"/>
                    <a:pt x="657001" y="83201"/>
                    <a:pt x="678513" y="83201"/>
                  </a:cubicBezTo>
                  <a:cubicBezTo>
                    <a:pt x="701470" y="83201"/>
                    <a:pt x="718685" y="88939"/>
                    <a:pt x="733021" y="100415"/>
                  </a:cubicBezTo>
                  <a:cubicBezTo>
                    <a:pt x="745939" y="111891"/>
                    <a:pt x="753101" y="126236"/>
                    <a:pt x="751668" y="143451"/>
                  </a:cubicBezTo>
                  <a:lnTo>
                    <a:pt x="751668" y="144884"/>
                  </a:lnTo>
                  <a:lnTo>
                    <a:pt x="717239" y="144884"/>
                  </a:lnTo>
                  <a:cubicBezTo>
                    <a:pt x="717239" y="136277"/>
                    <a:pt x="712942" y="129104"/>
                    <a:pt x="707199" y="121932"/>
                  </a:cubicBezTo>
                  <a:cubicBezTo>
                    <a:pt x="700024" y="114760"/>
                    <a:pt x="689984" y="111891"/>
                    <a:pt x="678513" y="111891"/>
                  </a:cubicBezTo>
                  <a:cubicBezTo>
                    <a:pt x="665608" y="111891"/>
                    <a:pt x="657001" y="114760"/>
                    <a:pt x="649826" y="120498"/>
                  </a:cubicBezTo>
                  <a:cubicBezTo>
                    <a:pt x="644083" y="126236"/>
                    <a:pt x="641218" y="131975"/>
                    <a:pt x="641218" y="140581"/>
                  </a:cubicBezTo>
                  <a:cubicBezTo>
                    <a:pt x="641218" y="147753"/>
                    <a:pt x="644083" y="154925"/>
                    <a:pt x="649826" y="159229"/>
                  </a:cubicBezTo>
                  <a:cubicBezTo>
                    <a:pt x="655555" y="163533"/>
                    <a:pt x="665608" y="167837"/>
                    <a:pt x="682823" y="170705"/>
                  </a:cubicBezTo>
                  <a:cubicBezTo>
                    <a:pt x="707199" y="176444"/>
                    <a:pt x="725846" y="183616"/>
                    <a:pt x="737332" y="192222"/>
                  </a:cubicBezTo>
                  <a:cubicBezTo>
                    <a:pt x="748804" y="200830"/>
                    <a:pt x="755979" y="213740"/>
                    <a:pt x="755979" y="228086"/>
                  </a:cubicBezTo>
                  <a:cubicBezTo>
                    <a:pt x="755979" y="245299"/>
                    <a:pt x="748804" y="259644"/>
                    <a:pt x="734454" y="269685"/>
                  </a:cubicBezTo>
                  <a:cubicBezTo>
                    <a:pt x="720117" y="279726"/>
                    <a:pt x="702902" y="285465"/>
                    <a:pt x="679944" y="285465"/>
                  </a:cubicBezTo>
                  <a:cubicBezTo>
                    <a:pt x="655569" y="285465"/>
                    <a:pt x="635475" y="279726"/>
                    <a:pt x="621139" y="266816"/>
                  </a:cubicBezTo>
                  <a:cubicBezTo>
                    <a:pt x="606789" y="253905"/>
                    <a:pt x="599613" y="239560"/>
                    <a:pt x="601045" y="222347"/>
                  </a:cubicBezTo>
                  <a:lnTo>
                    <a:pt x="601045" y="220912"/>
                  </a:lnTo>
                  <a:lnTo>
                    <a:pt x="635475" y="220912"/>
                  </a:lnTo>
                  <a:cubicBezTo>
                    <a:pt x="635475" y="233823"/>
                    <a:pt x="641218" y="242430"/>
                    <a:pt x="649826" y="248168"/>
                  </a:cubicBezTo>
                  <a:cubicBezTo>
                    <a:pt x="658433" y="253905"/>
                    <a:pt x="668473" y="256775"/>
                    <a:pt x="679944" y="256775"/>
                  </a:cubicBezTo>
                  <a:cubicBezTo>
                    <a:pt x="692863" y="256775"/>
                    <a:pt x="702902" y="253907"/>
                    <a:pt x="710078" y="249603"/>
                  </a:cubicBezTo>
                  <a:cubicBezTo>
                    <a:pt x="714374" y="243864"/>
                    <a:pt x="718685" y="236692"/>
                    <a:pt x="718685" y="229519"/>
                  </a:cubicBezTo>
                  <a:close/>
                </a:path>
              </a:pathLst>
            </a:custGeom>
            <a:grpFill/>
            <a:ln w="140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dirty="0">
                <a:latin typeface="Akrobat" panose="00000600000000000000" pitchFamily="50" charset="-52"/>
              </a:endParaRPr>
            </a:p>
          </p:txBody>
        </p:sp>
        <p:sp>
          <p:nvSpPr>
            <p:cNvPr id="28" name="Полилиния: фигура 27">
              <a:extLst>
                <a:ext uri="{FF2B5EF4-FFF2-40B4-BE49-F238E27FC236}">
                  <a16:creationId xmlns:a16="http://schemas.microsoft.com/office/drawing/2014/main" id="{A75A1CDD-D8CA-4201-8D13-26AC224E7C50}"/>
                </a:ext>
              </a:extLst>
            </p:cNvPr>
            <p:cNvSpPr/>
            <p:nvPr/>
          </p:nvSpPr>
          <p:spPr>
            <a:xfrm>
              <a:off x="1447975" y="1300681"/>
              <a:ext cx="3558981" cy="612528"/>
            </a:xfrm>
            <a:custGeom>
              <a:avLst/>
              <a:gdLst>
                <a:gd name="connsiteX0" fmla="*/ 35862 w 3558981"/>
                <a:gd name="connsiteY0" fmla="*/ 582404 h 612528"/>
                <a:gd name="connsiteX1" fmla="*/ 3523120 w 3558981"/>
                <a:gd name="connsiteY1" fmla="*/ 582404 h 612528"/>
                <a:gd name="connsiteX2" fmla="*/ 3523120 w 3558981"/>
                <a:gd name="connsiteY2" fmla="*/ 27256 h 612528"/>
                <a:gd name="connsiteX3" fmla="*/ 35862 w 3558981"/>
                <a:gd name="connsiteY3" fmla="*/ 27256 h 612528"/>
                <a:gd name="connsiteX4" fmla="*/ 35862 w 3558981"/>
                <a:gd name="connsiteY4" fmla="*/ 582404 h 612528"/>
                <a:gd name="connsiteX5" fmla="*/ 0 w 3558981"/>
                <a:gd name="connsiteY5" fmla="*/ 0 h 612528"/>
                <a:gd name="connsiteX6" fmla="*/ 3558982 w 3558981"/>
                <a:gd name="connsiteY6" fmla="*/ 0 h 612528"/>
                <a:gd name="connsiteX7" fmla="*/ 3558982 w 3558981"/>
                <a:gd name="connsiteY7" fmla="*/ 612529 h 612528"/>
                <a:gd name="connsiteX8" fmla="*/ 0 w 3558981"/>
                <a:gd name="connsiteY8" fmla="*/ 612529 h 612528"/>
                <a:gd name="connsiteX9" fmla="*/ 0 w 3558981"/>
                <a:gd name="connsiteY9" fmla="*/ 0 h 6125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558981" h="612528">
                  <a:moveTo>
                    <a:pt x="35862" y="582404"/>
                  </a:moveTo>
                  <a:lnTo>
                    <a:pt x="3523120" y="582404"/>
                  </a:lnTo>
                  <a:lnTo>
                    <a:pt x="3523120" y="27256"/>
                  </a:lnTo>
                  <a:lnTo>
                    <a:pt x="35862" y="27256"/>
                  </a:lnTo>
                  <a:lnTo>
                    <a:pt x="35862" y="582404"/>
                  </a:lnTo>
                  <a:close/>
                  <a:moveTo>
                    <a:pt x="0" y="0"/>
                  </a:moveTo>
                  <a:lnTo>
                    <a:pt x="3558982" y="0"/>
                  </a:lnTo>
                  <a:lnTo>
                    <a:pt x="3558982" y="612529"/>
                  </a:lnTo>
                  <a:lnTo>
                    <a:pt x="0" y="612529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40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dirty="0">
                <a:latin typeface="Akrobat" panose="00000600000000000000" pitchFamily="50" charset="-52"/>
              </a:endParaRPr>
            </a:p>
          </p:txBody>
        </p:sp>
      </p:grpSp>
      <p:grpSp>
        <p:nvGrpSpPr>
          <p:cNvPr id="33" name="CDIConf_Black">
            <a:extLst>
              <a:ext uri="{FF2B5EF4-FFF2-40B4-BE49-F238E27FC236}">
                <a16:creationId xmlns:a16="http://schemas.microsoft.com/office/drawing/2014/main" id="{5B7DF3E0-0FA5-431A-BA80-05FB67A9FEC9}"/>
              </a:ext>
            </a:extLst>
          </p:cNvPr>
          <p:cNvGrpSpPr/>
          <p:nvPr/>
        </p:nvGrpSpPr>
        <p:grpSpPr>
          <a:xfrm>
            <a:off x="823295" y="1549405"/>
            <a:ext cx="2651425" cy="345863"/>
            <a:chOff x="7406975" y="5855999"/>
            <a:chExt cx="2270483" cy="296171"/>
          </a:xfrm>
        </p:grpSpPr>
        <p:sp>
          <p:nvSpPr>
            <p:cNvPr id="34" name="Полилиния: фигура 33">
              <a:extLst>
                <a:ext uri="{FF2B5EF4-FFF2-40B4-BE49-F238E27FC236}">
                  <a16:creationId xmlns:a16="http://schemas.microsoft.com/office/drawing/2014/main" id="{B8A1F4DF-D29F-4E22-8CA3-A0BE77E047CD}"/>
                </a:ext>
              </a:extLst>
            </p:cNvPr>
            <p:cNvSpPr/>
            <p:nvPr/>
          </p:nvSpPr>
          <p:spPr>
            <a:xfrm>
              <a:off x="7406975" y="5878280"/>
              <a:ext cx="1394458" cy="273890"/>
            </a:xfrm>
            <a:custGeom>
              <a:avLst/>
              <a:gdLst>
                <a:gd name="connsiteX0" fmla="*/ 157354 w 1394458"/>
                <a:gd name="connsiteY0" fmla="*/ 188093 h 273890"/>
                <a:gd name="connsiteX1" fmla="*/ 200773 w 1394458"/>
                <a:gd name="connsiteY1" fmla="*/ 188093 h 273890"/>
                <a:gd name="connsiteX2" fmla="*/ 186877 w 1394458"/>
                <a:gd name="connsiteY2" fmla="*/ 232383 h 273890"/>
                <a:gd name="connsiteX3" fmla="*/ 153706 w 1394458"/>
                <a:gd name="connsiteY3" fmla="*/ 262777 h 273890"/>
                <a:gd name="connsiteX4" fmla="*/ 101775 w 1394458"/>
                <a:gd name="connsiteY4" fmla="*/ 273891 h 273890"/>
                <a:gd name="connsiteX5" fmla="*/ 59572 w 1394458"/>
                <a:gd name="connsiteY5" fmla="*/ 265554 h 273890"/>
                <a:gd name="connsiteX6" fmla="*/ 27442 w 1394458"/>
                <a:gd name="connsiteY6" fmla="*/ 241585 h 273890"/>
                <a:gd name="connsiteX7" fmla="*/ 6950 w 1394458"/>
                <a:gd name="connsiteY7" fmla="*/ 203896 h 273890"/>
                <a:gd name="connsiteX8" fmla="*/ 0 w 1394458"/>
                <a:gd name="connsiteY8" fmla="*/ 154577 h 273890"/>
                <a:gd name="connsiteX9" fmla="*/ 0 w 1394458"/>
                <a:gd name="connsiteY9" fmla="*/ 133560 h 273890"/>
                <a:gd name="connsiteX10" fmla="*/ 7121 w 1394458"/>
                <a:gd name="connsiteY10" fmla="*/ 84236 h 273890"/>
                <a:gd name="connsiteX11" fmla="*/ 27962 w 1394458"/>
                <a:gd name="connsiteY11" fmla="*/ 46552 h 273890"/>
                <a:gd name="connsiteX12" fmla="*/ 60438 w 1394458"/>
                <a:gd name="connsiteY12" fmla="*/ 22408 h 273890"/>
                <a:gd name="connsiteX13" fmla="*/ 103336 w 1394458"/>
                <a:gd name="connsiteY13" fmla="*/ 14071 h 273890"/>
                <a:gd name="connsiteX14" fmla="*/ 154397 w 1394458"/>
                <a:gd name="connsiteY14" fmla="*/ 25185 h 273890"/>
                <a:gd name="connsiteX15" fmla="*/ 186702 w 1394458"/>
                <a:gd name="connsiteY15" fmla="*/ 55924 h 273890"/>
                <a:gd name="connsiteX16" fmla="*/ 200943 w 1394458"/>
                <a:gd name="connsiteY16" fmla="*/ 100905 h 273890"/>
                <a:gd name="connsiteX17" fmla="*/ 157524 w 1394458"/>
                <a:gd name="connsiteY17" fmla="*/ 100905 h 273890"/>
                <a:gd name="connsiteX18" fmla="*/ 149883 w 1394458"/>
                <a:gd name="connsiteY18" fmla="*/ 72943 h 273890"/>
                <a:gd name="connsiteX19" fmla="*/ 132865 w 1394458"/>
                <a:gd name="connsiteY19" fmla="*/ 55229 h 273890"/>
                <a:gd name="connsiteX20" fmla="*/ 103341 w 1394458"/>
                <a:gd name="connsiteY20" fmla="*/ 48974 h 273890"/>
                <a:gd name="connsiteX21" fmla="*/ 77291 w 1394458"/>
                <a:gd name="connsiteY21" fmla="*/ 54533 h 273890"/>
                <a:gd name="connsiteX22" fmla="*/ 58706 w 1394458"/>
                <a:gd name="connsiteY22" fmla="*/ 70861 h 273890"/>
                <a:gd name="connsiteX23" fmla="*/ 47417 w 1394458"/>
                <a:gd name="connsiteY23" fmla="*/ 97432 h 273890"/>
                <a:gd name="connsiteX24" fmla="*/ 43769 w 1394458"/>
                <a:gd name="connsiteY24" fmla="*/ 133210 h 273890"/>
                <a:gd name="connsiteX25" fmla="*/ 43769 w 1394458"/>
                <a:gd name="connsiteY25" fmla="*/ 154572 h 273890"/>
                <a:gd name="connsiteX26" fmla="*/ 47067 w 1394458"/>
                <a:gd name="connsiteY26" fmla="*/ 189304 h 273890"/>
                <a:gd name="connsiteX27" fmla="*/ 57490 w 1394458"/>
                <a:gd name="connsiteY27" fmla="*/ 215875 h 273890"/>
                <a:gd name="connsiteX28" fmla="*/ 75550 w 1394458"/>
                <a:gd name="connsiteY28" fmla="*/ 233069 h 273890"/>
                <a:gd name="connsiteX29" fmla="*/ 101775 w 1394458"/>
                <a:gd name="connsiteY29" fmla="*/ 239149 h 273890"/>
                <a:gd name="connsiteX30" fmla="*/ 131824 w 1394458"/>
                <a:gd name="connsiteY30" fmla="*/ 233244 h 273890"/>
                <a:gd name="connsiteX31" fmla="*/ 149363 w 1394458"/>
                <a:gd name="connsiteY31" fmla="*/ 216050 h 273890"/>
                <a:gd name="connsiteX32" fmla="*/ 157354 w 1394458"/>
                <a:gd name="connsiteY32" fmla="*/ 188088 h 273890"/>
                <a:gd name="connsiteX33" fmla="*/ 313837 w 1394458"/>
                <a:gd name="connsiteY33" fmla="*/ 270418 h 273890"/>
                <a:gd name="connsiteX34" fmla="*/ 259825 w 1394458"/>
                <a:gd name="connsiteY34" fmla="*/ 270418 h 273890"/>
                <a:gd name="connsiteX35" fmla="*/ 260170 w 1394458"/>
                <a:gd name="connsiteY35" fmla="*/ 235856 h 273890"/>
                <a:gd name="connsiteX36" fmla="*/ 313837 w 1394458"/>
                <a:gd name="connsiteY36" fmla="*/ 235856 h 273890"/>
                <a:gd name="connsiteX37" fmla="*/ 353088 w 1394458"/>
                <a:gd name="connsiteY37" fmla="*/ 225608 h 273890"/>
                <a:gd name="connsiteX38" fmla="*/ 377057 w 1394458"/>
                <a:gd name="connsiteY38" fmla="*/ 196255 h 273890"/>
                <a:gd name="connsiteX39" fmla="*/ 385218 w 1394458"/>
                <a:gd name="connsiteY39" fmla="*/ 150754 h 273890"/>
                <a:gd name="connsiteX40" fmla="*/ 385218 w 1394458"/>
                <a:gd name="connsiteY40" fmla="*/ 137033 h 273890"/>
                <a:gd name="connsiteX41" fmla="*/ 380530 w 1394458"/>
                <a:gd name="connsiteY41" fmla="*/ 100734 h 273890"/>
                <a:gd name="connsiteX42" fmla="*/ 366984 w 1394458"/>
                <a:gd name="connsiteY42" fmla="*/ 74163 h 273890"/>
                <a:gd name="connsiteX43" fmla="*/ 345102 w 1394458"/>
                <a:gd name="connsiteY43" fmla="*/ 57840 h 273890"/>
                <a:gd name="connsiteX44" fmla="*/ 315403 w 1394458"/>
                <a:gd name="connsiteY44" fmla="*/ 52281 h 273890"/>
                <a:gd name="connsiteX45" fmla="*/ 258784 w 1394458"/>
                <a:gd name="connsiteY45" fmla="*/ 52281 h 273890"/>
                <a:gd name="connsiteX46" fmla="*/ 258784 w 1394458"/>
                <a:gd name="connsiteY46" fmla="*/ 17544 h 273890"/>
                <a:gd name="connsiteX47" fmla="*/ 315403 w 1394458"/>
                <a:gd name="connsiteY47" fmla="*/ 17544 h 273890"/>
                <a:gd name="connsiteX48" fmla="*/ 361429 w 1394458"/>
                <a:gd name="connsiteY48" fmla="*/ 26055 h 273890"/>
                <a:gd name="connsiteX49" fmla="*/ 397383 w 1394458"/>
                <a:gd name="connsiteY49" fmla="*/ 50195 h 273890"/>
                <a:gd name="connsiteX50" fmla="*/ 420826 w 1394458"/>
                <a:gd name="connsiteY50" fmla="*/ 88054 h 273890"/>
                <a:gd name="connsiteX51" fmla="*/ 428988 w 1394458"/>
                <a:gd name="connsiteY51" fmla="*/ 137378 h 273890"/>
                <a:gd name="connsiteX52" fmla="*/ 428988 w 1394458"/>
                <a:gd name="connsiteY52" fmla="*/ 150754 h 273890"/>
                <a:gd name="connsiteX53" fmla="*/ 420826 w 1394458"/>
                <a:gd name="connsiteY53" fmla="*/ 200078 h 273890"/>
                <a:gd name="connsiteX54" fmla="*/ 397383 w 1394458"/>
                <a:gd name="connsiteY54" fmla="*/ 237938 h 273890"/>
                <a:gd name="connsiteX55" fmla="*/ 360909 w 1394458"/>
                <a:gd name="connsiteY55" fmla="*/ 262077 h 273890"/>
                <a:gd name="connsiteX56" fmla="*/ 313842 w 1394458"/>
                <a:gd name="connsiteY56" fmla="*/ 270413 h 273890"/>
                <a:gd name="connsiteX57" fmla="*/ 283964 w 1394458"/>
                <a:gd name="connsiteY57" fmla="*/ 17544 h 273890"/>
                <a:gd name="connsiteX58" fmla="*/ 283964 w 1394458"/>
                <a:gd name="connsiteY58" fmla="*/ 270418 h 273890"/>
                <a:gd name="connsiteX59" fmla="*/ 240369 w 1394458"/>
                <a:gd name="connsiteY59" fmla="*/ 270418 h 273890"/>
                <a:gd name="connsiteX60" fmla="*/ 240369 w 1394458"/>
                <a:gd name="connsiteY60" fmla="*/ 17544 h 273890"/>
                <a:gd name="connsiteX61" fmla="*/ 283964 w 1394458"/>
                <a:gd name="connsiteY61" fmla="*/ 17544 h 273890"/>
                <a:gd name="connsiteX62" fmla="*/ 519299 w 1394458"/>
                <a:gd name="connsiteY62" fmla="*/ 17544 h 273890"/>
                <a:gd name="connsiteX63" fmla="*/ 519299 w 1394458"/>
                <a:gd name="connsiteY63" fmla="*/ 270418 h 273890"/>
                <a:gd name="connsiteX64" fmla="*/ 475705 w 1394458"/>
                <a:gd name="connsiteY64" fmla="*/ 270418 h 273890"/>
                <a:gd name="connsiteX65" fmla="*/ 475705 w 1394458"/>
                <a:gd name="connsiteY65" fmla="*/ 17544 h 273890"/>
                <a:gd name="connsiteX66" fmla="*/ 519299 w 1394458"/>
                <a:gd name="connsiteY66" fmla="*/ 17544 h 273890"/>
                <a:gd name="connsiteX67" fmla="*/ 811424 w 1394458"/>
                <a:gd name="connsiteY67" fmla="*/ 188093 h 273890"/>
                <a:gd name="connsiteX68" fmla="*/ 854843 w 1394458"/>
                <a:gd name="connsiteY68" fmla="*/ 188093 h 273890"/>
                <a:gd name="connsiteX69" fmla="*/ 840947 w 1394458"/>
                <a:gd name="connsiteY69" fmla="*/ 232383 h 273890"/>
                <a:gd name="connsiteX70" fmla="*/ 807776 w 1394458"/>
                <a:gd name="connsiteY70" fmla="*/ 262777 h 273890"/>
                <a:gd name="connsiteX71" fmla="*/ 755845 w 1394458"/>
                <a:gd name="connsiteY71" fmla="*/ 273891 h 273890"/>
                <a:gd name="connsiteX72" fmla="*/ 713642 w 1394458"/>
                <a:gd name="connsiteY72" fmla="*/ 265554 h 273890"/>
                <a:gd name="connsiteX73" fmla="*/ 681512 w 1394458"/>
                <a:gd name="connsiteY73" fmla="*/ 241585 h 273890"/>
                <a:gd name="connsiteX74" fmla="*/ 661021 w 1394458"/>
                <a:gd name="connsiteY74" fmla="*/ 203896 h 273890"/>
                <a:gd name="connsiteX75" fmla="*/ 654075 w 1394458"/>
                <a:gd name="connsiteY75" fmla="*/ 154572 h 273890"/>
                <a:gd name="connsiteX76" fmla="*/ 654075 w 1394458"/>
                <a:gd name="connsiteY76" fmla="*/ 133555 h 273890"/>
                <a:gd name="connsiteX77" fmla="*/ 661196 w 1394458"/>
                <a:gd name="connsiteY77" fmla="*/ 84231 h 273890"/>
                <a:gd name="connsiteX78" fmla="*/ 682037 w 1394458"/>
                <a:gd name="connsiteY78" fmla="*/ 46547 h 273890"/>
                <a:gd name="connsiteX79" fmla="*/ 714513 w 1394458"/>
                <a:gd name="connsiteY79" fmla="*/ 22403 h 273890"/>
                <a:gd name="connsiteX80" fmla="*/ 757411 w 1394458"/>
                <a:gd name="connsiteY80" fmla="*/ 14066 h 273890"/>
                <a:gd name="connsiteX81" fmla="*/ 808472 w 1394458"/>
                <a:gd name="connsiteY81" fmla="*/ 25180 h 273890"/>
                <a:gd name="connsiteX82" fmla="*/ 840777 w 1394458"/>
                <a:gd name="connsiteY82" fmla="*/ 55919 h 273890"/>
                <a:gd name="connsiteX83" fmla="*/ 855018 w 1394458"/>
                <a:gd name="connsiteY83" fmla="*/ 100900 h 273890"/>
                <a:gd name="connsiteX84" fmla="*/ 811599 w 1394458"/>
                <a:gd name="connsiteY84" fmla="*/ 100900 h 273890"/>
                <a:gd name="connsiteX85" fmla="*/ 803958 w 1394458"/>
                <a:gd name="connsiteY85" fmla="*/ 72938 h 273890"/>
                <a:gd name="connsiteX86" fmla="*/ 786940 w 1394458"/>
                <a:gd name="connsiteY86" fmla="*/ 55224 h 273890"/>
                <a:gd name="connsiteX87" fmla="*/ 757416 w 1394458"/>
                <a:gd name="connsiteY87" fmla="*/ 48969 h 273890"/>
                <a:gd name="connsiteX88" fmla="*/ 731366 w 1394458"/>
                <a:gd name="connsiteY88" fmla="*/ 54528 h 273890"/>
                <a:gd name="connsiteX89" fmla="*/ 712781 w 1394458"/>
                <a:gd name="connsiteY89" fmla="*/ 70856 h 273890"/>
                <a:gd name="connsiteX90" fmla="*/ 701492 w 1394458"/>
                <a:gd name="connsiteY90" fmla="*/ 97427 h 273890"/>
                <a:gd name="connsiteX91" fmla="*/ 697844 w 1394458"/>
                <a:gd name="connsiteY91" fmla="*/ 133205 h 273890"/>
                <a:gd name="connsiteX92" fmla="*/ 697844 w 1394458"/>
                <a:gd name="connsiteY92" fmla="*/ 154567 h 273890"/>
                <a:gd name="connsiteX93" fmla="*/ 701142 w 1394458"/>
                <a:gd name="connsiteY93" fmla="*/ 189299 h 273890"/>
                <a:gd name="connsiteX94" fmla="*/ 711565 w 1394458"/>
                <a:gd name="connsiteY94" fmla="*/ 215870 h 273890"/>
                <a:gd name="connsiteX95" fmla="*/ 729629 w 1394458"/>
                <a:gd name="connsiteY95" fmla="*/ 233064 h 273890"/>
                <a:gd name="connsiteX96" fmla="*/ 755855 w 1394458"/>
                <a:gd name="connsiteY96" fmla="*/ 239144 h 273890"/>
                <a:gd name="connsiteX97" fmla="*/ 785904 w 1394458"/>
                <a:gd name="connsiteY97" fmla="*/ 233239 h 273890"/>
                <a:gd name="connsiteX98" fmla="*/ 803443 w 1394458"/>
                <a:gd name="connsiteY98" fmla="*/ 216046 h 273890"/>
                <a:gd name="connsiteX99" fmla="*/ 811434 w 1394458"/>
                <a:gd name="connsiteY99" fmla="*/ 188084 h 273890"/>
                <a:gd name="connsiteX100" fmla="*/ 882285 w 1394458"/>
                <a:gd name="connsiteY100" fmla="*/ 178541 h 273890"/>
                <a:gd name="connsiteX101" fmla="*/ 882285 w 1394458"/>
                <a:gd name="connsiteY101" fmla="*/ 174548 h 273890"/>
                <a:gd name="connsiteX102" fmla="*/ 888190 w 1394458"/>
                <a:gd name="connsiteY102" fmla="*/ 136858 h 273890"/>
                <a:gd name="connsiteX103" fmla="*/ 905208 w 1394458"/>
                <a:gd name="connsiteY103" fmla="*/ 106464 h 273890"/>
                <a:gd name="connsiteX104" fmla="*/ 932650 w 1394458"/>
                <a:gd name="connsiteY104" fmla="*/ 86318 h 273890"/>
                <a:gd name="connsiteX105" fmla="*/ 969469 w 1394458"/>
                <a:gd name="connsiteY105" fmla="*/ 79022 h 273890"/>
                <a:gd name="connsiteX106" fmla="*/ 1006288 w 1394458"/>
                <a:gd name="connsiteY106" fmla="*/ 86318 h 273890"/>
                <a:gd name="connsiteX107" fmla="*/ 1033899 w 1394458"/>
                <a:gd name="connsiteY107" fmla="*/ 106464 h 273890"/>
                <a:gd name="connsiteX108" fmla="*/ 1051093 w 1394458"/>
                <a:gd name="connsiteY108" fmla="*/ 136858 h 273890"/>
                <a:gd name="connsiteX109" fmla="*/ 1056998 w 1394458"/>
                <a:gd name="connsiteY109" fmla="*/ 174548 h 273890"/>
                <a:gd name="connsiteX110" fmla="*/ 1056998 w 1394458"/>
                <a:gd name="connsiteY110" fmla="*/ 178541 h 273890"/>
                <a:gd name="connsiteX111" fmla="*/ 1051093 w 1394458"/>
                <a:gd name="connsiteY111" fmla="*/ 216230 h 273890"/>
                <a:gd name="connsiteX112" fmla="*/ 1033899 w 1394458"/>
                <a:gd name="connsiteY112" fmla="*/ 246624 h 273890"/>
                <a:gd name="connsiteX113" fmla="*/ 1006458 w 1394458"/>
                <a:gd name="connsiteY113" fmla="*/ 266770 h 273890"/>
                <a:gd name="connsiteX114" fmla="*/ 969814 w 1394458"/>
                <a:gd name="connsiteY114" fmla="*/ 273891 h 273890"/>
                <a:gd name="connsiteX115" fmla="*/ 932820 w 1394458"/>
                <a:gd name="connsiteY115" fmla="*/ 266770 h 273890"/>
                <a:gd name="connsiteX116" fmla="*/ 905378 w 1394458"/>
                <a:gd name="connsiteY116" fmla="*/ 246624 h 273890"/>
                <a:gd name="connsiteX117" fmla="*/ 888185 w 1394458"/>
                <a:gd name="connsiteY117" fmla="*/ 216230 h 273890"/>
                <a:gd name="connsiteX118" fmla="*/ 882280 w 1394458"/>
                <a:gd name="connsiteY118" fmla="*/ 178541 h 273890"/>
                <a:gd name="connsiteX119" fmla="*/ 924143 w 1394458"/>
                <a:gd name="connsiteY119" fmla="*/ 174548 h 273890"/>
                <a:gd name="connsiteX120" fmla="*/ 924143 w 1394458"/>
                <a:gd name="connsiteY120" fmla="*/ 178541 h 273890"/>
                <a:gd name="connsiteX121" fmla="*/ 926750 w 1394458"/>
                <a:gd name="connsiteY121" fmla="*/ 202510 h 273890"/>
                <a:gd name="connsiteX122" fmla="*/ 934911 w 1394458"/>
                <a:gd name="connsiteY122" fmla="*/ 222310 h 273890"/>
                <a:gd name="connsiteX123" fmla="*/ 949152 w 1394458"/>
                <a:gd name="connsiteY123" fmla="*/ 235681 h 273890"/>
                <a:gd name="connsiteX124" fmla="*/ 969819 w 1394458"/>
                <a:gd name="connsiteY124" fmla="*/ 240545 h 273890"/>
                <a:gd name="connsiteX125" fmla="*/ 989965 w 1394458"/>
                <a:gd name="connsiteY125" fmla="*/ 235681 h 273890"/>
                <a:gd name="connsiteX126" fmla="*/ 1004206 w 1394458"/>
                <a:gd name="connsiteY126" fmla="*/ 222310 h 273890"/>
                <a:gd name="connsiteX127" fmla="*/ 1012367 w 1394458"/>
                <a:gd name="connsiteY127" fmla="*/ 202510 h 273890"/>
                <a:gd name="connsiteX128" fmla="*/ 1015145 w 1394458"/>
                <a:gd name="connsiteY128" fmla="*/ 178541 h 273890"/>
                <a:gd name="connsiteX129" fmla="*/ 1015145 w 1394458"/>
                <a:gd name="connsiteY129" fmla="*/ 174548 h 273890"/>
                <a:gd name="connsiteX130" fmla="*/ 1012367 w 1394458"/>
                <a:gd name="connsiteY130" fmla="*/ 150929 h 273890"/>
                <a:gd name="connsiteX131" fmla="*/ 1004031 w 1394458"/>
                <a:gd name="connsiteY131" fmla="*/ 130958 h 273890"/>
                <a:gd name="connsiteX132" fmla="*/ 989790 w 1394458"/>
                <a:gd name="connsiteY132" fmla="*/ 117412 h 273890"/>
                <a:gd name="connsiteX133" fmla="*/ 969469 w 1394458"/>
                <a:gd name="connsiteY133" fmla="*/ 112378 h 273890"/>
                <a:gd name="connsiteX134" fmla="*/ 948977 w 1394458"/>
                <a:gd name="connsiteY134" fmla="*/ 117412 h 273890"/>
                <a:gd name="connsiteX135" fmla="*/ 934911 w 1394458"/>
                <a:gd name="connsiteY135" fmla="*/ 130958 h 273890"/>
                <a:gd name="connsiteX136" fmla="*/ 926750 w 1394458"/>
                <a:gd name="connsiteY136" fmla="*/ 150929 h 273890"/>
                <a:gd name="connsiteX137" fmla="*/ 924143 w 1394458"/>
                <a:gd name="connsiteY137" fmla="*/ 174548 h 273890"/>
                <a:gd name="connsiteX138" fmla="*/ 1133598 w 1394458"/>
                <a:gd name="connsiteY138" fmla="*/ 122617 h 273890"/>
                <a:gd name="connsiteX139" fmla="*/ 1133598 w 1394458"/>
                <a:gd name="connsiteY139" fmla="*/ 270418 h 273890"/>
                <a:gd name="connsiteX140" fmla="*/ 1091745 w 1394458"/>
                <a:gd name="connsiteY140" fmla="*/ 270418 h 273890"/>
                <a:gd name="connsiteX141" fmla="*/ 1091745 w 1394458"/>
                <a:gd name="connsiteY141" fmla="*/ 82495 h 273890"/>
                <a:gd name="connsiteX142" fmla="*/ 1131171 w 1394458"/>
                <a:gd name="connsiteY142" fmla="*/ 82495 h 273890"/>
                <a:gd name="connsiteX143" fmla="*/ 1133603 w 1394458"/>
                <a:gd name="connsiteY143" fmla="*/ 122617 h 273890"/>
                <a:gd name="connsiteX144" fmla="*/ 1126132 w 1394458"/>
                <a:gd name="connsiteY144" fmla="*/ 169509 h 273890"/>
                <a:gd name="connsiteX145" fmla="*/ 1112586 w 1394458"/>
                <a:gd name="connsiteY145" fmla="*/ 169334 h 273890"/>
                <a:gd name="connsiteX146" fmla="*/ 1118145 w 1394458"/>
                <a:gd name="connsiteY146" fmla="*/ 132690 h 273890"/>
                <a:gd name="connsiteX147" fmla="*/ 1133428 w 1394458"/>
                <a:gd name="connsiteY147" fmla="*/ 104032 h 273890"/>
                <a:gd name="connsiteX148" fmla="*/ 1157046 w 1394458"/>
                <a:gd name="connsiteY148" fmla="*/ 85623 h 273890"/>
                <a:gd name="connsiteX149" fmla="*/ 1187615 w 1394458"/>
                <a:gd name="connsiteY149" fmla="*/ 79022 h 273890"/>
                <a:gd name="connsiteX150" fmla="*/ 1212105 w 1394458"/>
                <a:gd name="connsiteY150" fmla="*/ 82840 h 273890"/>
                <a:gd name="connsiteX151" fmla="*/ 1231034 w 1394458"/>
                <a:gd name="connsiteY151" fmla="*/ 94825 h 273890"/>
                <a:gd name="connsiteX152" fmla="*/ 1243189 w 1394458"/>
                <a:gd name="connsiteY152" fmla="*/ 116532 h 273890"/>
                <a:gd name="connsiteX153" fmla="*/ 1247357 w 1394458"/>
                <a:gd name="connsiteY153" fmla="*/ 149013 h 273890"/>
                <a:gd name="connsiteX154" fmla="*/ 1247357 w 1394458"/>
                <a:gd name="connsiteY154" fmla="*/ 270413 h 273890"/>
                <a:gd name="connsiteX155" fmla="*/ 1205329 w 1394458"/>
                <a:gd name="connsiteY155" fmla="*/ 270413 h 273890"/>
                <a:gd name="connsiteX156" fmla="*/ 1205329 w 1394458"/>
                <a:gd name="connsiteY156" fmla="*/ 148837 h 273890"/>
                <a:gd name="connsiteX157" fmla="*/ 1201336 w 1394458"/>
                <a:gd name="connsiteY157" fmla="*/ 127476 h 273890"/>
                <a:gd name="connsiteX158" fmla="*/ 1190047 w 1394458"/>
                <a:gd name="connsiteY158" fmla="*/ 116187 h 273890"/>
                <a:gd name="connsiteX159" fmla="*/ 1171813 w 1394458"/>
                <a:gd name="connsiteY159" fmla="*/ 112714 h 273890"/>
                <a:gd name="connsiteX160" fmla="*/ 1152533 w 1394458"/>
                <a:gd name="connsiteY160" fmla="*/ 117228 h 273890"/>
                <a:gd name="connsiteX161" fmla="*/ 1138116 w 1394458"/>
                <a:gd name="connsiteY161" fmla="*/ 129557 h 273890"/>
                <a:gd name="connsiteX162" fmla="*/ 1129259 w 1394458"/>
                <a:gd name="connsiteY162" fmla="*/ 147621 h 273890"/>
                <a:gd name="connsiteX163" fmla="*/ 1126132 w 1394458"/>
                <a:gd name="connsiteY163" fmla="*/ 169504 h 273890"/>
                <a:gd name="connsiteX164" fmla="*/ 1346701 w 1394458"/>
                <a:gd name="connsiteY164" fmla="*/ 270418 h 273890"/>
                <a:gd name="connsiteX165" fmla="*/ 1304843 w 1394458"/>
                <a:gd name="connsiteY165" fmla="*/ 270418 h 273890"/>
                <a:gd name="connsiteX166" fmla="*/ 1304843 w 1394458"/>
                <a:gd name="connsiteY166" fmla="*/ 64436 h 273890"/>
                <a:gd name="connsiteX167" fmla="*/ 1312659 w 1394458"/>
                <a:gd name="connsiteY167" fmla="*/ 29178 h 273890"/>
                <a:gd name="connsiteX168" fmla="*/ 1335412 w 1394458"/>
                <a:gd name="connsiteY168" fmla="*/ 7471 h 273890"/>
                <a:gd name="connsiteX169" fmla="*/ 1370319 w 1394458"/>
                <a:gd name="connsiteY169" fmla="*/ 0 h 273890"/>
                <a:gd name="connsiteX170" fmla="*/ 1382649 w 1394458"/>
                <a:gd name="connsiteY170" fmla="*/ 871 h 273890"/>
                <a:gd name="connsiteX171" fmla="*/ 1394458 w 1394458"/>
                <a:gd name="connsiteY171" fmla="*/ 3127 h 273890"/>
                <a:gd name="connsiteX172" fmla="*/ 1393418 w 1394458"/>
                <a:gd name="connsiteY172" fmla="*/ 35433 h 273890"/>
                <a:gd name="connsiteX173" fmla="*/ 1385776 w 1394458"/>
                <a:gd name="connsiteY173" fmla="*/ 34217 h 273890"/>
                <a:gd name="connsiteX174" fmla="*/ 1377095 w 1394458"/>
                <a:gd name="connsiteY174" fmla="*/ 33872 h 273890"/>
                <a:gd name="connsiteX175" fmla="*/ 1360596 w 1394458"/>
                <a:gd name="connsiteY175" fmla="*/ 37519 h 273890"/>
                <a:gd name="connsiteX176" fmla="*/ 1350178 w 1394458"/>
                <a:gd name="connsiteY176" fmla="*/ 47767 h 273890"/>
                <a:gd name="connsiteX177" fmla="*/ 1346706 w 1394458"/>
                <a:gd name="connsiteY177" fmla="*/ 64441 h 273890"/>
                <a:gd name="connsiteX178" fmla="*/ 1346706 w 1394458"/>
                <a:gd name="connsiteY178" fmla="*/ 270423 h 273890"/>
                <a:gd name="connsiteX179" fmla="*/ 1385431 w 1394458"/>
                <a:gd name="connsiteY179" fmla="*/ 82500 h 273890"/>
                <a:gd name="connsiteX180" fmla="*/ 1385431 w 1394458"/>
                <a:gd name="connsiteY180" fmla="*/ 113069 h 273890"/>
                <a:gd name="connsiteX181" fmla="*/ 1276015 w 1394458"/>
                <a:gd name="connsiteY181" fmla="*/ 113069 h 273890"/>
                <a:gd name="connsiteX182" fmla="*/ 1276015 w 1394458"/>
                <a:gd name="connsiteY182" fmla="*/ 82500 h 273890"/>
                <a:gd name="connsiteX183" fmla="*/ 1385431 w 1394458"/>
                <a:gd name="connsiteY183" fmla="*/ 82500 h 2738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</a:cxnLst>
              <a:rect l="l" t="t" r="r" b="b"/>
              <a:pathLst>
                <a:path w="1394458" h="273890">
                  <a:moveTo>
                    <a:pt x="157354" y="188093"/>
                  </a:moveTo>
                  <a:lnTo>
                    <a:pt x="200773" y="188093"/>
                  </a:lnTo>
                  <a:cubicBezTo>
                    <a:pt x="199382" y="204650"/>
                    <a:pt x="194752" y="219411"/>
                    <a:pt x="186877" y="232383"/>
                  </a:cubicBezTo>
                  <a:cubicBezTo>
                    <a:pt x="179003" y="245233"/>
                    <a:pt x="167947" y="255365"/>
                    <a:pt x="153706" y="262777"/>
                  </a:cubicBezTo>
                  <a:cubicBezTo>
                    <a:pt x="139465" y="270185"/>
                    <a:pt x="122155" y="273891"/>
                    <a:pt x="101775" y="273891"/>
                  </a:cubicBezTo>
                  <a:cubicBezTo>
                    <a:pt x="86143" y="273891"/>
                    <a:pt x="72077" y="271114"/>
                    <a:pt x="59572" y="265554"/>
                  </a:cubicBezTo>
                  <a:cubicBezTo>
                    <a:pt x="47067" y="259878"/>
                    <a:pt x="36357" y="251892"/>
                    <a:pt x="27442" y="241585"/>
                  </a:cubicBezTo>
                  <a:cubicBezTo>
                    <a:pt x="18526" y="231162"/>
                    <a:pt x="11697" y="218604"/>
                    <a:pt x="6950" y="203896"/>
                  </a:cubicBezTo>
                  <a:cubicBezTo>
                    <a:pt x="2315" y="189192"/>
                    <a:pt x="0" y="172753"/>
                    <a:pt x="0" y="154577"/>
                  </a:cubicBezTo>
                  <a:lnTo>
                    <a:pt x="0" y="133560"/>
                  </a:lnTo>
                  <a:cubicBezTo>
                    <a:pt x="0" y="115379"/>
                    <a:pt x="2374" y="98940"/>
                    <a:pt x="7121" y="84236"/>
                  </a:cubicBezTo>
                  <a:cubicBezTo>
                    <a:pt x="11984" y="69533"/>
                    <a:pt x="18930" y="56970"/>
                    <a:pt x="27962" y="46552"/>
                  </a:cubicBezTo>
                  <a:cubicBezTo>
                    <a:pt x="36994" y="36017"/>
                    <a:pt x="47816" y="27967"/>
                    <a:pt x="60438" y="22408"/>
                  </a:cubicBezTo>
                  <a:cubicBezTo>
                    <a:pt x="73171" y="16848"/>
                    <a:pt x="87471" y="14071"/>
                    <a:pt x="103336" y="14071"/>
                  </a:cubicBezTo>
                  <a:cubicBezTo>
                    <a:pt x="123482" y="14071"/>
                    <a:pt x="140506" y="17777"/>
                    <a:pt x="154397" y="25185"/>
                  </a:cubicBezTo>
                  <a:cubicBezTo>
                    <a:pt x="168293" y="32597"/>
                    <a:pt x="179056" y="42840"/>
                    <a:pt x="186702" y="55924"/>
                  </a:cubicBezTo>
                  <a:cubicBezTo>
                    <a:pt x="194460" y="69008"/>
                    <a:pt x="199207" y="84003"/>
                    <a:pt x="200943" y="100905"/>
                  </a:cubicBezTo>
                  <a:lnTo>
                    <a:pt x="157524" y="100905"/>
                  </a:lnTo>
                  <a:cubicBezTo>
                    <a:pt x="156367" y="90019"/>
                    <a:pt x="153818" y="80700"/>
                    <a:pt x="149883" y="72943"/>
                  </a:cubicBezTo>
                  <a:cubicBezTo>
                    <a:pt x="146065" y="65185"/>
                    <a:pt x="140389" y="59280"/>
                    <a:pt x="132865" y="55229"/>
                  </a:cubicBezTo>
                  <a:cubicBezTo>
                    <a:pt x="125340" y="51060"/>
                    <a:pt x="115496" y="48974"/>
                    <a:pt x="103341" y="48974"/>
                  </a:cubicBezTo>
                  <a:cubicBezTo>
                    <a:pt x="93385" y="48974"/>
                    <a:pt x="84698" y="50827"/>
                    <a:pt x="77291" y="54533"/>
                  </a:cubicBezTo>
                  <a:cubicBezTo>
                    <a:pt x="69878" y="58239"/>
                    <a:pt x="63687" y="63682"/>
                    <a:pt x="58706" y="70861"/>
                  </a:cubicBezTo>
                  <a:cubicBezTo>
                    <a:pt x="53730" y="78040"/>
                    <a:pt x="49966" y="86897"/>
                    <a:pt x="47417" y="97432"/>
                  </a:cubicBezTo>
                  <a:cubicBezTo>
                    <a:pt x="44985" y="107850"/>
                    <a:pt x="43769" y="119776"/>
                    <a:pt x="43769" y="133210"/>
                  </a:cubicBezTo>
                  <a:lnTo>
                    <a:pt x="43769" y="154572"/>
                  </a:lnTo>
                  <a:cubicBezTo>
                    <a:pt x="43769" y="167305"/>
                    <a:pt x="44869" y="178886"/>
                    <a:pt x="47067" y="189304"/>
                  </a:cubicBezTo>
                  <a:cubicBezTo>
                    <a:pt x="49382" y="199611"/>
                    <a:pt x="52855" y="208468"/>
                    <a:pt x="57490" y="215875"/>
                  </a:cubicBezTo>
                  <a:cubicBezTo>
                    <a:pt x="62237" y="223288"/>
                    <a:pt x="68259" y="229017"/>
                    <a:pt x="75550" y="233069"/>
                  </a:cubicBezTo>
                  <a:cubicBezTo>
                    <a:pt x="82845" y="237120"/>
                    <a:pt x="91585" y="239149"/>
                    <a:pt x="101775" y="239149"/>
                  </a:cubicBezTo>
                  <a:cubicBezTo>
                    <a:pt x="114163" y="239149"/>
                    <a:pt x="124178" y="237179"/>
                    <a:pt x="131824" y="233244"/>
                  </a:cubicBezTo>
                  <a:cubicBezTo>
                    <a:pt x="139582" y="229309"/>
                    <a:pt x="145428" y="223575"/>
                    <a:pt x="149363" y="216050"/>
                  </a:cubicBezTo>
                  <a:cubicBezTo>
                    <a:pt x="153414" y="208409"/>
                    <a:pt x="156080" y="199090"/>
                    <a:pt x="157354" y="188088"/>
                  </a:cubicBezTo>
                  <a:close/>
                  <a:moveTo>
                    <a:pt x="313837" y="270418"/>
                  </a:moveTo>
                  <a:lnTo>
                    <a:pt x="259825" y="270418"/>
                  </a:lnTo>
                  <a:lnTo>
                    <a:pt x="260170" y="235856"/>
                  </a:lnTo>
                  <a:lnTo>
                    <a:pt x="313837" y="235856"/>
                  </a:lnTo>
                  <a:cubicBezTo>
                    <a:pt x="329469" y="235856"/>
                    <a:pt x="342553" y="232441"/>
                    <a:pt x="353088" y="225608"/>
                  </a:cubicBezTo>
                  <a:cubicBezTo>
                    <a:pt x="363740" y="218779"/>
                    <a:pt x="371731" y="208993"/>
                    <a:pt x="377057" y="196255"/>
                  </a:cubicBezTo>
                  <a:cubicBezTo>
                    <a:pt x="382499" y="183521"/>
                    <a:pt x="385218" y="168351"/>
                    <a:pt x="385218" y="150754"/>
                  </a:cubicBezTo>
                  <a:lnTo>
                    <a:pt x="385218" y="137033"/>
                  </a:lnTo>
                  <a:cubicBezTo>
                    <a:pt x="385218" y="123371"/>
                    <a:pt x="383657" y="111269"/>
                    <a:pt x="380530" y="100734"/>
                  </a:cubicBezTo>
                  <a:cubicBezTo>
                    <a:pt x="377519" y="90199"/>
                    <a:pt x="373005" y="81342"/>
                    <a:pt x="366984" y="74163"/>
                  </a:cubicBezTo>
                  <a:cubicBezTo>
                    <a:pt x="361079" y="66984"/>
                    <a:pt x="353784" y="61542"/>
                    <a:pt x="345102" y="57840"/>
                  </a:cubicBezTo>
                  <a:cubicBezTo>
                    <a:pt x="336532" y="54134"/>
                    <a:pt x="326634" y="52281"/>
                    <a:pt x="315403" y="52281"/>
                  </a:cubicBezTo>
                  <a:lnTo>
                    <a:pt x="258784" y="52281"/>
                  </a:lnTo>
                  <a:lnTo>
                    <a:pt x="258784" y="17544"/>
                  </a:lnTo>
                  <a:lnTo>
                    <a:pt x="315403" y="17544"/>
                  </a:lnTo>
                  <a:cubicBezTo>
                    <a:pt x="332193" y="17544"/>
                    <a:pt x="347534" y="20379"/>
                    <a:pt x="361429" y="26055"/>
                  </a:cubicBezTo>
                  <a:cubicBezTo>
                    <a:pt x="375325" y="31615"/>
                    <a:pt x="387310" y="39660"/>
                    <a:pt x="397383" y="50195"/>
                  </a:cubicBezTo>
                  <a:cubicBezTo>
                    <a:pt x="407572" y="60730"/>
                    <a:pt x="415389" y="73351"/>
                    <a:pt x="420826" y="88054"/>
                  </a:cubicBezTo>
                  <a:cubicBezTo>
                    <a:pt x="426269" y="102758"/>
                    <a:pt x="428988" y="119202"/>
                    <a:pt x="428988" y="137378"/>
                  </a:cubicBezTo>
                  <a:lnTo>
                    <a:pt x="428988" y="150754"/>
                  </a:lnTo>
                  <a:cubicBezTo>
                    <a:pt x="428988" y="168930"/>
                    <a:pt x="426269" y="185374"/>
                    <a:pt x="420826" y="200078"/>
                  </a:cubicBezTo>
                  <a:cubicBezTo>
                    <a:pt x="415384" y="214781"/>
                    <a:pt x="407568" y="227403"/>
                    <a:pt x="397383" y="237938"/>
                  </a:cubicBezTo>
                  <a:cubicBezTo>
                    <a:pt x="387193" y="248356"/>
                    <a:pt x="375038" y="256405"/>
                    <a:pt x="360909" y="262077"/>
                  </a:cubicBezTo>
                  <a:cubicBezTo>
                    <a:pt x="346896" y="267636"/>
                    <a:pt x="331211" y="270413"/>
                    <a:pt x="313842" y="270413"/>
                  </a:cubicBezTo>
                  <a:close/>
                  <a:moveTo>
                    <a:pt x="283964" y="17544"/>
                  </a:moveTo>
                  <a:lnTo>
                    <a:pt x="283964" y="270418"/>
                  </a:lnTo>
                  <a:lnTo>
                    <a:pt x="240369" y="270418"/>
                  </a:lnTo>
                  <a:lnTo>
                    <a:pt x="240369" y="17544"/>
                  </a:lnTo>
                  <a:lnTo>
                    <a:pt x="283964" y="17544"/>
                  </a:lnTo>
                  <a:close/>
                  <a:moveTo>
                    <a:pt x="519299" y="17544"/>
                  </a:moveTo>
                  <a:lnTo>
                    <a:pt x="519299" y="270418"/>
                  </a:lnTo>
                  <a:lnTo>
                    <a:pt x="475705" y="270418"/>
                  </a:lnTo>
                  <a:lnTo>
                    <a:pt x="475705" y="17544"/>
                  </a:lnTo>
                  <a:lnTo>
                    <a:pt x="519299" y="17544"/>
                  </a:lnTo>
                  <a:close/>
                  <a:moveTo>
                    <a:pt x="811424" y="188093"/>
                  </a:moveTo>
                  <a:lnTo>
                    <a:pt x="854843" y="188093"/>
                  </a:lnTo>
                  <a:cubicBezTo>
                    <a:pt x="853452" y="204650"/>
                    <a:pt x="848822" y="219411"/>
                    <a:pt x="840947" y="232383"/>
                  </a:cubicBezTo>
                  <a:cubicBezTo>
                    <a:pt x="833073" y="245233"/>
                    <a:pt x="822017" y="255365"/>
                    <a:pt x="807776" y="262777"/>
                  </a:cubicBezTo>
                  <a:cubicBezTo>
                    <a:pt x="793535" y="270185"/>
                    <a:pt x="776225" y="273891"/>
                    <a:pt x="755845" y="273891"/>
                  </a:cubicBezTo>
                  <a:cubicBezTo>
                    <a:pt x="740213" y="273891"/>
                    <a:pt x="726147" y="271114"/>
                    <a:pt x="713642" y="265554"/>
                  </a:cubicBezTo>
                  <a:cubicBezTo>
                    <a:pt x="701137" y="259878"/>
                    <a:pt x="690427" y="251892"/>
                    <a:pt x="681512" y="241585"/>
                  </a:cubicBezTo>
                  <a:cubicBezTo>
                    <a:pt x="672596" y="231162"/>
                    <a:pt x="665768" y="218604"/>
                    <a:pt x="661021" y="203896"/>
                  </a:cubicBezTo>
                  <a:cubicBezTo>
                    <a:pt x="656390" y="189192"/>
                    <a:pt x="654075" y="172748"/>
                    <a:pt x="654075" y="154572"/>
                  </a:cubicBezTo>
                  <a:lnTo>
                    <a:pt x="654075" y="133555"/>
                  </a:lnTo>
                  <a:cubicBezTo>
                    <a:pt x="654075" y="115374"/>
                    <a:pt x="656449" y="98935"/>
                    <a:pt x="661196" y="84231"/>
                  </a:cubicBezTo>
                  <a:cubicBezTo>
                    <a:pt x="666059" y="69528"/>
                    <a:pt x="673005" y="56965"/>
                    <a:pt x="682037" y="46547"/>
                  </a:cubicBezTo>
                  <a:cubicBezTo>
                    <a:pt x="691069" y="36012"/>
                    <a:pt x="701891" y="27962"/>
                    <a:pt x="714513" y="22403"/>
                  </a:cubicBezTo>
                  <a:cubicBezTo>
                    <a:pt x="727246" y="16843"/>
                    <a:pt x="741546" y="14066"/>
                    <a:pt x="757411" y="14066"/>
                  </a:cubicBezTo>
                  <a:cubicBezTo>
                    <a:pt x="777557" y="14066"/>
                    <a:pt x="794581" y="17772"/>
                    <a:pt x="808472" y="25180"/>
                  </a:cubicBezTo>
                  <a:cubicBezTo>
                    <a:pt x="822368" y="32592"/>
                    <a:pt x="833131" y="42836"/>
                    <a:pt x="840777" y="55919"/>
                  </a:cubicBezTo>
                  <a:cubicBezTo>
                    <a:pt x="848535" y="69003"/>
                    <a:pt x="853282" y="83998"/>
                    <a:pt x="855018" y="100900"/>
                  </a:cubicBezTo>
                  <a:lnTo>
                    <a:pt x="811599" y="100900"/>
                  </a:lnTo>
                  <a:cubicBezTo>
                    <a:pt x="810442" y="90015"/>
                    <a:pt x="807893" y="80695"/>
                    <a:pt x="803958" y="72938"/>
                  </a:cubicBezTo>
                  <a:cubicBezTo>
                    <a:pt x="800140" y="65180"/>
                    <a:pt x="794464" y="59275"/>
                    <a:pt x="786940" y="55224"/>
                  </a:cubicBezTo>
                  <a:cubicBezTo>
                    <a:pt x="779415" y="51055"/>
                    <a:pt x="769571" y="48969"/>
                    <a:pt x="757416" y="48969"/>
                  </a:cubicBezTo>
                  <a:cubicBezTo>
                    <a:pt x="747460" y="48969"/>
                    <a:pt x="738773" y="50822"/>
                    <a:pt x="731366" y="54528"/>
                  </a:cubicBezTo>
                  <a:cubicBezTo>
                    <a:pt x="723953" y="58234"/>
                    <a:pt x="717762" y="63677"/>
                    <a:pt x="712781" y="70856"/>
                  </a:cubicBezTo>
                  <a:cubicBezTo>
                    <a:pt x="707801" y="78035"/>
                    <a:pt x="704041" y="86892"/>
                    <a:pt x="701492" y="97427"/>
                  </a:cubicBezTo>
                  <a:cubicBezTo>
                    <a:pt x="699060" y="107845"/>
                    <a:pt x="697844" y="119771"/>
                    <a:pt x="697844" y="133205"/>
                  </a:cubicBezTo>
                  <a:lnTo>
                    <a:pt x="697844" y="154567"/>
                  </a:lnTo>
                  <a:cubicBezTo>
                    <a:pt x="697844" y="167300"/>
                    <a:pt x="698944" y="178881"/>
                    <a:pt x="701142" y="189299"/>
                  </a:cubicBezTo>
                  <a:cubicBezTo>
                    <a:pt x="703457" y="199606"/>
                    <a:pt x="706930" y="208463"/>
                    <a:pt x="711565" y="215870"/>
                  </a:cubicBezTo>
                  <a:cubicBezTo>
                    <a:pt x="716312" y="223283"/>
                    <a:pt x="722334" y="229012"/>
                    <a:pt x="729629" y="233064"/>
                  </a:cubicBezTo>
                  <a:cubicBezTo>
                    <a:pt x="736925" y="237116"/>
                    <a:pt x="745665" y="239144"/>
                    <a:pt x="755855" y="239144"/>
                  </a:cubicBezTo>
                  <a:cubicBezTo>
                    <a:pt x="768243" y="239144"/>
                    <a:pt x="778258" y="237174"/>
                    <a:pt x="785904" y="233239"/>
                  </a:cubicBezTo>
                  <a:cubicBezTo>
                    <a:pt x="793661" y="229304"/>
                    <a:pt x="799508" y="223570"/>
                    <a:pt x="803443" y="216046"/>
                  </a:cubicBezTo>
                  <a:cubicBezTo>
                    <a:pt x="807494" y="208405"/>
                    <a:pt x="810159" y="199085"/>
                    <a:pt x="811434" y="188084"/>
                  </a:cubicBezTo>
                  <a:close/>
                  <a:moveTo>
                    <a:pt x="882285" y="178541"/>
                  </a:moveTo>
                  <a:lnTo>
                    <a:pt x="882285" y="174548"/>
                  </a:lnTo>
                  <a:cubicBezTo>
                    <a:pt x="882285" y="161002"/>
                    <a:pt x="884255" y="148439"/>
                    <a:pt x="888190" y="136858"/>
                  </a:cubicBezTo>
                  <a:cubicBezTo>
                    <a:pt x="892124" y="125165"/>
                    <a:pt x="897800" y="115034"/>
                    <a:pt x="905208" y="106464"/>
                  </a:cubicBezTo>
                  <a:cubicBezTo>
                    <a:pt x="912732" y="97782"/>
                    <a:pt x="921881" y="91065"/>
                    <a:pt x="932650" y="86318"/>
                  </a:cubicBezTo>
                  <a:cubicBezTo>
                    <a:pt x="943535" y="81454"/>
                    <a:pt x="955806" y="79022"/>
                    <a:pt x="969469" y="79022"/>
                  </a:cubicBezTo>
                  <a:cubicBezTo>
                    <a:pt x="983131" y="79022"/>
                    <a:pt x="995519" y="81454"/>
                    <a:pt x="1006288" y="86318"/>
                  </a:cubicBezTo>
                  <a:cubicBezTo>
                    <a:pt x="1017173" y="91065"/>
                    <a:pt x="1026375" y="97782"/>
                    <a:pt x="1033899" y="106464"/>
                  </a:cubicBezTo>
                  <a:cubicBezTo>
                    <a:pt x="1041424" y="115034"/>
                    <a:pt x="1047158" y="125165"/>
                    <a:pt x="1051093" y="136858"/>
                  </a:cubicBezTo>
                  <a:cubicBezTo>
                    <a:pt x="1055028" y="148439"/>
                    <a:pt x="1056998" y="160997"/>
                    <a:pt x="1056998" y="174548"/>
                  </a:cubicBezTo>
                  <a:lnTo>
                    <a:pt x="1056998" y="178541"/>
                  </a:lnTo>
                  <a:cubicBezTo>
                    <a:pt x="1056998" y="192086"/>
                    <a:pt x="1055028" y="204650"/>
                    <a:pt x="1051093" y="216230"/>
                  </a:cubicBezTo>
                  <a:cubicBezTo>
                    <a:pt x="1047153" y="227806"/>
                    <a:pt x="1041424" y="237938"/>
                    <a:pt x="1033899" y="246624"/>
                  </a:cubicBezTo>
                  <a:cubicBezTo>
                    <a:pt x="1026375" y="255194"/>
                    <a:pt x="1017226" y="261906"/>
                    <a:pt x="1006458" y="266770"/>
                  </a:cubicBezTo>
                  <a:cubicBezTo>
                    <a:pt x="995689" y="271517"/>
                    <a:pt x="983476" y="273891"/>
                    <a:pt x="969814" y="273891"/>
                  </a:cubicBezTo>
                  <a:cubicBezTo>
                    <a:pt x="956151" y="273891"/>
                    <a:pt x="943705" y="271517"/>
                    <a:pt x="932820" y="266770"/>
                  </a:cubicBezTo>
                  <a:cubicBezTo>
                    <a:pt x="922051" y="261906"/>
                    <a:pt x="912907" y="255189"/>
                    <a:pt x="905378" y="246624"/>
                  </a:cubicBezTo>
                  <a:cubicBezTo>
                    <a:pt x="897854" y="237942"/>
                    <a:pt x="892119" y="227811"/>
                    <a:pt x="888185" y="216230"/>
                  </a:cubicBezTo>
                  <a:cubicBezTo>
                    <a:pt x="884245" y="204650"/>
                    <a:pt x="882280" y="192086"/>
                    <a:pt x="882280" y="178541"/>
                  </a:cubicBezTo>
                  <a:close/>
                  <a:moveTo>
                    <a:pt x="924143" y="174548"/>
                  </a:moveTo>
                  <a:lnTo>
                    <a:pt x="924143" y="178541"/>
                  </a:lnTo>
                  <a:cubicBezTo>
                    <a:pt x="924143" y="186994"/>
                    <a:pt x="925013" y="194980"/>
                    <a:pt x="926750" y="202510"/>
                  </a:cubicBezTo>
                  <a:cubicBezTo>
                    <a:pt x="928486" y="210034"/>
                    <a:pt x="931210" y="216634"/>
                    <a:pt x="934911" y="222310"/>
                  </a:cubicBezTo>
                  <a:cubicBezTo>
                    <a:pt x="938617" y="227981"/>
                    <a:pt x="943365" y="232441"/>
                    <a:pt x="949152" y="235681"/>
                  </a:cubicBezTo>
                  <a:cubicBezTo>
                    <a:pt x="954940" y="238925"/>
                    <a:pt x="961832" y="240545"/>
                    <a:pt x="969819" y="240545"/>
                  </a:cubicBezTo>
                  <a:cubicBezTo>
                    <a:pt x="977805" y="240545"/>
                    <a:pt x="984293" y="238925"/>
                    <a:pt x="989965" y="235681"/>
                  </a:cubicBezTo>
                  <a:cubicBezTo>
                    <a:pt x="995753" y="232441"/>
                    <a:pt x="1000500" y="227981"/>
                    <a:pt x="1004206" y="222310"/>
                  </a:cubicBezTo>
                  <a:cubicBezTo>
                    <a:pt x="1007912" y="216634"/>
                    <a:pt x="1010631" y="210039"/>
                    <a:pt x="1012367" y="202510"/>
                  </a:cubicBezTo>
                  <a:cubicBezTo>
                    <a:pt x="1014220" y="194985"/>
                    <a:pt x="1015145" y="186994"/>
                    <a:pt x="1015145" y="178541"/>
                  </a:cubicBezTo>
                  <a:lnTo>
                    <a:pt x="1015145" y="174548"/>
                  </a:lnTo>
                  <a:cubicBezTo>
                    <a:pt x="1015145" y="166211"/>
                    <a:pt x="1014220" y="158336"/>
                    <a:pt x="1012367" y="150929"/>
                  </a:cubicBezTo>
                  <a:cubicBezTo>
                    <a:pt x="1010631" y="143405"/>
                    <a:pt x="1007854" y="136746"/>
                    <a:pt x="1004031" y="130958"/>
                  </a:cubicBezTo>
                  <a:cubicBezTo>
                    <a:pt x="1000325" y="125170"/>
                    <a:pt x="995578" y="120652"/>
                    <a:pt x="989790" y="117412"/>
                  </a:cubicBezTo>
                  <a:cubicBezTo>
                    <a:pt x="984118" y="114056"/>
                    <a:pt x="977343" y="112378"/>
                    <a:pt x="969469" y="112378"/>
                  </a:cubicBezTo>
                  <a:cubicBezTo>
                    <a:pt x="961594" y="112378"/>
                    <a:pt x="954765" y="114056"/>
                    <a:pt x="948977" y="117412"/>
                  </a:cubicBezTo>
                  <a:cubicBezTo>
                    <a:pt x="943301" y="120657"/>
                    <a:pt x="938613" y="125170"/>
                    <a:pt x="934911" y="130958"/>
                  </a:cubicBezTo>
                  <a:cubicBezTo>
                    <a:pt x="931205" y="136746"/>
                    <a:pt x="928486" y="143405"/>
                    <a:pt x="926750" y="150929"/>
                  </a:cubicBezTo>
                  <a:cubicBezTo>
                    <a:pt x="925013" y="158341"/>
                    <a:pt x="924143" y="166211"/>
                    <a:pt x="924143" y="174548"/>
                  </a:cubicBezTo>
                  <a:close/>
                  <a:moveTo>
                    <a:pt x="1133598" y="122617"/>
                  </a:moveTo>
                  <a:lnTo>
                    <a:pt x="1133598" y="270418"/>
                  </a:lnTo>
                  <a:lnTo>
                    <a:pt x="1091745" y="270418"/>
                  </a:lnTo>
                  <a:lnTo>
                    <a:pt x="1091745" y="82495"/>
                  </a:lnTo>
                  <a:lnTo>
                    <a:pt x="1131171" y="82495"/>
                  </a:lnTo>
                  <a:lnTo>
                    <a:pt x="1133603" y="122617"/>
                  </a:lnTo>
                  <a:close/>
                  <a:moveTo>
                    <a:pt x="1126132" y="169509"/>
                  </a:moveTo>
                  <a:lnTo>
                    <a:pt x="1112586" y="169334"/>
                  </a:lnTo>
                  <a:cubicBezTo>
                    <a:pt x="1112703" y="156016"/>
                    <a:pt x="1114556" y="143803"/>
                    <a:pt x="1118145" y="132690"/>
                  </a:cubicBezTo>
                  <a:cubicBezTo>
                    <a:pt x="1121852" y="121576"/>
                    <a:pt x="1126944" y="112023"/>
                    <a:pt x="1133428" y="104032"/>
                  </a:cubicBezTo>
                  <a:cubicBezTo>
                    <a:pt x="1140028" y="96041"/>
                    <a:pt x="1147902" y="89908"/>
                    <a:pt x="1157046" y="85623"/>
                  </a:cubicBezTo>
                  <a:cubicBezTo>
                    <a:pt x="1166195" y="81226"/>
                    <a:pt x="1176385" y="79022"/>
                    <a:pt x="1187615" y="79022"/>
                  </a:cubicBezTo>
                  <a:cubicBezTo>
                    <a:pt x="1196647" y="79022"/>
                    <a:pt x="1204809" y="80297"/>
                    <a:pt x="1212105" y="82840"/>
                  </a:cubicBezTo>
                  <a:cubicBezTo>
                    <a:pt x="1219517" y="85272"/>
                    <a:pt x="1225825" y="89265"/>
                    <a:pt x="1231034" y="94825"/>
                  </a:cubicBezTo>
                  <a:cubicBezTo>
                    <a:pt x="1236360" y="100384"/>
                    <a:pt x="1240412" y="107617"/>
                    <a:pt x="1243189" y="116532"/>
                  </a:cubicBezTo>
                  <a:cubicBezTo>
                    <a:pt x="1245966" y="125331"/>
                    <a:pt x="1247357" y="136157"/>
                    <a:pt x="1247357" y="149013"/>
                  </a:cubicBezTo>
                  <a:lnTo>
                    <a:pt x="1247357" y="270413"/>
                  </a:lnTo>
                  <a:lnTo>
                    <a:pt x="1205329" y="270413"/>
                  </a:lnTo>
                  <a:lnTo>
                    <a:pt x="1205329" y="148837"/>
                  </a:lnTo>
                  <a:cubicBezTo>
                    <a:pt x="1205329" y="139805"/>
                    <a:pt x="1203996" y="132685"/>
                    <a:pt x="1201336" y="127476"/>
                  </a:cubicBezTo>
                  <a:cubicBezTo>
                    <a:pt x="1198787" y="122150"/>
                    <a:pt x="1195028" y="118385"/>
                    <a:pt x="1190047" y="116187"/>
                  </a:cubicBezTo>
                  <a:cubicBezTo>
                    <a:pt x="1185183" y="113872"/>
                    <a:pt x="1179104" y="112714"/>
                    <a:pt x="1171813" y="112714"/>
                  </a:cubicBezTo>
                  <a:cubicBezTo>
                    <a:pt x="1164522" y="112714"/>
                    <a:pt x="1158209" y="114217"/>
                    <a:pt x="1152533" y="117228"/>
                  </a:cubicBezTo>
                  <a:cubicBezTo>
                    <a:pt x="1146861" y="120238"/>
                    <a:pt x="1142056" y="124348"/>
                    <a:pt x="1138116" y="129557"/>
                  </a:cubicBezTo>
                  <a:cubicBezTo>
                    <a:pt x="1134293" y="134766"/>
                    <a:pt x="1131341" y="140788"/>
                    <a:pt x="1129259" y="147621"/>
                  </a:cubicBezTo>
                  <a:cubicBezTo>
                    <a:pt x="1127178" y="154450"/>
                    <a:pt x="1126132" y="161746"/>
                    <a:pt x="1126132" y="169504"/>
                  </a:cubicBezTo>
                  <a:close/>
                  <a:moveTo>
                    <a:pt x="1346701" y="270418"/>
                  </a:moveTo>
                  <a:lnTo>
                    <a:pt x="1304843" y="270418"/>
                  </a:lnTo>
                  <a:lnTo>
                    <a:pt x="1304843" y="64436"/>
                  </a:lnTo>
                  <a:cubicBezTo>
                    <a:pt x="1304843" y="50428"/>
                    <a:pt x="1307450" y="38672"/>
                    <a:pt x="1312659" y="29178"/>
                  </a:cubicBezTo>
                  <a:cubicBezTo>
                    <a:pt x="1317985" y="19567"/>
                    <a:pt x="1325567" y="12330"/>
                    <a:pt x="1335412" y="7471"/>
                  </a:cubicBezTo>
                  <a:cubicBezTo>
                    <a:pt x="1345256" y="2490"/>
                    <a:pt x="1356890" y="0"/>
                    <a:pt x="1370319" y="0"/>
                  </a:cubicBezTo>
                  <a:cubicBezTo>
                    <a:pt x="1374488" y="0"/>
                    <a:pt x="1378597" y="292"/>
                    <a:pt x="1382649" y="871"/>
                  </a:cubicBezTo>
                  <a:cubicBezTo>
                    <a:pt x="1386701" y="1333"/>
                    <a:pt x="1390640" y="2087"/>
                    <a:pt x="1394458" y="3127"/>
                  </a:cubicBezTo>
                  <a:lnTo>
                    <a:pt x="1393418" y="35433"/>
                  </a:lnTo>
                  <a:cubicBezTo>
                    <a:pt x="1391102" y="34854"/>
                    <a:pt x="1388554" y="34450"/>
                    <a:pt x="1385776" y="34217"/>
                  </a:cubicBezTo>
                  <a:cubicBezTo>
                    <a:pt x="1383116" y="33983"/>
                    <a:pt x="1380217" y="33872"/>
                    <a:pt x="1377095" y="33872"/>
                  </a:cubicBezTo>
                  <a:cubicBezTo>
                    <a:pt x="1370728" y="33872"/>
                    <a:pt x="1365227" y="35088"/>
                    <a:pt x="1360596" y="37519"/>
                  </a:cubicBezTo>
                  <a:cubicBezTo>
                    <a:pt x="1356083" y="39835"/>
                    <a:pt x="1352605" y="43249"/>
                    <a:pt x="1350178" y="47767"/>
                  </a:cubicBezTo>
                  <a:cubicBezTo>
                    <a:pt x="1347863" y="52286"/>
                    <a:pt x="1346706" y="57840"/>
                    <a:pt x="1346706" y="64441"/>
                  </a:cubicBezTo>
                  <a:lnTo>
                    <a:pt x="1346706" y="270423"/>
                  </a:lnTo>
                  <a:close/>
                  <a:moveTo>
                    <a:pt x="1385431" y="82500"/>
                  </a:moveTo>
                  <a:lnTo>
                    <a:pt x="1385431" y="113069"/>
                  </a:lnTo>
                  <a:lnTo>
                    <a:pt x="1276015" y="113069"/>
                  </a:lnTo>
                  <a:lnTo>
                    <a:pt x="1276015" y="82500"/>
                  </a:lnTo>
                  <a:lnTo>
                    <a:pt x="1385431" y="82500"/>
                  </a:lnTo>
                  <a:close/>
                </a:path>
              </a:pathLst>
            </a:custGeom>
            <a:solidFill>
              <a:srgbClr val="EE3431"/>
            </a:solidFill>
            <a:ln w="48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5" name="Полилиния: фигура 34">
              <a:extLst>
                <a:ext uri="{FF2B5EF4-FFF2-40B4-BE49-F238E27FC236}">
                  <a16:creationId xmlns:a16="http://schemas.microsoft.com/office/drawing/2014/main" id="{5713B08D-F3B3-4CA3-A54A-7F87BDFCFCBF}"/>
                </a:ext>
              </a:extLst>
            </p:cNvPr>
            <p:cNvSpPr/>
            <p:nvPr/>
          </p:nvSpPr>
          <p:spPr>
            <a:xfrm>
              <a:off x="7406975" y="5855999"/>
              <a:ext cx="1394458" cy="273890"/>
            </a:xfrm>
            <a:custGeom>
              <a:avLst/>
              <a:gdLst>
                <a:gd name="connsiteX0" fmla="*/ 157354 w 1394458"/>
                <a:gd name="connsiteY0" fmla="*/ 188093 h 273890"/>
                <a:gd name="connsiteX1" fmla="*/ 200773 w 1394458"/>
                <a:gd name="connsiteY1" fmla="*/ 188093 h 273890"/>
                <a:gd name="connsiteX2" fmla="*/ 186877 w 1394458"/>
                <a:gd name="connsiteY2" fmla="*/ 232383 h 273890"/>
                <a:gd name="connsiteX3" fmla="*/ 153706 w 1394458"/>
                <a:gd name="connsiteY3" fmla="*/ 262777 h 273890"/>
                <a:gd name="connsiteX4" fmla="*/ 101775 w 1394458"/>
                <a:gd name="connsiteY4" fmla="*/ 273891 h 273890"/>
                <a:gd name="connsiteX5" fmla="*/ 59572 w 1394458"/>
                <a:gd name="connsiteY5" fmla="*/ 265554 h 273890"/>
                <a:gd name="connsiteX6" fmla="*/ 27442 w 1394458"/>
                <a:gd name="connsiteY6" fmla="*/ 241585 h 273890"/>
                <a:gd name="connsiteX7" fmla="*/ 6950 w 1394458"/>
                <a:gd name="connsiteY7" fmla="*/ 203901 h 273890"/>
                <a:gd name="connsiteX8" fmla="*/ 0 w 1394458"/>
                <a:gd name="connsiteY8" fmla="*/ 154572 h 273890"/>
                <a:gd name="connsiteX9" fmla="*/ 0 w 1394458"/>
                <a:gd name="connsiteY9" fmla="*/ 133555 h 273890"/>
                <a:gd name="connsiteX10" fmla="*/ 7121 w 1394458"/>
                <a:gd name="connsiteY10" fmla="*/ 84231 h 273890"/>
                <a:gd name="connsiteX11" fmla="*/ 27962 w 1394458"/>
                <a:gd name="connsiteY11" fmla="*/ 46542 h 273890"/>
                <a:gd name="connsiteX12" fmla="*/ 60438 w 1394458"/>
                <a:gd name="connsiteY12" fmla="*/ 22403 h 273890"/>
                <a:gd name="connsiteX13" fmla="*/ 103336 w 1394458"/>
                <a:gd name="connsiteY13" fmla="*/ 14066 h 273890"/>
                <a:gd name="connsiteX14" fmla="*/ 154397 w 1394458"/>
                <a:gd name="connsiteY14" fmla="*/ 25180 h 273890"/>
                <a:gd name="connsiteX15" fmla="*/ 186702 w 1394458"/>
                <a:gd name="connsiteY15" fmla="*/ 55919 h 273890"/>
                <a:gd name="connsiteX16" fmla="*/ 200943 w 1394458"/>
                <a:gd name="connsiteY16" fmla="*/ 100900 h 273890"/>
                <a:gd name="connsiteX17" fmla="*/ 157524 w 1394458"/>
                <a:gd name="connsiteY17" fmla="*/ 100900 h 273890"/>
                <a:gd name="connsiteX18" fmla="*/ 149883 w 1394458"/>
                <a:gd name="connsiteY18" fmla="*/ 72938 h 273890"/>
                <a:gd name="connsiteX19" fmla="*/ 132865 w 1394458"/>
                <a:gd name="connsiteY19" fmla="*/ 55224 h 273890"/>
                <a:gd name="connsiteX20" fmla="*/ 103341 w 1394458"/>
                <a:gd name="connsiteY20" fmla="*/ 48969 h 273890"/>
                <a:gd name="connsiteX21" fmla="*/ 77291 w 1394458"/>
                <a:gd name="connsiteY21" fmla="*/ 54528 h 273890"/>
                <a:gd name="connsiteX22" fmla="*/ 58706 w 1394458"/>
                <a:gd name="connsiteY22" fmla="*/ 70856 h 273890"/>
                <a:gd name="connsiteX23" fmla="*/ 47417 w 1394458"/>
                <a:gd name="connsiteY23" fmla="*/ 97427 h 273890"/>
                <a:gd name="connsiteX24" fmla="*/ 43769 w 1394458"/>
                <a:gd name="connsiteY24" fmla="*/ 133205 h 273890"/>
                <a:gd name="connsiteX25" fmla="*/ 43769 w 1394458"/>
                <a:gd name="connsiteY25" fmla="*/ 154567 h 273890"/>
                <a:gd name="connsiteX26" fmla="*/ 47067 w 1394458"/>
                <a:gd name="connsiteY26" fmla="*/ 189304 h 273890"/>
                <a:gd name="connsiteX27" fmla="*/ 57490 w 1394458"/>
                <a:gd name="connsiteY27" fmla="*/ 215875 h 273890"/>
                <a:gd name="connsiteX28" fmla="*/ 75550 w 1394458"/>
                <a:gd name="connsiteY28" fmla="*/ 233069 h 273890"/>
                <a:gd name="connsiteX29" fmla="*/ 101775 w 1394458"/>
                <a:gd name="connsiteY29" fmla="*/ 239149 h 273890"/>
                <a:gd name="connsiteX30" fmla="*/ 131824 w 1394458"/>
                <a:gd name="connsiteY30" fmla="*/ 233244 h 273890"/>
                <a:gd name="connsiteX31" fmla="*/ 149363 w 1394458"/>
                <a:gd name="connsiteY31" fmla="*/ 216050 h 273890"/>
                <a:gd name="connsiteX32" fmla="*/ 157354 w 1394458"/>
                <a:gd name="connsiteY32" fmla="*/ 188088 h 273890"/>
                <a:gd name="connsiteX33" fmla="*/ 313837 w 1394458"/>
                <a:gd name="connsiteY33" fmla="*/ 270418 h 273890"/>
                <a:gd name="connsiteX34" fmla="*/ 259825 w 1394458"/>
                <a:gd name="connsiteY34" fmla="*/ 270418 h 273890"/>
                <a:gd name="connsiteX35" fmla="*/ 260170 w 1394458"/>
                <a:gd name="connsiteY35" fmla="*/ 235856 h 273890"/>
                <a:gd name="connsiteX36" fmla="*/ 313837 w 1394458"/>
                <a:gd name="connsiteY36" fmla="*/ 235856 h 273890"/>
                <a:gd name="connsiteX37" fmla="*/ 353088 w 1394458"/>
                <a:gd name="connsiteY37" fmla="*/ 225608 h 273890"/>
                <a:gd name="connsiteX38" fmla="*/ 377057 w 1394458"/>
                <a:gd name="connsiteY38" fmla="*/ 196255 h 273890"/>
                <a:gd name="connsiteX39" fmla="*/ 385218 w 1394458"/>
                <a:gd name="connsiteY39" fmla="*/ 150754 h 273890"/>
                <a:gd name="connsiteX40" fmla="*/ 385218 w 1394458"/>
                <a:gd name="connsiteY40" fmla="*/ 137033 h 273890"/>
                <a:gd name="connsiteX41" fmla="*/ 380530 w 1394458"/>
                <a:gd name="connsiteY41" fmla="*/ 100734 h 273890"/>
                <a:gd name="connsiteX42" fmla="*/ 366984 w 1394458"/>
                <a:gd name="connsiteY42" fmla="*/ 74163 h 273890"/>
                <a:gd name="connsiteX43" fmla="*/ 345102 w 1394458"/>
                <a:gd name="connsiteY43" fmla="*/ 57840 h 273890"/>
                <a:gd name="connsiteX44" fmla="*/ 315403 w 1394458"/>
                <a:gd name="connsiteY44" fmla="*/ 52281 h 273890"/>
                <a:gd name="connsiteX45" fmla="*/ 258784 w 1394458"/>
                <a:gd name="connsiteY45" fmla="*/ 52281 h 273890"/>
                <a:gd name="connsiteX46" fmla="*/ 258784 w 1394458"/>
                <a:gd name="connsiteY46" fmla="*/ 17544 h 273890"/>
                <a:gd name="connsiteX47" fmla="*/ 315403 w 1394458"/>
                <a:gd name="connsiteY47" fmla="*/ 17544 h 273890"/>
                <a:gd name="connsiteX48" fmla="*/ 361429 w 1394458"/>
                <a:gd name="connsiteY48" fmla="*/ 26055 h 273890"/>
                <a:gd name="connsiteX49" fmla="*/ 397383 w 1394458"/>
                <a:gd name="connsiteY49" fmla="*/ 50195 h 273890"/>
                <a:gd name="connsiteX50" fmla="*/ 420826 w 1394458"/>
                <a:gd name="connsiteY50" fmla="*/ 88054 h 273890"/>
                <a:gd name="connsiteX51" fmla="*/ 428988 w 1394458"/>
                <a:gd name="connsiteY51" fmla="*/ 137378 h 273890"/>
                <a:gd name="connsiteX52" fmla="*/ 428988 w 1394458"/>
                <a:gd name="connsiteY52" fmla="*/ 150754 h 273890"/>
                <a:gd name="connsiteX53" fmla="*/ 420826 w 1394458"/>
                <a:gd name="connsiteY53" fmla="*/ 200078 h 273890"/>
                <a:gd name="connsiteX54" fmla="*/ 397383 w 1394458"/>
                <a:gd name="connsiteY54" fmla="*/ 237938 h 273890"/>
                <a:gd name="connsiteX55" fmla="*/ 360909 w 1394458"/>
                <a:gd name="connsiteY55" fmla="*/ 262077 h 273890"/>
                <a:gd name="connsiteX56" fmla="*/ 313842 w 1394458"/>
                <a:gd name="connsiteY56" fmla="*/ 270413 h 273890"/>
                <a:gd name="connsiteX57" fmla="*/ 283964 w 1394458"/>
                <a:gd name="connsiteY57" fmla="*/ 17544 h 273890"/>
                <a:gd name="connsiteX58" fmla="*/ 283964 w 1394458"/>
                <a:gd name="connsiteY58" fmla="*/ 270418 h 273890"/>
                <a:gd name="connsiteX59" fmla="*/ 240369 w 1394458"/>
                <a:gd name="connsiteY59" fmla="*/ 270418 h 273890"/>
                <a:gd name="connsiteX60" fmla="*/ 240369 w 1394458"/>
                <a:gd name="connsiteY60" fmla="*/ 17544 h 273890"/>
                <a:gd name="connsiteX61" fmla="*/ 283964 w 1394458"/>
                <a:gd name="connsiteY61" fmla="*/ 17544 h 273890"/>
                <a:gd name="connsiteX62" fmla="*/ 519299 w 1394458"/>
                <a:gd name="connsiteY62" fmla="*/ 17544 h 273890"/>
                <a:gd name="connsiteX63" fmla="*/ 519299 w 1394458"/>
                <a:gd name="connsiteY63" fmla="*/ 270418 h 273890"/>
                <a:gd name="connsiteX64" fmla="*/ 475705 w 1394458"/>
                <a:gd name="connsiteY64" fmla="*/ 270418 h 273890"/>
                <a:gd name="connsiteX65" fmla="*/ 475705 w 1394458"/>
                <a:gd name="connsiteY65" fmla="*/ 17544 h 273890"/>
                <a:gd name="connsiteX66" fmla="*/ 519299 w 1394458"/>
                <a:gd name="connsiteY66" fmla="*/ 17544 h 273890"/>
                <a:gd name="connsiteX67" fmla="*/ 811424 w 1394458"/>
                <a:gd name="connsiteY67" fmla="*/ 188093 h 273890"/>
                <a:gd name="connsiteX68" fmla="*/ 854843 w 1394458"/>
                <a:gd name="connsiteY68" fmla="*/ 188093 h 273890"/>
                <a:gd name="connsiteX69" fmla="*/ 840947 w 1394458"/>
                <a:gd name="connsiteY69" fmla="*/ 232383 h 273890"/>
                <a:gd name="connsiteX70" fmla="*/ 807776 w 1394458"/>
                <a:gd name="connsiteY70" fmla="*/ 262777 h 273890"/>
                <a:gd name="connsiteX71" fmla="*/ 755845 w 1394458"/>
                <a:gd name="connsiteY71" fmla="*/ 273891 h 273890"/>
                <a:gd name="connsiteX72" fmla="*/ 713642 w 1394458"/>
                <a:gd name="connsiteY72" fmla="*/ 265554 h 273890"/>
                <a:gd name="connsiteX73" fmla="*/ 681512 w 1394458"/>
                <a:gd name="connsiteY73" fmla="*/ 241585 h 273890"/>
                <a:gd name="connsiteX74" fmla="*/ 661021 w 1394458"/>
                <a:gd name="connsiteY74" fmla="*/ 203901 h 273890"/>
                <a:gd name="connsiteX75" fmla="*/ 654075 w 1394458"/>
                <a:gd name="connsiteY75" fmla="*/ 154577 h 273890"/>
                <a:gd name="connsiteX76" fmla="*/ 654075 w 1394458"/>
                <a:gd name="connsiteY76" fmla="*/ 133560 h 273890"/>
                <a:gd name="connsiteX77" fmla="*/ 661196 w 1394458"/>
                <a:gd name="connsiteY77" fmla="*/ 84236 h 273890"/>
                <a:gd name="connsiteX78" fmla="*/ 682037 w 1394458"/>
                <a:gd name="connsiteY78" fmla="*/ 46547 h 273890"/>
                <a:gd name="connsiteX79" fmla="*/ 714513 w 1394458"/>
                <a:gd name="connsiteY79" fmla="*/ 22408 h 273890"/>
                <a:gd name="connsiteX80" fmla="*/ 757411 w 1394458"/>
                <a:gd name="connsiteY80" fmla="*/ 14071 h 273890"/>
                <a:gd name="connsiteX81" fmla="*/ 808472 w 1394458"/>
                <a:gd name="connsiteY81" fmla="*/ 25185 h 273890"/>
                <a:gd name="connsiteX82" fmla="*/ 840777 w 1394458"/>
                <a:gd name="connsiteY82" fmla="*/ 55924 h 273890"/>
                <a:gd name="connsiteX83" fmla="*/ 855018 w 1394458"/>
                <a:gd name="connsiteY83" fmla="*/ 100905 h 273890"/>
                <a:gd name="connsiteX84" fmla="*/ 811599 w 1394458"/>
                <a:gd name="connsiteY84" fmla="*/ 100905 h 273890"/>
                <a:gd name="connsiteX85" fmla="*/ 803958 w 1394458"/>
                <a:gd name="connsiteY85" fmla="*/ 72943 h 273890"/>
                <a:gd name="connsiteX86" fmla="*/ 786940 w 1394458"/>
                <a:gd name="connsiteY86" fmla="*/ 55229 h 273890"/>
                <a:gd name="connsiteX87" fmla="*/ 757416 w 1394458"/>
                <a:gd name="connsiteY87" fmla="*/ 48974 h 273890"/>
                <a:gd name="connsiteX88" fmla="*/ 731366 w 1394458"/>
                <a:gd name="connsiteY88" fmla="*/ 54533 h 273890"/>
                <a:gd name="connsiteX89" fmla="*/ 712781 w 1394458"/>
                <a:gd name="connsiteY89" fmla="*/ 70861 h 273890"/>
                <a:gd name="connsiteX90" fmla="*/ 701492 w 1394458"/>
                <a:gd name="connsiteY90" fmla="*/ 97432 h 273890"/>
                <a:gd name="connsiteX91" fmla="*/ 697844 w 1394458"/>
                <a:gd name="connsiteY91" fmla="*/ 133210 h 273890"/>
                <a:gd name="connsiteX92" fmla="*/ 697844 w 1394458"/>
                <a:gd name="connsiteY92" fmla="*/ 154572 h 273890"/>
                <a:gd name="connsiteX93" fmla="*/ 701142 w 1394458"/>
                <a:gd name="connsiteY93" fmla="*/ 189309 h 273890"/>
                <a:gd name="connsiteX94" fmla="*/ 711565 w 1394458"/>
                <a:gd name="connsiteY94" fmla="*/ 215880 h 273890"/>
                <a:gd name="connsiteX95" fmla="*/ 729629 w 1394458"/>
                <a:gd name="connsiteY95" fmla="*/ 233074 h 273890"/>
                <a:gd name="connsiteX96" fmla="*/ 755855 w 1394458"/>
                <a:gd name="connsiteY96" fmla="*/ 239154 h 273890"/>
                <a:gd name="connsiteX97" fmla="*/ 785904 w 1394458"/>
                <a:gd name="connsiteY97" fmla="*/ 233249 h 273890"/>
                <a:gd name="connsiteX98" fmla="*/ 803443 w 1394458"/>
                <a:gd name="connsiteY98" fmla="*/ 216055 h 273890"/>
                <a:gd name="connsiteX99" fmla="*/ 811434 w 1394458"/>
                <a:gd name="connsiteY99" fmla="*/ 188093 h 273890"/>
                <a:gd name="connsiteX100" fmla="*/ 882285 w 1394458"/>
                <a:gd name="connsiteY100" fmla="*/ 178541 h 273890"/>
                <a:gd name="connsiteX101" fmla="*/ 882285 w 1394458"/>
                <a:gd name="connsiteY101" fmla="*/ 174548 h 273890"/>
                <a:gd name="connsiteX102" fmla="*/ 888190 w 1394458"/>
                <a:gd name="connsiteY102" fmla="*/ 136858 h 273890"/>
                <a:gd name="connsiteX103" fmla="*/ 905208 w 1394458"/>
                <a:gd name="connsiteY103" fmla="*/ 106464 h 273890"/>
                <a:gd name="connsiteX104" fmla="*/ 932650 w 1394458"/>
                <a:gd name="connsiteY104" fmla="*/ 86318 h 273890"/>
                <a:gd name="connsiteX105" fmla="*/ 969469 w 1394458"/>
                <a:gd name="connsiteY105" fmla="*/ 79022 h 273890"/>
                <a:gd name="connsiteX106" fmla="*/ 1006288 w 1394458"/>
                <a:gd name="connsiteY106" fmla="*/ 86318 h 273890"/>
                <a:gd name="connsiteX107" fmla="*/ 1033899 w 1394458"/>
                <a:gd name="connsiteY107" fmla="*/ 106464 h 273890"/>
                <a:gd name="connsiteX108" fmla="*/ 1051093 w 1394458"/>
                <a:gd name="connsiteY108" fmla="*/ 136858 h 273890"/>
                <a:gd name="connsiteX109" fmla="*/ 1056998 w 1394458"/>
                <a:gd name="connsiteY109" fmla="*/ 174548 h 273890"/>
                <a:gd name="connsiteX110" fmla="*/ 1056998 w 1394458"/>
                <a:gd name="connsiteY110" fmla="*/ 178541 h 273890"/>
                <a:gd name="connsiteX111" fmla="*/ 1051093 w 1394458"/>
                <a:gd name="connsiteY111" fmla="*/ 216226 h 273890"/>
                <a:gd name="connsiteX112" fmla="*/ 1033899 w 1394458"/>
                <a:gd name="connsiteY112" fmla="*/ 246619 h 273890"/>
                <a:gd name="connsiteX113" fmla="*/ 1006458 w 1394458"/>
                <a:gd name="connsiteY113" fmla="*/ 266765 h 273890"/>
                <a:gd name="connsiteX114" fmla="*/ 969814 w 1394458"/>
                <a:gd name="connsiteY114" fmla="*/ 273886 h 273890"/>
                <a:gd name="connsiteX115" fmla="*/ 932820 w 1394458"/>
                <a:gd name="connsiteY115" fmla="*/ 266765 h 273890"/>
                <a:gd name="connsiteX116" fmla="*/ 905378 w 1394458"/>
                <a:gd name="connsiteY116" fmla="*/ 246619 h 273890"/>
                <a:gd name="connsiteX117" fmla="*/ 888185 w 1394458"/>
                <a:gd name="connsiteY117" fmla="*/ 216226 h 273890"/>
                <a:gd name="connsiteX118" fmla="*/ 882280 w 1394458"/>
                <a:gd name="connsiteY118" fmla="*/ 178541 h 273890"/>
                <a:gd name="connsiteX119" fmla="*/ 924143 w 1394458"/>
                <a:gd name="connsiteY119" fmla="*/ 174548 h 273890"/>
                <a:gd name="connsiteX120" fmla="*/ 924143 w 1394458"/>
                <a:gd name="connsiteY120" fmla="*/ 178541 h 273890"/>
                <a:gd name="connsiteX121" fmla="*/ 926750 w 1394458"/>
                <a:gd name="connsiteY121" fmla="*/ 202510 h 273890"/>
                <a:gd name="connsiteX122" fmla="*/ 934911 w 1394458"/>
                <a:gd name="connsiteY122" fmla="*/ 222310 h 273890"/>
                <a:gd name="connsiteX123" fmla="*/ 949152 w 1394458"/>
                <a:gd name="connsiteY123" fmla="*/ 235681 h 273890"/>
                <a:gd name="connsiteX124" fmla="*/ 969819 w 1394458"/>
                <a:gd name="connsiteY124" fmla="*/ 240545 h 273890"/>
                <a:gd name="connsiteX125" fmla="*/ 989965 w 1394458"/>
                <a:gd name="connsiteY125" fmla="*/ 235681 h 273890"/>
                <a:gd name="connsiteX126" fmla="*/ 1004206 w 1394458"/>
                <a:gd name="connsiteY126" fmla="*/ 222310 h 273890"/>
                <a:gd name="connsiteX127" fmla="*/ 1012367 w 1394458"/>
                <a:gd name="connsiteY127" fmla="*/ 202510 h 273890"/>
                <a:gd name="connsiteX128" fmla="*/ 1015145 w 1394458"/>
                <a:gd name="connsiteY128" fmla="*/ 178541 h 273890"/>
                <a:gd name="connsiteX129" fmla="*/ 1015145 w 1394458"/>
                <a:gd name="connsiteY129" fmla="*/ 174548 h 273890"/>
                <a:gd name="connsiteX130" fmla="*/ 1012367 w 1394458"/>
                <a:gd name="connsiteY130" fmla="*/ 150929 h 273890"/>
                <a:gd name="connsiteX131" fmla="*/ 1004031 w 1394458"/>
                <a:gd name="connsiteY131" fmla="*/ 130958 h 273890"/>
                <a:gd name="connsiteX132" fmla="*/ 989790 w 1394458"/>
                <a:gd name="connsiteY132" fmla="*/ 117412 h 273890"/>
                <a:gd name="connsiteX133" fmla="*/ 969469 w 1394458"/>
                <a:gd name="connsiteY133" fmla="*/ 112373 h 273890"/>
                <a:gd name="connsiteX134" fmla="*/ 948977 w 1394458"/>
                <a:gd name="connsiteY134" fmla="*/ 117412 h 273890"/>
                <a:gd name="connsiteX135" fmla="*/ 934911 w 1394458"/>
                <a:gd name="connsiteY135" fmla="*/ 130958 h 273890"/>
                <a:gd name="connsiteX136" fmla="*/ 926750 w 1394458"/>
                <a:gd name="connsiteY136" fmla="*/ 150929 h 273890"/>
                <a:gd name="connsiteX137" fmla="*/ 924143 w 1394458"/>
                <a:gd name="connsiteY137" fmla="*/ 174548 h 273890"/>
                <a:gd name="connsiteX138" fmla="*/ 1133598 w 1394458"/>
                <a:gd name="connsiteY138" fmla="*/ 122617 h 273890"/>
                <a:gd name="connsiteX139" fmla="*/ 1133598 w 1394458"/>
                <a:gd name="connsiteY139" fmla="*/ 270418 h 273890"/>
                <a:gd name="connsiteX140" fmla="*/ 1091745 w 1394458"/>
                <a:gd name="connsiteY140" fmla="*/ 270418 h 273890"/>
                <a:gd name="connsiteX141" fmla="*/ 1091745 w 1394458"/>
                <a:gd name="connsiteY141" fmla="*/ 82495 h 273890"/>
                <a:gd name="connsiteX142" fmla="*/ 1131171 w 1394458"/>
                <a:gd name="connsiteY142" fmla="*/ 82495 h 273890"/>
                <a:gd name="connsiteX143" fmla="*/ 1133603 w 1394458"/>
                <a:gd name="connsiteY143" fmla="*/ 122617 h 273890"/>
                <a:gd name="connsiteX144" fmla="*/ 1126132 w 1394458"/>
                <a:gd name="connsiteY144" fmla="*/ 169509 h 273890"/>
                <a:gd name="connsiteX145" fmla="*/ 1112586 w 1394458"/>
                <a:gd name="connsiteY145" fmla="*/ 169334 h 273890"/>
                <a:gd name="connsiteX146" fmla="*/ 1118145 w 1394458"/>
                <a:gd name="connsiteY146" fmla="*/ 132690 h 273890"/>
                <a:gd name="connsiteX147" fmla="*/ 1133428 w 1394458"/>
                <a:gd name="connsiteY147" fmla="*/ 104032 h 273890"/>
                <a:gd name="connsiteX148" fmla="*/ 1157046 w 1394458"/>
                <a:gd name="connsiteY148" fmla="*/ 85623 h 273890"/>
                <a:gd name="connsiteX149" fmla="*/ 1187615 w 1394458"/>
                <a:gd name="connsiteY149" fmla="*/ 79022 h 273890"/>
                <a:gd name="connsiteX150" fmla="*/ 1212105 w 1394458"/>
                <a:gd name="connsiteY150" fmla="*/ 82840 h 273890"/>
                <a:gd name="connsiteX151" fmla="*/ 1231034 w 1394458"/>
                <a:gd name="connsiteY151" fmla="*/ 94825 h 273890"/>
                <a:gd name="connsiteX152" fmla="*/ 1243189 w 1394458"/>
                <a:gd name="connsiteY152" fmla="*/ 116532 h 273890"/>
                <a:gd name="connsiteX153" fmla="*/ 1247357 w 1394458"/>
                <a:gd name="connsiteY153" fmla="*/ 149008 h 273890"/>
                <a:gd name="connsiteX154" fmla="*/ 1247357 w 1394458"/>
                <a:gd name="connsiteY154" fmla="*/ 270408 h 273890"/>
                <a:gd name="connsiteX155" fmla="*/ 1205329 w 1394458"/>
                <a:gd name="connsiteY155" fmla="*/ 270408 h 273890"/>
                <a:gd name="connsiteX156" fmla="*/ 1205329 w 1394458"/>
                <a:gd name="connsiteY156" fmla="*/ 148833 h 273890"/>
                <a:gd name="connsiteX157" fmla="*/ 1201336 w 1394458"/>
                <a:gd name="connsiteY157" fmla="*/ 127471 h 273890"/>
                <a:gd name="connsiteX158" fmla="*/ 1190047 w 1394458"/>
                <a:gd name="connsiteY158" fmla="*/ 116182 h 273890"/>
                <a:gd name="connsiteX159" fmla="*/ 1171813 w 1394458"/>
                <a:gd name="connsiteY159" fmla="*/ 112709 h 273890"/>
                <a:gd name="connsiteX160" fmla="*/ 1152533 w 1394458"/>
                <a:gd name="connsiteY160" fmla="*/ 117223 h 273890"/>
                <a:gd name="connsiteX161" fmla="*/ 1138116 w 1394458"/>
                <a:gd name="connsiteY161" fmla="*/ 129552 h 273890"/>
                <a:gd name="connsiteX162" fmla="*/ 1129259 w 1394458"/>
                <a:gd name="connsiteY162" fmla="*/ 147617 h 273890"/>
                <a:gd name="connsiteX163" fmla="*/ 1126132 w 1394458"/>
                <a:gd name="connsiteY163" fmla="*/ 169499 h 273890"/>
                <a:gd name="connsiteX164" fmla="*/ 1346701 w 1394458"/>
                <a:gd name="connsiteY164" fmla="*/ 270418 h 273890"/>
                <a:gd name="connsiteX165" fmla="*/ 1304843 w 1394458"/>
                <a:gd name="connsiteY165" fmla="*/ 270418 h 273890"/>
                <a:gd name="connsiteX166" fmla="*/ 1304843 w 1394458"/>
                <a:gd name="connsiteY166" fmla="*/ 64436 h 273890"/>
                <a:gd name="connsiteX167" fmla="*/ 1312659 w 1394458"/>
                <a:gd name="connsiteY167" fmla="*/ 29178 h 273890"/>
                <a:gd name="connsiteX168" fmla="*/ 1335412 w 1394458"/>
                <a:gd name="connsiteY168" fmla="*/ 7471 h 273890"/>
                <a:gd name="connsiteX169" fmla="*/ 1370319 w 1394458"/>
                <a:gd name="connsiteY169" fmla="*/ 0 h 273890"/>
                <a:gd name="connsiteX170" fmla="*/ 1382649 w 1394458"/>
                <a:gd name="connsiteY170" fmla="*/ 871 h 273890"/>
                <a:gd name="connsiteX171" fmla="*/ 1394458 w 1394458"/>
                <a:gd name="connsiteY171" fmla="*/ 3127 h 273890"/>
                <a:gd name="connsiteX172" fmla="*/ 1393418 w 1394458"/>
                <a:gd name="connsiteY172" fmla="*/ 35433 h 273890"/>
                <a:gd name="connsiteX173" fmla="*/ 1385776 w 1394458"/>
                <a:gd name="connsiteY173" fmla="*/ 34217 h 273890"/>
                <a:gd name="connsiteX174" fmla="*/ 1377095 w 1394458"/>
                <a:gd name="connsiteY174" fmla="*/ 33867 h 273890"/>
                <a:gd name="connsiteX175" fmla="*/ 1360596 w 1394458"/>
                <a:gd name="connsiteY175" fmla="*/ 37515 h 273890"/>
                <a:gd name="connsiteX176" fmla="*/ 1350178 w 1394458"/>
                <a:gd name="connsiteY176" fmla="*/ 47763 h 273890"/>
                <a:gd name="connsiteX177" fmla="*/ 1346706 w 1394458"/>
                <a:gd name="connsiteY177" fmla="*/ 64436 h 273890"/>
                <a:gd name="connsiteX178" fmla="*/ 1346706 w 1394458"/>
                <a:gd name="connsiteY178" fmla="*/ 270418 h 273890"/>
                <a:gd name="connsiteX179" fmla="*/ 1385431 w 1394458"/>
                <a:gd name="connsiteY179" fmla="*/ 82500 h 273890"/>
                <a:gd name="connsiteX180" fmla="*/ 1385431 w 1394458"/>
                <a:gd name="connsiteY180" fmla="*/ 113069 h 273890"/>
                <a:gd name="connsiteX181" fmla="*/ 1276015 w 1394458"/>
                <a:gd name="connsiteY181" fmla="*/ 113069 h 273890"/>
                <a:gd name="connsiteX182" fmla="*/ 1276015 w 1394458"/>
                <a:gd name="connsiteY182" fmla="*/ 82500 h 273890"/>
                <a:gd name="connsiteX183" fmla="*/ 1385431 w 1394458"/>
                <a:gd name="connsiteY183" fmla="*/ 82500 h 2738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</a:cxnLst>
              <a:rect l="l" t="t" r="r" b="b"/>
              <a:pathLst>
                <a:path w="1394458" h="273890">
                  <a:moveTo>
                    <a:pt x="157354" y="188093"/>
                  </a:moveTo>
                  <a:lnTo>
                    <a:pt x="200773" y="188093"/>
                  </a:lnTo>
                  <a:cubicBezTo>
                    <a:pt x="199382" y="204650"/>
                    <a:pt x="194752" y="219411"/>
                    <a:pt x="186877" y="232383"/>
                  </a:cubicBezTo>
                  <a:cubicBezTo>
                    <a:pt x="179003" y="245233"/>
                    <a:pt x="167947" y="255365"/>
                    <a:pt x="153706" y="262777"/>
                  </a:cubicBezTo>
                  <a:cubicBezTo>
                    <a:pt x="139465" y="270185"/>
                    <a:pt x="122155" y="273891"/>
                    <a:pt x="101775" y="273891"/>
                  </a:cubicBezTo>
                  <a:cubicBezTo>
                    <a:pt x="86143" y="273891"/>
                    <a:pt x="72077" y="271114"/>
                    <a:pt x="59572" y="265554"/>
                  </a:cubicBezTo>
                  <a:cubicBezTo>
                    <a:pt x="47067" y="259878"/>
                    <a:pt x="36357" y="251892"/>
                    <a:pt x="27442" y="241585"/>
                  </a:cubicBezTo>
                  <a:cubicBezTo>
                    <a:pt x="18526" y="231167"/>
                    <a:pt x="11697" y="218604"/>
                    <a:pt x="6950" y="203901"/>
                  </a:cubicBezTo>
                  <a:cubicBezTo>
                    <a:pt x="2315" y="189192"/>
                    <a:pt x="0" y="172753"/>
                    <a:pt x="0" y="154572"/>
                  </a:cubicBezTo>
                  <a:lnTo>
                    <a:pt x="0" y="133555"/>
                  </a:lnTo>
                  <a:cubicBezTo>
                    <a:pt x="0" y="115379"/>
                    <a:pt x="2374" y="98935"/>
                    <a:pt x="7121" y="84231"/>
                  </a:cubicBezTo>
                  <a:cubicBezTo>
                    <a:pt x="11984" y="69528"/>
                    <a:pt x="18930" y="56965"/>
                    <a:pt x="27962" y="46542"/>
                  </a:cubicBezTo>
                  <a:cubicBezTo>
                    <a:pt x="36994" y="36007"/>
                    <a:pt x="47816" y="27957"/>
                    <a:pt x="60438" y="22403"/>
                  </a:cubicBezTo>
                  <a:cubicBezTo>
                    <a:pt x="73171" y="16843"/>
                    <a:pt x="87471" y="14066"/>
                    <a:pt x="103336" y="14066"/>
                  </a:cubicBezTo>
                  <a:cubicBezTo>
                    <a:pt x="123482" y="14066"/>
                    <a:pt x="140506" y="17772"/>
                    <a:pt x="154397" y="25180"/>
                  </a:cubicBezTo>
                  <a:cubicBezTo>
                    <a:pt x="168293" y="32592"/>
                    <a:pt x="179056" y="42836"/>
                    <a:pt x="186702" y="55919"/>
                  </a:cubicBezTo>
                  <a:cubicBezTo>
                    <a:pt x="194460" y="69003"/>
                    <a:pt x="199207" y="83998"/>
                    <a:pt x="200943" y="100900"/>
                  </a:cubicBezTo>
                  <a:lnTo>
                    <a:pt x="157524" y="100900"/>
                  </a:lnTo>
                  <a:cubicBezTo>
                    <a:pt x="156367" y="90015"/>
                    <a:pt x="153818" y="80695"/>
                    <a:pt x="149883" y="72938"/>
                  </a:cubicBezTo>
                  <a:cubicBezTo>
                    <a:pt x="146065" y="65180"/>
                    <a:pt x="140389" y="59275"/>
                    <a:pt x="132865" y="55224"/>
                  </a:cubicBezTo>
                  <a:cubicBezTo>
                    <a:pt x="125340" y="51055"/>
                    <a:pt x="115496" y="48969"/>
                    <a:pt x="103341" y="48969"/>
                  </a:cubicBezTo>
                  <a:cubicBezTo>
                    <a:pt x="93385" y="48969"/>
                    <a:pt x="84698" y="50822"/>
                    <a:pt x="77291" y="54528"/>
                  </a:cubicBezTo>
                  <a:cubicBezTo>
                    <a:pt x="69878" y="58234"/>
                    <a:pt x="63687" y="63677"/>
                    <a:pt x="58706" y="70856"/>
                  </a:cubicBezTo>
                  <a:cubicBezTo>
                    <a:pt x="53730" y="78035"/>
                    <a:pt x="49966" y="86892"/>
                    <a:pt x="47417" y="97427"/>
                  </a:cubicBezTo>
                  <a:cubicBezTo>
                    <a:pt x="44985" y="107845"/>
                    <a:pt x="43769" y="119771"/>
                    <a:pt x="43769" y="133205"/>
                  </a:cubicBezTo>
                  <a:lnTo>
                    <a:pt x="43769" y="154567"/>
                  </a:lnTo>
                  <a:cubicBezTo>
                    <a:pt x="43769" y="167305"/>
                    <a:pt x="44869" y="178881"/>
                    <a:pt x="47067" y="189304"/>
                  </a:cubicBezTo>
                  <a:cubicBezTo>
                    <a:pt x="49382" y="199611"/>
                    <a:pt x="52855" y="208468"/>
                    <a:pt x="57490" y="215875"/>
                  </a:cubicBezTo>
                  <a:cubicBezTo>
                    <a:pt x="62237" y="223288"/>
                    <a:pt x="68259" y="229017"/>
                    <a:pt x="75550" y="233069"/>
                  </a:cubicBezTo>
                  <a:cubicBezTo>
                    <a:pt x="82845" y="237120"/>
                    <a:pt x="91585" y="239149"/>
                    <a:pt x="101775" y="239149"/>
                  </a:cubicBezTo>
                  <a:cubicBezTo>
                    <a:pt x="114163" y="239149"/>
                    <a:pt x="124178" y="237179"/>
                    <a:pt x="131824" y="233244"/>
                  </a:cubicBezTo>
                  <a:cubicBezTo>
                    <a:pt x="139582" y="229304"/>
                    <a:pt x="145428" y="223575"/>
                    <a:pt x="149363" y="216050"/>
                  </a:cubicBezTo>
                  <a:cubicBezTo>
                    <a:pt x="153414" y="208409"/>
                    <a:pt x="156080" y="199090"/>
                    <a:pt x="157354" y="188088"/>
                  </a:cubicBezTo>
                  <a:close/>
                  <a:moveTo>
                    <a:pt x="313837" y="270418"/>
                  </a:moveTo>
                  <a:lnTo>
                    <a:pt x="259825" y="270418"/>
                  </a:lnTo>
                  <a:lnTo>
                    <a:pt x="260170" y="235856"/>
                  </a:lnTo>
                  <a:lnTo>
                    <a:pt x="313837" y="235856"/>
                  </a:lnTo>
                  <a:cubicBezTo>
                    <a:pt x="329469" y="235856"/>
                    <a:pt x="342553" y="232441"/>
                    <a:pt x="353088" y="225608"/>
                  </a:cubicBezTo>
                  <a:cubicBezTo>
                    <a:pt x="363740" y="218779"/>
                    <a:pt x="371731" y="208993"/>
                    <a:pt x="377057" y="196255"/>
                  </a:cubicBezTo>
                  <a:cubicBezTo>
                    <a:pt x="382499" y="183516"/>
                    <a:pt x="385218" y="168351"/>
                    <a:pt x="385218" y="150754"/>
                  </a:cubicBezTo>
                  <a:lnTo>
                    <a:pt x="385218" y="137033"/>
                  </a:lnTo>
                  <a:cubicBezTo>
                    <a:pt x="385218" y="123371"/>
                    <a:pt x="383657" y="111269"/>
                    <a:pt x="380530" y="100734"/>
                  </a:cubicBezTo>
                  <a:cubicBezTo>
                    <a:pt x="377519" y="90199"/>
                    <a:pt x="373005" y="81342"/>
                    <a:pt x="366984" y="74163"/>
                  </a:cubicBezTo>
                  <a:cubicBezTo>
                    <a:pt x="361079" y="66984"/>
                    <a:pt x="353784" y="61542"/>
                    <a:pt x="345102" y="57840"/>
                  </a:cubicBezTo>
                  <a:cubicBezTo>
                    <a:pt x="336532" y="54134"/>
                    <a:pt x="326634" y="52281"/>
                    <a:pt x="315403" y="52281"/>
                  </a:cubicBezTo>
                  <a:lnTo>
                    <a:pt x="258784" y="52281"/>
                  </a:lnTo>
                  <a:lnTo>
                    <a:pt x="258784" y="17544"/>
                  </a:lnTo>
                  <a:lnTo>
                    <a:pt x="315403" y="17544"/>
                  </a:lnTo>
                  <a:cubicBezTo>
                    <a:pt x="332193" y="17544"/>
                    <a:pt x="347534" y="20379"/>
                    <a:pt x="361429" y="26055"/>
                  </a:cubicBezTo>
                  <a:cubicBezTo>
                    <a:pt x="375325" y="31615"/>
                    <a:pt x="387310" y="39660"/>
                    <a:pt x="397383" y="50195"/>
                  </a:cubicBezTo>
                  <a:cubicBezTo>
                    <a:pt x="407572" y="60730"/>
                    <a:pt x="415389" y="73351"/>
                    <a:pt x="420826" y="88054"/>
                  </a:cubicBezTo>
                  <a:cubicBezTo>
                    <a:pt x="426269" y="102758"/>
                    <a:pt x="428988" y="119202"/>
                    <a:pt x="428988" y="137378"/>
                  </a:cubicBezTo>
                  <a:lnTo>
                    <a:pt x="428988" y="150754"/>
                  </a:lnTo>
                  <a:cubicBezTo>
                    <a:pt x="428988" y="168930"/>
                    <a:pt x="426269" y="185374"/>
                    <a:pt x="420826" y="200078"/>
                  </a:cubicBezTo>
                  <a:cubicBezTo>
                    <a:pt x="415384" y="214781"/>
                    <a:pt x="407568" y="227403"/>
                    <a:pt x="397383" y="237938"/>
                  </a:cubicBezTo>
                  <a:cubicBezTo>
                    <a:pt x="387193" y="248356"/>
                    <a:pt x="375038" y="256405"/>
                    <a:pt x="360909" y="262077"/>
                  </a:cubicBezTo>
                  <a:cubicBezTo>
                    <a:pt x="346896" y="267636"/>
                    <a:pt x="331211" y="270413"/>
                    <a:pt x="313842" y="270413"/>
                  </a:cubicBezTo>
                  <a:close/>
                  <a:moveTo>
                    <a:pt x="283964" y="17544"/>
                  </a:moveTo>
                  <a:lnTo>
                    <a:pt x="283964" y="270418"/>
                  </a:lnTo>
                  <a:lnTo>
                    <a:pt x="240369" y="270418"/>
                  </a:lnTo>
                  <a:lnTo>
                    <a:pt x="240369" y="17544"/>
                  </a:lnTo>
                  <a:lnTo>
                    <a:pt x="283964" y="17544"/>
                  </a:lnTo>
                  <a:close/>
                  <a:moveTo>
                    <a:pt x="519299" y="17544"/>
                  </a:moveTo>
                  <a:lnTo>
                    <a:pt x="519299" y="270418"/>
                  </a:lnTo>
                  <a:lnTo>
                    <a:pt x="475705" y="270418"/>
                  </a:lnTo>
                  <a:lnTo>
                    <a:pt x="475705" y="17544"/>
                  </a:lnTo>
                  <a:lnTo>
                    <a:pt x="519299" y="17544"/>
                  </a:lnTo>
                  <a:close/>
                  <a:moveTo>
                    <a:pt x="811424" y="188093"/>
                  </a:moveTo>
                  <a:lnTo>
                    <a:pt x="854843" y="188093"/>
                  </a:lnTo>
                  <a:cubicBezTo>
                    <a:pt x="853452" y="204650"/>
                    <a:pt x="848822" y="219411"/>
                    <a:pt x="840947" y="232383"/>
                  </a:cubicBezTo>
                  <a:cubicBezTo>
                    <a:pt x="833073" y="245233"/>
                    <a:pt x="822017" y="255365"/>
                    <a:pt x="807776" y="262777"/>
                  </a:cubicBezTo>
                  <a:cubicBezTo>
                    <a:pt x="793535" y="270185"/>
                    <a:pt x="776225" y="273891"/>
                    <a:pt x="755845" y="273891"/>
                  </a:cubicBezTo>
                  <a:cubicBezTo>
                    <a:pt x="740213" y="273891"/>
                    <a:pt x="726147" y="271114"/>
                    <a:pt x="713642" y="265554"/>
                  </a:cubicBezTo>
                  <a:cubicBezTo>
                    <a:pt x="701137" y="259878"/>
                    <a:pt x="690427" y="251892"/>
                    <a:pt x="681512" y="241585"/>
                  </a:cubicBezTo>
                  <a:cubicBezTo>
                    <a:pt x="672596" y="231167"/>
                    <a:pt x="665768" y="218604"/>
                    <a:pt x="661021" y="203901"/>
                  </a:cubicBezTo>
                  <a:cubicBezTo>
                    <a:pt x="656390" y="189197"/>
                    <a:pt x="654075" y="172753"/>
                    <a:pt x="654075" y="154577"/>
                  </a:cubicBezTo>
                  <a:lnTo>
                    <a:pt x="654075" y="133560"/>
                  </a:lnTo>
                  <a:cubicBezTo>
                    <a:pt x="654075" y="115384"/>
                    <a:pt x="656449" y="98940"/>
                    <a:pt x="661196" y="84236"/>
                  </a:cubicBezTo>
                  <a:cubicBezTo>
                    <a:pt x="666059" y="69533"/>
                    <a:pt x="673005" y="56970"/>
                    <a:pt x="682037" y="46547"/>
                  </a:cubicBezTo>
                  <a:cubicBezTo>
                    <a:pt x="691069" y="36012"/>
                    <a:pt x="701891" y="27962"/>
                    <a:pt x="714513" y="22408"/>
                  </a:cubicBezTo>
                  <a:cubicBezTo>
                    <a:pt x="727246" y="16848"/>
                    <a:pt x="741546" y="14071"/>
                    <a:pt x="757411" y="14071"/>
                  </a:cubicBezTo>
                  <a:cubicBezTo>
                    <a:pt x="777557" y="14071"/>
                    <a:pt x="794581" y="17777"/>
                    <a:pt x="808472" y="25185"/>
                  </a:cubicBezTo>
                  <a:cubicBezTo>
                    <a:pt x="822368" y="32597"/>
                    <a:pt x="833131" y="42840"/>
                    <a:pt x="840777" y="55924"/>
                  </a:cubicBezTo>
                  <a:cubicBezTo>
                    <a:pt x="848535" y="69008"/>
                    <a:pt x="853282" y="84003"/>
                    <a:pt x="855018" y="100905"/>
                  </a:cubicBezTo>
                  <a:lnTo>
                    <a:pt x="811599" y="100905"/>
                  </a:lnTo>
                  <a:cubicBezTo>
                    <a:pt x="810442" y="90019"/>
                    <a:pt x="807893" y="80700"/>
                    <a:pt x="803958" y="72943"/>
                  </a:cubicBezTo>
                  <a:cubicBezTo>
                    <a:pt x="800140" y="65185"/>
                    <a:pt x="794464" y="59280"/>
                    <a:pt x="786940" y="55229"/>
                  </a:cubicBezTo>
                  <a:cubicBezTo>
                    <a:pt x="779415" y="51060"/>
                    <a:pt x="769571" y="48974"/>
                    <a:pt x="757416" y="48974"/>
                  </a:cubicBezTo>
                  <a:cubicBezTo>
                    <a:pt x="747460" y="48974"/>
                    <a:pt x="738773" y="50827"/>
                    <a:pt x="731366" y="54533"/>
                  </a:cubicBezTo>
                  <a:cubicBezTo>
                    <a:pt x="723953" y="58239"/>
                    <a:pt x="717762" y="63682"/>
                    <a:pt x="712781" y="70861"/>
                  </a:cubicBezTo>
                  <a:cubicBezTo>
                    <a:pt x="707801" y="78040"/>
                    <a:pt x="704041" y="86897"/>
                    <a:pt x="701492" y="97432"/>
                  </a:cubicBezTo>
                  <a:cubicBezTo>
                    <a:pt x="699060" y="107850"/>
                    <a:pt x="697844" y="119776"/>
                    <a:pt x="697844" y="133210"/>
                  </a:cubicBezTo>
                  <a:lnTo>
                    <a:pt x="697844" y="154572"/>
                  </a:lnTo>
                  <a:cubicBezTo>
                    <a:pt x="697844" y="167310"/>
                    <a:pt x="698944" y="178886"/>
                    <a:pt x="701142" y="189309"/>
                  </a:cubicBezTo>
                  <a:cubicBezTo>
                    <a:pt x="703457" y="199616"/>
                    <a:pt x="706930" y="208473"/>
                    <a:pt x="711565" y="215880"/>
                  </a:cubicBezTo>
                  <a:cubicBezTo>
                    <a:pt x="716312" y="223293"/>
                    <a:pt x="722334" y="229022"/>
                    <a:pt x="729629" y="233074"/>
                  </a:cubicBezTo>
                  <a:cubicBezTo>
                    <a:pt x="736925" y="237125"/>
                    <a:pt x="745665" y="239154"/>
                    <a:pt x="755855" y="239154"/>
                  </a:cubicBezTo>
                  <a:cubicBezTo>
                    <a:pt x="768243" y="239154"/>
                    <a:pt x="778258" y="237184"/>
                    <a:pt x="785904" y="233249"/>
                  </a:cubicBezTo>
                  <a:cubicBezTo>
                    <a:pt x="793661" y="229309"/>
                    <a:pt x="799508" y="223580"/>
                    <a:pt x="803443" y="216055"/>
                  </a:cubicBezTo>
                  <a:cubicBezTo>
                    <a:pt x="807494" y="208414"/>
                    <a:pt x="810159" y="199095"/>
                    <a:pt x="811434" y="188093"/>
                  </a:cubicBezTo>
                  <a:close/>
                  <a:moveTo>
                    <a:pt x="882285" y="178541"/>
                  </a:moveTo>
                  <a:lnTo>
                    <a:pt x="882285" y="174548"/>
                  </a:lnTo>
                  <a:cubicBezTo>
                    <a:pt x="882285" y="161002"/>
                    <a:pt x="884255" y="148439"/>
                    <a:pt x="888190" y="136858"/>
                  </a:cubicBezTo>
                  <a:cubicBezTo>
                    <a:pt x="892124" y="125165"/>
                    <a:pt x="897800" y="115034"/>
                    <a:pt x="905208" y="106464"/>
                  </a:cubicBezTo>
                  <a:cubicBezTo>
                    <a:pt x="912732" y="97782"/>
                    <a:pt x="921881" y="91065"/>
                    <a:pt x="932650" y="86318"/>
                  </a:cubicBezTo>
                  <a:cubicBezTo>
                    <a:pt x="943535" y="81454"/>
                    <a:pt x="955806" y="79022"/>
                    <a:pt x="969469" y="79022"/>
                  </a:cubicBezTo>
                  <a:cubicBezTo>
                    <a:pt x="983131" y="79022"/>
                    <a:pt x="995519" y="81454"/>
                    <a:pt x="1006288" y="86318"/>
                  </a:cubicBezTo>
                  <a:cubicBezTo>
                    <a:pt x="1017173" y="91065"/>
                    <a:pt x="1026375" y="97782"/>
                    <a:pt x="1033899" y="106464"/>
                  </a:cubicBezTo>
                  <a:cubicBezTo>
                    <a:pt x="1041424" y="115034"/>
                    <a:pt x="1047158" y="125165"/>
                    <a:pt x="1051093" y="136858"/>
                  </a:cubicBezTo>
                  <a:cubicBezTo>
                    <a:pt x="1055028" y="148434"/>
                    <a:pt x="1056998" y="160997"/>
                    <a:pt x="1056998" y="174548"/>
                  </a:cubicBezTo>
                  <a:lnTo>
                    <a:pt x="1056998" y="178541"/>
                  </a:lnTo>
                  <a:cubicBezTo>
                    <a:pt x="1056998" y="192086"/>
                    <a:pt x="1055028" y="204650"/>
                    <a:pt x="1051093" y="216226"/>
                  </a:cubicBezTo>
                  <a:cubicBezTo>
                    <a:pt x="1047153" y="227806"/>
                    <a:pt x="1041424" y="237938"/>
                    <a:pt x="1033899" y="246619"/>
                  </a:cubicBezTo>
                  <a:cubicBezTo>
                    <a:pt x="1026375" y="255189"/>
                    <a:pt x="1017226" y="261902"/>
                    <a:pt x="1006458" y="266765"/>
                  </a:cubicBezTo>
                  <a:cubicBezTo>
                    <a:pt x="995689" y="271512"/>
                    <a:pt x="983476" y="273886"/>
                    <a:pt x="969814" y="273886"/>
                  </a:cubicBezTo>
                  <a:cubicBezTo>
                    <a:pt x="956151" y="273886"/>
                    <a:pt x="943705" y="271512"/>
                    <a:pt x="932820" y="266765"/>
                  </a:cubicBezTo>
                  <a:cubicBezTo>
                    <a:pt x="922051" y="261902"/>
                    <a:pt x="912907" y="255189"/>
                    <a:pt x="905378" y="246619"/>
                  </a:cubicBezTo>
                  <a:cubicBezTo>
                    <a:pt x="897854" y="237938"/>
                    <a:pt x="892119" y="227806"/>
                    <a:pt x="888185" y="216226"/>
                  </a:cubicBezTo>
                  <a:cubicBezTo>
                    <a:pt x="884245" y="204650"/>
                    <a:pt x="882280" y="192086"/>
                    <a:pt x="882280" y="178541"/>
                  </a:cubicBezTo>
                  <a:close/>
                  <a:moveTo>
                    <a:pt x="924143" y="174548"/>
                  </a:moveTo>
                  <a:lnTo>
                    <a:pt x="924143" y="178541"/>
                  </a:lnTo>
                  <a:cubicBezTo>
                    <a:pt x="924143" y="186994"/>
                    <a:pt x="925013" y="194980"/>
                    <a:pt x="926750" y="202510"/>
                  </a:cubicBezTo>
                  <a:cubicBezTo>
                    <a:pt x="928486" y="210034"/>
                    <a:pt x="931210" y="216634"/>
                    <a:pt x="934911" y="222310"/>
                  </a:cubicBezTo>
                  <a:cubicBezTo>
                    <a:pt x="938617" y="227981"/>
                    <a:pt x="943365" y="232441"/>
                    <a:pt x="949152" y="235681"/>
                  </a:cubicBezTo>
                  <a:cubicBezTo>
                    <a:pt x="954940" y="238925"/>
                    <a:pt x="961832" y="240545"/>
                    <a:pt x="969819" y="240545"/>
                  </a:cubicBezTo>
                  <a:cubicBezTo>
                    <a:pt x="977805" y="240545"/>
                    <a:pt x="984293" y="238925"/>
                    <a:pt x="989965" y="235681"/>
                  </a:cubicBezTo>
                  <a:cubicBezTo>
                    <a:pt x="995753" y="232441"/>
                    <a:pt x="1000500" y="227981"/>
                    <a:pt x="1004206" y="222310"/>
                  </a:cubicBezTo>
                  <a:cubicBezTo>
                    <a:pt x="1007912" y="216634"/>
                    <a:pt x="1010631" y="210039"/>
                    <a:pt x="1012367" y="202510"/>
                  </a:cubicBezTo>
                  <a:cubicBezTo>
                    <a:pt x="1014220" y="194985"/>
                    <a:pt x="1015145" y="186994"/>
                    <a:pt x="1015145" y="178541"/>
                  </a:cubicBezTo>
                  <a:lnTo>
                    <a:pt x="1015145" y="174548"/>
                  </a:lnTo>
                  <a:cubicBezTo>
                    <a:pt x="1015145" y="166211"/>
                    <a:pt x="1014220" y="158336"/>
                    <a:pt x="1012367" y="150929"/>
                  </a:cubicBezTo>
                  <a:cubicBezTo>
                    <a:pt x="1010631" y="143405"/>
                    <a:pt x="1007854" y="136746"/>
                    <a:pt x="1004031" y="130958"/>
                  </a:cubicBezTo>
                  <a:cubicBezTo>
                    <a:pt x="1000325" y="125170"/>
                    <a:pt x="995578" y="120652"/>
                    <a:pt x="989790" y="117412"/>
                  </a:cubicBezTo>
                  <a:cubicBezTo>
                    <a:pt x="984118" y="114056"/>
                    <a:pt x="977343" y="112373"/>
                    <a:pt x="969469" y="112373"/>
                  </a:cubicBezTo>
                  <a:cubicBezTo>
                    <a:pt x="961594" y="112373"/>
                    <a:pt x="954765" y="114051"/>
                    <a:pt x="948977" y="117412"/>
                  </a:cubicBezTo>
                  <a:cubicBezTo>
                    <a:pt x="943301" y="120657"/>
                    <a:pt x="938613" y="125170"/>
                    <a:pt x="934911" y="130958"/>
                  </a:cubicBezTo>
                  <a:cubicBezTo>
                    <a:pt x="931205" y="136746"/>
                    <a:pt x="928486" y="143405"/>
                    <a:pt x="926750" y="150929"/>
                  </a:cubicBezTo>
                  <a:cubicBezTo>
                    <a:pt x="925013" y="158336"/>
                    <a:pt x="924143" y="166211"/>
                    <a:pt x="924143" y="174548"/>
                  </a:cubicBezTo>
                  <a:close/>
                  <a:moveTo>
                    <a:pt x="1133598" y="122617"/>
                  </a:moveTo>
                  <a:lnTo>
                    <a:pt x="1133598" y="270418"/>
                  </a:lnTo>
                  <a:lnTo>
                    <a:pt x="1091745" y="270418"/>
                  </a:lnTo>
                  <a:lnTo>
                    <a:pt x="1091745" y="82495"/>
                  </a:lnTo>
                  <a:lnTo>
                    <a:pt x="1131171" y="82495"/>
                  </a:lnTo>
                  <a:lnTo>
                    <a:pt x="1133603" y="122617"/>
                  </a:lnTo>
                  <a:close/>
                  <a:moveTo>
                    <a:pt x="1126132" y="169509"/>
                  </a:moveTo>
                  <a:lnTo>
                    <a:pt x="1112586" y="169334"/>
                  </a:lnTo>
                  <a:cubicBezTo>
                    <a:pt x="1112703" y="156016"/>
                    <a:pt x="1114556" y="143803"/>
                    <a:pt x="1118145" y="132690"/>
                  </a:cubicBezTo>
                  <a:cubicBezTo>
                    <a:pt x="1121852" y="121576"/>
                    <a:pt x="1126944" y="112023"/>
                    <a:pt x="1133428" y="104032"/>
                  </a:cubicBezTo>
                  <a:cubicBezTo>
                    <a:pt x="1140028" y="96046"/>
                    <a:pt x="1147902" y="89908"/>
                    <a:pt x="1157046" y="85623"/>
                  </a:cubicBezTo>
                  <a:cubicBezTo>
                    <a:pt x="1166195" y="81226"/>
                    <a:pt x="1176385" y="79022"/>
                    <a:pt x="1187615" y="79022"/>
                  </a:cubicBezTo>
                  <a:cubicBezTo>
                    <a:pt x="1196647" y="79022"/>
                    <a:pt x="1204809" y="80297"/>
                    <a:pt x="1212105" y="82840"/>
                  </a:cubicBezTo>
                  <a:cubicBezTo>
                    <a:pt x="1219517" y="85272"/>
                    <a:pt x="1225825" y="89265"/>
                    <a:pt x="1231034" y="94825"/>
                  </a:cubicBezTo>
                  <a:cubicBezTo>
                    <a:pt x="1236360" y="100384"/>
                    <a:pt x="1240412" y="107617"/>
                    <a:pt x="1243189" y="116532"/>
                  </a:cubicBezTo>
                  <a:cubicBezTo>
                    <a:pt x="1245966" y="125331"/>
                    <a:pt x="1247357" y="136157"/>
                    <a:pt x="1247357" y="149008"/>
                  </a:cubicBezTo>
                  <a:lnTo>
                    <a:pt x="1247357" y="270408"/>
                  </a:lnTo>
                  <a:lnTo>
                    <a:pt x="1205329" y="270408"/>
                  </a:lnTo>
                  <a:lnTo>
                    <a:pt x="1205329" y="148833"/>
                  </a:lnTo>
                  <a:cubicBezTo>
                    <a:pt x="1205329" y="139800"/>
                    <a:pt x="1203996" y="132680"/>
                    <a:pt x="1201336" y="127471"/>
                  </a:cubicBezTo>
                  <a:cubicBezTo>
                    <a:pt x="1198787" y="122145"/>
                    <a:pt x="1195028" y="118380"/>
                    <a:pt x="1190047" y="116182"/>
                  </a:cubicBezTo>
                  <a:cubicBezTo>
                    <a:pt x="1185183" y="113867"/>
                    <a:pt x="1179104" y="112709"/>
                    <a:pt x="1171813" y="112709"/>
                  </a:cubicBezTo>
                  <a:cubicBezTo>
                    <a:pt x="1164522" y="112709"/>
                    <a:pt x="1158209" y="114212"/>
                    <a:pt x="1152533" y="117223"/>
                  </a:cubicBezTo>
                  <a:cubicBezTo>
                    <a:pt x="1146861" y="120233"/>
                    <a:pt x="1142056" y="124343"/>
                    <a:pt x="1138116" y="129552"/>
                  </a:cubicBezTo>
                  <a:cubicBezTo>
                    <a:pt x="1134293" y="134762"/>
                    <a:pt x="1131341" y="140783"/>
                    <a:pt x="1129259" y="147617"/>
                  </a:cubicBezTo>
                  <a:cubicBezTo>
                    <a:pt x="1127178" y="154445"/>
                    <a:pt x="1126132" y="161741"/>
                    <a:pt x="1126132" y="169499"/>
                  </a:cubicBezTo>
                  <a:close/>
                  <a:moveTo>
                    <a:pt x="1346701" y="270418"/>
                  </a:moveTo>
                  <a:lnTo>
                    <a:pt x="1304843" y="270418"/>
                  </a:lnTo>
                  <a:lnTo>
                    <a:pt x="1304843" y="64436"/>
                  </a:lnTo>
                  <a:cubicBezTo>
                    <a:pt x="1304843" y="50428"/>
                    <a:pt x="1307450" y="38672"/>
                    <a:pt x="1312659" y="29178"/>
                  </a:cubicBezTo>
                  <a:cubicBezTo>
                    <a:pt x="1317985" y="19567"/>
                    <a:pt x="1325567" y="12330"/>
                    <a:pt x="1335412" y="7471"/>
                  </a:cubicBezTo>
                  <a:cubicBezTo>
                    <a:pt x="1345256" y="2490"/>
                    <a:pt x="1356890" y="0"/>
                    <a:pt x="1370319" y="0"/>
                  </a:cubicBezTo>
                  <a:cubicBezTo>
                    <a:pt x="1374488" y="0"/>
                    <a:pt x="1378597" y="292"/>
                    <a:pt x="1382649" y="871"/>
                  </a:cubicBezTo>
                  <a:cubicBezTo>
                    <a:pt x="1386701" y="1333"/>
                    <a:pt x="1390640" y="2087"/>
                    <a:pt x="1394458" y="3127"/>
                  </a:cubicBezTo>
                  <a:lnTo>
                    <a:pt x="1393418" y="35433"/>
                  </a:lnTo>
                  <a:cubicBezTo>
                    <a:pt x="1391102" y="34854"/>
                    <a:pt x="1388554" y="34450"/>
                    <a:pt x="1385776" y="34217"/>
                  </a:cubicBezTo>
                  <a:cubicBezTo>
                    <a:pt x="1383116" y="33983"/>
                    <a:pt x="1380217" y="33867"/>
                    <a:pt x="1377095" y="33867"/>
                  </a:cubicBezTo>
                  <a:cubicBezTo>
                    <a:pt x="1370728" y="33867"/>
                    <a:pt x="1365227" y="35083"/>
                    <a:pt x="1360596" y="37515"/>
                  </a:cubicBezTo>
                  <a:cubicBezTo>
                    <a:pt x="1356083" y="39830"/>
                    <a:pt x="1352605" y="43244"/>
                    <a:pt x="1350178" y="47763"/>
                  </a:cubicBezTo>
                  <a:cubicBezTo>
                    <a:pt x="1347863" y="52281"/>
                    <a:pt x="1346706" y="57836"/>
                    <a:pt x="1346706" y="64436"/>
                  </a:cubicBezTo>
                  <a:lnTo>
                    <a:pt x="1346706" y="270418"/>
                  </a:lnTo>
                  <a:close/>
                  <a:moveTo>
                    <a:pt x="1385431" y="82500"/>
                  </a:moveTo>
                  <a:lnTo>
                    <a:pt x="1385431" y="113069"/>
                  </a:lnTo>
                  <a:lnTo>
                    <a:pt x="1276015" y="113069"/>
                  </a:lnTo>
                  <a:lnTo>
                    <a:pt x="1276015" y="82500"/>
                  </a:lnTo>
                  <a:lnTo>
                    <a:pt x="1385431" y="82500"/>
                  </a:lnTo>
                  <a:close/>
                </a:path>
              </a:pathLst>
            </a:custGeom>
            <a:solidFill>
              <a:schemeClr val="bg1"/>
            </a:solidFill>
            <a:ln w="48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6" name="Полилиния: фигура 35">
              <a:extLst>
                <a:ext uri="{FF2B5EF4-FFF2-40B4-BE49-F238E27FC236}">
                  <a16:creationId xmlns:a16="http://schemas.microsoft.com/office/drawing/2014/main" id="{ED3297AE-6AEE-4146-9966-86EFA70DEC57}"/>
                </a:ext>
              </a:extLst>
            </p:cNvPr>
            <p:cNvSpPr/>
            <p:nvPr/>
          </p:nvSpPr>
          <p:spPr>
            <a:xfrm>
              <a:off x="8902858" y="5892336"/>
              <a:ext cx="774600" cy="259834"/>
            </a:xfrm>
            <a:custGeom>
              <a:avLst/>
              <a:gdLst>
                <a:gd name="connsiteX0" fmla="*/ 174372 w 774600"/>
                <a:gd name="connsiteY0" fmla="*/ 223015 h 259834"/>
                <a:gd name="connsiteX1" fmla="*/ 174372 w 774600"/>
                <a:gd name="connsiteY1" fmla="*/ 256362 h 259834"/>
                <a:gd name="connsiteX2" fmla="*/ 4859 w 774600"/>
                <a:gd name="connsiteY2" fmla="*/ 256362 h 259834"/>
                <a:gd name="connsiteX3" fmla="*/ 4859 w 774600"/>
                <a:gd name="connsiteY3" fmla="*/ 227704 h 259834"/>
                <a:gd name="connsiteX4" fmla="*/ 87193 w 774600"/>
                <a:gd name="connsiteY4" fmla="*/ 137913 h 259834"/>
                <a:gd name="connsiteX5" fmla="*/ 108541 w 774600"/>
                <a:gd name="connsiteY5" fmla="*/ 111513 h 259834"/>
                <a:gd name="connsiteX6" fmla="*/ 119499 w 774600"/>
                <a:gd name="connsiteY6" fmla="*/ 91542 h 259834"/>
                <a:gd name="connsiteX7" fmla="*/ 122797 w 774600"/>
                <a:gd name="connsiteY7" fmla="*/ 73998 h 259834"/>
                <a:gd name="connsiteX8" fmla="*/ 118278 w 774600"/>
                <a:gd name="connsiteY8" fmla="*/ 52981 h 259834"/>
                <a:gd name="connsiteX9" fmla="*/ 105413 w 774600"/>
                <a:gd name="connsiteY9" fmla="*/ 38565 h 259834"/>
                <a:gd name="connsiteX10" fmla="*/ 84752 w 774600"/>
                <a:gd name="connsiteY10" fmla="*/ 33181 h 259834"/>
                <a:gd name="connsiteX11" fmla="*/ 61138 w 774600"/>
                <a:gd name="connsiteY11" fmla="*/ 39261 h 259834"/>
                <a:gd name="connsiteX12" fmla="*/ 46712 w 774600"/>
                <a:gd name="connsiteY12" fmla="*/ 56109 h 259834"/>
                <a:gd name="connsiteX13" fmla="*/ 41853 w 774600"/>
                <a:gd name="connsiteY13" fmla="*/ 80423 h 259834"/>
                <a:gd name="connsiteX14" fmla="*/ 0 w 774600"/>
                <a:gd name="connsiteY14" fmla="*/ 80423 h 259834"/>
                <a:gd name="connsiteX15" fmla="*/ 10083 w 774600"/>
                <a:gd name="connsiteY15" fmla="*/ 40131 h 259834"/>
                <a:gd name="connsiteX16" fmla="*/ 39261 w 774600"/>
                <a:gd name="connsiteY16" fmla="*/ 10953 h 259834"/>
                <a:gd name="connsiteX17" fmla="*/ 85272 w 774600"/>
                <a:gd name="connsiteY17" fmla="*/ 10 h 259834"/>
                <a:gd name="connsiteX18" fmla="*/ 128346 w 774600"/>
                <a:gd name="connsiteY18" fmla="*/ 8521 h 259834"/>
                <a:gd name="connsiteX19" fmla="*/ 155277 w 774600"/>
                <a:gd name="connsiteY19" fmla="*/ 32660 h 259834"/>
                <a:gd name="connsiteX20" fmla="*/ 164654 w 774600"/>
                <a:gd name="connsiteY20" fmla="*/ 69655 h 259834"/>
                <a:gd name="connsiteX21" fmla="*/ 160827 w 774600"/>
                <a:gd name="connsiteY21" fmla="*/ 93103 h 259834"/>
                <a:gd name="connsiteX22" fmla="*/ 149888 w 774600"/>
                <a:gd name="connsiteY22" fmla="*/ 116376 h 259834"/>
                <a:gd name="connsiteX23" fmla="*/ 133400 w 774600"/>
                <a:gd name="connsiteY23" fmla="*/ 139475 h 259834"/>
                <a:gd name="connsiteX24" fmla="*/ 112378 w 774600"/>
                <a:gd name="connsiteY24" fmla="*/ 162748 h 259834"/>
                <a:gd name="connsiteX25" fmla="*/ 57675 w 774600"/>
                <a:gd name="connsiteY25" fmla="*/ 223015 h 259834"/>
                <a:gd name="connsiteX26" fmla="*/ 174377 w 774600"/>
                <a:gd name="connsiteY26" fmla="*/ 223015 h 259834"/>
                <a:gd name="connsiteX27" fmla="*/ 371848 w 774600"/>
                <a:gd name="connsiteY27" fmla="*/ 108735 h 259834"/>
                <a:gd name="connsiteX28" fmla="*/ 371848 w 774600"/>
                <a:gd name="connsiteY28" fmla="*/ 150068 h 259834"/>
                <a:gd name="connsiteX29" fmla="*/ 365938 w 774600"/>
                <a:gd name="connsiteY29" fmla="*/ 200783 h 259834"/>
                <a:gd name="connsiteX30" fmla="*/ 349260 w 774600"/>
                <a:gd name="connsiteY30" fmla="*/ 234650 h 259834"/>
                <a:gd name="connsiteX31" fmla="*/ 323035 w 774600"/>
                <a:gd name="connsiteY31" fmla="*/ 253755 h 259834"/>
                <a:gd name="connsiteX32" fmla="*/ 289168 w 774600"/>
                <a:gd name="connsiteY32" fmla="*/ 259834 h 259834"/>
                <a:gd name="connsiteX33" fmla="*/ 261381 w 774600"/>
                <a:gd name="connsiteY33" fmla="*/ 256011 h 259834"/>
                <a:gd name="connsiteX34" fmla="*/ 238468 w 774600"/>
                <a:gd name="connsiteY34" fmla="*/ 244027 h 259834"/>
                <a:gd name="connsiteX35" fmla="*/ 220914 w 774600"/>
                <a:gd name="connsiteY35" fmla="*/ 223011 h 259834"/>
                <a:gd name="connsiteX36" fmla="*/ 209800 w 774600"/>
                <a:gd name="connsiteY36" fmla="*/ 191921 h 259834"/>
                <a:gd name="connsiteX37" fmla="*/ 205972 w 774600"/>
                <a:gd name="connsiteY37" fmla="*/ 150063 h 259834"/>
                <a:gd name="connsiteX38" fmla="*/ 205972 w 774600"/>
                <a:gd name="connsiteY38" fmla="*/ 108730 h 259834"/>
                <a:gd name="connsiteX39" fmla="*/ 211882 w 774600"/>
                <a:gd name="connsiteY39" fmla="*/ 58366 h 259834"/>
                <a:gd name="connsiteX40" fmla="*/ 228730 w 774600"/>
                <a:gd name="connsiteY40" fmla="*/ 24844 h 259834"/>
                <a:gd name="connsiteX41" fmla="*/ 254786 w 774600"/>
                <a:gd name="connsiteY41" fmla="*/ 5914 h 259834"/>
                <a:gd name="connsiteX42" fmla="*/ 288827 w 774600"/>
                <a:gd name="connsiteY42" fmla="*/ 10 h 259834"/>
                <a:gd name="connsiteX43" fmla="*/ 316614 w 774600"/>
                <a:gd name="connsiteY43" fmla="*/ 3833 h 259834"/>
                <a:gd name="connsiteX44" fmla="*/ 339542 w 774600"/>
                <a:gd name="connsiteY44" fmla="*/ 15467 h 259834"/>
                <a:gd name="connsiteX45" fmla="*/ 356906 w 774600"/>
                <a:gd name="connsiteY45" fmla="*/ 36308 h 259834"/>
                <a:gd name="connsiteX46" fmla="*/ 368020 w 774600"/>
                <a:gd name="connsiteY46" fmla="*/ 67048 h 259834"/>
                <a:gd name="connsiteX47" fmla="*/ 371848 w 774600"/>
                <a:gd name="connsiteY47" fmla="*/ 108730 h 259834"/>
                <a:gd name="connsiteX48" fmla="*/ 329995 w 774600"/>
                <a:gd name="connsiteY48" fmla="*/ 155978 h 259834"/>
                <a:gd name="connsiteX49" fmla="*/ 329995 w 774600"/>
                <a:gd name="connsiteY49" fmla="*/ 102485 h 259834"/>
                <a:gd name="connsiteX50" fmla="*/ 328258 w 774600"/>
                <a:gd name="connsiteY50" fmla="*/ 75914 h 259834"/>
                <a:gd name="connsiteX51" fmla="*/ 323039 w 774600"/>
                <a:gd name="connsiteY51" fmla="*/ 56289 h 259834"/>
                <a:gd name="connsiteX52" fmla="*/ 314708 w 774600"/>
                <a:gd name="connsiteY52" fmla="*/ 43088 h 259834"/>
                <a:gd name="connsiteX53" fmla="*/ 303234 w 774600"/>
                <a:gd name="connsiteY53" fmla="*/ 35623 h 259834"/>
                <a:gd name="connsiteX54" fmla="*/ 288823 w 774600"/>
                <a:gd name="connsiteY54" fmla="*/ 33191 h 259834"/>
                <a:gd name="connsiteX55" fmla="*/ 271459 w 774600"/>
                <a:gd name="connsiteY55" fmla="*/ 37014 h 259834"/>
                <a:gd name="connsiteX56" fmla="*/ 258613 w 774600"/>
                <a:gd name="connsiteY56" fmla="*/ 48823 h 259834"/>
                <a:gd name="connsiteX57" fmla="*/ 250608 w 774600"/>
                <a:gd name="connsiteY57" fmla="*/ 70360 h 259834"/>
                <a:gd name="connsiteX58" fmla="*/ 248015 w 774600"/>
                <a:gd name="connsiteY58" fmla="*/ 102490 h 259834"/>
                <a:gd name="connsiteX59" fmla="*/ 248015 w 774600"/>
                <a:gd name="connsiteY59" fmla="*/ 155982 h 259834"/>
                <a:gd name="connsiteX60" fmla="*/ 249752 w 774600"/>
                <a:gd name="connsiteY60" fmla="*/ 182904 h 259834"/>
                <a:gd name="connsiteX61" fmla="*/ 254956 w 774600"/>
                <a:gd name="connsiteY61" fmla="*/ 202874 h 259834"/>
                <a:gd name="connsiteX62" fmla="*/ 263302 w 774600"/>
                <a:gd name="connsiteY62" fmla="*/ 216420 h 259834"/>
                <a:gd name="connsiteX63" fmla="*/ 274756 w 774600"/>
                <a:gd name="connsiteY63" fmla="*/ 224061 h 259834"/>
                <a:gd name="connsiteX64" fmla="*/ 289168 w 774600"/>
                <a:gd name="connsiteY64" fmla="*/ 226493 h 259834"/>
                <a:gd name="connsiteX65" fmla="*/ 306721 w 774600"/>
                <a:gd name="connsiteY65" fmla="*/ 222670 h 259834"/>
                <a:gd name="connsiteX66" fmla="*/ 319567 w 774600"/>
                <a:gd name="connsiteY66" fmla="*/ 210511 h 259834"/>
                <a:gd name="connsiteX67" fmla="*/ 327383 w 774600"/>
                <a:gd name="connsiteY67" fmla="*/ 188453 h 259834"/>
                <a:gd name="connsiteX68" fmla="*/ 329995 w 774600"/>
                <a:gd name="connsiteY68" fmla="*/ 155978 h 259834"/>
                <a:gd name="connsiteX69" fmla="*/ 578701 w 774600"/>
                <a:gd name="connsiteY69" fmla="*/ 223015 h 259834"/>
                <a:gd name="connsiteX70" fmla="*/ 578701 w 774600"/>
                <a:gd name="connsiteY70" fmla="*/ 256362 h 259834"/>
                <a:gd name="connsiteX71" fmla="*/ 409187 w 774600"/>
                <a:gd name="connsiteY71" fmla="*/ 256362 h 259834"/>
                <a:gd name="connsiteX72" fmla="*/ 409187 w 774600"/>
                <a:gd name="connsiteY72" fmla="*/ 227704 h 259834"/>
                <a:gd name="connsiteX73" fmla="*/ 491507 w 774600"/>
                <a:gd name="connsiteY73" fmla="*/ 137913 h 259834"/>
                <a:gd name="connsiteX74" fmla="*/ 512874 w 774600"/>
                <a:gd name="connsiteY74" fmla="*/ 111513 h 259834"/>
                <a:gd name="connsiteX75" fmla="*/ 523813 w 774600"/>
                <a:gd name="connsiteY75" fmla="*/ 91542 h 259834"/>
                <a:gd name="connsiteX76" fmla="*/ 527110 w 774600"/>
                <a:gd name="connsiteY76" fmla="*/ 73998 h 259834"/>
                <a:gd name="connsiteX77" fmla="*/ 522592 w 774600"/>
                <a:gd name="connsiteY77" fmla="*/ 52981 h 259834"/>
                <a:gd name="connsiteX78" fmla="*/ 509746 w 774600"/>
                <a:gd name="connsiteY78" fmla="*/ 38565 h 259834"/>
                <a:gd name="connsiteX79" fmla="*/ 489085 w 774600"/>
                <a:gd name="connsiteY79" fmla="*/ 33181 h 259834"/>
                <a:gd name="connsiteX80" fmla="*/ 465452 w 774600"/>
                <a:gd name="connsiteY80" fmla="*/ 39261 h 259834"/>
                <a:gd name="connsiteX81" fmla="*/ 451040 w 774600"/>
                <a:gd name="connsiteY81" fmla="*/ 56109 h 259834"/>
                <a:gd name="connsiteX82" fmla="*/ 446181 w 774600"/>
                <a:gd name="connsiteY82" fmla="*/ 80423 h 259834"/>
                <a:gd name="connsiteX83" fmla="*/ 404328 w 774600"/>
                <a:gd name="connsiteY83" fmla="*/ 80423 h 259834"/>
                <a:gd name="connsiteX84" fmla="*/ 414391 w 774600"/>
                <a:gd name="connsiteY84" fmla="*/ 40131 h 259834"/>
                <a:gd name="connsiteX85" fmla="*/ 443569 w 774600"/>
                <a:gd name="connsiteY85" fmla="*/ 10953 h 259834"/>
                <a:gd name="connsiteX86" fmla="*/ 489596 w 774600"/>
                <a:gd name="connsiteY86" fmla="*/ 10 h 259834"/>
                <a:gd name="connsiteX87" fmla="*/ 532670 w 774600"/>
                <a:gd name="connsiteY87" fmla="*/ 8521 h 259834"/>
                <a:gd name="connsiteX88" fmla="*/ 559581 w 774600"/>
                <a:gd name="connsiteY88" fmla="*/ 32660 h 259834"/>
                <a:gd name="connsiteX89" fmla="*/ 568958 w 774600"/>
                <a:gd name="connsiteY89" fmla="*/ 69655 h 259834"/>
                <a:gd name="connsiteX90" fmla="*/ 565145 w 774600"/>
                <a:gd name="connsiteY90" fmla="*/ 93103 h 259834"/>
                <a:gd name="connsiteX91" fmla="*/ 554207 w 774600"/>
                <a:gd name="connsiteY91" fmla="*/ 116376 h 259834"/>
                <a:gd name="connsiteX92" fmla="*/ 537704 w 774600"/>
                <a:gd name="connsiteY92" fmla="*/ 139475 h 259834"/>
                <a:gd name="connsiteX93" fmla="*/ 516697 w 774600"/>
                <a:gd name="connsiteY93" fmla="*/ 162748 h 259834"/>
                <a:gd name="connsiteX94" fmla="*/ 461979 w 774600"/>
                <a:gd name="connsiteY94" fmla="*/ 223015 h 259834"/>
                <a:gd name="connsiteX95" fmla="*/ 578701 w 774600"/>
                <a:gd name="connsiteY95" fmla="*/ 223015 h 259834"/>
                <a:gd name="connsiteX96" fmla="*/ 660505 w 774600"/>
                <a:gd name="connsiteY96" fmla="*/ 110992 h 259834"/>
                <a:gd name="connsiteX97" fmla="*/ 685510 w 774600"/>
                <a:gd name="connsiteY97" fmla="*/ 110992 h 259834"/>
                <a:gd name="connsiteX98" fmla="*/ 709639 w 774600"/>
                <a:gd name="connsiteY98" fmla="*/ 105953 h 259834"/>
                <a:gd name="connsiteX99" fmla="*/ 724065 w 774600"/>
                <a:gd name="connsiteY99" fmla="*/ 92057 h 259834"/>
                <a:gd name="connsiteX100" fmla="*/ 728754 w 774600"/>
                <a:gd name="connsiteY100" fmla="*/ 71736 h 259834"/>
                <a:gd name="connsiteX101" fmla="*/ 724411 w 774600"/>
                <a:gd name="connsiteY101" fmla="*/ 51240 h 259834"/>
                <a:gd name="connsiteX102" fmla="*/ 711565 w 774600"/>
                <a:gd name="connsiteY102" fmla="*/ 37865 h 259834"/>
                <a:gd name="connsiteX103" fmla="*/ 689858 w 774600"/>
                <a:gd name="connsiteY103" fmla="*/ 33176 h 259834"/>
                <a:gd name="connsiteX104" fmla="*/ 669712 w 774600"/>
                <a:gd name="connsiteY104" fmla="*/ 37690 h 259834"/>
                <a:gd name="connsiteX105" fmla="*/ 655626 w 774600"/>
                <a:gd name="connsiteY105" fmla="*/ 50195 h 259834"/>
                <a:gd name="connsiteX106" fmla="*/ 650422 w 774600"/>
                <a:gd name="connsiteY106" fmla="*/ 69300 h 259834"/>
                <a:gd name="connsiteX107" fmla="*/ 608394 w 774600"/>
                <a:gd name="connsiteY107" fmla="*/ 69300 h 259834"/>
                <a:gd name="connsiteX108" fmla="*/ 618992 w 774600"/>
                <a:gd name="connsiteY108" fmla="*/ 33521 h 259834"/>
                <a:gd name="connsiteX109" fmla="*/ 647810 w 774600"/>
                <a:gd name="connsiteY109" fmla="*/ 9032 h 259834"/>
                <a:gd name="connsiteX110" fmla="*/ 689148 w 774600"/>
                <a:gd name="connsiteY110" fmla="*/ 0 h 259834"/>
                <a:gd name="connsiteX111" fmla="*/ 731876 w 774600"/>
                <a:gd name="connsiteY111" fmla="*/ 8161 h 259834"/>
                <a:gd name="connsiteX112" fmla="*/ 760524 w 774600"/>
                <a:gd name="connsiteY112" fmla="*/ 32130 h 259834"/>
                <a:gd name="connsiteX113" fmla="*/ 770777 w 774600"/>
                <a:gd name="connsiteY113" fmla="*/ 71731 h 259834"/>
                <a:gd name="connsiteX114" fmla="*/ 765743 w 774600"/>
                <a:gd name="connsiteY114" fmla="*/ 93614 h 259834"/>
                <a:gd name="connsiteX115" fmla="*/ 750802 w 774600"/>
                <a:gd name="connsiteY115" fmla="*/ 113935 h 259834"/>
                <a:gd name="connsiteX116" fmla="*/ 726137 w 774600"/>
                <a:gd name="connsiteY116" fmla="*/ 128696 h 259834"/>
                <a:gd name="connsiteX117" fmla="*/ 691925 w 774600"/>
                <a:gd name="connsiteY117" fmla="*/ 134256 h 259834"/>
                <a:gd name="connsiteX118" fmla="*/ 660495 w 774600"/>
                <a:gd name="connsiteY118" fmla="*/ 134256 h 259834"/>
                <a:gd name="connsiteX119" fmla="*/ 660495 w 774600"/>
                <a:gd name="connsiteY119" fmla="*/ 110982 h 259834"/>
                <a:gd name="connsiteX120" fmla="*/ 660505 w 774600"/>
                <a:gd name="connsiteY120" fmla="*/ 143643 h 259834"/>
                <a:gd name="connsiteX121" fmla="*/ 660505 w 774600"/>
                <a:gd name="connsiteY121" fmla="*/ 120715 h 259834"/>
                <a:gd name="connsiteX122" fmla="*/ 691935 w 774600"/>
                <a:gd name="connsiteY122" fmla="*/ 120715 h 259834"/>
                <a:gd name="connsiteX123" fmla="*/ 729790 w 774600"/>
                <a:gd name="connsiteY123" fmla="*/ 125924 h 259834"/>
                <a:gd name="connsiteX124" fmla="*/ 755500 w 774600"/>
                <a:gd name="connsiteY124" fmla="*/ 140340 h 259834"/>
                <a:gd name="connsiteX125" fmla="*/ 769911 w 774600"/>
                <a:gd name="connsiteY125" fmla="*/ 161007 h 259834"/>
                <a:gd name="connsiteX126" fmla="*/ 774600 w 774600"/>
                <a:gd name="connsiteY126" fmla="*/ 185671 h 259834"/>
                <a:gd name="connsiteX127" fmla="*/ 768175 w 774600"/>
                <a:gd name="connsiteY127" fmla="*/ 217281 h 259834"/>
                <a:gd name="connsiteX128" fmla="*/ 750296 w 774600"/>
                <a:gd name="connsiteY128" fmla="*/ 240554 h 259834"/>
                <a:gd name="connsiteX129" fmla="*/ 723024 w 774600"/>
                <a:gd name="connsiteY129" fmla="*/ 254971 h 259834"/>
                <a:gd name="connsiteX130" fmla="*/ 689328 w 774600"/>
                <a:gd name="connsiteY130" fmla="*/ 259834 h 259834"/>
                <a:gd name="connsiteX131" fmla="*/ 658068 w 774600"/>
                <a:gd name="connsiteY131" fmla="*/ 255316 h 259834"/>
                <a:gd name="connsiteX132" fmla="*/ 631327 w 774600"/>
                <a:gd name="connsiteY132" fmla="*/ 241945 h 259834"/>
                <a:gd name="connsiteX133" fmla="*/ 612572 w 774600"/>
                <a:gd name="connsiteY133" fmla="*/ 219543 h 259834"/>
                <a:gd name="connsiteX134" fmla="*/ 605787 w 774600"/>
                <a:gd name="connsiteY134" fmla="*/ 188283 h 259834"/>
                <a:gd name="connsiteX135" fmla="*/ 647640 w 774600"/>
                <a:gd name="connsiteY135" fmla="*/ 188283 h 259834"/>
                <a:gd name="connsiteX136" fmla="*/ 652859 w 774600"/>
                <a:gd name="connsiteY136" fmla="*/ 208254 h 259834"/>
                <a:gd name="connsiteX137" fmla="*/ 667786 w 774600"/>
                <a:gd name="connsiteY137" fmla="*/ 221624 h 259834"/>
                <a:gd name="connsiteX138" fmla="*/ 690028 w 774600"/>
                <a:gd name="connsiteY138" fmla="*/ 226488 h 259834"/>
                <a:gd name="connsiteX139" fmla="*/ 712767 w 774600"/>
                <a:gd name="connsiteY139" fmla="*/ 221799 h 259834"/>
                <a:gd name="connsiteX140" fmla="*/ 727363 w 774600"/>
                <a:gd name="connsiteY140" fmla="*/ 207904 h 259834"/>
                <a:gd name="connsiteX141" fmla="*/ 732567 w 774600"/>
                <a:gd name="connsiteY141" fmla="*/ 185671 h 259834"/>
                <a:gd name="connsiteX142" fmla="*/ 726847 w 774600"/>
                <a:gd name="connsiteY142" fmla="*/ 161702 h 259834"/>
                <a:gd name="connsiteX143" fmla="*/ 710515 w 774600"/>
                <a:gd name="connsiteY143" fmla="*/ 148157 h 259834"/>
                <a:gd name="connsiteX144" fmla="*/ 685510 w 774600"/>
                <a:gd name="connsiteY144" fmla="*/ 143643 h 259834"/>
                <a:gd name="connsiteX145" fmla="*/ 660505 w 774600"/>
                <a:gd name="connsiteY145" fmla="*/ 143643 h 2598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</a:cxnLst>
              <a:rect l="l" t="t" r="r" b="b"/>
              <a:pathLst>
                <a:path w="774600" h="259834">
                  <a:moveTo>
                    <a:pt x="174372" y="223015"/>
                  </a:moveTo>
                  <a:lnTo>
                    <a:pt x="174372" y="256362"/>
                  </a:lnTo>
                  <a:lnTo>
                    <a:pt x="4859" y="256362"/>
                  </a:lnTo>
                  <a:lnTo>
                    <a:pt x="4859" y="227704"/>
                  </a:lnTo>
                  <a:lnTo>
                    <a:pt x="87193" y="137913"/>
                  </a:lnTo>
                  <a:cubicBezTo>
                    <a:pt x="96211" y="127724"/>
                    <a:pt x="103336" y="118925"/>
                    <a:pt x="108541" y="111513"/>
                  </a:cubicBezTo>
                  <a:cubicBezTo>
                    <a:pt x="113760" y="104100"/>
                    <a:pt x="117403" y="97446"/>
                    <a:pt x="119499" y="91542"/>
                  </a:cubicBezTo>
                  <a:cubicBezTo>
                    <a:pt x="121697" y="85520"/>
                    <a:pt x="122797" y="79674"/>
                    <a:pt x="122797" y="73998"/>
                  </a:cubicBezTo>
                  <a:cubicBezTo>
                    <a:pt x="122797" y="66012"/>
                    <a:pt x="121284" y="59003"/>
                    <a:pt x="118278" y="52981"/>
                  </a:cubicBezTo>
                  <a:cubicBezTo>
                    <a:pt x="115374" y="46843"/>
                    <a:pt x="111099" y="42038"/>
                    <a:pt x="105413" y="38565"/>
                  </a:cubicBezTo>
                  <a:cubicBezTo>
                    <a:pt x="99747" y="34976"/>
                    <a:pt x="92860" y="33181"/>
                    <a:pt x="84752" y="33181"/>
                  </a:cubicBezTo>
                  <a:cubicBezTo>
                    <a:pt x="75374" y="33181"/>
                    <a:pt x="67510" y="35209"/>
                    <a:pt x="61138" y="39261"/>
                  </a:cubicBezTo>
                  <a:cubicBezTo>
                    <a:pt x="54766" y="43312"/>
                    <a:pt x="49956" y="48930"/>
                    <a:pt x="46712" y="56109"/>
                  </a:cubicBezTo>
                  <a:cubicBezTo>
                    <a:pt x="43482" y="63171"/>
                    <a:pt x="41853" y="71279"/>
                    <a:pt x="41853" y="80423"/>
                  </a:cubicBezTo>
                  <a:lnTo>
                    <a:pt x="0" y="80423"/>
                  </a:lnTo>
                  <a:cubicBezTo>
                    <a:pt x="0" y="65720"/>
                    <a:pt x="3366" y="52286"/>
                    <a:pt x="10083" y="40131"/>
                  </a:cubicBezTo>
                  <a:cubicBezTo>
                    <a:pt x="16800" y="27860"/>
                    <a:pt x="26517" y="18132"/>
                    <a:pt x="39261" y="10953"/>
                  </a:cubicBezTo>
                  <a:cubicBezTo>
                    <a:pt x="51989" y="3658"/>
                    <a:pt x="67325" y="10"/>
                    <a:pt x="85272" y="10"/>
                  </a:cubicBezTo>
                  <a:cubicBezTo>
                    <a:pt x="102189" y="10"/>
                    <a:pt x="116546" y="2845"/>
                    <a:pt x="128346" y="8521"/>
                  </a:cubicBezTo>
                  <a:cubicBezTo>
                    <a:pt x="140160" y="14193"/>
                    <a:pt x="149129" y="22242"/>
                    <a:pt x="155277" y="32660"/>
                  </a:cubicBezTo>
                  <a:cubicBezTo>
                    <a:pt x="161527" y="43079"/>
                    <a:pt x="164654" y="55413"/>
                    <a:pt x="164654" y="69655"/>
                  </a:cubicBezTo>
                  <a:cubicBezTo>
                    <a:pt x="164654" y="77529"/>
                    <a:pt x="163385" y="85345"/>
                    <a:pt x="160827" y="93103"/>
                  </a:cubicBezTo>
                  <a:cubicBezTo>
                    <a:pt x="158283" y="100861"/>
                    <a:pt x="154645" y="108619"/>
                    <a:pt x="149888" y="116376"/>
                  </a:cubicBezTo>
                  <a:cubicBezTo>
                    <a:pt x="145267" y="124017"/>
                    <a:pt x="139757" y="131717"/>
                    <a:pt x="133400" y="139475"/>
                  </a:cubicBezTo>
                  <a:cubicBezTo>
                    <a:pt x="127028" y="147116"/>
                    <a:pt x="120019" y="154873"/>
                    <a:pt x="112378" y="162748"/>
                  </a:cubicBezTo>
                  <a:lnTo>
                    <a:pt x="57675" y="223015"/>
                  </a:lnTo>
                  <a:lnTo>
                    <a:pt x="174377" y="223015"/>
                  </a:lnTo>
                  <a:close/>
                  <a:moveTo>
                    <a:pt x="371848" y="108735"/>
                  </a:moveTo>
                  <a:lnTo>
                    <a:pt x="371848" y="150068"/>
                  </a:lnTo>
                  <a:cubicBezTo>
                    <a:pt x="371848" y="169869"/>
                    <a:pt x="369873" y="186770"/>
                    <a:pt x="365938" y="200783"/>
                  </a:cubicBezTo>
                  <a:cubicBezTo>
                    <a:pt x="362125" y="214674"/>
                    <a:pt x="356561" y="225963"/>
                    <a:pt x="349260" y="234650"/>
                  </a:cubicBezTo>
                  <a:cubicBezTo>
                    <a:pt x="341960" y="243332"/>
                    <a:pt x="333219" y="249703"/>
                    <a:pt x="323035" y="253755"/>
                  </a:cubicBezTo>
                  <a:cubicBezTo>
                    <a:pt x="312971" y="257806"/>
                    <a:pt x="301668" y="259834"/>
                    <a:pt x="289168" y="259834"/>
                  </a:cubicBezTo>
                  <a:cubicBezTo>
                    <a:pt x="279221" y="259834"/>
                    <a:pt x="269951" y="258560"/>
                    <a:pt x="261381" y="256011"/>
                  </a:cubicBezTo>
                  <a:cubicBezTo>
                    <a:pt x="252933" y="253463"/>
                    <a:pt x="245287" y="249470"/>
                    <a:pt x="238468" y="244027"/>
                  </a:cubicBezTo>
                  <a:cubicBezTo>
                    <a:pt x="231634" y="238584"/>
                    <a:pt x="225773" y="231581"/>
                    <a:pt x="220914" y="223011"/>
                  </a:cubicBezTo>
                  <a:cubicBezTo>
                    <a:pt x="216172" y="214329"/>
                    <a:pt x="212466" y="203964"/>
                    <a:pt x="209800" y="191921"/>
                  </a:cubicBezTo>
                  <a:cubicBezTo>
                    <a:pt x="207256" y="179878"/>
                    <a:pt x="205972" y="165929"/>
                    <a:pt x="205972" y="150063"/>
                  </a:cubicBezTo>
                  <a:lnTo>
                    <a:pt x="205972" y="108730"/>
                  </a:lnTo>
                  <a:cubicBezTo>
                    <a:pt x="205972" y="88813"/>
                    <a:pt x="207947" y="72028"/>
                    <a:pt x="211882" y="58366"/>
                  </a:cubicBezTo>
                  <a:cubicBezTo>
                    <a:pt x="215831" y="44587"/>
                    <a:pt x="221430" y="33414"/>
                    <a:pt x="228730" y="24844"/>
                  </a:cubicBezTo>
                  <a:cubicBezTo>
                    <a:pt x="236031" y="16162"/>
                    <a:pt x="244722" y="9849"/>
                    <a:pt x="254786" y="5914"/>
                  </a:cubicBezTo>
                  <a:cubicBezTo>
                    <a:pt x="264970" y="1980"/>
                    <a:pt x="276323" y="10"/>
                    <a:pt x="288827" y="10"/>
                  </a:cubicBezTo>
                  <a:cubicBezTo>
                    <a:pt x="298910" y="10"/>
                    <a:pt x="308166" y="1284"/>
                    <a:pt x="316614" y="3833"/>
                  </a:cubicBezTo>
                  <a:cubicBezTo>
                    <a:pt x="325184" y="6265"/>
                    <a:pt x="332825" y="10141"/>
                    <a:pt x="339542" y="15467"/>
                  </a:cubicBezTo>
                  <a:cubicBezTo>
                    <a:pt x="346376" y="20793"/>
                    <a:pt x="352164" y="27743"/>
                    <a:pt x="356906" y="36308"/>
                  </a:cubicBezTo>
                  <a:cubicBezTo>
                    <a:pt x="361765" y="44762"/>
                    <a:pt x="365476" y="55010"/>
                    <a:pt x="368020" y="67048"/>
                  </a:cubicBezTo>
                  <a:cubicBezTo>
                    <a:pt x="370578" y="78974"/>
                    <a:pt x="371848" y="92870"/>
                    <a:pt x="371848" y="108730"/>
                  </a:cubicBezTo>
                  <a:close/>
                  <a:moveTo>
                    <a:pt x="329995" y="155978"/>
                  </a:moveTo>
                  <a:lnTo>
                    <a:pt x="329995" y="102485"/>
                  </a:lnTo>
                  <a:cubicBezTo>
                    <a:pt x="329995" y="92412"/>
                    <a:pt x="329411" y="83555"/>
                    <a:pt x="328258" y="75914"/>
                  </a:cubicBezTo>
                  <a:cubicBezTo>
                    <a:pt x="327091" y="68157"/>
                    <a:pt x="325355" y="61615"/>
                    <a:pt x="323039" y="56289"/>
                  </a:cubicBezTo>
                  <a:cubicBezTo>
                    <a:pt x="320841" y="50846"/>
                    <a:pt x="318059" y="46445"/>
                    <a:pt x="314708" y="43088"/>
                  </a:cubicBezTo>
                  <a:cubicBezTo>
                    <a:pt x="311342" y="39616"/>
                    <a:pt x="307529" y="37125"/>
                    <a:pt x="303234" y="35623"/>
                  </a:cubicBezTo>
                  <a:cubicBezTo>
                    <a:pt x="298959" y="34003"/>
                    <a:pt x="294148" y="33191"/>
                    <a:pt x="288823" y="33191"/>
                  </a:cubicBezTo>
                  <a:cubicBezTo>
                    <a:pt x="282349" y="33191"/>
                    <a:pt x="276542" y="34465"/>
                    <a:pt x="271459" y="37014"/>
                  </a:cubicBezTo>
                  <a:cubicBezTo>
                    <a:pt x="266357" y="39445"/>
                    <a:pt x="262081" y="43380"/>
                    <a:pt x="258613" y="48823"/>
                  </a:cubicBezTo>
                  <a:cubicBezTo>
                    <a:pt x="255126" y="54266"/>
                    <a:pt x="252466" y="61445"/>
                    <a:pt x="250608" y="70360"/>
                  </a:cubicBezTo>
                  <a:cubicBezTo>
                    <a:pt x="248871" y="79159"/>
                    <a:pt x="248015" y="89869"/>
                    <a:pt x="248015" y="102490"/>
                  </a:cubicBezTo>
                  <a:lnTo>
                    <a:pt x="248015" y="155982"/>
                  </a:lnTo>
                  <a:cubicBezTo>
                    <a:pt x="248015" y="166172"/>
                    <a:pt x="248584" y="175146"/>
                    <a:pt x="249752" y="182904"/>
                  </a:cubicBezTo>
                  <a:cubicBezTo>
                    <a:pt x="250904" y="190661"/>
                    <a:pt x="252636" y="197320"/>
                    <a:pt x="254956" y="202874"/>
                  </a:cubicBezTo>
                  <a:cubicBezTo>
                    <a:pt x="257276" y="208317"/>
                    <a:pt x="260058" y="212831"/>
                    <a:pt x="263302" y="216420"/>
                  </a:cubicBezTo>
                  <a:cubicBezTo>
                    <a:pt x="266653" y="219893"/>
                    <a:pt x="270481" y="222441"/>
                    <a:pt x="274756" y="224061"/>
                  </a:cubicBezTo>
                  <a:cubicBezTo>
                    <a:pt x="279153" y="225681"/>
                    <a:pt x="283964" y="226493"/>
                    <a:pt x="289168" y="226493"/>
                  </a:cubicBezTo>
                  <a:cubicBezTo>
                    <a:pt x="295778" y="226493"/>
                    <a:pt x="301619" y="225219"/>
                    <a:pt x="306721" y="222670"/>
                  </a:cubicBezTo>
                  <a:cubicBezTo>
                    <a:pt x="311804" y="220121"/>
                    <a:pt x="316099" y="216070"/>
                    <a:pt x="319567" y="210511"/>
                  </a:cubicBezTo>
                  <a:cubicBezTo>
                    <a:pt x="323035" y="204839"/>
                    <a:pt x="325646" y="197485"/>
                    <a:pt x="327383" y="188453"/>
                  </a:cubicBezTo>
                  <a:cubicBezTo>
                    <a:pt x="329119" y="179421"/>
                    <a:pt x="329995" y="168594"/>
                    <a:pt x="329995" y="155978"/>
                  </a:cubicBezTo>
                  <a:close/>
                  <a:moveTo>
                    <a:pt x="578701" y="223015"/>
                  </a:moveTo>
                  <a:lnTo>
                    <a:pt x="578701" y="256362"/>
                  </a:lnTo>
                  <a:lnTo>
                    <a:pt x="409187" y="256362"/>
                  </a:lnTo>
                  <a:lnTo>
                    <a:pt x="409187" y="227704"/>
                  </a:lnTo>
                  <a:lnTo>
                    <a:pt x="491507" y="137913"/>
                  </a:lnTo>
                  <a:cubicBezTo>
                    <a:pt x="500539" y="127724"/>
                    <a:pt x="507670" y="118925"/>
                    <a:pt x="512874" y="111513"/>
                  </a:cubicBezTo>
                  <a:cubicBezTo>
                    <a:pt x="518078" y="104100"/>
                    <a:pt x="521736" y="97446"/>
                    <a:pt x="523813" y="91542"/>
                  </a:cubicBezTo>
                  <a:cubicBezTo>
                    <a:pt x="526011" y="85520"/>
                    <a:pt x="527110" y="79674"/>
                    <a:pt x="527110" y="73998"/>
                  </a:cubicBezTo>
                  <a:cubicBezTo>
                    <a:pt x="527110" y="66012"/>
                    <a:pt x="525617" y="59003"/>
                    <a:pt x="522592" y="52981"/>
                  </a:cubicBezTo>
                  <a:cubicBezTo>
                    <a:pt x="519708" y="46843"/>
                    <a:pt x="515413" y="42038"/>
                    <a:pt x="509746" y="38565"/>
                  </a:cubicBezTo>
                  <a:cubicBezTo>
                    <a:pt x="504080" y="34976"/>
                    <a:pt x="497193" y="33181"/>
                    <a:pt x="489085" y="33181"/>
                  </a:cubicBezTo>
                  <a:cubicBezTo>
                    <a:pt x="479708" y="33181"/>
                    <a:pt x="471823" y="35209"/>
                    <a:pt x="465452" y="39261"/>
                  </a:cubicBezTo>
                  <a:cubicBezTo>
                    <a:pt x="459095" y="43312"/>
                    <a:pt x="454289" y="48930"/>
                    <a:pt x="451040" y="56109"/>
                  </a:cubicBezTo>
                  <a:cubicBezTo>
                    <a:pt x="447796" y="63171"/>
                    <a:pt x="446181" y="71279"/>
                    <a:pt x="446181" y="80423"/>
                  </a:cubicBezTo>
                  <a:lnTo>
                    <a:pt x="404328" y="80423"/>
                  </a:lnTo>
                  <a:cubicBezTo>
                    <a:pt x="404328" y="65720"/>
                    <a:pt x="407679" y="52286"/>
                    <a:pt x="414391" y="40131"/>
                  </a:cubicBezTo>
                  <a:cubicBezTo>
                    <a:pt x="421108" y="27860"/>
                    <a:pt x="430846" y="18132"/>
                    <a:pt x="443569" y="10953"/>
                  </a:cubicBezTo>
                  <a:cubicBezTo>
                    <a:pt x="456313" y="3658"/>
                    <a:pt x="471648" y="10"/>
                    <a:pt x="489596" y="10"/>
                  </a:cubicBezTo>
                  <a:cubicBezTo>
                    <a:pt x="506497" y="10"/>
                    <a:pt x="520855" y="2845"/>
                    <a:pt x="532670" y="8521"/>
                  </a:cubicBezTo>
                  <a:cubicBezTo>
                    <a:pt x="544484" y="14193"/>
                    <a:pt x="553453" y="22242"/>
                    <a:pt x="559581" y="32660"/>
                  </a:cubicBezTo>
                  <a:cubicBezTo>
                    <a:pt x="565831" y="43079"/>
                    <a:pt x="568958" y="55413"/>
                    <a:pt x="568958" y="69655"/>
                  </a:cubicBezTo>
                  <a:cubicBezTo>
                    <a:pt x="568958" y="77529"/>
                    <a:pt x="567689" y="85345"/>
                    <a:pt x="565145" y="93103"/>
                  </a:cubicBezTo>
                  <a:cubicBezTo>
                    <a:pt x="562601" y="100861"/>
                    <a:pt x="558944" y="108619"/>
                    <a:pt x="554207" y="116376"/>
                  </a:cubicBezTo>
                  <a:cubicBezTo>
                    <a:pt x="549571" y="124017"/>
                    <a:pt x="544075" y="131717"/>
                    <a:pt x="537704" y="139475"/>
                  </a:cubicBezTo>
                  <a:cubicBezTo>
                    <a:pt x="531332" y="147116"/>
                    <a:pt x="524323" y="154873"/>
                    <a:pt x="516697" y="162748"/>
                  </a:cubicBezTo>
                  <a:lnTo>
                    <a:pt x="461979" y="223015"/>
                  </a:lnTo>
                  <a:lnTo>
                    <a:pt x="578701" y="223015"/>
                  </a:lnTo>
                  <a:close/>
                  <a:moveTo>
                    <a:pt x="660505" y="110992"/>
                  </a:moveTo>
                  <a:lnTo>
                    <a:pt x="685510" y="110992"/>
                  </a:lnTo>
                  <a:cubicBezTo>
                    <a:pt x="695233" y="110992"/>
                    <a:pt x="703287" y="109314"/>
                    <a:pt x="709639" y="105953"/>
                  </a:cubicBezTo>
                  <a:cubicBezTo>
                    <a:pt x="716132" y="102597"/>
                    <a:pt x="720943" y="97962"/>
                    <a:pt x="724065" y="92057"/>
                  </a:cubicBezTo>
                  <a:cubicBezTo>
                    <a:pt x="727188" y="86153"/>
                    <a:pt x="728754" y="79377"/>
                    <a:pt x="728754" y="71736"/>
                  </a:cubicBezTo>
                  <a:cubicBezTo>
                    <a:pt x="728754" y="64095"/>
                    <a:pt x="727295" y="56916"/>
                    <a:pt x="724411" y="51240"/>
                  </a:cubicBezTo>
                  <a:cubicBezTo>
                    <a:pt x="721628" y="45452"/>
                    <a:pt x="717353" y="40992"/>
                    <a:pt x="711565" y="37865"/>
                  </a:cubicBezTo>
                  <a:cubicBezTo>
                    <a:pt x="705879" y="34737"/>
                    <a:pt x="698652" y="33176"/>
                    <a:pt x="689858" y="33176"/>
                  </a:cubicBezTo>
                  <a:cubicBezTo>
                    <a:pt x="682441" y="33176"/>
                    <a:pt x="675724" y="34684"/>
                    <a:pt x="669712" y="37690"/>
                  </a:cubicBezTo>
                  <a:cubicBezTo>
                    <a:pt x="663803" y="40584"/>
                    <a:pt x="659114" y="44752"/>
                    <a:pt x="655626" y="50195"/>
                  </a:cubicBezTo>
                  <a:cubicBezTo>
                    <a:pt x="652159" y="55520"/>
                    <a:pt x="650422" y="61887"/>
                    <a:pt x="650422" y="69300"/>
                  </a:cubicBezTo>
                  <a:lnTo>
                    <a:pt x="608394" y="69300"/>
                  </a:lnTo>
                  <a:cubicBezTo>
                    <a:pt x="608394" y="55871"/>
                    <a:pt x="611916" y="43945"/>
                    <a:pt x="618992" y="33521"/>
                  </a:cubicBezTo>
                  <a:cubicBezTo>
                    <a:pt x="626050" y="23103"/>
                    <a:pt x="635670" y="14937"/>
                    <a:pt x="647810" y="9032"/>
                  </a:cubicBezTo>
                  <a:cubicBezTo>
                    <a:pt x="660092" y="3011"/>
                    <a:pt x="673866" y="0"/>
                    <a:pt x="689148" y="0"/>
                  </a:cubicBezTo>
                  <a:cubicBezTo>
                    <a:pt x="705480" y="0"/>
                    <a:pt x="719717" y="2724"/>
                    <a:pt x="731876" y="8161"/>
                  </a:cubicBezTo>
                  <a:cubicBezTo>
                    <a:pt x="744138" y="13487"/>
                    <a:pt x="753705" y="21479"/>
                    <a:pt x="760524" y="32130"/>
                  </a:cubicBezTo>
                  <a:cubicBezTo>
                    <a:pt x="767358" y="42782"/>
                    <a:pt x="770777" y="55982"/>
                    <a:pt x="770777" y="71731"/>
                  </a:cubicBezTo>
                  <a:cubicBezTo>
                    <a:pt x="770777" y="78910"/>
                    <a:pt x="769094" y="86206"/>
                    <a:pt x="765743" y="93614"/>
                  </a:cubicBezTo>
                  <a:cubicBezTo>
                    <a:pt x="762378" y="101026"/>
                    <a:pt x="757397" y="107797"/>
                    <a:pt x="750802" y="113935"/>
                  </a:cubicBezTo>
                  <a:cubicBezTo>
                    <a:pt x="744206" y="119956"/>
                    <a:pt x="735982" y="124873"/>
                    <a:pt x="726137" y="128696"/>
                  </a:cubicBezTo>
                  <a:cubicBezTo>
                    <a:pt x="716298" y="132403"/>
                    <a:pt x="704892" y="134256"/>
                    <a:pt x="691925" y="134256"/>
                  </a:cubicBezTo>
                  <a:lnTo>
                    <a:pt x="660495" y="134256"/>
                  </a:lnTo>
                  <a:lnTo>
                    <a:pt x="660495" y="110982"/>
                  </a:lnTo>
                  <a:close/>
                  <a:moveTo>
                    <a:pt x="660505" y="143643"/>
                  </a:moveTo>
                  <a:lnTo>
                    <a:pt x="660505" y="120715"/>
                  </a:lnTo>
                  <a:lnTo>
                    <a:pt x="691935" y="120715"/>
                  </a:lnTo>
                  <a:cubicBezTo>
                    <a:pt x="706755" y="120715"/>
                    <a:pt x="719381" y="122451"/>
                    <a:pt x="729790" y="125924"/>
                  </a:cubicBezTo>
                  <a:cubicBezTo>
                    <a:pt x="740335" y="129397"/>
                    <a:pt x="748905" y="134202"/>
                    <a:pt x="755500" y="140340"/>
                  </a:cubicBezTo>
                  <a:cubicBezTo>
                    <a:pt x="762095" y="146362"/>
                    <a:pt x="766906" y="153249"/>
                    <a:pt x="769911" y="161007"/>
                  </a:cubicBezTo>
                  <a:cubicBezTo>
                    <a:pt x="773039" y="168764"/>
                    <a:pt x="774600" y="176984"/>
                    <a:pt x="774600" y="185671"/>
                  </a:cubicBezTo>
                  <a:cubicBezTo>
                    <a:pt x="774600" y="197480"/>
                    <a:pt x="772470" y="208015"/>
                    <a:pt x="768175" y="217281"/>
                  </a:cubicBezTo>
                  <a:cubicBezTo>
                    <a:pt x="764016" y="226430"/>
                    <a:pt x="758044" y="234188"/>
                    <a:pt x="750296" y="240554"/>
                  </a:cubicBezTo>
                  <a:cubicBezTo>
                    <a:pt x="742533" y="246921"/>
                    <a:pt x="733447" y="251726"/>
                    <a:pt x="723024" y="254971"/>
                  </a:cubicBezTo>
                  <a:cubicBezTo>
                    <a:pt x="712718" y="258215"/>
                    <a:pt x="701487" y="259834"/>
                    <a:pt x="689328" y="259834"/>
                  </a:cubicBezTo>
                  <a:cubicBezTo>
                    <a:pt x="678457" y="259834"/>
                    <a:pt x="668029" y="258327"/>
                    <a:pt x="658068" y="255316"/>
                  </a:cubicBezTo>
                  <a:cubicBezTo>
                    <a:pt x="648107" y="252305"/>
                    <a:pt x="639192" y="247850"/>
                    <a:pt x="631327" y="241945"/>
                  </a:cubicBezTo>
                  <a:cubicBezTo>
                    <a:pt x="623443" y="235924"/>
                    <a:pt x="617193" y="228458"/>
                    <a:pt x="612572" y="219543"/>
                  </a:cubicBezTo>
                  <a:cubicBezTo>
                    <a:pt x="608054" y="210511"/>
                    <a:pt x="605787" y="200092"/>
                    <a:pt x="605787" y="188283"/>
                  </a:cubicBezTo>
                  <a:lnTo>
                    <a:pt x="647640" y="188283"/>
                  </a:lnTo>
                  <a:cubicBezTo>
                    <a:pt x="647640" y="195807"/>
                    <a:pt x="649377" y="202466"/>
                    <a:pt x="652859" y="208254"/>
                  </a:cubicBezTo>
                  <a:cubicBezTo>
                    <a:pt x="656449" y="213925"/>
                    <a:pt x="661429" y="218385"/>
                    <a:pt x="667786" y="221624"/>
                  </a:cubicBezTo>
                  <a:cubicBezTo>
                    <a:pt x="674279" y="224869"/>
                    <a:pt x="681682" y="226488"/>
                    <a:pt x="690028" y="226488"/>
                  </a:cubicBezTo>
                  <a:cubicBezTo>
                    <a:pt x="698822" y="226488"/>
                    <a:pt x="706415" y="224927"/>
                    <a:pt x="712767" y="221799"/>
                  </a:cubicBezTo>
                  <a:cubicBezTo>
                    <a:pt x="719138" y="218672"/>
                    <a:pt x="723997" y="214042"/>
                    <a:pt x="727363" y="207904"/>
                  </a:cubicBezTo>
                  <a:cubicBezTo>
                    <a:pt x="730831" y="201765"/>
                    <a:pt x="732567" y="194358"/>
                    <a:pt x="732567" y="185671"/>
                  </a:cubicBezTo>
                  <a:cubicBezTo>
                    <a:pt x="732567" y="175827"/>
                    <a:pt x="730660" y="167840"/>
                    <a:pt x="726847" y="161702"/>
                  </a:cubicBezTo>
                  <a:cubicBezTo>
                    <a:pt x="723019" y="155564"/>
                    <a:pt x="717572" y="151050"/>
                    <a:pt x="710515" y="148157"/>
                  </a:cubicBezTo>
                  <a:cubicBezTo>
                    <a:pt x="703457" y="145146"/>
                    <a:pt x="695111" y="143643"/>
                    <a:pt x="685510" y="143643"/>
                  </a:cubicBezTo>
                  <a:lnTo>
                    <a:pt x="660505" y="143643"/>
                  </a:lnTo>
                  <a:close/>
                </a:path>
              </a:pathLst>
            </a:custGeom>
            <a:solidFill>
              <a:srgbClr val="EE3431"/>
            </a:solidFill>
            <a:ln w="48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7" name="Полилиния: фигура 36">
              <a:extLst>
                <a:ext uri="{FF2B5EF4-FFF2-40B4-BE49-F238E27FC236}">
                  <a16:creationId xmlns:a16="http://schemas.microsoft.com/office/drawing/2014/main" id="{E5E3243E-660B-4278-B254-1B426FFB8DEC}"/>
                </a:ext>
              </a:extLst>
            </p:cNvPr>
            <p:cNvSpPr/>
            <p:nvPr/>
          </p:nvSpPr>
          <p:spPr>
            <a:xfrm>
              <a:off x="8902858" y="5870060"/>
              <a:ext cx="774600" cy="259829"/>
            </a:xfrm>
            <a:custGeom>
              <a:avLst/>
              <a:gdLst>
                <a:gd name="connsiteX0" fmla="*/ 174372 w 774600"/>
                <a:gd name="connsiteY0" fmla="*/ 223011 h 259829"/>
                <a:gd name="connsiteX1" fmla="*/ 174372 w 774600"/>
                <a:gd name="connsiteY1" fmla="*/ 256357 h 259829"/>
                <a:gd name="connsiteX2" fmla="*/ 4859 w 774600"/>
                <a:gd name="connsiteY2" fmla="*/ 256357 h 259829"/>
                <a:gd name="connsiteX3" fmla="*/ 4859 w 774600"/>
                <a:gd name="connsiteY3" fmla="*/ 227699 h 259829"/>
                <a:gd name="connsiteX4" fmla="*/ 87193 w 774600"/>
                <a:gd name="connsiteY4" fmla="*/ 137908 h 259829"/>
                <a:gd name="connsiteX5" fmla="*/ 108541 w 774600"/>
                <a:gd name="connsiteY5" fmla="*/ 111508 h 259829"/>
                <a:gd name="connsiteX6" fmla="*/ 119499 w 774600"/>
                <a:gd name="connsiteY6" fmla="*/ 91537 h 259829"/>
                <a:gd name="connsiteX7" fmla="*/ 122797 w 774600"/>
                <a:gd name="connsiteY7" fmla="*/ 73993 h 259829"/>
                <a:gd name="connsiteX8" fmla="*/ 118278 w 774600"/>
                <a:gd name="connsiteY8" fmla="*/ 52977 h 259829"/>
                <a:gd name="connsiteX9" fmla="*/ 105413 w 774600"/>
                <a:gd name="connsiteY9" fmla="*/ 38560 h 259829"/>
                <a:gd name="connsiteX10" fmla="*/ 84752 w 774600"/>
                <a:gd name="connsiteY10" fmla="*/ 33176 h 259829"/>
                <a:gd name="connsiteX11" fmla="*/ 61138 w 774600"/>
                <a:gd name="connsiteY11" fmla="*/ 39256 h 259829"/>
                <a:gd name="connsiteX12" fmla="*/ 46712 w 774600"/>
                <a:gd name="connsiteY12" fmla="*/ 56104 h 259829"/>
                <a:gd name="connsiteX13" fmla="*/ 41853 w 774600"/>
                <a:gd name="connsiteY13" fmla="*/ 80418 h 259829"/>
                <a:gd name="connsiteX14" fmla="*/ 0 w 774600"/>
                <a:gd name="connsiteY14" fmla="*/ 80418 h 259829"/>
                <a:gd name="connsiteX15" fmla="*/ 10083 w 774600"/>
                <a:gd name="connsiteY15" fmla="*/ 40126 h 259829"/>
                <a:gd name="connsiteX16" fmla="*/ 39261 w 774600"/>
                <a:gd name="connsiteY16" fmla="*/ 10948 h 259829"/>
                <a:gd name="connsiteX17" fmla="*/ 85272 w 774600"/>
                <a:gd name="connsiteY17" fmla="*/ 5 h 259829"/>
                <a:gd name="connsiteX18" fmla="*/ 128346 w 774600"/>
                <a:gd name="connsiteY18" fmla="*/ 8517 h 259829"/>
                <a:gd name="connsiteX19" fmla="*/ 155277 w 774600"/>
                <a:gd name="connsiteY19" fmla="*/ 32660 h 259829"/>
                <a:gd name="connsiteX20" fmla="*/ 164654 w 774600"/>
                <a:gd name="connsiteY20" fmla="*/ 69655 h 259829"/>
                <a:gd name="connsiteX21" fmla="*/ 160827 w 774600"/>
                <a:gd name="connsiteY21" fmla="*/ 93103 h 259829"/>
                <a:gd name="connsiteX22" fmla="*/ 149888 w 774600"/>
                <a:gd name="connsiteY22" fmla="*/ 116376 h 259829"/>
                <a:gd name="connsiteX23" fmla="*/ 133400 w 774600"/>
                <a:gd name="connsiteY23" fmla="*/ 139475 h 259829"/>
                <a:gd name="connsiteX24" fmla="*/ 112378 w 774600"/>
                <a:gd name="connsiteY24" fmla="*/ 162748 h 259829"/>
                <a:gd name="connsiteX25" fmla="*/ 57675 w 774600"/>
                <a:gd name="connsiteY25" fmla="*/ 223015 h 259829"/>
                <a:gd name="connsiteX26" fmla="*/ 174377 w 774600"/>
                <a:gd name="connsiteY26" fmla="*/ 223015 h 259829"/>
                <a:gd name="connsiteX27" fmla="*/ 371848 w 774600"/>
                <a:gd name="connsiteY27" fmla="*/ 108730 h 259829"/>
                <a:gd name="connsiteX28" fmla="*/ 371848 w 774600"/>
                <a:gd name="connsiteY28" fmla="*/ 150063 h 259829"/>
                <a:gd name="connsiteX29" fmla="*/ 365938 w 774600"/>
                <a:gd name="connsiteY29" fmla="*/ 200778 h 259829"/>
                <a:gd name="connsiteX30" fmla="*/ 349260 w 774600"/>
                <a:gd name="connsiteY30" fmla="*/ 234645 h 259829"/>
                <a:gd name="connsiteX31" fmla="*/ 323035 w 774600"/>
                <a:gd name="connsiteY31" fmla="*/ 253750 h 259829"/>
                <a:gd name="connsiteX32" fmla="*/ 289168 w 774600"/>
                <a:gd name="connsiteY32" fmla="*/ 259830 h 259829"/>
                <a:gd name="connsiteX33" fmla="*/ 261381 w 774600"/>
                <a:gd name="connsiteY33" fmla="*/ 256011 h 259829"/>
                <a:gd name="connsiteX34" fmla="*/ 238468 w 774600"/>
                <a:gd name="connsiteY34" fmla="*/ 244027 h 259829"/>
                <a:gd name="connsiteX35" fmla="*/ 220914 w 774600"/>
                <a:gd name="connsiteY35" fmla="*/ 223011 h 259829"/>
                <a:gd name="connsiteX36" fmla="*/ 209800 w 774600"/>
                <a:gd name="connsiteY36" fmla="*/ 191921 h 259829"/>
                <a:gd name="connsiteX37" fmla="*/ 205972 w 774600"/>
                <a:gd name="connsiteY37" fmla="*/ 150063 h 259829"/>
                <a:gd name="connsiteX38" fmla="*/ 205972 w 774600"/>
                <a:gd name="connsiteY38" fmla="*/ 108730 h 259829"/>
                <a:gd name="connsiteX39" fmla="*/ 211882 w 774600"/>
                <a:gd name="connsiteY39" fmla="*/ 58366 h 259829"/>
                <a:gd name="connsiteX40" fmla="*/ 228730 w 774600"/>
                <a:gd name="connsiteY40" fmla="*/ 24844 h 259829"/>
                <a:gd name="connsiteX41" fmla="*/ 254786 w 774600"/>
                <a:gd name="connsiteY41" fmla="*/ 5914 h 259829"/>
                <a:gd name="connsiteX42" fmla="*/ 288827 w 774600"/>
                <a:gd name="connsiteY42" fmla="*/ 10 h 259829"/>
                <a:gd name="connsiteX43" fmla="*/ 316614 w 774600"/>
                <a:gd name="connsiteY43" fmla="*/ 3833 h 259829"/>
                <a:gd name="connsiteX44" fmla="*/ 339542 w 774600"/>
                <a:gd name="connsiteY44" fmla="*/ 15467 h 259829"/>
                <a:gd name="connsiteX45" fmla="*/ 356906 w 774600"/>
                <a:gd name="connsiteY45" fmla="*/ 36308 h 259829"/>
                <a:gd name="connsiteX46" fmla="*/ 368020 w 774600"/>
                <a:gd name="connsiteY46" fmla="*/ 67048 h 259829"/>
                <a:gd name="connsiteX47" fmla="*/ 371848 w 774600"/>
                <a:gd name="connsiteY47" fmla="*/ 108730 h 259829"/>
                <a:gd name="connsiteX48" fmla="*/ 329995 w 774600"/>
                <a:gd name="connsiteY48" fmla="*/ 155968 h 259829"/>
                <a:gd name="connsiteX49" fmla="*/ 329995 w 774600"/>
                <a:gd name="connsiteY49" fmla="*/ 102476 h 259829"/>
                <a:gd name="connsiteX50" fmla="*/ 328258 w 774600"/>
                <a:gd name="connsiteY50" fmla="*/ 75905 h 259829"/>
                <a:gd name="connsiteX51" fmla="*/ 323039 w 774600"/>
                <a:gd name="connsiteY51" fmla="*/ 56279 h 259829"/>
                <a:gd name="connsiteX52" fmla="*/ 314708 w 774600"/>
                <a:gd name="connsiteY52" fmla="*/ 43079 h 259829"/>
                <a:gd name="connsiteX53" fmla="*/ 303234 w 774600"/>
                <a:gd name="connsiteY53" fmla="*/ 35613 h 259829"/>
                <a:gd name="connsiteX54" fmla="*/ 288823 w 774600"/>
                <a:gd name="connsiteY54" fmla="*/ 33181 h 259829"/>
                <a:gd name="connsiteX55" fmla="*/ 271459 w 774600"/>
                <a:gd name="connsiteY55" fmla="*/ 37004 h 259829"/>
                <a:gd name="connsiteX56" fmla="*/ 258613 w 774600"/>
                <a:gd name="connsiteY56" fmla="*/ 48813 h 259829"/>
                <a:gd name="connsiteX57" fmla="*/ 250608 w 774600"/>
                <a:gd name="connsiteY57" fmla="*/ 70350 h 259829"/>
                <a:gd name="connsiteX58" fmla="*/ 248015 w 774600"/>
                <a:gd name="connsiteY58" fmla="*/ 102480 h 259829"/>
                <a:gd name="connsiteX59" fmla="*/ 248015 w 774600"/>
                <a:gd name="connsiteY59" fmla="*/ 155973 h 259829"/>
                <a:gd name="connsiteX60" fmla="*/ 249752 w 774600"/>
                <a:gd name="connsiteY60" fmla="*/ 182894 h 259829"/>
                <a:gd name="connsiteX61" fmla="*/ 254956 w 774600"/>
                <a:gd name="connsiteY61" fmla="*/ 202865 h 259829"/>
                <a:gd name="connsiteX62" fmla="*/ 263302 w 774600"/>
                <a:gd name="connsiteY62" fmla="*/ 216410 h 259829"/>
                <a:gd name="connsiteX63" fmla="*/ 274756 w 774600"/>
                <a:gd name="connsiteY63" fmla="*/ 224051 h 259829"/>
                <a:gd name="connsiteX64" fmla="*/ 289168 w 774600"/>
                <a:gd name="connsiteY64" fmla="*/ 226483 h 259829"/>
                <a:gd name="connsiteX65" fmla="*/ 306721 w 774600"/>
                <a:gd name="connsiteY65" fmla="*/ 222660 h 259829"/>
                <a:gd name="connsiteX66" fmla="*/ 319567 w 774600"/>
                <a:gd name="connsiteY66" fmla="*/ 210501 h 259829"/>
                <a:gd name="connsiteX67" fmla="*/ 327383 w 774600"/>
                <a:gd name="connsiteY67" fmla="*/ 188443 h 259829"/>
                <a:gd name="connsiteX68" fmla="*/ 329995 w 774600"/>
                <a:gd name="connsiteY68" fmla="*/ 155963 h 259829"/>
                <a:gd name="connsiteX69" fmla="*/ 578701 w 774600"/>
                <a:gd name="connsiteY69" fmla="*/ 223006 h 259829"/>
                <a:gd name="connsiteX70" fmla="*/ 578701 w 774600"/>
                <a:gd name="connsiteY70" fmla="*/ 256352 h 259829"/>
                <a:gd name="connsiteX71" fmla="*/ 409187 w 774600"/>
                <a:gd name="connsiteY71" fmla="*/ 256352 h 259829"/>
                <a:gd name="connsiteX72" fmla="*/ 409187 w 774600"/>
                <a:gd name="connsiteY72" fmla="*/ 227694 h 259829"/>
                <a:gd name="connsiteX73" fmla="*/ 491507 w 774600"/>
                <a:gd name="connsiteY73" fmla="*/ 137904 h 259829"/>
                <a:gd name="connsiteX74" fmla="*/ 512874 w 774600"/>
                <a:gd name="connsiteY74" fmla="*/ 111503 h 259829"/>
                <a:gd name="connsiteX75" fmla="*/ 523813 w 774600"/>
                <a:gd name="connsiteY75" fmla="*/ 91532 h 259829"/>
                <a:gd name="connsiteX76" fmla="*/ 527110 w 774600"/>
                <a:gd name="connsiteY76" fmla="*/ 73988 h 259829"/>
                <a:gd name="connsiteX77" fmla="*/ 522592 w 774600"/>
                <a:gd name="connsiteY77" fmla="*/ 52972 h 259829"/>
                <a:gd name="connsiteX78" fmla="*/ 509746 w 774600"/>
                <a:gd name="connsiteY78" fmla="*/ 38555 h 259829"/>
                <a:gd name="connsiteX79" fmla="*/ 489085 w 774600"/>
                <a:gd name="connsiteY79" fmla="*/ 33171 h 259829"/>
                <a:gd name="connsiteX80" fmla="*/ 465452 w 774600"/>
                <a:gd name="connsiteY80" fmla="*/ 39251 h 259829"/>
                <a:gd name="connsiteX81" fmla="*/ 451040 w 774600"/>
                <a:gd name="connsiteY81" fmla="*/ 56099 h 259829"/>
                <a:gd name="connsiteX82" fmla="*/ 446181 w 774600"/>
                <a:gd name="connsiteY82" fmla="*/ 80413 h 259829"/>
                <a:gd name="connsiteX83" fmla="*/ 404328 w 774600"/>
                <a:gd name="connsiteY83" fmla="*/ 80413 h 259829"/>
                <a:gd name="connsiteX84" fmla="*/ 414391 w 774600"/>
                <a:gd name="connsiteY84" fmla="*/ 40122 h 259829"/>
                <a:gd name="connsiteX85" fmla="*/ 443569 w 774600"/>
                <a:gd name="connsiteY85" fmla="*/ 10944 h 259829"/>
                <a:gd name="connsiteX86" fmla="*/ 489596 w 774600"/>
                <a:gd name="connsiteY86" fmla="*/ 0 h 259829"/>
                <a:gd name="connsiteX87" fmla="*/ 532670 w 774600"/>
                <a:gd name="connsiteY87" fmla="*/ 8512 h 259829"/>
                <a:gd name="connsiteX88" fmla="*/ 559581 w 774600"/>
                <a:gd name="connsiteY88" fmla="*/ 32656 h 259829"/>
                <a:gd name="connsiteX89" fmla="*/ 568958 w 774600"/>
                <a:gd name="connsiteY89" fmla="*/ 69650 h 259829"/>
                <a:gd name="connsiteX90" fmla="*/ 565145 w 774600"/>
                <a:gd name="connsiteY90" fmla="*/ 93098 h 259829"/>
                <a:gd name="connsiteX91" fmla="*/ 554207 w 774600"/>
                <a:gd name="connsiteY91" fmla="*/ 116372 h 259829"/>
                <a:gd name="connsiteX92" fmla="*/ 537704 w 774600"/>
                <a:gd name="connsiteY92" fmla="*/ 139470 h 259829"/>
                <a:gd name="connsiteX93" fmla="*/ 516697 w 774600"/>
                <a:gd name="connsiteY93" fmla="*/ 162743 h 259829"/>
                <a:gd name="connsiteX94" fmla="*/ 461979 w 774600"/>
                <a:gd name="connsiteY94" fmla="*/ 223011 h 259829"/>
                <a:gd name="connsiteX95" fmla="*/ 578701 w 774600"/>
                <a:gd name="connsiteY95" fmla="*/ 223011 h 259829"/>
                <a:gd name="connsiteX96" fmla="*/ 660505 w 774600"/>
                <a:gd name="connsiteY96" fmla="*/ 110982 h 259829"/>
                <a:gd name="connsiteX97" fmla="*/ 685510 w 774600"/>
                <a:gd name="connsiteY97" fmla="*/ 110982 h 259829"/>
                <a:gd name="connsiteX98" fmla="*/ 709639 w 774600"/>
                <a:gd name="connsiteY98" fmla="*/ 105948 h 259829"/>
                <a:gd name="connsiteX99" fmla="*/ 724065 w 774600"/>
                <a:gd name="connsiteY99" fmla="*/ 92052 h 259829"/>
                <a:gd name="connsiteX100" fmla="*/ 728754 w 774600"/>
                <a:gd name="connsiteY100" fmla="*/ 71731 h 259829"/>
                <a:gd name="connsiteX101" fmla="*/ 724411 w 774600"/>
                <a:gd name="connsiteY101" fmla="*/ 51240 h 259829"/>
                <a:gd name="connsiteX102" fmla="*/ 711565 w 774600"/>
                <a:gd name="connsiteY102" fmla="*/ 37865 h 259829"/>
                <a:gd name="connsiteX103" fmla="*/ 689858 w 774600"/>
                <a:gd name="connsiteY103" fmla="*/ 33176 h 259829"/>
                <a:gd name="connsiteX104" fmla="*/ 669712 w 774600"/>
                <a:gd name="connsiteY104" fmla="*/ 37690 h 259829"/>
                <a:gd name="connsiteX105" fmla="*/ 655626 w 774600"/>
                <a:gd name="connsiteY105" fmla="*/ 50195 h 259829"/>
                <a:gd name="connsiteX106" fmla="*/ 650422 w 774600"/>
                <a:gd name="connsiteY106" fmla="*/ 69300 h 259829"/>
                <a:gd name="connsiteX107" fmla="*/ 608394 w 774600"/>
                <a:gd name="connsiteY107" fmla="*/ 69300 h 259829"/>
                <a:gd name="connsiteX108" fmla="*/ 618992 w 774600"/>
                <a:gd name="connsiteY108" fmla="*/ 33521 h 259829"/>
                <a:gd name="connsiteX109" fmla="*/ 647810 w 774600"/>
                <a:gd name="connsiteY109" fmla="*/ 9032 h 259829"/>
                <a:gd name="connsiteX110" fmla="*/ 689148 w 774600"/>
                <a:gd name="connsiteY110" fmla="*/ 0 h 259829"/>
                <a:gd name="connsiteX111" fmla="*/ 731876 w 774600"/>
                <a:gd name="connsiteY111" fmla="*/ 8161 h 259829"/>
                <a:gd name="connsiteX112" fmla="*/ 760524 w 774600"/>
                <a:gd name="connsiteY112" fmla="*/ 32130 h 259829"/>
                <a:gd name="connsiteX113" fmla="*/ 770777 w 774600"/>
                <a:gd name="connsiteY113" fmla="*/ 71727 h 259829"/>
                <a:gd name="connsiteX114" fmla="*/ 765743 w 774600"/>
                <a:gd name="connsiteY114" fmla="*/ 93609 h 259829"/>
                <a:gd name="connsiteX115" fmla="*/ 750802 w 774600"/>
                <a:gd name="connsiteY115" fmla="*/ 113930 h 259829"/>
                <a:gd name="connsiteX116" fmla="*/ 726137 w 774600"/>
                <a:gd name="connsiteY116" fmla="*/ 128692 h 259829"/>
                <a:gd name="connsiteX117" fmla="*/ 691925 w 774600"/>
                <a:gd name="connsiteY117" fmla="*/ 134251 h 259829"/>
                <a:gd name="connsiteX118" fmla="*/ 660495 w 774600"/>
                <a:gd name="connsiteY118" fmla="*/ 134251 h 259829"/>
                <a:gd name="connsiteX119" fmla="*/ 660495 w 774600"/>
                <a:gd name="connsiteY119" fmla="*/ 110978 h 259829"/>
                <a:gd name="connsiteX120" fmla="*/ 660505 w 774600"/>
                <a:gd name="connsiteY120" fmla="*/ 143633 h 259829"/>
                <a:gd name="connsiteX121" fmla="*/ 660505 w 774600"/>
                <a:gd name="connsiteY121" fmla="*/ 120705 h 259829"/>
                <a:gd name="connsiteX122" fmla="*/ 691935 w 774600"/>
                <a:gd name="connsiteY122" fmla="*/ 120705 h 259829"/>
                <a:gd name="connsiteX123" fmla="*/ 729790 w 774600"/>
                <a:gd name="connsiteY123" fmla="*/ 125914 h 259829"/>
                <a:gd name="connsiteX124" fmla="*/ 755500 w 774600"/>
                <a:gd name="connsiteY124" fmla="*/ 140331 h 259829"/>
                <a:gd name="connsiteX125" fmla="*/ 769911 w 774600"/>
                <a:gd name="connsiteY125" fmla="*/ 160997 h 259829"/>
                <a:gd name="connsiteX126" fmla="*/ 774600 w 774600"/>
                <a:gd name="connsiteY126" fmla="*/ 185661 h 259829"/>
                <a:gd name="connsiteX127" fmla="*/ 768175 w 774600"/>
                <a:gd name="connsiteY127" fmla="*/ 217271 h 259829"/>
                <a:gd name="connsiteX128" fmla="*/ 750296 w 774600"/>
                <a:gd name="connsiteY128" fmla="*/ 240545 h 259829"/>
                <a:gd name="connsiteX129" fmla="*/ 723024 w 774600"/>
                <a:gd name="connsiteY129" fmla="*/ 254961 h 259829"/>
                <a:gd name="connsiteX130" fmla="*/ 689328 w 774600"/>
                <a:gd name="connsiteY130" fmla="*/ 259825 h 259829"/>
                <a:gd name="connsiteX131" fmla="*/ 658068 w 774600"/>
                <a:gd name="connsiteY131" fmla="*/ 255311 h 259829"/>
                <a:gd name="connsiteX132" fmla="*/ 631327 w 774600"/>
                <a:gd name="connsiteY132" fmla="*/ 241940 h 259829"/>
                <a:gd name="connsiteX133" fmla="*/ 612572 w 774600"/>
                <a:gd name="connsiteY133" fmla="*/ 219538 h 259829"/>
                <a:gd name="connsiteX134" fmla="*/ 605787 w 774600"/>
                <a:gd name="connsiteY134" fmla="*/ 188273 h 259829"/>
                <a:gd name="connsiteX135" fmla="*/ 647640 w 774600"/>
                <a:gd name="connsiteY135" fmla="*/ 188273 h 259829"/>
                <a:gd name="connsiteX136" fmla="*/ 652859 w 774600"/>
                <a:gd name="connsiteY136" fmla="*/ 208249 h 259829"/>
                <a:gd name="connsiteX137" fmla="*/ 667786 w 774600"/>
                <a:gd name="connsiteY137" fmla="*/ 221619 h 259829"/>
                <a:gd name="connsiteX138" fmla="*/ 690028 w 774600"/>
                <a:gd name="connsiteY138" fmla="*/ 226483 h 259829"/>
                <a:gd name="connsiteX139" fmla="*/ 712767 w 774600"/>
                <a:gd name="connsiteY139" fmla="*/ 221795 h 259829"/>
                <a:gd name="connsiteX140" fmla="*/ 727363 w 774600"/>
                <a:gd name="connsiteY140" fmla="*/ 207899 h 259829"/>
                <a:gd name="connsiteX141" fmla="*/ 732567 w 774600"/>
                <a:gd name="connsiteY141" fmla="*/ 185671 h 259829"/>
                <a:gd name="connsiteX142" fmla="*/ 726847 w 774600"/>
                <a:gd name="connsiteY142" fmla="*/ 161702 h 259829"/>
                <a:gd name="connsiteX143" fmla="*/ 710515 w 774600"/>
                <a:gd name="connsiteY143" fmla="*/ 148157 h 259829"/>
                <a:gd name="connsiteX144" fmla="*/ 685510 w 774600"/>
                <a:gd name="connsiteY144" fmla="*/ 143643 h 259829"/>
                <a:gd name="connsiteX145" fmla="*/ 660505 w 774600"/>
                <a:gd name="connsiteY145" fmla="*/ 143643 h 2598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</a:cxnLst>
              <a:rect l="l" t="t" r="r" b="b"/>
              <a:pathLst>
                <a:path w="774600" h="259829">
                  <a:moveTo>
                    <a:pt x="174372" y="223011"/>
                  </a:moveTo>
                  <a:lnTo>
                    <a:pt x="174372" y="256357"/>
                  </a:lnTo>
                  <a:lnTo>
                    <a:pt x="4859" y="256357"/>
                  </a:lnTo>
                  <a:lnTo>
                    <a:pt x="4859" y="227699"/>
                  </a:lnTo>
                  <a:lnTo>
                    <a:pt x="87193" y="137908"/>
                  </a:lnTo>
                  <a:cubicBezTo>
                    <a:pt x="96211" y="127719"/>
                    <a:pt x="103336" y="118920"/>
                    <a:pt x="108541" y="111508"/>
                  </a:cubicBezTo>
                  <a:cubicBezTo>
                    <a:pt x="113760" y="104095"/>
                    <a:pt x="117403" y="97442"/>
                    <a:pt x="119499" y="91537"/>
                  </a:cubicBezTo>
                  <a:cubicBezTo>
                    <a:pt x="121697" y="85516"/>
                    <a:pt x="122797" y="79669"/>
                    <a:pt x="122797" y="73993"/>
                  </a:cubicBezTo>
                  <a:cubicBezTo>
                    <a:pt x="122797" y="66002"/>
                    <a:pt x="121284" y="58998"/>
                    <a:pt x="118278" y="52977"/>
                  </a:cubicBezTo>
                  <a:cubicBezTo>
                    <a:pt x="115374" y="46838"/>
                    <a:pt x="111099" y="42033"/>
                    <a:pt x="105413" y="38560"/>
                  </a:cubicBezTo>
                  <a:cubicBezTo>
                    <a:pt x="99747" y="34971"/>
                    <a:pt x="92860" y="33176"/>
                    <a:pt x="84752" y="33176"/>
                  </a:cubicBezTo>
                  <a:cubicBezTo>
                    <a:pt x="75374" y="33176"/>
                    <a:pt x="67510" y="35204"/>
                    <a:pt x="61138" y="39256"/>
                  </a:cubicBezTo>
                  <a:cubicBezTo>
                    <a:pt x="54766" y="43307"/>
                    <a:pt x="49956" y="48925"/>
                    <a:pt x="46712" y="56104"/>
                  </a:cubicBezTo>
                  <a:cubicBezTo>
                    <a:pt x="43482" y="63166"/>
                    <a:pt x="41853" y="71274"/>
                    <a:pt x="41853" y="80418"/>
                  </a:cubicBezTo>
                  <a:lnTo>
                    <a:pt x="0" y="80418"/>
                  </a:lnTo>
                  <a:cubicBezTo>
                    <a:pt x="0" y="65715"/>
                    <a:pt x="3366" y="52281"/>
                    <a:pt x="10083" y="40126"/>
                  </a:cubicBezTo>
                  <a:cubicBezTo>
                    <a:pt x="16800" y="27855"/>
                    <a:pt x="26517" y="18127"/>
                    <a:pt x="39261" y="10948"/>
                  </a:cubicBezTo>
                  <a:cubicBezTo>
                    <a:pt x="51989" y="3653"/>
                    <a:pt x="67325" y="5"/>
                    <a:pt x="85272" y="5"/>
                  </a:cubicBezTo>
                  <a:cubicBezTo>
                    <a:pt x="102189" y="5"/>
                    <a:pt x="116546" y="2840"/>
                    <a:pt x="128346" y="8517"/>
                  </a:cubicBezTo>
                  <a:cubicBezTo>
                    <a:pt x="140160" y="14193"/>
                    <a:pt x="149129" y="22237"/>
                    <a:pt x="155277" y="32660"/>
                  </a:cubicBezTo>
                  <a:cubicBezTo>
                    <a:pt x="161527" y="43079"/>
                    <a:pt x="164654" y="55413"/>
                    <a:pt x="164654" y="69655"/>
                  </a:cubicBezTo>
                  <a:cubicBezTo>
                    <a:pt x="164654" y="77529"/>
                    <a:pt x="163385" y="85345"/>
                    <a:pt x="160827" y="93103"/>
                  </a:cubicBezTo>
                  <a:cubicBezTo>
                    <a:pt x="158283" y="100861"/>
                    <a:pt x="154645" y="108619"/>
                    <a:pt x="149888" y="116376"/>
                  </a:cubicBezTo>
                  <a:cubicBezTo>
                    <a:pt x="145267" y="124017"/>
                    <a:pt x="139757" y="131717"/>
                    <a:pt x="133400" y="139475"/>
                  </a:cubicBezTo>
                  <a:cubicBezTo>
                    <a:pt x="127028" y="147116"/>
                    <a:pt x="120019" y="154873"/>
                    <a:pt x="112378" y="162748"/>
                  </a:cubicBezTo>
                  <a:lnTo>
                    <a:pt x="57675" y="223015"/>
                  </a:lnTo>
                  <a:lnTo>
                    <a:pt x="174377" y="223015"/>
                  </a:lnTo>
                  <a:close/>
                  <a:moveTo>
                    <a:pt x="371848" y="108730"/>
                  </a:moveTo>
                  <a:lnTo>
                    <a:pt x="371848" y="150063"/>
                  </a:lnTo>
                  <a:cubicBezTo>
                    <a:pt x="371848" y="169864"/>
                    <a:pt x="369873" y="186765"/>
                    <a:pt x="365938" y="200778"/>
                  </a:cubicBezTo>
                  <a:cubicBezTo>
                    <a:pt x="362125" y="214674"/>
                    <a:pt x="356561" y="225963"/>
                    <a:pt x="349260" y="234645"/>
                  </a:cubicBezTo>
                  <a:cubicBezTo>
                    <a:pt x="341960" y="243327"/>
                    <a:pt x="333219" y="249698"/>
                    <a:pt x="323035" y="253750"/>
                  </a:cubicBezTo>
                  <a:cubicBezTo>
                    <a:pt x="312971" y="257801"/>
                    <a:pt x="301668" y="259830"/>
                    <a:pt x="289168" y="259830"/>
                  </a:cubicBezTo>
                  <a:cubicBezTo>
                    <a:pt x="279221" y="259830"/>
                    <a:pt x="269951" y="258555"/>
                    <a:pt x="261381" y="256011"/>
                  </a:cubicBezTo>
                  <a:cubicBezTo>
                    <a:pt x="252933" y="253463"/>
                    <a:pt x="245287" y="249470"/>
                    <a:pt x="238468" y="244027"/>
                  </a:cubicBezTo>
                  <a:cubicBezTo>
                    <a:pt x="231634" y="238584"/>
                    <a:pt x="225773" y="231581"/>
                    <a:pt x="220914" y="223011"/>
                  </a:cubicBezTo>
                  <a:cubicBezTo>
                    <a:pt x="216172" y="214329"/>
                    <a:pt x="212466" y="203964"/>
                    <a:pt x="209800" y="191921"/>
                  </a:cubicBezTo>
                  <a:cubicBezTo>
                    <a:pt x="207256" y="179878"/>
                    <a:pt x="205972" y="165929"/>
                    <a:pt x="205972" y="150063"/>
                  </a:cubicBezTo>
                  <a:lnTo>
                    <a:pt x="205972" y="108730"/>
                  </a:lnTo>
                  <a:cubicBezTo>
                    <a:pt x="205972" y="88813"/>
                    <a:pt x="207947" y="72028"/>
                    <a:pt x="211882" y="58366"/>
                  </a:cubicBezTo>
                  <a:cubicBezTo>
                    <a:pt x="215831" y="44587"/>
                    <a:pt x="221430" y="33414"/>
                    <a:pt x="228730" y="24844"/>
                  </a:cubicBezTo>
                  <a:cubicBezTo>
                    <a:pt x="236031" y="16162"/>
                    <a:pt x="244722" y="9849"/>
                    <a:pt x="254786" y="5914"/>
                  </a:cubicBezTo>
                  <a:cubicBezTo>
                    <a:pt x="264970" y="1975"/>
                    <a:pt x="276323" y="10"/>
                    <a:pt x="288827" y="10"/>
                  </a:cubicBezTo>
                  <a:cubicBezTo>
                    <a:pt x="298910" y="10"/>
                    <a:pt x="308166" y="1284"/>
                    <a:pt x="316614" y="3833"/>
                  </a:cubicBezTo>
                  <a:cubicBezTo>
                    <a:pt x="325184" y="6265"/>
                    <a:pt x="332825" y="10141"/>
                    <a:pt x="339542" y="15467"/>
                  </a:cubicBezTo>
                  <a:cubicBezTo>
                    <a:pt x="346376" y="20793"/>
                    <a:pt x="352164" y="27738"/>
                    <a:pt x="356906" y="36308"/>
                  </a:cubicBezTo>
                  <a:cubicBezTo>
                    <a:pt x="361765" y="44762"/>
                    <a:pt x="365476" y="55010"/>
                    <a:pt x="368020" y="67048"/>
                  </a:cubicBezTo>
                  <a:cubicBezTo>
                    <a:pt x="370578" y="78974"/>
                    <a:pt x="371848" y="92870"/>
                    <a:pt x="371848" y="108730"/>
                  </a:cubicBezTo>
                  <a:close/>
                  <a:moveTo>
                    <a:pt x="329995" y="155968"/>
                  </a:moveTo>
                  <a:lnTo>
                    <a:pt x="329995" y="102476"/>
                  </a:lnTo>
                  <a:cubicBezTo>
                    <a:pt x="329995" y="92403"/>
                    <a:pt x="329411" y="83546"/>
                    <a:pt x="328258" y="75905"/>
                  </a:cubicBezTo>
                  <a:cubicBezTo>
                    <a:pt x="327091" y="68147"/>
                    <a:pt x="325355" y="61605"/>
                    <a:pt x="323039" y="56279"/>
                  </a:cubicBezTo>
                  <a:cubicBezTo>
                    <a:pt x="320841" y="50837"/>
                    <a:pt x="318059" y="46440"/>
                    <a:pt x="314708" y="43079"/>
                  </a:cubicBezTo>
                  <a:cubicBezTo>
                    <a:pt x="311342" y="39606"/>
                    <a:pt x="307529" y="37116"/>
                    <a:pt x="303234" y="35613"/>
                  </a:cubicBezTo>
                  <a:cubicBezTo>
                    <a:pt x="298959" y="33993"/>
                    <a:pt x="294148" y="33181"/>
                    <a:pt x="288823" y="33181"/>
                  </a:cubicBezTo>
                  <a:cubicBezTo>
                    <a:pt x="282349" y="33181"/>
                    <a:pt x="276542" y="34455"/>
                    <a:pt x="271459" y="37004"/>
                  </a:cubicBezTo>
                  <a:cubicBezTo>
                    <a:pt x="266357" y="39436"/>
                    <a:pt x="262081" y="43371"/>
                    <a:pt x="258613" y="48813"/>
                  </a:cubicBezTo>
                  <a:cubicBezTo>
                    <a:pt x="255126" y="54256"/>
                    <a:pt x="252466" y="61435"/>
                    <a:pt x="250608" y="70350"/>
                  </a:cubicBezTo>
                  <a:cubicBezTo>
                    <a:pt x="248871" y="79149"/>
                    <a:pt x="248015" y="89859"/>
                    <a:pt x="248015" y="102480"/>
                  </a:cubicBezTo>
                  <a:lnTo>
                    <a:pt x="248015" y="155973"/>
                  </a:lnTo>
                  <a:cubicBezTo>
                    <a:pt x="248015" y="166162"/>
                    <a:pt x="248584" y="175136"/>
                    <a:pt x="249752" y="182894"/>
                  </a:cubicBezTo>
                  <a:cubicBezTo>
                    <a:pt x="250904" y="190652"/>
                    <a:pt x="252636" y="197310"/>
                    <a:pt x="254956" y="202865"/>
                  </a:cubicBezTo>
                  <a:cubicBezTo>
                    <a:pt x="257276" y="208307"/>
                    <a:pt x="260058" y="212821"/>
                    <a:pt x="263302" y="216410"/>
                  </a:cubicBezTo>
                  <a:cubicBezTo>
                    <a:pt x="266653" y="219883"/>
                    <a:pt x="270481" y="222432"/>
                    <a:pt x="274756" y="224051"/>
                  </a:cubicBezTo>
                  <a:cubicBezTo>
                    <a:pt x="279153" y="225671"/>
                    <a:pt x="283964" y="226483"/>
                    <a:pt x="289168" y="226483"/>
                  </a:cubicBezTo>
                  <a:cubicBezTo>
                    <a:pt x="295778" y="226483"/>
                    <a:pt x="301619" y="225209"/>
                    <a:pt x="306721" y="222660"/>
                  </a:cubicBezTo>
                  <a:cubicBezTo>
                    <a:pt x="311804" y="220112"/>
                    <a:pt x="316099" y="216060"/>
                    <a:pt x="319567" y="210501"/>
                  </a:cubicBezTo>
                  <a:cubicBezTo>
                    <a:pt x="323035" y="204830"/>
                    <a:pt x="325646" y="197476"/>
                    <a:pt x="327383" y="188443"/>
                  </a:cubicBezTo>
                  <a:cubicBezTo>
                    <a:pt x="329119" y="179411"/>
                    <a:pt x="329995" y="168585"/>
                    <a:pt x="329995" y="155963"/>
                  </a:cubicBezTo>
                  <a:close/>
                  <a:moveTo>
                    <a:pt x="578701" y="223006"/>
                  </a:moveTo>
                  <a:lnTo>
                    <a:pt x="578701" y="256352"/>
                  </a:lnTo>
                  <a:lnTo>
                    <a:pt x="409187" y="256352"/>
                  </a:lnTo>
                  <a:lnTo>
                    <a:pt x="409187" y="227694"/>
                  </a:lnTo>
                  <a:lnTo>
                    <a:pt x="491507" y="137904"/>
                  </a:lnTo>
                  <a:cubicBezTo>
                    <a:pt x="500539" y="127714"/>
                    <a:pt x="507670" y="118915"/>
                    <a:pt x="512874" y="111503"/>
                  </a:cubicBezTo>
                  <a:cubicBezTo>
                    <a:pt x="518078" y="104090"/>
                    <a:pt x="521736" y="97437"/>
                    <a:pt x="523813" y="91532"/>
                  </a:cubicBezTo>
                  <a:cubicBezTo>
                    <a:pt x="526011" y="85511"/>
                    <a:pt x="527110" y="79664"/>
                    <a:pt x="527110" y="73988"/>
                  </a:cubicBezTo>
                  <a:cubicBezTo>
                    <a:pt x="527110" y="65997"/>
                    <a:pt x="525617" y="58993"/>
                    <a:pt x="522592" y="52972"/>
                  </a:cubicBezTo>
                  <a:cubicBezTo>
                    <a:pt x="519708" y="46834"/>
                    <a:pt x="515413" y="42028"/>
                    <a:pt x="509746" y="38555"/>
                  </a:cubicBezTo>
                  <a:cubicBezTo>
                    <a:pt x="504080" y="34966"/>
                    <a:pt x="497193" y="33171"/>
                    <a:pt x="489085" y="33171"/>
                  </a:cubicBezTo>
                  <a:cubicBezTo>
                    <a:pt x="479708" y="33171"/>
                    <a:pt x="471823" y="35199"/>
                    <a:pt x="465452" y="39251"/>
                  </a:cubicBezTo>
                  <a:cubicBezTo>
                    <a:pt x="459095" y="43302"/>
                    <a:pt x="454289" y="48920"/>
                    <a:pt x="451040" y="56099"/>
                  </a:cubicBezTo>
                  <a:cubicBezTo>
                    <a:pt x="447796" y="63161"/>
                    <a:pt x="446181" y="71269"/>
                    <a:pt x="446181" y="80413"/>
                  </a:cubicBezTo>
                  <a:lnTo>
                    <a:pt x="404328" y="80413"/>
                  </a:lnTo>
                  <a:cubicBezTo>
                    <a:pt x="404328" y="65710"/>
                    <a:pt x="407679" y="52276"/>
                    <a:pt x="414391" y="40122"/>
                  </a:cubicBezTo>
                  <a:cubicBezTo>
                    <a:pt x="421108" y="27850"/>
                    <a:pt x="430846" y="18123"/>
                    <a:pt x="443569" y="10944"/>
                  </a:cubicBezTo>
                  <a:cubicBezTo>
                    <a:pt x="456313" y="3648"/>
                    <a:pt x="471648" y="0"/>
                    <a:pt x="489596" y="0"/>
                  </a:cubicBezTo>
                  <a:cubicBezTo>
                    <a:pt x="506497" y="0"/>
                    <a:pt x="520855" y="2836"/>
                    <a:pt x="532670" y="8512"/>
                  </a:cubicBezTo>
                  <a:cubicBezTo>
                    <a:pt x="544484" y="14188"/>
                    <a:pt x="553453" y="22232"/>
                    <a:pt x="559581" y="32656"/>
                  </a:cubicBezTo>
                  <a:cubicBezTo>
                    <a:pt x="565831" y="43074"/>
                    <a:pt x="568958" y="55409"/>
                    <a:pt x="568958" y="69650"/>
                  </a:cubicBezTo>
                  <a:cubicBezTo>
                    <a:pt x="568958" y="77524"/>
                    <a:pt x="567689" y="85340"/>
                    <a:pt x="565145" y="93098"/>
                  </a:cubicBezTo>
                  <a:cubicBezTo>
                    <a:pt x="562601" y="100856"/>
                    <a:pt x="558944" y="108614"/>
                    <a:pt x="554207" y="116372"/>
                  </a:cubicBezTo>
                  <a:cubicBezTo>
                    <a:pt x="549571" y="124013"/>
                    <a:pt x="544075" y="131712"/>
                    <a:pt x="537704" y="139470"/>
                  </a:cubicBezTo>
                  <a:cubicBezTo>
                    <a:pt x="531332" y="147111"/>
                    <a:pt x="524323" y="154869"/>
                    <a:pt x="516697" y="162743"/>
                  </a:cubicBezTo>
                  <a:lnTo>
                    <a:pt x="461979" y="223011"/>
                  </a:lnTo>
                  <a:lnTo>
                    <a:pt x="578701" y="223011"/>
                  </a:lnTo>
                  <a:close/>
                  <a:moveTo>
                    <a:pt x="660505" y="110982"/>
                  </a:moveTo>
                  <a:lnTo>
                    <a:pt x="685510" y="110982"/>
                  </a:lnTo>
                  <a:cubicBezTo>
                    <a:pt x="695233" y="110982"/>
                    <a:pt x="703287" y="109304"/>
                    <a:pt x="709639" y="105948"/>
                  </a:cubicBezTo>
                  <a:cubicBezTo>
                    <a:pt x="716132" y="102592"/>
                    <a:pt x="720943" y="97957"/>
                    <a:pt x="724065" y="92052"/>
                  </a:cubicBezTo>
                  <a:cubicBezTo>
                    <a:pt x="727193" y="86148"/>
                    <a:pt x="728754" y="79373"/>
                    <a:pt x="728754" y="71731"/>
                  </a:cubicBezTo>
                  <a:cubicBezTo>
                    <a:pt x="728754" y="64090"/>
                    <a:pt x="727295" y="56911"/>
                    <a:pt x="724411" y="51240"/>
                  </a:cubicBezTo>
                  <a:cubicBezTo>
                    <a:pt x="721628" y="45452"/>
                    <a:pt x="717353" y="40992"/>
                    <a:pt x="711565" y="37865"/>
                  </a:cubicBezTo>
                  <a:cubicBezTo>
                    <a:pt x="705879" y="34737"/>
                    <a:pt x="698652" y="33176"/>
                    <a:pt x="689858" y="33176"/>
                  </a:cubicBezTo>
                  <a:cubicBezTo>
                    <a:pt x="682441" y="33176"/>
                    <a:pt x="675724" y="34679"/>
                    <a:pt x="669712" y="37690"/>
                  </a:cubicBezTo>
                  <a:cubicBezTo>
                    <a:pt x="663803" y="40584"/>
                    <a:pt x="659114" y="44752"/>
                    <a:pt x="655626" y="50195"/>
                  </a:cubicBezTo>
                  <a:cubicBezTo>
                    <a:pt x="652159" y="55520"/>
                    <a:pt x="650422" y="61887"/>
                    <a:pt x="650422" y="69300"/>
                  </a:cubicBezTo>
                  <a:lnTo>
                    <a:pt x="608394" y="69300"/>
                  </a:lnTo>
                  <a:cubicBezTo>
                    <a:pt x="608394" y="55866"/>
                    <a:pt x="611916" y="43945"/>
                    <a:pt x="618992" y="33521"/>
                  </a:cubicBezTo>
                  <a:cubicBezTo>
                    <a:pt x="626050" y="23103"/>
                    <a:pt x="635670" y="14937"/>
                    <a:pt x="647810" y="9032"/>
                  </a:cubicBezTo>
                  <a:cubicBezTo>
                    <a:pt x="660092" y="3011"/>
                    <a:pt x="673866" y="0"/>
                    <a:pt x="689148" y="0"/>
                  </a:cubicBezTo>
                  <a:cubicBezTo>
                    <a:pt x="705480" y="0"/>
                    <a:pt x="719717" y="2724"/>
                    <a:pt x="731876" y="8161"/>
                  </a:cubicBezTo>
                  <a:cubicBezTo>
                    <a:pt x="744138" y="13487"/>
                    <a:pt x="753705" y="21479"/>
                    <a:pt x="760524" y="32130"/>
                  </a:cubicBezTo>
                  <a:cubicBezTo>
                    <a:pt x="767358" y="42782"/>
                    <a:pt x="770777" y="55982"/>
                    <a:pt x="770777" y="71727"/>
                  </a:cubicBezTo>
                  <a:cubicBezTo>
                    <a:pt x="770777" y="78906"/>
                    <a:pt x="769094" y="86201"/>
                    <a:pt x="765743" y="93609"/>
                  </a:cubicBezTo>
                  <a:cubicBezTo>
                    <a:pt x="762378" y="101021"/>
                    <a:pt x="757397" y="107792"/>
                    <a:pt x="750802" y="113930"/>
                  </a:cubicBezTo>
                  <a:cubicBezTo>
                    <a:pt x="744206" y="119951"/>
                    <a:pt x="735982" y="124869"/>
                    <a:pt x="726137" y="128692"/>
                  </a:cubicBezTo>
                  <a:cubicBezTo>
                    <a:pt x="716298" y="132398"/>
                    <a:pt x="704892" y="134251"/>
                    <a:pt x="691925" y="134251"/>
                  </a:cubicBezTo>
                  <a:lnTo>
                    <a:pt x="660495" y="134251"/>
                  </a:lnTo>
                  <a:lnTo>
                    <a:pt x="660495" y="110978"/>
                  </a:lnTo>
                  <a:close/>
                  <a:moveTo>
                    <a:pt x="660505" y="143633"/>
                  </a:moveTo>
                  <a:lnTo>
                    <a:pt x="660505" y="120705"/>
                  </a:lnTo>
                  <a:lnTo>
                    <a:pt x="691935" y="120705"/>
                  </a:lnTo>
                  <a:cubicBezTo>
                    <a:pt x="706755" y="120705"/>
                    <a:pt x="719381" y="122442"/>
                    <a:pt x="729790" y="125914"/>
                  </a:cubicBezTo>
                  <a:cubicBezTo>
                    <a:pt x="740335" y="129387"/>
                    <a:pt x="748905" y="134193"/>
                    <a:pt x="755500" y="140331"/>
                  </a:cubicBezTo>
                  <a:cubicBezTo>
                    <a:pt x="762095" y="146352"/>
                    <a:pt x="766906" y="153239"/>
                    <a:pt x="769911" y="160997"/>
                  </a:cubicBezTo>
                  <a:cubicBezTo>
                    <a:pt x="773039" y="168755"/>
                    <a:pt x="774600" y="176975"/>
                    <a:pt x="774600" y="185661"/>
                  </a:cubicBezTo>
                  <a:cubicBezTo>
                    <a:pt x="774600" y="197471"/>
                    <a:pt x="772470" y="208006"/>
                    <a:pt x="768175" y="217271"/>
                  </a:cubicBezTo>
                  <a:cubicBezTo>
                    <a:pt x="764016" y="226420"/>
                    <a:pt x="758044" y="234178"/>
                    <a:pt x="750296" y="240545"/>
                  </a:cubicBezTo>
                  <a:cubicBezTo>
                    <a:pt x="742533" y="246911"/>
                    <a:pt x="733447" y="251717"/>
                    <a:pt x="723024" y="254961"/>
                  </a:cubicBezTo>
                  <a:cubicBezTo>
                    <a:pt x="712718" y="258205"/>
                    <a:pt x="701487" y="259825"/>
                    <a:pt x="689328" y="259825"/>
                  </a:cubicBezTo>
                  <a:cubicBezTo>
                    <a:pt x="678457" y="259825"/>
                    <a:pt x="668029" y="258322"/>
                    <a:pt x="658068" y="255311"/>
                  </a:cubicBezTo>
                  <a:cubicBezTo>
                    <a:pt x="648107" y="252300"/>
                    <a:pt x="639192" y="247845"/>
                    <a:pt x="631327" y="241940"/>
                  </a:cubicBezTo>
                  <a:cubicBezTo>
                    <a:pt x="623443" y="235919"/>
                    <a:pt x="617193" y="228453"/>
                    <a:pt x="612572" y="219538"/>
                  </a:cubicBezTo>
                  <a:cubicBezTo>
                    <a:pt x="608054" y="210506"/>
                    <a:pt x="605787" y="200087"/>
                    <a:pt x="605787" y="188273"/>
                  </a:cubicBezTo>
                  <a:lnTo>
                    <a:pt x="647640" y="188273"/>
                  </a:lnTo>
                  <a:cubicBezTo>
                    <a:pt x="647640" y="195802"/>
                    <a:pt x="649377" y="202456"/>
                    <a:pt x="652859" y="208249"/>
                  </a:cubicBezTo>
                  <a:cubicBezTo>
                    <a:pt x="656449" y="213920"/>
                    <a:pt x="661429" y="218380"/>
                    <a:pt x="667786" y="221619"/>
                  </a:cubicBezTo>
                  <a:cubicBezTo>
                    <a:pt x="674279" y="224864"/>
                    <a:pt x="681682" y="226483"/>
                    <a:pt x="690028" y="226483"/>
                  </a:cubicBezTo>
                  <a:cubicBezTo>
                    <a:pt x="698822" y="226483"/>
                    <a:pt x="706415" y="224922"/>
                    <a:pt x="712767" y="221795"/>
                  </a:cubicBezTo>
                  <a:cubicBezTo>
                    <a:pt x="719138" y="218667"/>
                    <a:pt x="723997" y="214037"/>
                    <a:pt x="727363" y="207899"/>
                  </a:cubicBezTo>
                  <a:cubicBezTo>
                    <a:pt x="730831" y="201761"/>
                    <a:pt x="732567" y="194353"/>
                    <a:pt x="732567" y="185671"/>
                  </a:cubicBezTo>
                  <a:cubicBezTo>
                    <a:pt x="732567" y="175827"/>
                    <a:pt x="730660" y="167840"/>
                    <a:pt x="726847" y="161702"/>
                  </a:cubicBezTo>
                  <a:cubicBezTo>
                    <a:pt x="723019" y="155564"/>
                    <a:pt x="717572" y="151050"/>
                    <a:pt x="710515" y="148157"/>
                  </a:cubicBezTo>
                  <a:cubicBezTo>
                    <a:pt x="703457" y="145146"/>
                    <a:pt x="695111" y="143643"/>
                    <a:pt x="685510" y="143643"/>
                  </a:cubicBezTo>
                  <a:lnTo>
                    <a:pt x="660505" y="143643"/>
                  </a:lnTo>
                  <a:close/>
                </a:path>
              </a:pathLst>
            </a:custGeom>
            <a:solidFill>
              <a:schemeClr val="bg1"/>
            </a:solidFill>
            <a:ln w="48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dirty="0"/>
            </a:p>
          </p:txBody>
        </p:sp>
      </p:grpSp>
      <p:sp>
        <p:nvSpPr>
          <p:cNvPr id="47" name="Заголовок">
            <a:extLst>
              <a:ext uri="{FF2B5EF4-FFF2-40B4-BE49-F238E27FC236}">
                <a16:creationId xmlns:a16="http://schemas.microsoft.com/office/drawing/2014/main" id="{0C336591-A4C1-4C08-BEFA-A6FBA99C517D}"/>
              </a:ext>
            </a:extLst>
          </p:cNvPr>
          <p:cNvSpPr txBox="1"/>
          <p:nvPr/>
        </p:nvSpPr>
        <p:spPr>
          <a:xfrm>
            <a:off x="723776" y="2496433"/>
            <a:ext cx="4951997" cy="175432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5400" dirty="0">
                <a:solidFill>
                  <a:schemeClr val="bg1"/>
                </a:solidFill>
                <a:latin typeface="SB Sans Text Medium" panose="020B0604020202020204" charset="-52"/>
                <a:ea typeface="Roboto" pitchFamily="2" charset="0"/>
                <a:cs typeface="SB Sans Text Medium" panose="020B0604020202020204" charset="-52"/>
              </a:rPr>
              <a:t>Спасибо</a:t>
            </a:r>
          </a:p>
          <a:p>
            <a:r>
              <a:rPr lang="ru-RU" sz="5400" dirty="0">
                <a:solidFill>
                  <a:schemeClr val="bg1"/>
                </a:solidFill>
                <a:latin typeface="SB Sans Text Medium" panose="020B0604020202020204" charset="-52"/>
                <a:ea typeface="Roboto" pitchFamily="2" charset="0"/>
                <a:cs typeface="SB Sans Text Medium" panose="020B0604020202020204" charset="-52"/>
              </a:rPr>
              <a:t>за внимание!</a:t>
            </a:r>
          </a:p>
        </p:txBody>
      </p:sp>
      <p:grpSp>
        <p:nvGrpSpPr>
          <p:cNvPr id="120" name="Группа 119">
            <a:extLst>
              <a:ext uri="{FF2B5EF4-FFF2-40B4-BE49-F238E27FC236}">
                <a16:creationId xmlns:a16="http://schemas.microsoft.com/office/drawing/2014/main" id="{6522DD31-6CD2-4FE4-8647-B269F6B83DDE}"/>
              </a:ext>
            </a:extLst>
          </p:cNvPr>
          <p:cNvGrpSpPr/>
          <p:nvPr/>
        </p:nvGrpSpPr>
        <p:grpSpPr>
          <a:xfrm>
            <a:off x="823295" y="5447625"/>
            <a:ext cx="3202071" cy="762000"/>
            <a:chOff x="1217541" y="5509934"/>
            <a:chExt cx="3202071" cy="762000"/>
          </a:xfrm>
        </p:grpSpPr>
        <p:grpSp>
          <p:nvGrpSpPr>
            <p:cNvPr id="121" name="Группа 120">
              <a:extLst>
                <a:ext uri="{FF2B5EF4-FFF2-40B4-BE49-F238E27FC236}">
                  <a16:creationId xmlns:a16="http://schemas.microsoft.com/office/drawing/2014/main" id="{10C79898-3393-447C-81B8-3B6427BB58C7}"/>
                </a:ext>
              </a:extLst>
            </p:cNvPr>
            <p:cNvGrpSpPr/>
            <p:nvPr/>
          </p:nvGrpSpPr>
          <p:grpSpPr>
            <a:xfrm>
              <a:off x="1217541" y="5509934"/>
              <a:ext cx="3202071" cy="762000"/>
              <a:chOff x="478199" y="1484302"/>
              <a:chExt cx="3202071" cy="762000"/>
            </a:xfrm>
          </p:grpSpPr>
          <p:sp>
            <p:nvSpPr>
              <p:cNvPr id="123" name="Rounded Rectangle">
                <a:extLst>
                  <a:ext uri="{FF2B5EF4-FFF2-40B4-BE49-F238E27FC236}">
                    <a16:creationId xmlns:a16="http://schemas.microsoft.com/office/drawing/2014/main" id="{4C30A3F7-0A06-4148-BE81-A8C886F27EA1}"/>
                  </a:ext>
                </a:extLst>
              </p:cNvPr>
              <p:cNvSpPr/>
              <p:nvPr/>
            </p:nvSpPr>
            <p:spPr>
              <a:xfrm>
                <a:off x="478199" y="1484302"/>
                <a:ext cx="3202071" cy="762000"/>
              </a:xfrm>
              <a:prstGeom prst="roundRect">
                <a:avLst>
                  <a:gd name="adj" fmla="val 50000"/>
                </a:avLst>
              </a:prstGeom>
              <a:solidFill>
                <a:schemeClr val="bg1"/>
              </a:solidFill>
              <a:ln w="12700" cap="flat">
                <a:noFill/>
                <a:prstDash val="dash"/>
                <a:miter/>
              </a:ln>
              <a:effectLst>
                <a:outerShdw blurRad="1003300" sx="102000" sy="102000" algn="ctr" rotWithShape="0">
                  <a:schemeClr val="tx1">
                    <a:alpha val="15000"/>
                  </a:schemeClr>
                </a:outerShdw>
              </a:effectLst>
            </p:spPr>
            <p:txBody>
              <a:bodyPr lIns="0" tIns="0" rIns="0" bIns="0" anchor="ctr"/>
              <a:lstStyle/>
              <a:p>
                <a:pPr algn="ctr" defTabSz="309563" hangingPunct="0"/>
                <a:endParaRPr sz="1200" dirty="0">
                  <a:solidFill>
                    <a:srgbClr val="FFFFFF"/>
                  </a:solidFill>
                  <a:latin typeface="Roboto" pitchFamily="2" charset="0"/>
                  <a:ea typeface="Roboto" pitchFamily="2" charset="0"/>
                  <a:cs typeface="Poppins Bold"/>
                  <a:sym typeface="Poppins Bold"/>
                </a:endParaRPr>
              </a:p>
            </p:txBody>
          </p:sp>
          <p:sp>
            <p:nvSpPr>
              <p:cNvPr id="124" name="Market analysis">
                <a:extLst>
                  <a:ext uri="{FF2B5EF4-FFF2-40B4-BE49-F238E27FC236}">
                    <a16:creationId xmlns:a16="http://schemas.microsoft.com/office/drawing/2014/main" id="{43BD6EF0-8C41-4265-8F64-6F17EAC6252E}"/>
                  </a:ext>
                </a:extLst>
              </p:cNvPr>
              <p:cNvSpPr txBox="1"/>
              <p:nvPr/>
            </p:nvSpPr>
            <p:spPr>
              <a:xfrm>
                <a:off x="1307014" y="1580628"/>
                <a:ext cx="1931448" cy="218521"/>
              </a:xfrm>
              <a:prstGeom prst="rect">
                <a:avLst/>
              </a:prstGeom>
              <a:ln w="12700">
                <a:miter lim="400000"/>
              </a:ln>
              <a:extLst>
                <a:ext uri="{C572A759-6A51-4108-AA02-DFA0A04FC94B}">
  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  </a:ext>
              </a:extLst>
            </p:spPr>
            <p:txBody>
              <a:bodyPr wrap="square" lIns="0" tIns="0" rIns="0" bIns="0" anchor="ctr">
                <a:spAutoFit/>
              </a:bodyPr>
              <a:lstStyle>
                <a:lvl1pPr>
                  <a:lnSpc>
                    <a:spcPct val="130000"/>
                  </a:lnSpc>
                  <a:defRPr sz="3000">
                    <a:latin typeface="+mn-lt"/>
                    <a:ea typeface="+mn-ea"/>
                    <a:cs typeface="+mn-cs"/>
                    <a:sym typeface="Poppins SemiBold"/>
                  </a:defRPr>
                </a:lvl1pPr>
              </a:lstStyle>
              <a:p>
                <a:pPr defTabSz="309563" hangingPunct="0">
                  <a:buClrTx/>
                  <a:defRPr/>
                </a:pPr>
                <a:r>
                  <a:rPr lang="ru-RU" sz="1200" dirty="0">
                    <a:solidFill>
                      <a:schemeClr val="bg2"/>
                    </a:solidFill>
                    <a:latin typeface="SB Sans Text" panose="020B0503040504020204" pitchFamily="34" charset="-52"/>
                    <a:ea typeface="Roboto" pitchFamily="2" charset="0"/>
                    <a:cs typeface="SB Sans Text" panose="020B0503040504020204" pitchFamily="34" charset="-52"/>
                  </a:rPr>
                  <a:t>Светлана Агапова</a:t>
                </a:r>
              </a:p>
            </p:txBody>
          </p:sp>
          <p:sp>
            <p:nvSpPr>
              <p:cNvPr id="125" name="Market analysis">
                <a:extLst>
                  <a:ext uri="{FF2B5EF4-FFF2-40B4-BE49-F238E27FC236}">
                    <a16:creationId xmlns:a16="http://schemas.microsoft.com/office/drawing/2014/main" id="{529D3FBE-427A-4262-89D1-01F541D5F0C9}"/>
                  </a:ext>
                </a:extLst>
              </p:cNvPr>
              <p:cNvSpPr txBox="1"/>
              <p:nvPr/>
            </p:nvSpPr>
            <p:spPr>
              <a:xfrm>
                <a:off x="1307014" y="1830776"/>
                <a:ext cx="2168875" cy="287771"/>
              </a:xfrm>
              <a:prstGeom prst="rect">
                <a:avLst/>
              </a:prstGeom>
              <a:ln w="12700">
                <a:miter lim="400000"/>
              </a:ln>
              <a:extLst>
                <a:ext uri="{C572A759-6A51-4108-AA02-DFA0A04FC94B}">
  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  </a:ext>
              </a:extLst>
            </p:spPr>
            <p:txBody>
              <a:bodyPr wrap="square" lIns="0" tIns="0" rIns="0" bIns="0" anchor="ctr">
                <a:spAutoFit/>
              </a:bodyPr>
              <a:lstStyle>
                <a:lvl1pPr>
                  <a:lnSpc>
                    <a:spcPct val="130000"/>
                  </a:lnSpc>
                  <a:defRPr sz="3000">
                    <a:latin typeface="+mn-lt"/>
                    <a:ea typeface="+mn-ea"/>
                    <a:cs typeface="+mn-cs"/>
                    <a:sym typeface="Poppins SemiBold"/>
                  </a:defRPr>
                </a:lvl1pPr>
              </a:lstStyle>
              <a:p>
                <a:pPr defTabSz="309563" hangingPunct="0">
                  <a:lnSpc>
                    <a:spcPct val="85000"/>
                  </a:lnSpc>
                  <a:buClrTx/>
                  <a:defRPr/>
                </a:pPr>
                <a:r>
                  <a:rPr lang="ru-RU" sz="1100" dirty="0">
                    <a:latin typeface="SB Sans Text Light" panose="020B0303040504020204" pitchFamily="34" charset="-52"/>
                    <a:ea typeface="Roboto Light" panose="02000000000000000000" pitchFamily="2" charset="0"/>
                    <a:cs typeface="SB Sans Text Light" panose="020B0303040504020204" pitchFamily="34" charset="-52"/>
                  </a:rPr>
                  <a:t>Управляющий директор,</a:t>
                </a:r>
                <a:br>
                  <a:rPr lang="ru-RU" sz="1100" dirty="0">
                    <a:latin typeface="SB Sans Text Light" panose="020B0303040504020204" pitchFamily="34" charset="-52"/>
                    <a:ea typeface="Roboto Light" panose="02000000000000000000" pitchFamily="2" charset="0"/>
                    <a:cs typeface="SB Sans Text Light" panose="020B0303040504020204" pitchFamily="34" charset="-52"/>
                  </a:rPr>
                </a:br>
                <a:r>
                  <a:rPr lang="ru-RU" sz="1100" dirty="0">
                    <a:latin typeface="SB Sans Text Light" panose="020B0303040504020204" pitchFamily="34" charset="-52"/>
                    <a:ea typeface="Roboto Light" panose="02000000000000000000" pitchFamily="2" charset="0"/>
                    <a:cs typeface="SB Sans Text Light" panose="020B0303040504020204" pitchFamily="34" charset="-52"/>
                  </a:rPr>
                  <a:t>блок «Технологии», </a:t>
                </a:r>
                <a:r>
                  <a:rPr lang="ru-RU" sz="1100" dirty="0" err="1">
                    <a:latin typeface="SB Sans Text Light" panose="020B0303040504020204" pitchFamily="34" charset="-52"/>
                    <a:ea typeface="Roboto Light" panose="02000000000000000000" pitchFamily="2" charset="0"/>
                    <a:cs typeface="SB Sans Text Light" panose="020B0303040504020204" pitchFamily="34" charset="-52"/>
                  </a:rPr>
                  <a:t>Сбер</a:t>
                </a:r>
                <a:endParaRPr lang="ru-RU" sz="1100" dirty="0">
                  <a:latin typeface="SB Sans Text Light" panose="020B0303040504020204" pitchFamily="34" charset="-52"/>
                  <a:ea typeface="Roboto Light" panose="02000000000000000000" pitchFamily="2" charset="0"/>
                  <a:cs typeface="SB Sans Text Light" panose="020B0303040504020204" pitchFamily="34" charset="-52"/>
                </a:endParaRPr>
              </a:p>
            </p:txBody>
          </p:sp>
        </p:grpSp>
        <p:pic>
          <p:nvPicPr>
            <p:cNvPr id="122" name="Рисунок 121">
              <a:extLst>
                <a:ext uri="{FF2B5EF4-FFF2-40B4-BE49-F238E27FC236}">
                  <a16:creationId xmlns:a16="http://schemas.microsoft.com/office/drawing/2014/main" id="{36AF5E97-2237-4C56-8D87-2D14018DD78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/>
            <a:srcRect t="3534" b="31606"/>
            <a:stretch/>
          </p:blipFill>
          <p:spPr>
            <a:xfrm>
              <a:off x="1373289" y="5597342"/>
              <a:ext cx="587423" cy="571500"/>
            </a:xfrm>
            <a:custGeom>
              <a:avLst/>
              <a:gdLst>
                <a:gd name="connsiteX0" fmla="*/ 285750 w 571500"/>
                <a:gd name="connsiteY0" fmla="*/ 0 h 571500"/>
                <a:gd name="connsiteX1" fmla="*/ 571500 w 571500"/>
                <a:gd name="connsiteY1" fmla="*/ 285750 h 571500"/>
                <a:gd name="connsiteX2" fmla="*/ 285750 w 571500"/>
                <a:gd name="connsiteY2" fmla="*/ 571500 h 571500"/>
                <a:gd name="connsiteX3" fmla="*/ 0 w 571500"/>
                <a:gd name="connsiteY3" fmla="*/ 285750 h 571500"/>
                <a:gd name="connsiteX4" fmla="*/ 285750 w 571500"/>
                <a:gd name="connsiteY4" fmla="*/ 0 h 571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0" h="571500">
                  <a:moveTo>
                    <a:pt x="285750" y="0"/>
                  </a:moveTo>
                  <a:cubicBezTo>
                    <a:pt x="443565" y="0"/>
                    <a:pt x="571500" y="127935"/>
                    <a:pt x="571500" y="285750"/>
                  </a:cubicBezTo>
                  <a:cubicBezTo>
                    <a:pt x="571500" y="443565"/>
                    <a:pt x="443565" y="571500"/>
                    <a:pt x="285750" y="571500"/>
                  </a:cubicBezTo>
                  <a:cubicBezTo>
                    <a:pt x="127935" y="571500"/>
                    <a:pt x="0" y="443565"/>
                    <a:pt x="0" y="285750"/>
                  </a:cubicBezTo>
                  <a:cubicBezTo>
                    <a:pt x="0" y="127935"/>
                    <a:pt x="127935" y="0"/>
                    <a:pt x="285750" y="0"/>
                  </a:cubicBezTo>
                  <a:close/>
                </a:path>
              </a:pathLst>
            </a:custGeom>
          </p:spPr>
        </p:pic>
      </p:grpSp>
      <p:pic>
        <p:nvPicPr>
          <p:cNvPr id="126" name="Рисунок 125">
            <a:extLst>
              <a:ext uri="{FF2B5EF4-FFF2-40B4-BE49-F238E27FC236}">
                <a16:creationId xmlns:a16="http://schemas.microsoft.com/office/drawing/2014/main" id="{A26B0E59-CAF8-4E4A-AD13-4B0FF14ECA12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823295" y="648281"/>
            <a:ext cx="1019658" cy="285320"/>
          </a:xfrm>
          <a:prstGeom prst="rect">
            <a:avLst/>
          </a:prstGeom>
        </p:spPr>
      </p:pic>
      <p:pic>
        <p:nvPicPr>
          <p:cNvPr id="85" name="Рисунок 84">
            <a:extLst>
              <a:ext uri="{FF2B5EF4-FFF2-40B4-BE49-F238E27FC236}">
                <a16:creationId xmlns:a16="http://schemas.microsoft.com/office/drawing/2014/main" id="{8E7166FB-1DFC-496E-861C-C4015924259E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5670046" y="1227511"/>
            <a:ext cx="6093267" cy="5630487"/>
          </a:xfrm>
          <a:prstGeom prst="rect">
            <a:avLst/>
          </a:prstGeom>
        </p:spPr>
      </p:pic>
      <p:grpSp>
        <p:nvGrpSpPr>
          <p:cNvPr id="127" name="Группа 126">
            <a:extLst>
              <a:ext uri="{FF2B5EF4-FFF2-40B4-BE49-F238E27FC236}">
                <a16:creationId xmlns:a16="http://schemas.microsoft.com/office/drawing/2014/main" id="{41A5CCD7-B94D-4B0A-808D-18C883CAACAC}"/>
              </a:ext>
            </a:extLst>
          </p:cNvPr>
          <p:cNvGrpSpPr/>
          <p:nvPr/>
        </p:nvGrpSpPr>
        <p:grpSpPr>
          <a:xfrm>
            <a:off x="4361625" y="5447625"/>
            <a:ext cx="3202071" cy="762000"/>
            <a:chOff x="1217541" y="5509934"/>
            <a:chExt cx="3202071" cy="762000"/>
          </a:xfrm>
        </p:grpSpPr>
        <p:grpSp>
          <p:nvGrpSpPr>
            <p:cNvPr id="128" name="Группа 127">
              <a:extLst>
                <a:ext uri="{FF2B5EF4-FFF2-40B4-BE49-F238E27FC236}">
                  <a16:creationId xmlns:a16="http://schemas.microsoft.com/office/drawing/2014/main" id="{FC091BAB-E204-4BCF-A111-672448676E71}"/>
                </a:ext>
              </a:extLst>
            </p:cNvPr>
            <p:cNvGrpSpPr/>
            <p:nvPr/>
          </p:nvGrpSpPr>
          <p:grpSpPr>
            <a:xfrm>
              <a:off x="1217541" y="5509934"/>
              <a:ext cx="3202071" cy="762000"/>
              <a:chOff x="478199" y="1484302"/>
              <a:chExt cx="3202071" cy="762000"/>
            </a:xfrm>
          </p:grpSpPr>
          <p:sp>
            <p:nvSpPr>
              <p:cNvPr id="130" name="Rounded Rectangle">
                <a:extLst>
                  <a:ext uri="{FF2B5EF4-FFF2-40B4-BE49-F238E27FC236}">
                    <a16:creationId xmlns:a16="http://schemas.microsoft.com/office/drawing/2014/main" id="{C79C0237-6818-41FA-ACFD-88F2546EF409}"/>
                  </a:ext>
                </a:extLst>
              </p:cNvPr>
              <p:cNvSpPr/>
              <p:nvPr/>
            </p:nvSpPr>
            <p:spPr>
              <a:xfrm>
                <a:off x="478199" y="1484302"/>
                <a:ext cx="3202071" cy="762000"/>
              </a:xfrm>
              <a:prstGeom prst="roundRect">
                <a:avLst>
                  <a:gd name="adj" fmla="val 50000"/>
                </a:avLst>
              </a:prstGeom>
              <a:solidFill>
                <a:schemeClr val="bg1"/>
              </a:solidFill>
              <a:ln w="12700" cap="flat">
                <a:noFill/>
                <a:prstDash val="dash"/>
                <a:miter/>
              </a:ln>
              <a:effectLst>
                <a:outerShdw blurRad="1003300" sx="102000" sy="102000" algn="ctr" rotWithShape="0">
                  <a:schemeClr val="tx1">
                    <a:alpha val="15000"/>
                  </a:schemeClr>
                </a:outerShdw>
              </a:effectLst>
            </p:spPr>
            <p:txBody>
              <a:bodyPr lIns="0" tIns="0" rIns="0" bIns="0" anchor="ctr"/>
              <a:lstStyle/>
              <a:p>
                <a:pPr algn="ctr" defTabSz="309563" hangingPunct="0"/>
                <a:endParaRPr sz="1200" dirty="0">
                  <a:solidFill>
                    <a:srgbClr val="FFFFFF"/>
                  </a:solidFill>
                  <a:latin typeface="Roboto" pitchFamily="2" charset="0"/>
                  <a:ea typeface="Roboto" pitchFamily="2" charset="0"/>
                  <a:cs typeface="Poppins Bold"/>
                  <a:sym typeface="Poppins Bold"/>
                </a:endParaRPr>
              </a:p>
            </p:txBody>
          </p:sp>
          <p:sp>
            <p:nvSpPr>
              <p:cNvPr id="131" name="Market analysis">
                <a:extLst>
                  <a:ext uri="{FF2B5EF4-FFF2-40B4-BE49-F238E27FC236}">
                    <a16:creationId xmlns:a16="http://schemas.microsoft.com/office/drawing/2014/main" id="{D2B4A625-58BE-4908-A98F-3D58DDB600D1}"/>
                  </a:ext>
                </a:extLst>
              </p:cNvPr>
              <p:cNvSpPr txBox="1"/>
              <p:nvPr/>
            </p:nvSpPr>
            <p:spPr>
              <a:xfrm>
                <a:off x="1307014" y="1580628"/>
                <a:ext cx="1931448" cy="218521"/>
              </a:xfrm>
              <a:prstGeom prst="rect">
                <a:avLst/>
              </a:prstGeom>
              <a:ln w="12700">
                <a:miter lim="400000"/>
              </a:ln>
              <a:extLst>
                <a:ext uri="{C572A759-6A51-4108-AA02-DFA0A04FC94B}">
  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  </a:ext>
              </a:extLst>
            </p:spPr>
            <p:txBody>
              <a:bodyPr wrap="square" lIns="0" tIns="0" rIns="0" bIns="0" anchor="ctr">
                <a:spAutoFit/>
              </a:bodyPr>
              <a:lstStyle>
                <a:lvl1pPr>
                  <a:lnSpc>
                    <a:spcPct val="130000"/>
                  </a:lnSpc>
                  <a:defRPr sz="3000">
                    <a:latin typeface="+mn-lt"/>
                    <a:ea typeface="+mn-ea"/>
                    <a:cs typeface="+mn-cs"/>
                    <a:sym typeface="Poppins SemiBold"/>
                  </a:defRPr>
                </a:lvl1pPr>
              </a:lstStyle>
              <a:p>
                <a:pPr defTabSz="309563" hangingPunct="0">
                  <a:buClrTx/>
                  <a:defRPr/>
                </a:pPr>
                <a:r>
                  <a:rPr lang="ru-RU" sz="1200" dirty="0">
                    <a:solidFill>
                      <a:schemeClr val="bg2"/>
                    </a:solidFill>
                    <a:latin typeface="SB Sans Text" panose="020B0503040504020204" pitchFamily="34" charset="-52"/>
                    <a:ea typeface="Roboto" pitchFamily="2" charset="0"/>
                    <a:cs typeface="SB Sans Text" panose="020B0503040504020204" pitchFamily="34" charset="-52"/>
                  </a:rPr>
                  <a:t>Олег Кузичев</a:t>
                </a:r>
              </a:p>
            </p:txBody>
          </p:sp>
          <p:sp>
            <p:nvSpPr>
              <p:cNvPr id="132" name="Market analysis">
                <a:extLst>
                  <a:ext uri="{FF2B5EF4-FFF2-40B4-BE49-F238E27FC236}">
                    <a16:creationId xmlns:a16="http://schemas.microsoft.com/office/drawing/2014/main" id="{A17B8A25-D043-4118-95B8-4CBAFA2C663C}"/>
                  </a:ext>
                </a:extLst>
              </p:cNvPr>
              <p:cNvSpPr txBox="1"/>
              <p:nvPr/>
            </p:nvSpPr>
            <p:spPr>
              <a:xfrm>
                <a:off x="1307014" y="1830776"/>
                <a:ext cx="2168875" cy="287771"/>
              </a:xfrm>
              <a:prstGeom prst="rect">
                <a:avLst/>
              </a:prstGeom>
              <a:ln w="12700">
                <a:miter lim="400000"/>
              </a:ln>
              <a:extLst>
                <a:ext uri="{C572A759-6A51-4108-AA02-DFA0A04FC94B}">
  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  </a:ext>
              </a:extLst>
            </p:spPr>
            <p:txBody>
              <a:bodyPr wrap="square" lIns="0" tIns="0" rIns="0" bIns="0" anchor="ctr">
                <a:spAutoFit/>
              </a:bodyPr>
              <a:lstStyle>
                <a:lvl1pPr>
                  <a:lnSpc>
                    <a:spcPct val="130000"/>
                  </a:lnSpc>
                  <a:defRPr sz="3000">
                    <a:latin typeface="+mn-lt"/>
                    <a:ea typeface="+mn-ea"/>
                    <a:cs typeface="+mn-cs"/>
                    <a:sym typeface="Poppins SemiBold"/>
                  </a:defRPr>
                </a:lvl1pPr>
              </a:lstStyle>
              <a:p>
                <a:pPr defTabSz="309563" hangingPunct="0">
                  <a:lnSpc>
                    <a:spcPct val="85000"/>
                  </a:lnSpc>
                  <a:buClrTx/>
                  <a:defRPr/>
                </a:pPr>
                <a:r>
                  <a:rPr lang="ru-RU" sz="1100" dirty="0">
                    <a:latin typeface="SB Sans Text Light" panose="020B0303040504020204" pitchFamily="34" charset="-52"/>
                    <a:ea typeface="Roboto Light" panose="02000000000000000000" pitchFamily="2" charset="0"/>
                    <a:cs typeface="SB Sans Text Light" panose="020B0303040504020204" pitchFamily="34" charset="-52"/>
                  </a:rPr>
                  <a:t>Владелец продукта «Данные </a:t>
                </a:r>
                <a:r>
                  <a:rPr lang="ru-RU" sz="1100" dirty="0" err="1">
                    <a:latin typeface="SB Sans Text Light" panose="020B0303040504020204" pitchFamily="34" charset="-52"/>
                    <a:ea typeface="Roboto Light" panose="02000000000000000000" pitchFamily="2" charset="0"/>
                    <a:cs typeface="SB Sans Text Light" panose="020B0303040504020204" pitchFamily="34" charset="-52"/>
                  </a:rPr>
                  <a:t>СберНПФ</a:t>
                </a:r>
                <a:r>
                  <a:rPr lang="en-US" sz="1100" dirty="0">
                    <a:latin typeface="SB Sans Text Light" panose="020B0303040504020204" pitchFamily="34" charset="-52"/>
                    <a:ea typeface="Roboto Light" panose="02000000000000000000" pitchFamily="2" charset="0"/>
                    <a:cs typeface="SB Sans Text Light" panose="020B0303040504020204" pitchFamily="34" charset="-52"/>
                  </a:rPr>
                  <a:t>»</a:t>
                </a:r>
                <a:endParaRPr lang="ru-RU" sz="1100" dirty="0">
                  <a:latin typeface="SB Sans Text Light" panose="020B0303040504020204" pitchFamily="34" charset="-52"/>
                  <a:ea typeface="Roboto Light" panose="02000000000000000000" pitchFamily="2" charset="0"/>
                  <a:cs typeface="SB Sans Text Light" panose="020B0303040504020204" pitchFamily="34" charset="-52"/>
                </a:endParaRPr>
              </a:p>
            </p:txBody>
          </p:sp>
        </p:grpSp>
        <p:pic>
          <p:nvPicPr>
            <p:cNvPr id="129" name="Рисунок 128">
              <a:extLst>
                <a:ext uri="{FF2B5EF4-FFF2-40B4-BE49-F238E27FC236}">
                  <a16:creationId xmlns:a16="http://schemas.microsoft.com/office/drawing/2014/main" id="{CDDF18BA-DFD4-462F-9712-32C414FA7EA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2"/>
            <a:srcRect t="2671" b="32469"/>
            <a:stretch/>
          </p:blipFill>
          <p:spPr>
            <a:xfrm>
              <a:off x="1373289" y="5597342"/>
              <a:ext cx="587423" cy="571500"/>
            </a:xfrm>
            <a:custGeom>
              <a:avLst/>
              <a:gdLst>
                <a:gd name="connsiteX0" fmla="*/ 285750 w 571500"/>
                <a:gd name="connsiteY0" fmla="*/ 0 h 571500"/>
                <a:gd name="connsiteX1" fmla="*/ 571500 w 571500"/>
                <a:gd name="connsiteY1" fmla="*/ 285750 h 571500"/>
                <a:gd name="connsiteX2" fmla="*/ 285750 w 571500"/>
                <a:gd name="connsiteY2" fmla="*/ 571500 h 571500"/>
                <a:gd name="connsiteX3" fmla="*/ 0 w 571500"/>
                <a:gd name="connsiteY3" fmla="*/ 285750 h 571500"/>
                <a:gd name="connsiteX4" fmla="*/ 285750 w 571500"/>
                <a:gd name="connsiteY4" fmla="*/ 0 h 571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0" h="571500">
                  <a:moveTo>
                    <a:pt x="285750" y="0"/>
                  </a:moveTo>
                  <a:cubicBezTo>
                    <a:pt x="443565" y="0"/>
                    <a:pt x="571500" y="127935"/>
                    <a:pt x="571500" y="285750"/>
                  </a:cubicBezTo>
                  <a:cubicBezTo>
                    <a:pt x="571500" y="443565"/>
                    <a:pt x="443565" y="571500"/>
                    <a:pt x="285750" y="571500"/>
                  </a:cubicBezTo>
                  <a:cubicBezTo>
                    <a:pt x="127935" y="571500"/>
                    <a:pt x="0" y="443565"/>
                    <a:pt x="0" y="285750"/>
                  </a:cubicBezTo>
                  <a:cubicBezTo>
                    <a:pt x="0" y="127935"/>
                    <a:pt x="127935" y="0"/>
                    <a:pt x="285750" y="0"/>
                  </a:cubicBezTo>
                  <a:close/>
                </a:path>
              </a:pathLst>
            </a:custGeom>
          </p:spPr>
        </p:pic>
      </p:grpSp>
    </p:spTree>
    <p:custDataLst>
      <p:tags r:id="rId1"/>
    </p:custDataLst>
    <p:extLst>
      <p:ext uri="{BB962C8B-B14F-4D97-AF65-F5344CB8AC3E}">
        <p14:creationId xmlns:p14="http://schemas.microsoft.com/office/powerpoint/2010/main" val="1412408295"/>
      </p:ext>
    </p:extLst>
  </p:cSld>
  <p:clrMapOvr>
    <a:masterClrMapping/>
  </p:clrMapOvr>
  <p:transition spd="slow">
    <p:push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5" name="Rounded Rectangle">
            <a:extLst>
              <a:ext uri="{FF2B5EF4-FFF2-40B4-BE49-F238E27FC236}">
                <a16:creationId xmlns:a16="http://schemas.microsoft.com/office/drawing/2014/main" id="{27FED30D-A3D6-4F30-9880-769BE4357EF8}"/>
              </a:ext>
            </a:extLst>
          </p:cNvPr>
          <p:cNvSpPr/>
          <p:nvPr/>
        </p:nvSpPr>
        <p:spPr>
          <a:xfrm>
            <a:off x="7165721" y="2170035"/>
            <a:ext cx="5032686" cy="3073296"/>
          </a:xfrm>
          <a:prstGeom prst="roundRect">
            <a:avLst>
              <a:gd name="adj" fmla="val 0"/>
            </a:avLst>
          </a:prstGeom>
          <a:solidFill>
            <a:schemeClr val="bg1">
              <a:alpha val="89000"/>
            </a:schemeClr>
          </a:solidFill>
          <a:ln w="12700" cap="flat">
            <a:noFill/>
            <a:prstDash val="solid"/>
            <a:miter/>
          </a:ln>
          <a:effectLst>
            <a:outerShdw blurRad="1003300" sx="102000" sy="102000" algn="ctr" rotWithShape="0">
              <a:schemeClr val="tx1">
                <a:alpha val="20000"/>
              </a:schemeClr>
            </a:outerShdw>
            <a:reflection endPos="0" dist="50800" dir="5400000" sy="-100000" algn="bl" rotWithShape="0"/>
            <a:softEdge rad="0"/>
          </a:effectLst>
        </p:spPr>
        <p:txBody>
          <a:bodyPr lIns="0" tIns="0" rIns="0" bIns="0" anchor="ctr"/>
          <a:lstStyle/>
          <a:p>
            <a:pPr algn="ctr" defTabSz="309563" hangingPunct="0"/>
            <a:endParaRPr sz="1200" dirty="0">
              <a:solidFill>
                <a:srgbClr val="FFFFFF"/>
              </a:solidFill>
              <a:latin typeface="Roboto" pitchFamily="2" charset="0"/>
              <a:ea typeface="Roboto" pitchFamily="2" charset="0"/>
              <a:cs typeface="Poppins Bold"/>
              <a:sym typeface="Poppins Bold"/>
            </a:endParaRPr>
          </a:p>
        </p:txBody>
      </p:sp>
      <p:sp>
        <p:nvSpPr>
          <p:cNvPr id="41" name="Заголовок">
            <a:extLst>
              <a:ext uri="{FF2B5EF4-FFF2-40B4-BE49-F238E27FC236}">
                <a16:creationId xmlns:a16="http://schemas.microsoft.com/office/drawing/2014/main" id="{C2DC1C9A-4F65-42B1-86E3-6E4D91075984}"/>
              </a:ext>
            </a:extLst>
          </p:cNvPr>
          <p:cNvSpPr txBox="1"/>
          <p:nvPr/>
        </p:nvSpPr>
        <p:spPr>
          <a:xfrm>
            <a:off x="507067" y="376044"/>
            <a:ext cx="6575508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4400" dirty="0">
                <a:solidFill>
                  <a:srgbClr val="0D0D0D">
                    <a:lumMod val="75000"/>
                    <a:lumOff val="25000"/>
                  </a:srgbClr>
                </a:solidFill>
                <a:latin typeface="SB Sans Text Medium" panose="020B0603040504020204" pitchFamily="34" charset="-52"/>
                <a:ea typeface="Roboto" pitchFamily="2" charset="0"/>
                <a:cs typeface="SB Sans Text Medium" panose="020B0603040504020204" pitchFamily="34" charset="-52"/>
              </a:rPr>
              <a:t>Зачем это нужно? </a:t>
            </a:r>
          </a:p>
        </p:txBody>
      </p:sp>
      <p:grpSp>
        <p:nvGrpSpPr>
          <p:cNvPr id="42" name="CDIConf_Black">
            <a:extLst>
              <a:ext uri="{FF2B5EF4-FFF2-40B4-BE49-F238E27FC236}">
                <a16:creationId xmlns:a16="http://schemas.microsoft.com/office/drawing/2014/main" id="{F3F1710A-CB9B-4080-B969-0477C48F22E5}"/>
              </a:ext>
            </a:extLst>
          </p:cNvPr>
          <p:cNvGrpSpPr/>
          <p:nvPr/>
        </p:nvGrpSpPr>
        <p:grpSpPr>
          <a:xfrm>
            <a:off x="9284984" y="6140223"/>
            <a:ext cx="2270483" cy="296171"/>
            <a:chOff x="7406975" y="5855999"/>
            <a:chExt cx="2270483" cy="296171"/>
          </a:xfrm>
        </p:grpSpPr>
        <p:sp>
          <p:nvSpPr>
            <p:cNvPr id="45" name="Полилиния: фигура 44">
              <a:extLst>
                <a:ext uri="{FF2B5EF4-FFF2-40B4-BE49-F238E27FC236}">
                  <a16:creationId xmlns:a16="http://schemas.microsoft.com/office/drawing/2014/main" id="{13A11B35-F320-4F31-908D-85B2D024FD4B}"/>
                </a:ext>
              </a:extLst>
            </p:cNvPr>
            <p:cNvSpPr/>
            <p:nvPr/>
          </p:nvSpPr>
          <p:spPr>
            <a:xfrm>
              <a:off x="7406975" y="5878280"/>
              <a:ext cx="1394458" cy="273890"/>
            </a:xfrm>
            <a:custGeom>
              <a:avLst/>
              <a:gdLst>
                <a:gd name="connsiteX0" fmla="*/ 157354 w 1394458"/>
                <a:gd name="connsiteY0" fmla="*/ 188093 h 273890"/>
                <a:gd name="connsiteX1" fmla="*/ 200773 w 1394458"/>
                <a:gd name="connsiteY1" fmla="*/ 188093 h 273890"/>
                <a:gd name="connsiteX2" fmla="*/ 186877 w 1394458"/>
                <a:gd name="connsiteY2" fmla="*/ 232383 h 273890"/>
                <a:gd name="connsiteX3" fmla="*/ 153706 w 1394458"/>
                <a:gd name="connsiteY3" fmla="*/ 262777 h 273890"/>
                <a:gd name="connsiteX4" fmla="*/ 101775 w 1394458"/>
                <a:gd name="connsiteY4" fmla="*/ 273891 h 273890"/>
                <a:gd name="connsiteX5" fmla="*/ 59572 w 1394458"/>
                <a:gd name="connsiteY5" fmla="*/ 265554 h 273890"/>
                <a:gd name="connsiteX6" fmla="*/ 27442 w 1394458"/>
                <a:gd name="connsiteY6" fmla="*/ 241585 h 273890"/>
                <a:gd name="connsiteX7" fmla="*/ 6950 w 1394458"/>
                <a:gd name="connsiteY7" fmla="*/ 203896 h 273890"/>
                <a:gd name="connsiteX8" fmla="*/ 0 w 1394458"/>
                <a:gd name="connsiteY8" fmla="*/ 154577 h 273890"/>
                <a:gd name="connsiteX9" fmla="*/ 0 w 1394458"/>
                <a:gd name="connsiteY9" fmla="*/ 133560 h 273890"/>
                <a:gd name="connsiteX10" fmla="*/ 7121 w 1394458"/>
                <a:gd name="connsiteY10" fmla="*/ 84236 h 273890"/>
                <a:gd name="connsiteX11" fmla="*/ 27962 w 1394458"/>
                <a:gd name="connsiteY11" fmla="*/ 46552 h 273890"/>
                <a:gd name="connsiteX12" fmla="*/ 60438 w 1394458"/>
                <a:gd name="connsiteY12" fmla="*/ 22408 h 273890"/>
                <a:gd name="connsiteX13" fmla="*/ 103336 w 1394458"/>
                <a:gd name="connsiteY13" fmla="*/ 14071 h 273890"/>
                <a:gd name="connsiteX14" fmla="*/ 154397 w 1394458"/>
                <a:gd name="connsiteY14" fmla="*/ 25185 h 273890"/>
                <a:gd name="connsiteX15" fmla="*/ 186702 w 1394458"/>
                <a:gd name="connsiteY15" fmla="*/ 55924 h 273890"/>
                <a:gd name="connsiteX16" fmla="*/ 200943 w 1394458"/>
                <a:gd name="connsiteY16" fmla="*/ 100905 h 273890"/>
                <a:gd name="connsiteX17" fmla="*/ 157524 w 1394458"/>
                <a:gd name="connsiteY17" fmla="*/ 100905 h 273890"/>
                <a:gd name="connsiteX18" fmla="*/ 149883 w 1394458"/>
                <a:gd name="connsiteY18" fmla="*/ 72943 h 273890"/>
                <a:gd name="connsiteX19" fmla="*/ 132865 w 1394458"/>
                <a:gd name="connsiteY19" fmla="*/ 55229 h 273890"/>
                <a:gd name="connsiteX20" fmla="*/ 103341 w 1394458"/>
                <a:gd name="connsiteY20" fmla="*/ 48974 h 273890"/>
                <a:gd name="connsiteX21" fmla="*/ 77291 w 1394458"/>
                <a:gd name="connsiteY21" fmla="*/ 54533 h 273890"/>
                <a:gd name="connsiteX22" fmla="*/ 58706 w 1394458"/>
                <a:gd name="connsiteY22" fmla="*/ 70861 h 273890"/>
                <a:gd name="connsiteX23" fmla="*/ 47417 w 1394458"/>
                <a:gd name="connsiteY23" fmla="*/ 97432 h 273890"/>
                <a:gd name="connsiteX24" fmla="*/ 43769 w 1394458"/>
                <a:gd name="connsiteY24" fmla="*/ 133210 h 273890"/>
                <a:gd name="connsiteX25" fmla="*/ 43769 w 1394458"/>
                <a:gd name="connsiteY25" fmla="*/ 154572 h 273890"/>
                <a:gd name="connsiteX26" fmla="*/ 47067 w 1394458"/>
                <a:gd name="connsiteY26" fmla="*/ 189304 h 273890"/>
                <a:gd name="connsiteX27" fmla="*/ 57490 w 1394458"/>
                <a:gd name="connsiteY27" fmla="*/ 215875 h 273890"/>
                <a:gd name="connsiteX28" fmla="*/ 75550 w 1394458"/>
                <a:gd name="connsiteY28" fmla="*/ 233069 h 273890"/>
                <a:gd name="connsiteX29" fmla="*/ 101775 w 1394458"/>
                <a:gd name="connsiteY29" fmla="*/ 239149 h 273890"/>
                <a:gd name="connsiteX30" fmla="*/ 131824 w 1394458"/>
                <a:gd name="connsiteY30" fmla="*/ 233244 h 273890"/>
                <a:gd name="connsiteX31" fmla="*/ 149363 w 1394458"/>
                <a:gd name="connsiteY31" fmla="*/ 216050 h 273890"/>
                <a:gd name="connsiteX32" fmla="*/ 157354 w 1394458"/>
                <a:gd name="connsiteY32" fmla="*/ 188088 h 273890"/>
                <a:gd name="connsiteX33" fmla="*/ 313837 w 1394458"/>
                <a:gd name="connsiteY33" fmla="*/ 270418 h 273890"/>
                <a:gd name="connsiteX34" fmla="*/ 259825 w 1394458"/>
                <a:gd name="connsiteY34" fmla="*/ 270418 h 273890"/>
                <a:gd name="connsiteX35" fmla="*/ 260170 w 1394458"/>
                <a:gd name="connsiteY35" fmla="*/ 235856 h 273890"/>
                <a:gd name="connsiteX36" fmla="*/ 313837 w 1394458"/>
                <a:gd name="connsiteY36" fmla="*/ 235856 h 273890"/>
                <a:gd name="connsiteX37" fmla="*/ 353088 w 1394458"/>
                <a:gd name="connsiteY37" fmla="*/ 225608 h 273890"/>
                <a:gd name="connsiteX38" fmla="*/ 377057 w 1394458"/>
                <a:gd name="connsiteY38" fmla="*/ 196255 h 273890"/>
                <a:gd name="connsiteX39" fmla="*/ 385218 w 1394458"/>
                <a:gd name="connsiteY39" fmla="*/ 150754 h 273890"/>
                <a:gd name="connsiteX40" fmla="*/ 385218 w 1394458"/>
                <a:gd name="connsiteY40" fmla="*/ 137033 h 273890"/>
                <a:gd name="connsiteX41" fmla="*/ 380530 w 1394458"/>
                <a:gd name="connsiteY41" fmla="*/ 100734 h 273890"/>
                <a:gd name="connsiteX42" fmla="*/ 366984 w 1394458"/>
                <a:gd name="connsiteY42" fmla="*/ 74163 h 273890"/>
                <a:gd name="connsiteX43" fmla="*/ 345102 w 1394458"/>
                <a:gd name="connsiteY43" fmla="*/ 57840 h 273890"/>
                <a:gd name="connsiteX44" fmla="*/ 315403 w 1394458"/>
                <a:gd name="connsiteY44" fmla="*/ 52281 h 273890"/>
                <a:gd name="connsiteX45" fmla="*/ 258784 w 1394458"/>
                <a:gd name="connsiteY45" fmla="*/ 52281 h 273890"/>
                <a:gd name="connsiteX46" fmla="*/ 258784 w 1394458"/>
                <a:gd name="connsiteY46" fmla="*/ 17544 h 273890"/>
                <a:gd name="connsiteX47" fmla="*/ 315403 w 1394458"/>
                <a:gd name="connsiteY47" fmla="*/ 17544 h 273890"/>
                <a:gd name="connsiteX48" fmla="*/ 361429 w 1394458"/>
                <a:gd name="connsiteY48" fmla="*/ 26055 h 273890"/>
                <a:gd name="connsiteX49" fmla="*/ 397383 w 1394458"/>
                <a:gd name="connsiteY49" fmla="*/ 50195 h 273890"/>
                <a:gd name="connsiteX50" fmla="*/ 420826 w 1394458"/>
                <a:gd name="connsiteY50" fmla="*/ 88054 h 273890"/>
                <a:gd name="connsiteX51" fmla="*/ 428988 w 1394458"/>
                <a:gd name="connsiteY51" fmla="*/ 137378 h 273890"/>
                <a:gd name="connsiteX52" fmla="*/ 428988 w 1394458"/>
                <a:gd name="connsiteY52" fmla="*/ 150754 h 273890"/>
                <a:gd name="connsiteX53" fmla="*/ 420826 w 1394458"/>
                <a:gd name="connsiteY53" fmla="*/ 200078 h 273890"/>
                <a:gd name="connsiteX54" fmla="*/ 397383 w 1394458"/>
                <a:gd name="connsiteY54" fmla="*/ 237938 h 273890"/>
                <a:gd name="connsiteX55" fmla="*/ 360909 w 1394458"/>
                <a:gd name="connsiteY55" fmla="*/ 262077 h 273890"/>
                <a:gd name="connsiteX56" fmla="*/ 313842 w 1394458"/>
                <a:gd name="connsiteY56" fmla="*/ 270413 h 273890"/>
                <a:gd name="connsiteX57" fmla="*/ 283964 w 1394458"/>
                <a:gd name="connsiteY57" fmla="*/ 17544 h 273890"/>
                <a:gd name="connsiteX58" fmla="*/ 283964 w 1394458"/>
                <a:gd name="connsiteY58" fmla="*/ 270418 h 273890"/>
                <a:gd name="connsiteX59" fmla="*/ 240369 w 1394458"/>
                <a:gd name="connsiteY59" fmla="*/ 270418 h 273890"/>
                <a:gd name="connsiteX60" fmla="*/ 240369 w 1394458"/>
                <a:gd name="connsiteY60" fmla="*/ 17544 h 273890"/>
                <a:gd name="connsiteX61" fmla="*/ 283964 w 1394458"/>
                <a:gd name="connsiteY61" fmla="*/ 17544 h 273890"/>
                <a:gd name="connsiteX62" fmla="*/ 519299 w 1394458"/>
                <a:gd name="connsiteY62" fmla="*/ 17544 h 273890"/>
                <a:gd name="connsiteX63" fmla="*/ 519299 w 1394458"/>
                <a:gd name="connsiteY63" fmla="*/ 270418 h 273890"/>
                <a:gd name="connsiteX64" fmla="*/ 475705 w 1394458"/>
                <a:gd name="connsiteY64" fmla="*/ 270418 h 273890"/>
                <a:gd name="connsiteX65" fmla="*/ 475705 w 1394458"/>
                <a:gd name="connsiteY65" fmla="*/ 17544 h 273890"/>
                <a:gd name="connsiteX66" fmla="*/ 519299 w 1394458"/>
                <a:gd name="connsiteY66" fmla="*/ 17544 h 273890"/>
                <a:gd name="connsiteX67" fmla="*/ 811424 w 1394458"/>
                <a:gd name="connsiteY67" fmla="*/ 188093 h 273890"/>
                <a:gd name="connsiteX68" fmla="*/ 854843 w 1394458"/>
                <a:gd name="connsiteY68" fmla="*/ 188093 h 273890"/>
                <a:gd name="connsiteX69" fmla="*/ 840947 w 1394458"/>
                <a:gd name="connsiteY69" fmla="*/ 232383 h 273890"/>
                <a:gd name="connsiteX70" fmla="*/ 807776 w 1394458"/>
                <a:gd name="connsiteY70" fmla="*/ 262777 h 273890"/>
                <a:gd name="connsiteX71" fmla="*/ 755845 w 1394458"/>
                <a:gd name="connsiteY71" fmla="*/ 273891 h 273890"/>
                <a:gd name="connsiteX72" fmla="*/ 713642 w 1394458"/>
                <a:gd name="connsiteY72" fmla="*/ 265554 h 273890"/>
                <a:gd name="connsiteX73" fmla="*/ 681512 w 1394458"/>
                <a:gd name="connsiteY73" fmla="*/ 241585 h 273890"/>
                <a:gd name="connsiteX74" fmla="*/ 661021 w 1394458"/>
                <a:gd name="connsiteY74" fmla="*/ 203896 h 273890"/>
                <a:gd name="connsiteX75" fmla="*/ 654075 w 1394458"/>
                <a:gd name="connsiteY75" fmla="*/ 154572 h 273890"/>
                <a:gd name="connsiteX76" fmla="*/ 654075 w 1394458"/>
                <a:gd name="connsiteY76" fmla="*/ 133555 h 273890"/>
                <a:gd name="connsiteX77" fmla="*/ 661196 w 1394458"/>
                <a:gd name="connsiteY77" fmla="*/ 84231 h 273890"/>
                <a:gd name="connsiteX78" fmla="*/ 682037 w 1394458"/>
                <a:gd name="connsiteY78" fmla="*/ 46547 h 273890"/>
                <a:gd name="connsiteX79" fmla="*/ 714513 w 1394458"/>
                <a:gd name="connsiteY79" fmla="*/ 22403 h 273890"/>
                <a:gd name="connsiteX80" fmla="*/ 757411 w 1394458"/>
                <a:gd name="connsiteY80" fmla="*/ 14066 h 273890"/>
                <a:gd name="connsiteX81" fmla="*/ 808472 w 1394458"/>
                <a:gd name="connsiteY81" fmla="*/ 25180 h 273890"/>
                <a:gd name="connsiteX82" fmla="*/ 840777 w 1394458"/>
                <a:gd name="connsiteY82" fmla="*/ 55919 h 273890"/>
                <a:gd name="connsiteX83" fmla="*/ 855018 w 1394458"/>
                <a:gd name="connsiteY83" fmla="*/ 100900 h 273890"/>
                <a:gd name="connsiteX84" fmla="*/ 811599 w 1394458"/>
                <a:gd name="connsiteY84" fmla="*/ 100900 h 273890"/>
                <a:gd name="connsiteX85" fmla="*/ 803958 w 1394458"/>
                <a:gd name="connsiteY85" fmla="*/ 72938 h 273890"/>
                <a:gd name="connsiteX86" fmla="*/ 786940 w 1394458"/>
                <a:gd name="connsiteY86" fmla="*/ 55224 h 273890"/>
                <a:gd name="connsiteX87" fmla="*/ 757416 w 1394458"/>
                <a:gd name="connsiteY87" fmla="*/ 48969 h 273890"/>
                <a:gd name="connsiteX88" fmla="*/ 731366 w 1394458"/>
                <a:gd name="connsiteY88" fmla="*/ 54528 h 273890"/>
                <a:gd name="connsiteX89" fmla="*/ 712781 w 1394458"/>
                <a:gd name="connsiteY89" fmla="*/ 70856 h 273890"/>
                <a:gd name="connsiteX90" fmla="*/ 701492 w 1394458"/>
                <a:gd name="connsiteY90" fmla="*/ 97427 h 273890"/>
                <a:gd name="connsiteX91" fmla="*/ 697844 w 1394458"/>
                <a:gd name="connsiteY91" fmla="*/ 133205 h 273890"/>
                <a:gd name="connsiteX92" fmla="*/ 697844 w 1394458"/>
                <a:gd name="connsiteY92" fmla="*/ 154567 h 273890"/>
                <a:gd name="connsiteX93" fmla="*/ 701142 w 1394458"/>
                <a:gd name="connsiteY93" fmla="*/ 189299 h 273890"/>
                <a:gd name="connsiteX94" fmla="*/ 711565 w 1394458"/>
                <a:gd name="connsiteY94" fmla="*/ 215870 h 273890"/>
                <a:gd name="connsiteX95" fmla="*/ 729629 w 1394458"/>
                <a:gd name="connsiteY95" fmla="*/ 233064 h 273890"/>
                <a:gd name="connsiteX96" fmla="*/ 755855 w 1394458"/>
                <a:gd name="connsiteY96" fmla="*/ 239144 h 273890"/>
                <a:gd name="connsiteX97" fmla="*/ 785904 w 1394458"/>
                <a:gd name="connsiteY97" fmla="*/ 233239 h 273890"/>
                <a:gd name="connsiteX98" fmla="*/ 803443 w 1394458"/>
                <a:gd name="connsiteY98" fmla="*/ 216046 h 273890"/>
                <a:gd name="connsiteX99" fmla="*/ 811434 w 1394458"/>
                <a:gd name="connsiteY99" fmla="*/ 188084 h 273890"/>
                <a:gd name="connsiteX100" fmla="*/ 882285 w 1394458"/>
                <a:gd name="connsiteY100" fmla="*/ 178541 h 273890"/>
                <a:gd name="connsiteX101" fmla="*/ 882285 w 1394458"/>
                <a:gd name="connsiteY101" fmla="*/ 174548 h 273890"/>
                <a:gd name="connsiteX102" fmla="*/ 888190 w 1394458"/>
                <a:gd name="connsiteY102" fmla="*/ 136858 h 273890"/>
                <a:gd name="connsiteX103" fmla="*/ 905208 w 1394458"/>
                <a:gd name="connsiteY103" fmla="*/ 106464 h 273890"/>
                <a:gd name="connsiteX104" fmla="*/ 932650 w 1394458"/>
                <a:gd name="connsiteY104" fmla="*/ 86318 h 273890"/>
                <a:gd name="connsiteX105" fmla="*/ 969469 w 1394458"/>
                <a:gd name="connsiteY105" fmla="*/ 79022 h 273890"/>
                <a:gd name="connsiteX106" fmla="*/ 1006288 w 1394458"/>
                <a:gd name="connsiteY106" fmla="*/ 86318 h 273890"/>
                <a:gd name="connsiteX107" fmla="*/ 1033899 w 1394458"/>
                <a:gd name="connsiteY107" fmla="*/ 106464 h 273890"/>
                <a:gd name="connsiteX108" fmla="*/ 1051093 w 1394458"/>
                <a:gd name="connsiteY108" fmla="*/ 136858 h 273890"/>
                <a:gd name="connsiteX109" fmla="*/ 1056998 w 1394458"/>
                <a:gd name="connsiteY109" fmla="*/ 174548 h 273890"/>
                <a:gd name="connsiteX110" fmla="*/ 1056998 w 1394458"/>
                <a:gd name="connsiteY110" fmla="*/ 178541 h 273890"/>
                <a:gd name="connsiteX111" fmla="*/ 1051093 w 1394458"/>
                <a:gd name="connsiteY111" fmla="*/ 216230 h 273890"/>
                <a:gd name="connsiteX112" fmla="*/ 1033899 w 1394458"/>
                <a:gd name="connsiteY112" fmla="*/ 246624 h 273890"/>
                <a:gd name="connsiteX113" fmla="*/ 1006458 w 1394458"/>
                <a:gd name="connsiteY113" fmla="*/ 266770 h 273890"/>
                <a:gd name="connsiteX114" fmla="*/ 969814 w 1394458"/>
                <a:gd name="connsiteY114" fmla="*/ 273891 h 273890"/>
                <a:gd name="connsiteX115" fmla="*/ 932820 w 1394458"/>
                <a:gd name="connsiteY115" fmla="*/ 266770 h 273890"/>
                <a:gd name="connsiteX116" fmla="*/ 905378 w 1394458"/>
                <a:gd name="connsiteY116" fmla="*/ 246624 h 273890"/>
                <a:gd name="connsiteX117" fmla="*/ 888185 w 1394458"/>
                <a:gd name="connsiteY117" fmla="*/ 216230 h 273890"/>
                <a:gd name="connsiteX118" fmla="*/ 882280 w 1394458"/>
                <a:gd name="connsiteY118" fmla="*/ 178541 h 273890"/>
                <a:gd name="connsiteX119" fmla="*/ 924143 w 1394458"/>
                <a:gd name="connsiteY119" fmla="*/ 174548 h 273890"/>
                <a:gd name="connsiteX120" fmla="*/ 924143 w 1394458"/>
                <a:gd name="connsiteY120" fmla="*/ 178541 h 273890"/>
                <a:gd name="connsiteX121" fmla="*/ 926750 w 1394458"/>
                <a:gd name="connsiteY121" fmla="*/ 202510 h 273890"/>
                <a:gd name="connsiteX122" fmla="*/ 934911 w 1394458"/>
                <a:gd name="connsiteY122" fmla="*/ 222310 h 273890"/>
                <a:gd name="connsiteX123" fmla="*/ 949152 w 1394458"/>
                <a:gd name="connsiteY123" fmla="*/ 235681 h 273890"/>
                <a:gd name="connsiteX124" fmla="*/ 969819 w 1394458"/>
                <a:gd name="connsiteY124" fmla="*/ 240545 h 273890"/>
                <a:gd name="connsiteX125" fmla="*/ 989965 w 1394458"/>
                <a:gd name="connsiteY125" fmla="*/ 235681 h 273890"/>
                <a:gd name="connsiteX126" fmla="*/ 1004206 w 1394458"/>
                <a:gd name="connsiteY126" fmla="*/ 222310 h 273890"/>
                <a:gd name="connsiteX127" fmla="*/ 1012367 w 1394458"/>
                <a:gd name="connsiteY127" fmla="*/ 202510 h 273890"/>
                <a:gd name="connsiteX128" fmla="*/ 1015145 w 1394458"/>
                <a:gd name="connsiteY128" fmla="*/ 178541 h 273890"/>
                <a:gd name="connsiteX129" fmla="*/ 1015145 w 1394458"/>
                <a:gd name="connsiteY129" fmla="*/ 174548 h 273890"/>
                <a:gd name="connsiteX130" fmla="*/ 1012367 w 1394458"/>
                <a:gd name="connsiteY130" fmla="*/ 150929 h 273890"/>
                <a:gd name="connsiteX131" fmla="*/ 1004031 w 1394458"/>
                <a:gd name="connsiteY131" fmla="*/ 130958 h 273890"/>
                <a:gd name="connsiteX132" fmla="*/ 989790 w 1394458"/>
                <a:gd name="connsiteY132" fmla="*/ 117412 h 273890"/>
                <a:gd name="connsiteX133" fmla="*/ 969469 w 1394458"/>
                <a:gd name="connsiteY133" fmla="*/ 112378 h 273890"/>
                <a:gd name="connsiteX134" fmla="*/ 948977 w 1394458"/>
                <a:gd name="connsiteY134" fmla="*/ 117412 h 273890"/>
                <a:gd name="connsiteX135" fmla="*/ 934911 w 1394458"/>
                <a:gd name="connsiteY135" fmla="*/ 130958 h 273890"/>
                <a:gd name="connsiteX136" fmla="*/ 926750 w 1394458"/>
                <a:gd name="connsiteY136" fmla="*/ 150929 h 273890"/>
                <a:gd name="connsiteX137" fmla="*/ 924143 w 1394458"/>
                <a:gd name="connsiteY137" fmla="*/ 174548 h 273890"/>
                <a:gd name="connsiteX138" fmla="*/ 1133598 w 1394458"/>
                <a:gd name="connsiteY138" fmla="*/ 122617 h 273890"/>
                <a:gd name="connsiteX139" fmla="*/ 1133598 w 1394458"/>
                <a:gd name="connsiteY139" fmla="*/ 270418 h 273890"/>
                <a:gd name="connsiteX140" fmla="*/ 1091745 w 1394458"/>
                <a:gd name="connsiteY140" fmla="*/ 270418 h 273890"/>
                <a:gd name="connsiteX141" fmla="*/ 1091745 w 1394458"/>
                <a:gd name="connsiteY141" fmla="*/ 82495 h 273890"/>
                <a:gd name="connsiteX142" fmla="*/ 1131171 w 1394458"/>
                <a:gd name="connsiteY142" fmla="*/ 82495 h 273890"/>
                <a:gd name="connsiteX143" fmla="*/ 1133603 w 1394458"/>
                <a:gd name="connsiteY143" fmla="*/ 122617 h 273890"/>
                <a:gd name="connsiteX144" fmla="*/ 1126132 w 1394458"/>
                <a:gd name="connsiteY144" fmla="*/ 169509 h 273890"/>
                <a:gd name="connsiteX145" fmla="*/ 1112586 w 1394458"/>
                <a:gd name="connsiteY145" fmla="*/ 169334 h 273890"/>
                <a:gd name="connsiteX146" fmla="*/ 1118145 w 1394458"/>
                <a:gd name="connsiteY146" fmla="*/ 132690 h 273890"/>
                <a:gd name="connsiteX147" fmla="*/ 1133428 w 1394458"/>
                <a:gd name="connsiteY147" fmla="*/ 104032 h 273890"/>
                <a:gd name="connsiteX148" fmla="*/ 1157046 w 1394458"/>
                <a:gd name="connsiteY148" fmla="*/ 85623 h 273890"/>
                <a:gd name="connsiteX149" fmla="*/ 1187615 w 1394458"/>
                <a:gd name="connsiteY149" fmla="*/ 79022 h 273890"/>
                <a:gd name="connsiteX150" fmla="*/ 1212105 w 1394458"/>
                <a:gd name="connsiteY150" fmla="*/ 82840 h 273890"/>
                <a:gd name="connsiteX151" fmla="*/ 1231034 w 1394458"/>
                <a:gd name="connsiteY151" fmla="*/ 94825 h 273890"/>
                <a:gd name="connsiteX152" fmla="*/ 1243189 w 1394458"/>
                <a:gd name="connsiteY152" fmla="*/ 116532 h 273890"/>
                <a:gd name="connsiteX153" fmla="*/ 1247357 w 1394458"/>
                <a:gd name="connsiteY153" fmla="*/ 149013 h 273890"/>
                <a:gd name="connsiteX154" fmla="*/ 1247357 w 1394458"/>
                <a:gd name="connsiteY154" fmla="*/ 270413 h 273890"/>
                <a:gd name="connsiteX155" fmla="*/ 1205329 w 1394458"/>
                <a:gd name="connsiteY155" fmla="*/ 270413 h 273890"/>
                <a:gd name="connsiteX156" fmla="*/ 1205329 w 1394458"/>
                <a:gd name="connsiteY156" fmla="*/ 148837 h 273890"/>
                <a:gd name="connsiteX157" fmla="*/ 1201336 w 1394458"/>
                <a:gd name="connsiteY157" fmla="*/ 127476 h 273890"/>
                <a:gd name="connsiteX158" fmla="*/ 1190047 w 1394458"/>
                <a:gd name="connsiteY158" fmla="*/ 116187 h 273890"/>
                <a:gd name="connsiteX159" fmla="*/ 1171813 w 1394458"/>
                <a:gd name="connsiteY159" fmla="*/ 112714 h 273890"/>
                <a:gd name="connsiteX160" fmla="*/ 1152533 w 1394458"/>
                <a:gd name="connsiteY160" fmla="*/ 117228 h 273890"/>
                <a:gd name="connsiteX161" fmla="*/ 1138116 w 1394458"/>
                <a:gd name="connsiteY161" fmla="*/ 129557 h 273890"/>
                <a:gd name="connsiteX162" fmla="*/ 1129259 w 1394458"/>
                <a:gd name="connsiteY162" fmla="*/ 147621 h 273890"/>
                <a:gd name="connsiteX163" fmla="*/ 1126132 w 1394458"/>
                <a:gd name="connsiteY163" fmla="*/ 169504 h 273890"/>
                <a:gd name="connsiteX164" fmla="*/ 1346701 w 1394458"/>
                <a:gd name="connsiteY164" fmla="*/ 270418 h 273890"/>
                <a:gd name="connsiteX165" fmla="*/ 1304843 w 1394458"/>
                <a:gd name="connsiteY165" fmla="*/ 270418 h 273890"/>
                <a:gd name="connsiteX166" fmla="*/ 1304843 w 1394458"/>
                <a:gd name="connsiteY166" fmla="*/ 64436 h 273890"/>
                <a:gd name="connsiteX167" fmla="*/ 1312659 w 1394458"/>
                <a:gd name="connsiteY167" fmla="*/ 29178 h 273890"/>
                <a:gd name="connsiteX168" fmla="*/ 1335412 w 1394458"/>
                <a:gd name="connsiteY168" fmla="*/ 7471 h 273890"/>
                <a:gd name="connsiteX169" fmla="*/ 1370319 w 1394458"/>
                <a:gd name="connsiteY169" fmla="*/ 0 h 273890"/>
                <a:gd name="connsiteX170" fmla="*/ 1382649 w 1394458"/>
                <a:gd name="connsiteY170" fmla="*/ 871 h 273890"/>
                <a:gd name="connsiteX171" fmla="*/ 1394458 w 1394458"/>
                <a:gd name="connsiteY171" fmla="*/ 3127 h 273890"/>
                <a:gd name="connsiteX172" fmla="*/ 1393418 w 1394458"/>
                <a:gd name="connsiteY172" fmla="*/ 35433 h 273890"/>
                <a:gd name="connsiteX173" fmla="*/ 1385776 w 1394458"/>
                <a:gd name="connsiteY173" fmla="*/ 34217 h 273890"/>
                <a:gd name="connsiteX174" fmla="*/ 1377095 w 1394458"/>
                <a:gd name="connsiteY174" fmla="*/ 33872 h 273890"/>
                <a:gd name="connsiteX175" fmla="*/ 1360596 w 1394458"/>
                <a:gd name="connsiteY175" fmla="*/ 37519 h 273890"/>
                <a:gd name="connsiteX176" fmla="*/ 1350178 w 1394458"/>
                <a:gd name="connsiteY176" fmla="*/ 47767 h 273890"/>
                <a:gd name="connsiteX177" fmla="*/ 1346706 w 1394458"/>
                <a:gd name="connsiteY177" fmla="*/ 64441 h 273890"/>
                <a:gd name="connsiteX178" fmla="*/ 1346706 w 1394458"/>
                <a:gd name="connsiteY178" fmla="*/ 270423 h 273890"/>
                <a:gd name="connsiteX179" fmla="*/ 1385431 w 1394458"/>
                <a:gd name="connsiteY179" fmla="*/ 82500 h 273890"/>
                <a:gd name="connsiteX180" fmla="*/ 1385431 w 1394458"/>
                <a:gd name="connsiteY180" fmla="*/ 113069 h 273890"/>
                <a:gd name="connsiteX181" fmla="*/ 1276015 w 1394458"/>
                <a:gd name="connsiteY181" fmla="*/ 113069 h 273890"/>
                <a:gd name="connsiteX182" fmla="*/ 1276015 w 1394458"/>
                <a:gd name="connsiteY182" fmla="*/ 82500 h 273890"/>
                <a:gd name="connsiteX183" fmla="*/ 1385431 w 1394458"/>
                <a:gd name="connsiteY183" fmla="*/ 82500 h 2738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</a:cxnLst>
              <a:rect l="l" t="t" r="r" b="b"/>
              <a:pathLst>
                <a:path w="1394458" h="273890">
                  <a:moveTo>
                    <a:pt x="157354" y="188093"/>
                  </a:moveTo>
                  <a:lnTo>
                    <a:pt x="200773" y="188093"/>
                  </a:lnTo>
                  <a:cubicBezTo>
                    <a:pt x="199382" y="204650"/>
                    <a:pt x="194752" y="219411"/>
                    <a:pt x="186877" y="232383"/>
                  </a:cubicBezTo>
                  <a:cubicBezTo>
                    <a:pt x="179003" y="245233"/>
                    <a:pt x="167947" y="255365"/>
                    <a:pt x="153706" y="262777"/>
                  </a:cubicBezTo>
                  <a:cubicBezTo>
                    <a:pt x="139465" y="270185"/>
                    <a:pt x="122155" y="273891"/>
                    <a:pt x="101775" y="273891"/>
                  </a:cubicBezTo>
                  <a:cubicBezTo>
                    <a:pt x="86143" y="273891"/>
                    <a:pt x="72077" y="271114"/>
                    <a:pt x="59572" y="265554"/>
                  </a:cubicBezTo>
                  <a:cubicBezTo>
                    <a:pt x="47067" y="259878"/>
                    <a:pt x="36357" y="251892"/>
                    <a:pt x="27442" y="241585"/>
                  </a:cubicBezTo>
                  <a:cubicBezTo>
                    <a:pt x="18526" y="231162"/>
                    <a:pt x="11697" y="218604"/>
                    <a:pt x="6950" y="203896"/>
                  </a:cubicBezTo>
                  <a:cubicBezTo>
                    <a:pt x="2315" y="189192"/>
                    <a:pt x="0" y="172753"/>
                    <a:pt x="0" y="154577"/>
                  </a:cubicBezTo>
                  <a:lnTo>
                    <a:pt x="0" y="133560"/>
                  </a:lnTo>
                  <a:cubicBezTo>
                    <a:pt x="0" y="115379"/>
                    <a:pt x="2374" y="98940"/>
                    <a:pt x="7121" y="84236"/>
                  </a:cubicBezTo>
                  <a:cubicBezTo>
                    <a:pt x="11984" y="69533"/>
                    <a:pt x="18930" y="56970"/>
                    <a:pt x="27962" y="46552"/>
                  </a:cubicBezTo>
                  <a:cubicBezTo>
                    <a:pt x="36994" y="36017"/>
                    <a:pt x="47816" y="27967"/>
                    <a:pt x="60438" y="22408"/>
                  </a:cubicBezTo>
                  <a:cubicBezTo>
                    <a:pt x="73171" y="16848"/>
                    <a:pt x="87471" y="14071"/>
                    <a:pt x="103336" y="14071"/>
                  </a:cubicBezTo>
                  <a:cubicBezTo>
                    <a:pt x="123482" y="14071"/>
                    <a:pt x="140506" y="17777"/>
                    <a:pt x="154397" y="25185"/>
                  </a:cubicBezTo>
                  <a:cubicBezTo>
                    <a:pt x="168293" y="32597"/>
                    <a:pt x="179056" y="42840"/>
                    <a:pt x="186702" y="55924"/>
                  </a:cubicBezTo>
                  <a:cubicBezTo>
                    <a:pt x="194460" y="69008"/>
                    <a:pt x="199207" y="84003"/>
                    <a:pt x="200943" y="100905"/>
                  </a:cubicBezTo>
                  <a:lnTo>
                    <a:pt x="157524" y="100905"/>
                  </a:lnTo>
                  <a:cubicBezTo>
                    <a:pt x="156367" y="90019"/>
                    <a:pt x="153818" y="80700"/>
                    <a:pt x="149883" y="72943"/>
                  </a:cubicBezTo>
                  <a:cubicBezTo>
                    <a:pt x="146065" y="65185"/>
                    <a:pt x="140389" y="59280"/>
                    <a:pt x="132865" y="55229"/>
                  </a:cubicBezTo>
                  <a:cubicBezTo>
                    <a:pt x="125340" y="51060"/>
                    <a:pt x="115496" y="48974"/>
                    <a:pt x="103341" y="48974"/>
                  </a:cubicBezTo>
                  <a:cubicBezTo>
                    <a:pt x="93385" y="48974"/>
                    <a:pt x="84698" y="50827"/>
                    <a:pt x="77291" y="54533"/>
                  </a:cubicBezTo>
                  <a:cubicBezTo>
                    <a:pt x="69878" y="58239"/>
                    <a:pt x="63687" y="63682"/>
                    <a:pt x="58706" y="70861"/>
                  </a:cubicBezTo>
                  <a:cubicBezTo>
                    <a:pt x="53730" y="78040"/>
                    <a:pt x="49966" y="86897"/>
                    <a:pt x="47417" y="97432"/>
                  </a:cubicBezTo>
                  <a:cubicBezTo>
                    <a:pt x="44985" y="107850"/>
                    <a:pt x="43769" y="119776"/>
                    <a:pt x="43769" y="133210"/>
                  </a:cubicBezTo>
                  <a:lnTo>
                    <a:pt x="43769" y="154572"/>
                  </a:lnTo>
                  <a:cubicBezTo>
                    <a:pt x="43769" y="167305"/>
                    <a:pt x="44869" y="178886"/>
                    <a:pt x="47067" y="189304"/>
                  </a:cubicBezTo>
                  <a:cubicBezTo>
                    <a:pt x="49382" y="199611"/>
                    <a:pt x="52855" y="208468"/>
                    <a:pt x="57490" y="215875"/>
                  </a:cubicBezTo>
                  <a:cubicBezTo>
                    <a:pt x="62237" y="223288"/>
                    <a:pt x="68259" y="229017"/>
                    <a:pt x="75550" y="233069"/>
                  </a:cubicBezTo>
                  <a:cubicBezTo>
                    <a:pt x="82845" y="237120"/>
                    <a:pt x="91585" y="239149"/>
                    <a:pt x="101775" y="239149"/>
                  </a:cubicBezTo>
                  <a:cubicBezTo>
                    <a:pt x="114163" y="239149"/>
                    <a:pt x="124178" y="237179"/>
                    <a:pt x="131824" y="233244"/>
                  </a:cubicBezTo>
                  <a:cubicBezTo>
                    <a:pt x="139582" y="229309"/>
                    <a:pt x="145428" y="223575"/>
                    <a:pt x="149363" y="216050"/>
                  </a:cubicBezTo>
                  <a:cubicBezTo>
                    <a:pt x="153414" y="208409"/>
                    <a:pt x="156080" y="199090"/>
                    <a:pt x="157354" y="188088"/>
                  </a:cubicBezTo>
                  <a:close/>
                  <a:moveTo>
                    <a:pt x="313837" y="270418"/>
                  </a:moveTo>
                  <a:lnTo>
                    <a:pt x="259825" y="270418"/>
                  </a:lnTo>
                  <a:lnTo>
                    <a:pt x="260170" y="235856"/>
                  </a:lnTo>
                  <a:lnTo>
                    <a:pt x="313837" y="235856"/>
                  </a:lnTo>
                  <a:cubicBezTo>
                    <a:pt x="329469" y="235856"/>
                    <a:pt x="342553" y="232441"/>
                    <a:pt x="353088" y="225608"/>
                  </a:cubicBezTo>
                  <a:cubicBezTo>
                    <a:pt x="363740" y="218779"/>
                    <a:pt x="371731" y="208993"/>
                    <a:pt x="377057" y="196255"/>
                  </a:cubicBezTo>
                  <a:cubicBezTo>
                    <a:pt x="382499" y="183521"/>
                    <a:pt x="385218" y="168351"/>
                    <a:pt x="385218" y="150754"/>
                  </a:cubicBezTo>
                  <a:lnTo>
                    <a:pt x="385218" y="137033"/>
                  </a:lnTo>
                  <a:cubicBezTo>
                    <a:pt x="385218" y="123371"/>
                    <a:pt x="383657" y="111269"/>
                    <a:pt x="380530" y="100734"/>
                  </a:cubicBezTo>
                  <a:cubicBezTo>
                    <a:pt x="377519" y="90199"/>
                    <a:pt x="373005" y="81342"/>
                    <a:pt x="366984" y="74163"/>
                  </a:cubicBezTo>
                  <a:cubicBezTo>
                    <a:pt x="361079" y="66984"/>
                    <a:pt x="353784" y="61542"/>
                    <a:pt x="345102" y="57840"/>
                  </a:cubicBezTo>
                  <a:cubicBezTo>
                    <a:pt x="336532" y="54134"/>
                    <a:pt x="326634" y="52281"/>
                    <a:pt x="315403" y="52281"/>
                  </a:cubicBezTo>
                  <a:lnTo>
                    <a:pt x="258784" y="52281"/>
                  </a:lnTo>
                  <a:lnTo>
                    <a:pt x="258784" y="17544"/>
                  </a:lnTo>
                  <a:lnTo>
                    <a:pt x="315403" y="17544"/>
                  </a:lnTo>
                  <a:cubicBezTo>
                    <a:pt x="332193" y="17544"/>
                    <a:pt x="347534" y="20379"/>
                    <a:pt x="361429" y="26055"/>
                  </a:cubicBezTo>
                  <a:cubicBezTo>
                    <a:pt x="375325" y="31615"/>
                    <a:pt x="387310" y="39660"/>
                    <a:pt x="397383" y="50195"/>
                  </a:cubicBezTo>
                  <a:cubicBezTo>
                    <a:pt x="407572" y="60730"/>
                    <a:pt x="415389" y="73351"/>
                    <a:pt x="420826" y="88054"/>
                  </a:cubicBezTo>
                  <a:cubicBezTo>
                    <a:pt x="426269" y="102758"/>
                    <a:pt x="428988" y="119202"/>
                    <a:pt x="428988" y="137378"/>
                  </a:cubicBezTo>
                  <a:lnTo>
                    <a:pt x="428988" y="150754"/>
                  </a:lnTo>
                  <a:cubicBezTo>
                    <a:pt x="428988" y="168930"/>
                    <a:pt x="426269" y="185374"/>
                    <a:pt x="420826" y="200078"/>
                  </a:cubicBezTo>
                  <a:cubicBezTo>
                    <a:pt x="415384" y="214781"/>
                    <a:pt x="407568" y="227403"/>
                    <a:pt x="397383" y="237938"/>
                  </a:cubicBezTo>
                  <a:cubicBezTo>
                    <a:pt x="387193" y="248356"/>
                    <a:pt x="375038" y="256405"/>
                    <a:pt x="360909" y="262077"/>
                  </a:cubicBezTo>
                  <a:cubicBezTo>
                    <a:pt x="346896" y="267636"/>
                    <a:pt x="331211" y="270413"/>
                    <a:pt x="313842" y="270413"/>
                  </a:cubicBezTo>
                  <a:close/>
                  <a:moveTo>
                    <a:pt x="283964" y="17544"/>
                  </a:moveTo>
                  <a:lnTo>
                    <a:pt x="283964" y="270418"/>
                  </a:lnTo>
                  <a:lnTo>
                    <a:pt x="240369" y="270418"/>
                  </a:lnTo>
                  <a:lnTo>
                    <a:pt x="240369" y="17544"/>
                  </a:lnTo>
                  <a:lnTo>
                    <a:pt x="283964" y="17544"/>
                  </a:lnTo>
                  <a:close/>
                  <a:moveTo>
                    <a:pt x="519299" y="17544"/>
                  </a:moveTo>
                  <a:lnTo>
                    <a:pt x="519299" y="270418"/>
                  </a:lnTo>
                  <a:lnTo>
                    <a:pt x="475705" y="270418"/>
                  </a:lnTo>
                  <a:lnTo>
                    <a:pt x="475705" y="17544"/>
                  </a:lnTo>
                  <a:lnTo>
                    <a:pt x="519299" y="17544"/>
                  </a:lnTo>
                  <a:close/>
                  <a:moveTo>
                    <a:pt x="811424" y="188093"/>
                  </a:moveTo>
                  <a:lnTo>
                    <a:pt x="854843" y="188093"/>
                  </a:lnTo>
                  <a:cubicBezTo>
                    <a:pt x="853452" y="204650"/>
                    <a:pt x="848822" y="219411"/>
                    <a:pt x="840947" y="232383"/>
                  </a:cubicBezTo>
                  <a:cubicBezTo>
                    <a:pt x="833073" y="245233"/>
                    <a:pt x="822017" y="255365"/>
                    <a:pt x="807776" y="262777"/>
                  </a:cubicBezTo>
                  <a:cubicBezTo>
                    <a:pt x="793535" y="270185"/>
                    <a:pt x="776225" y="273891"/>
                    <a:pt x="755845" y="273891"/>
                  </a:cubicBezTo>
                  <a:cubicBezTo>
                    <a:pt x="740213" y="273891"/>
                    <a:pt x="726147" y="271114"/>
                    <a:pt x="713642" y="265554"/>
                  </a:cubicBezTo>
                  <a:cubicBezTo>
                    <a:pt x="701137" y="259878"/>
                    <a:pt x="690427" y="251892"/>
                    <a:pt x="681512" y="241585"/>
                  </a:cubicBezTo>
                  <a:cubicBezTo>
                    <a:pt x="672596" y="231162"/>
                    <a:pt x="665768" y="218604"/>
                    <a:pt x="661021" y="203896"/>
                  </a:cubicBezTo>
                  <a:cubicBezTo>
                    <a:pt x="656390" y="189192"/>
                    <a:pt x="654075" y="172748"/>
                    <a:pt x="654075" y="154572"/>
                  </a:cubicBezTo>
                  <a:lnTo>
                    <a:pt x="654075" y="133555"/>
                  </a:lnTo>
                  <a:cubicBezTo>
                    <a:pt x="654075" y="115374"/>
                    <a:pt x="656449" y="98935"/>
                    <a:pt x="661196" y="84231"/>
                  </a:cubicBezTo>
                  <a:cubicBezTo>
                    <a:pt x="666059" y="69528"/>
                    <a:pt x="673005" y="56965"/>
                    <a:pt x="682037" y="46547"/>
                  </a:cubicBezTo>
                  <a:cubicBezTo>
                    <a:pt x="691069" y="36012"/>
                    <a:pt x="701891" y="27962"/>
                    <a:pt x="714513" y="22403"/>
                  </a:cubicBezTo>
                  <a:cubicBezTo>
                    <a:pt x="727246" y="16843"/>
                    <a:pt x="741546" y="14066"/>
                    <a:pt x="757411" y="14066"/>
                  </a:cubicBezTo>
                  <a:cubicBezTo>
                    <a:pt x="777557" y="14066"/>
                    <a:pt x="794581" y="17772"/>
                    <a:pt x="808472" y="25180"/>
                  </a:cubicBezTo>
                  <a:cubicBezTo>
                    <a:pt x="822368" y="32592"/>
                    <a:pt x="833131" y="42836"/>
                    <a:pt x="840777" y="55919"/>
                  </a:cubicBezTo>
                  <a:cubicBezTo>
                    <a:pt x="848535" y="69003"/>
                    <a:pt x="853282" y="83998"/>
                    <a:pt x="855018" y="100900"/>
                  </a:cubicBezTo>
                  <a:lnTo>
                    <a:pt x="811599" y="100900"/>
                  </a:lnTo>
                  <a:cubicBezTo>
                    <a:pt x="810442" y="90015"/>
                    <a:pt x="807893" y="80695"/>
                    <a:pt x="803958" y="72938"/>
                  </a:cubicBezTo>
                  <a:cubicBezTo>
                    <a:pt x="800140" y="65180"/>
                    <a:pt x="794464" y="59275"/>
                    <a:pt x="786940" y="55224"/>
                  </a:cubicBezTo>
                  <a:cubicBezTo>
                    <a:pt x="779415" y="51055"/>
                    <a:pt x="769571" y="48969"/>
                    <a:pt x="757416" y="48969"/>
                  </a:cubicBezTo>
                  <a:cubicBezTo>
                    <a:pt x="747460" y="48969"/>
                    <a:pt x="738773" y="50822"/>
                    <a:pt x="731366" y="54528"/>
                  </a:cubicBezTo>
                  <a:cubicBezTo>
                    <a:pt x="723953" y="58234"/>
                    <a:pt x="717762" y="63677"/>
                    <a:pt x="712781" y="70856"/>
                  </a:cubicBezTo>
                  <a:cubicBezTo>
                    <a:pt x="707801" y="78035"/>
                    <a:pt x="704041" y="86892"/>
                    <a:pt x="701492" y="97427"/>
                  </a:cubicBezTo>
                  <a:cubicBezTo>
                    <a:pt x="699060" y="107845"/>
                    <a:pt x="697844" y="119771"/>
                    <a:pt x="697844" y="133205"/>
                  </a:cubicBezTo>
                  <a:lnTo>
                    <a:pt x="697844" y="154567"/>
                  </a:lnTo>
                  <a:cubicBezTo>
                    <a:pt x="697844" y="167300"/>
                    <a:pt x="698944" y="178881"/>
                    <a:pt x="701142" y="189299"/>
                  </a:cubicBezTo>
                  <a:cubicBezTo>
                    <a:pt x="703457" y="199606"/>
                    <a:pt x="706930" y="208463"/>
                    <a:pt x="711565" y="215870"/>
                  </a:cubicBezTo>
                  <a:cubicBezTo>
                    <a:pt x="716312" y="223283"/>
                    <a:pt x="722334" y="229012"/>
                    <a:pt x="729629" y="233064"/>
                  </a:cubicBezTo>
                  <a:cubicBezTo>
                    <a:pt x="736925" y="237116"/>
                    <a:pt x="745665" y="239144"/>
                    <a:pt x="755855" y="239144"/>
                  </a:cubicBezTo>
                  <a:cubicBezTo>
                    <a:pt x="768243" y="239144"/>
                    <a:pt x="778258" y="237174"/>
                    <a:pt x="785904" y="233239"/>
                  </a:cubicBezTo>
                  <a:cubicBezTo>
                    <a:pt x="793661" y="229304"/>
                    <a:pt x="799508" y="223570"/>
                    <a:pt x="803443" y="216046"/>
                  </a:cubicBezTo>
                  <a:cubicBezTo>
                    <a:pt x="807494" y="208405"/>
                    <a:pt x="810159" y="199085"/>
                    <a:pt x="811434" y="188084"/>
                  </a:cubicBezTo>
                  <a:close/>
                  <a:moveTo>
                    <a:pt x="882285" y="178541"/>
                  </a:moveTo>
                  <a:lnTo>
                    <a:pt x="882285" y="174548"/>
                  </a:lnTo>
                  <a:cubicBezTo>
                    <a:pt x="882285" y="161002"/>
                    <a:pt x="884255" y="148439"/>
                    <a:pt x="888190" y="136858"/>
                  </a:cubicBezTo>
                  <a:cubicBezTo>
                    <a:pt x="892124" y="125165"/>
                    <a:pt x="897800" y="115034"/>
                    <a:pt x="905208" y="106464"/>
                  </a:cubicBezTo>
                  <a:cubicBezTo>
                    <a:pt x="912732" y="97782"/>
                    <a:pt x="921881" y="91065"/>
                    <a:pt x="932650" y="86318"/>
                  </a:cubicBezTo>
                  <a:cubicBezTo>
                    <a:pt x="943535" y="81454"/>
                    <a:pt x="955806" y="79022"/>
                    <a:pt x="969469" y="79022"/>
                  </a:cubicBezTo>
                  <a:cubicBezTo>
                    <a:pt x="983131" y="79022"/>
                    <a:pt x="995519" y="81454"/>
                    <a:pt x="1006288" y="86318"/>
                  </a:cubicBezTo>
                  <a:cubicBezTo>
                    <a:pt x="1017173" y="91065"/>
                    <a:pt x="1026375" y="97782"/>
                    <a:pt x="1033899" y="106464"/>
                  </a:cubicBezTo>
                  <a:cubicBezTo>
                    <a:pt x="1041424" y="115034"/>
                    <a:pt x="1047158" y="125165"/>
                    <a:pt x="1051093" y="136858"/>
                  </a:cubicBezTo>
                  <a:cubicBezTo>
                    <a:pt x="1055028" y="148439"/>
                    <a:pt x="1056998" y="160997"/>
                    <a:pt x="1056998" y="174548"/>
                  </a:cubicBezTo>
                  <a:lnTo>
                    <a:pt x="1056998" y="178541"/>
                  </a:lnTo>
                  <a:cubicBezTo>
                    <a:pt x="1056998" y="192086"/>
                    <a:pt x="1055028" y="204650"/>
                    <a:pt x="1051093" y="216230"/>
                  </a:cubicBezTo>
                  <a:cubicBezTo>
                    <a:pt x="1047153" y="227806"/>
                    <a:pt x="1041424" y="237938"/>
                    <a:pt x="1033899" y="246624"/>
                  </a:cubicBezTo>
                  <a:cubicBezTo>
                    <a:pt x="1026375" y="255194"/>
                    <a:pt x="1017226" y="261906"/>
                    <a:pt x="1006458" y="266770"/>
                  </a:cubicBezTo>
                  <a:cubicBezTo>
                    <a:pt x="995689" y="271517"/>
                    <a:pt x="983476" y="273891"/>
                    <a:pt x="969814" y="273891"/>
                  </a:cubicBezTo>
                  <a:cubicBezTo>
                    <a:pt x="956151" y="273891"/>
                    <a:pt x="943705" y="271517"/>
                    <a:pt x="932820" y="266770"/>
                  </a:cubicBezTo>
                  <a:cubicBezTo>
                    <a:pt x="922051" y="261906"/>
                    <a:pt x="912907" y="255189"/>
                    <a:pt x="905378" y="246624"/>
                  </a:cubicBezTo>
                  <a:cubicBezTo>
                    <a:pt x="897854" y="237942"/>
                    <a:pt x="892119" y="227811"/>
                    <a:pt x="888185" y="216230"/>
                  </a:cubicBezTo>
                  <a:cubicBezTo>
                    <a:pt x="884245" y="204650"/>
                    <a:pt x="882280" y="192086"/>
                    <a:pt x="882280" y="178541"/>
                  </a:cubicBezTo>
                  <a:close/>
                  <a:moveTo>
                    <a:pt x="924143" y="174548"/>
                  </a:moveTo>
                  <a:lnTo>
                    <a:pt x="924143" y="178541"/>
                  </a:lnTo>
                  <a:cubicBezTo>
                    <a:pt x="924143" y="186994"/>
                    <a:pt x="925013" y="194980"/>
                    <a:pt x="926750" y="202510"/>
                  </a:cubicBezTo>
                  <a:cubicBezTo>
                    <a:pt x="928486" y="210034"/>
                    <a:pt x="931210" y="216634"/>
                    <a:pt x="934911" y="222310"/>
                  </a:cubicBezTo>
                  <a:cubicBezTo>
                    <a:pt x="938617" y="227981"/>
                    <a:pt x="943365" y="232441"/>
                    <a:pt x="949152" y="235681"/>
                  </a:cubicBezTo>
                  <a:cubicBezTo>
                    <a:pt x="954940" y="238925"/>
                    <a:pt x="961832" y="240545"/>
                    <a:pt x="969819" y="240545"/>
                  </a:cubicBezTo>
                  <a:cubicBezTo>
                    <a:pt x="977805" y="240545"/>
                    <a:pt x="984293" y="238925"/>
                    <a:pt x="989965" y="235681"/>
                  </a:cubicBezTo>
                  <a:cubicBezTo>
                    <a:pt x="995753" y="232441"/>
                    <a:pt x="1000500" y="227981"/>
                    <a:pt x="1004206" y="222310"/>
                  </a:cubicBezTo>
                  <a:cubicBezTo>
                    <a:pt x="1007912" y="216634"/>
                    <a:pt x="1010631" y="210039"/>
                    <a:pt x="1012367" y="202510"/>
                  </a:cubicBezTo>
                  <a:cubicBezTo>
                    <a:pt x="1014220" y="194985"/>
                    <a:pt x="1015145" y="186994"/>
                    <a:pt x="1015145" y="178541"/>
                  </a:cubicBezTo>
                  <a:lnTo>
                    <a:pt x="1015145" y="174548"/>
                  </a:lnTo>
                  <a:cubicBezTo>
                    <a:pt x="1015145" y="166211"/>
                    <a:pt x="1014220" y="158336"/>
                    <a:pt x="1012367" y="150929"/>
                  </a:cubicBezTo>
                  <a:cubicBezTo>
                    <a:pt x="1010631" y="143405"/>
                    <a:pt x="1007854" y="136746"/>
                    <a:pt x="1004031" y="130958"/>
                  </a:cubicBezTo>
                  <a:cubicBezTo>
                    <a:pt x="1000325" y="125170"/>
                    <a:pt x="995578" y="120652"/>
                    <a:pt x="989790" y="117412"/>
                  </a:cubicBezTo>
                  <a:cubicBezTo>
                    <a:pt x="984118" y="114056"/>
                    <a:pt x="977343" y="112378"/>
                    <a:pt x="969469" y="112378"/>
                  </a:cubicBezTo>
                  <a:cubicBezTo>
                    <a:pt x="961594" y="112378"/>
                    <a:pt x="954765" y="114056"/>
                    <a:pt x="948977" y="117412"/>
                  </a:cubicBezTo>
                  <a:cubicBezTo>
                    <a:pt x="943301" y="120657"/>
                    <a:pt x="938613" y="125170"/>
                    <a:pt x="934911" y="130958"/>
                  </a:cubicBezTo>
                  <a:cubicBezTo>
                    <a:pt x="931205" y="136746"/>
                    <a:pt x="928486" y="143405"/>
                    <a:pt x="926750" y="150929"/>
                  </a:cubicBezTo>
                  <a:cubicBezTo>
                    <a:pt x="925013" y="158341"/>
                    <a:pt x="924143" y="166211"/>
                    <a:pt x="924143" y="174548"/>
                  </a:cubicBezTo>
                  <a:close/>
                  <a:moveTo>
                    <a:pt x="1133598" y="122617"/>
                  </a:moveTo>
                  <a:lnTo>
                    <a:pt x="1133598" y="270418"/>
                  </a:lnTo>
                  <a:lnTo>
                    <a:pt x="1091745" y="270418"/>
                  </a:lnTo>
                  <a:lnTo>
                    <a:pt x="1091745" y="82495"/>
                  </a:lnTo>
                  <a:lnTo>
                    <a:pt x="1131171" y="82495"/>
                  </a:lnTo>
                  <a:lnTo>
                    <a:pt x="1133603" y="122617"/>
                  </a:lnTo>
                  <a:close/>
                  <a:moveTo>
                    <a:pt x="1126132" y="169509"/>
                  </a:moveTo>
                  <a:lnTo>
                    <a:pt x="1112586" y="169334"/>
                  </a:lnTo>
                  <a:cubicBezTo>
                    <a:pt x="1112703" y="156016"/>
                    <a:pt x="1114556" y="143803"/>
                    <a:pt x="1118145" y="132690"/>
                  </a:cubicBezTo>
                  <a:cubicBezTo>
                    <a:pt x="1121852" y="121576"/>
                    <a:pt x="1126944" y="112023"/>
                    <a:pt x="1133428" y="104032"/>
                  </a:cubicBezTo>
                  <a:cubicBezTo>
                    <a:pt x="1140028" y="96041"/>
                    <a:pt x="1147902" y="89908"/>
                    <a:pt x="1157046" y="85623"/>
                  </a:cubicBezTo>
                  <a:cubicBezTo>
                    <a:pt x="1166195" y="81226"/>
                    <a:pt x="1176385" y="79022"/>
                    <a:pt x="1187615" y="79022"/>
                  </a:cubicBezTo>
                  <a:cubicBezTo>
                    <a:pt x="1196647" y="79022"/>
                    <a:pt x="1204809" y="80297"/>
                    <a:pt x="1212105" y="82840"/>
                  </a:cubicBezTo>
                  <a:cubicBezTo>
                    <a:pt x="1219517" y="85272"/>
                    <a:pt x="1225825" y="89265"/>
                    <a:pt x="1231034" y="94825"/>
                  </a:cubicBezTo>
                  <a:cubicBezTo>
                    <a:pt x="1236360" y="100384"/>
                    <a:pt x="1240412" y="107617"/>
                    <a:pt x="1243189" y="116532"/>
                  </a:cubicBezTo>
                  <a:cubicBezTo>
                    <a:pt x="1245966" y="125331"/>
                    <a:pt x="1247357" y="136157"/>
                    <a:pt x="1247357" y="149013"/>
                  </a:cubicBezTo>
                  <a:lnTo>
                    <a:pt x="1247357" y="270413"/>
                  </a:lnTo>
                  <a:lnTo>
                    <a:pt x="1205329" y="270413"/>
                  </a:lnTo>
                  <a:lnTo>
                    <a:pt x="1205329" y="148837"/>
                  </a:lnTo>
                  <a:cubicBezTo>
                    <a:pt x="1205329" y="139805"/>
                    <a:pt x="1203996" y="132685"/>
                    <a:pt x="1201336" y="127476"/>
                  </a:cubicBezTo>
                  <a:cubicBezTo>
                    <a:pt x="1198787" y="122150"/>
                    <a:pt x="1195028" y="118385"/>
                    <a:pt x="1190047" y="116187"/>
                  </a:cubicBezTo>
                  <a:cubicBezTo>
                    <a:pt x="1185183" y="113872"/>
                    <a:pt x="1179104" y="112714"/>
                    <a:pt x="1171813" y="112714"/>
                  </a:cubicBezTo>
                  <a:cubicBezTo>
                    <a:pt x="1164522" y="112714"/>
                    <a:pt x="1158209" y="114217"/>
                    <a:pt x="1152533" y="117228"/>
                  </a:cubicBezTo>
                  <a:cubicBezTo>
                    <a:pt x="1146861" y="120238"/>
                    <a:pt x="1142056" y="124348"/>
                    <a:pt x="1138116" y="129557"/>
                  </a:cubicBezTo>
                  <a:cubicBezTo>
                    <a:pt x="1134293" y="134766"/>
                    <a:pt x="1131341" y="140788"/>
                    <a:pt x="1129259" y="147621"/>
                  </a:cubicBezTo>
                  <a:cubicBezTo>
                    <a:pt x="1127178" y="154450"/>
                    <a:pt x="1126132" y="161746"/>
                    <a:pt x="1126132" y="169504"/>
                  </a:cubicBezTo>
                  <a:close/>
                  <a:moveTo>
                    <a:pt x="1346701" y="270418"/>
                  </a:moveTo>
                  <a:lnTo>
                    <a:pt x="1304843" y="270418"/>
                  </a:lnTo>
                  <a:lnTo>
                    <a:pt x="1304843" y="64436"/>
                  </a:lnTo>
                  <a:cubicBezTo>
                    <a:pt x="1304843" y="50428"/>
                    <a:pt x="1307450" y="38672"/>
                    <a:pt x="1312659" y="29178"/>
                  </a:cubicBezTo>
                  <a:cubicBezTo>
                    <a:pt x="1317985" y="19567"/>
                    <a:pt x="1325567" y="12330"/>
                    <a:pt x="1335412" y="7471"/>
                  </a:cubicBezTo>
                  <a:cubicBezTo>
                    <a:pt x="1345256" y="2490"/>
                    <a:pt x="1356890" y="0"/>
                    <a:pt x="1370319" y="0"/>
                  </a:cubicBezTo>
                  <a:cubicBezTo>
                    <a:pt x="1374488" y="0"/>
                    <a:pt x="1378597" y="292"/>
                    <a:pt x="1382649" y="871"/>
                  </a:cubicBezTo>
                  <a:cubicBezTo>
                    <a:pt x="1386701" y="1333"/>
                    <a:pt x="1390640" y="2087"/>
                    <a:pt x="1394458" y="3127"/>
                  </a:cubicBezTo>
                  <a:lnTo>
                    <a:pt x="1393418" y="35433"/>
                  </a:lnTo>
                  <a:cubicBezTo>
                    <a:pt x="1391102" y="34854"/>
                    <a:pt x="1388554" y="34450"/>
                    <a:pt x="1385776" y="34217"/>
                  </a:cubicBezTo>
                  <a:cubicBezTo>
                    <a:pt x="1383116" y="33983"/>
                    <a:pt x="1380217" y="33872"/>
                    <a:pt x="1377095" y="33872"/>
                  </a:cubicBezTo>
                  <a:cubicBezTo>
                    <a:pt x="1370728" y="33872"/>
                    <a:pt x="1365227" y="35088"/>
                    <a:pt x="1360596" y="37519"/>
                  </a:cubicBezTo>
                  <a:cubicBezTo>
                    <a:pt x="1356083" y="39835"/>
                    <a:pt x="1352605" y="43249"/>
                    <a:pt x="1350178" y="47767"/>
                  </a:cubicBezTo>
                  <a:cubicBezTo>
                    <a:pt x="1347863" y="52286"/>
                    <a:pt x="1346706" y="57840"/>
                    <a:pt x="1346706" y="64441"/>
                  </a:cubicBezTo>
                  <a:lnTo>
                    <a:pt x="1346706" y="270423"/>
                  </a:lnTo>
                  <a:close/>
                  <a:moveTo>
                    <a:pt x="1385431" y="82500"/>
                  </a:moveTo>
                  <a:lnTo>
                    <a:pt x="1385431" y="113069"/>
                  </a:lnTo>
                  <a:lnTo>
                    <a:pt x="1276015" y="113069"/>
                  </a:lnTo>
                  <a:lnTo>
                    <a:pt x="1276015" y="82500"/>
                  </a:lnTo>
                  <a:lnTo>
                    <a:pt x="1385431" y="82500"/>
                  </a:lnTo>
                  <a:close/>
                </a:path>
              </a:pathLst>
            </a:custGeom>
            <a:solidFill>
              <a:srgbClr val="EE3431"/>
            </a:solidFill>
            <a:ln w="4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6" name="Полилиния: фигура 45">
              <a:extLst>
                <a:ext uri="{FF2B5EF4-FFF2-40B4-BE49-F238E27FC236}">
                  <a16:creationId xmlns:a16="http://schemas.microsoft.com/office/drawing/2014/main" id="{EB80AEA3-6D76-4813-B83E-E98064CA7762}"/>
                </a:ext>
              </a:extLst>
            </p:cNvPr>
            <p:cNvSpPr/>
            <p:nvPr/>
          </p:nvSpPr>
          <p:spPr>
            <a:xfrm>
              <a:off x="7406975" y="5855999"/>
              <a:ext cx="1394458" cy="273890"/>
            </a:xfrm>
            <a:custGeom>
              <a:avLst/>
              <a:gdLst>
                <a:gd name="connsiteX0" fmla="*/ 157354 w 1394458"/>
                <a:gd name="connsiteY0" fmla="*/ 188093 h 273890"/>
                <a:gd name="connsiteX1" fmla="*/ 200773 w 1394458"/>
                <a:gd name="connsiteY1" fmla="*/ 188093 h 273890"/>
                <a:gd name="connsiteX2" fmla="*/ 186877 w 1394458"/>
                <a:gd name="connsiteY2" fmla="*/ 232383 h 273890"/>
                <a:gd name="connsiteX3" fmla="*/ 153706 w 1394458"/>
                <a:gd name="connsiteY3" fmla="*/ 262777 h 273890"/>
                <a:gd name="connsiteX4" fmla="*/ 101775 w 1394458"/>
                <a:gd name="connsiteY4" fmla="*/ 273891 h 273890"/>
                <a:gd name="connsiteX5" fmla="*/ 59572 w 1394458"/>
                <a:gd name="connsiteY5" fmla="*/ 265554 h 273890"/>
                <a:gd name="connsiteX6" fmla="*/ 27442 w 1394458"/>
                <a:gd name="connsiteY6" fmla="*/ 241585 h 273890"/>
                <a:gd name="connsiteX7" fmla="*/ 6950 w 1394458"/>
                <a:gd name="connsiteY7" fmla="*/ 203901 h 273890"/>
                <a:gd name="connsiteX8" fmla="*/ 0 w 1394458"/>
                <a:gd name="connsiteY8" fmla="*/ 154572 h 273890"/>
                <a:gd name="connsiteX9" fmla="*/ 0 w 1394458"/>
                <a:gd name="connsiteY9" fmla="*/ 133555 h 273890"/>
                <a:gd name="connsiteX10" fmla="*/ 7121 w 1394458"/>
                <a:gd name="connsiteY10" fmla="*/ 84231 h 273890"/>
                <a:gd name="connsiteX11" fmla="*/ 27962 w 1394458"/>
                <a:gd name="connsiteY11" fmla="*/ 46542 h 273890"/>
                <a:gd name="connsiteX12" fmla="*/ 60438 w 1394458"/>
                <a:gd name="connsiteY12" fmla="*/ 22403 h 273890"/>
                <a:gd name="connsiteX13" fmla="*/ 103336 w 1394458"/>
                <a:gd name="connsiteY13" fmla="*/ 14066 h 273890"/>
                <a:gd name="connsiteX14" fmla="*/ 154397 w 1394458"/>
                <a:gd name="connsiteY14" fmla="*/ 25180 h 273890"/>
                <a:gd name="connsiteX15" fmla="*/ 186702 w 1394458"/>
                <a:gd name="connsiteY15" fmla="*/ 55919 h 273890"/>
                <a:gd name="connsiteX16" fmla="*/ 200943 w 1394458"/>
                <a:gd name="connsiteY16" fmla="*/ 100900 h 273890"/>
                <a:gd name="connsiteX17" fmla="*/ 157524 w 1394458"/>
                <a:gd name="connsiteY17" fmla="*/ 100900 h 273890"/>
                <a:gd name="connsiteX18" fmla="*/ 149883 w 1394458"/>
                <a:gd name="connsiteY18" fmla="*/ 72938 h 273890"/>
                <a:gd name="connsiteX19" fmla="*/ 132865 w 1394458"/>
                <a:gd name="connsiteY19" fmla="*/ 55224 h 273890"/>
                <a:gd name="connsiteX20" fmla="*/ 103341 w 1394458"/>
                <a:gd name="connsiteY20" fmla="*/ 48969 h 273890"/>
                <a:gd name="connsiteX21" fmla="*/ 77291 w 1394458"/>
                <a:gd name="connsiteY21" fmla="*/ 54528 h 273890"/>
                <a:gd name="connsiteX22" fmla="*/ 58706 w 1394458"/>
                <a:gd name="connsiteY22" fmla="*/ 70856 h 273890"/>
                <a:gd name="connsiteX23" fmla="*/ 47417 w 1394458"/>
                <a:gd name="connsiteY23" fmla="*/ 97427 h 273890"/>
                <a:gd name="connsiteX24" fmla="*/ 43769 w 1394458"/>
                <a:gd name="connsiteY24" fmla="*/ 133205 h 273890"/>
                <a:gd name="connsiteX25" fmla="*/ 43769 w 1394458"/>
                <a:gd name="connsiteY25" fmla="*/ 154567 h 273890"/>
                <a:gd name="connsiteX26" fmla="*/ 47067 w 1394458"/>
                <a:gd name="connsiteY26" fmla="*/ 189304 h 273890"/>
                <a:gd name="connsiteX27" fmla="*/ 57490 w 1394458"/>
                <a:gd name="connsiteY27" fmla="*/ 215875 h 273890"/>
                <a:gd name="connsiteX28" fmla="*/ 75550 w 1394458"/>
                <a:gd name="connsiteY28" fmla="*/ 233069 h 273890"/>
                <a:gd name="connsiteX29" fmla="*/ 101775 w 1394458"/>
                <a:gd name="connsiteY29" fmla="*/ 239149 h 273890"/>
                <a:gd name="connsiteX30" fmla="*/ 131824 w 1394458"/>
                <a:gd name="connsiteY30" fmla="*/ 233244 h 273890"/>
                <a:gd name="connsiteX31" fmla="*/ 149363 w 1394458"/>
                <a:gd name="connsiteY31" fmla="*/ 216050 h 273890"/>
                <a:gd name="connsiteX32" fmla="*/ 157354 w 1394458"/>
                <a:gd name="connsiteY32" fmla="*/ 188088 h 273890"/>
                <a:gd name="connsiteX33" fmla="*/ 313837 w 1394458"/>
                <a:gd name="connsiteY33" fmla="*/ 270418 h 273890"/>
                <a:gd name="connsiteX34" fmla="*/ 259825 w 1394458"/>
                <a:gd name="connsiteY34" fmla="*/ 270418 h 273890"/>
                <a:gd name="connsiteX35" fmla="*/ 260170 w 1394458"/>
                <a:gd name="connsiteY35" fmla="*/ 235856 h 273890"/>
                <a:gd name="connsiteX36" fmla="*/ 313837 w 1394458"/>
                <a:gd name="connsiteY36" fmla="*/ 235856 h 273890"/>
                <a:gd name="connsiteX37" fmla="*/ 353088 w 1394458"/>
                <a:gd name="connsiteY37" fmla="*/ 225608 h 273890"/>
                <a:gd name="connsiteX38" fmla="*/ 377057 w 1394458"/>
                <a:gd name="connsiteY38" fmla="*/ 196255 h 273890"/>
                <a:gd name="connsiteX39" fmla="*/ 385218 w 1394458"/>
                <a:gd name="connsiteY39" fmla="*/ 150754 h 273890"/>
                <a:gd name="connsiteX40" fmla="*/ 385218 w 1394458"/>
                <a:gd name="connsiteY40" fmla="*/ 137033 h 273890"/>
                <a:gd name="connsiteX41" fmla="*/ 380530 w 1394458"/>
                <a:gd name="connsiteY41" fmla="*/ 100734 h 273890"/>
                <a:gd name="connsiteX42" fmla="*/ 366984 w 1394458"/>
                <a:gd name="connsiteY42" fmla="*/ 74163 h 273890"/>
                <a:gd name="connsiteX43" fmla="*/ 345102 w 1394458"/>
                <a:gd name="connsiteY43" fmla="*/ 57840 h 273890"/>
                <a:gd name="connsiteX44" fmla="*/ 315403 w 1394458"/>
                <a:gd name="connsiteY44" fmla="*/ 52281 h 273890"/>
                <a:gd name="connsiteX45" fmla="*/ 258784 w 1394458"/>
                <a:gd name="connsiteY45" fmla="*/ 52281 h 273890"/>
                <a:gd name="connsiteX46" fmla="*/ 258784 w 1394458"/>
                <a:gd name="connsiteY46" fmla="*/ 17544 h 273890"/>
                <a:gd name="connsiteX47" fmla="*/ 315403 w 1394458"/>
                <a:gd name="connsiteY47" fmla="*/ 17544 h 273890"/>
                <a:gd name="connsiteX48" fmla="*/ 361429 w 1394458"/>
                <a:gd name="connsiteY48" fmla="*/ 26055 h 273890"/>
                <a:gd name="connsiteX49" fmla="*/ 397383 w 1394458"/>
                <a:gd name="connsiteY49" fmla="*/ 50195 h 273890"/>
                <a:gd name="connsiteX50" fmla="*/ 420826 w 1394458"/>
                <a:gd name="connsiteY50" fmla="*/ 88054 h 273890"/>
                <a:gd name="connsiteX51" fmla="*/ 428988 w 1394458"/>
                <a:gd name="connsiteY51" fmla="*/ 137378 h 273890"/>
                <a:gd name="connsiteX52" fmla="*/ 428988 w 1394458"/>
                <a:gd name="connsiteY52" fmla="*/ 150754 h 273890"/>
                <a:gd name="connsiteX53" fmla="*/ 420826 w 1394458"/>
                <a:gd name="connsiteY53" fmla="*/ 200078 h 273890"/>
                <a:gd name="connsiteX54" fmla="*/ 397383 w 1394458"/>
                <a:gd name="connsiteY54" fmla="*/ 237938 h 273890"/>
                <a:gd name="connsiteX55" fmla="*/ 360909 w 1394458"/>
                <a:gd name="connsiteY55" fmla="*/ 262077 h 273890"/>
                <a:gd name="connsiteX56" fmla="*/ 313842 w 1394458"/>
                <a:gd name="connsiteY56" fmla="*/ 270413 h 273890"/>
                <a:gd name="connsiteX57" fmla="*/ 283964 w 1394458"/>
                <a:gd name="connsiteY57" fmla="*/ 17544 h 273890"/>
                <a:gd name="connsiteX58" fmla="*/ 283964 w 1394458"/>
                <a:gd name="connsiteY58" fmla="*/ 270418 h 273890"/>
                <a:gd name="connsiteX59" fmla="*/ 240369 w 1394458"/>
                <a:gd name="connsiteY59" fmla="*/ 270418 h 273890"/>
                <a:gd name="connsiteX60" fmla="*/ 240369 w 1394458"/>
                <a:gd name="connsiteY60" fmla="*/ 17544 h 273890"/>
                <a:gd name="connsiteX61" fmla="*/ 283964 w 1394458"/>
                <a:gd name="connsiteY61" fmla="*/ 17544 h 273890"/>
                <a:gd name="connsiteX62" fmla="*/ 519299 w 1394458"/>
                <a:gd name="connsiteY62" fmla="*/ 17544 h 273890"/>
                <a:gd name="connsiteX63" fmla="*/ 519299 w 1394458"/>
                <a:gd name="connsiteY63" fmla="*/ 270418 h 273890"/>
                <a:gd name="connsiteX64" fmla="*/ 475705 w 1394458"/>
                <a:gd name="connsiteY64" fmla="*/ 270418 h 273890"/>
                <a:gd name="connsiteX65" fmla="*/ 475705 w 1394458"/>
                <a:gd name="connsiteY65" fmla="*/ 17544 h 273890"/>
                <a:gd name="connsiteX66" fmla="*/ 519299 w 1394458"/>
                <a:gd name="connsiteY66" fmla="*/ 17544 h 273890"/>
                <a:gd name="connsiteX67" fmla="*/ 811424 w 1394458"/>
                <a:gd name="connsiteY67" fmla="*/ 188093 h 273890"/>
                <a:gd name="connsiteX68" fmla="*/ 854843 w 1394458"/>
                <a:gd name="connsiteY68" fmla="*/ 188093 h 273890"/>
                <a:gd name="connsiteX69" fmla="*/ 840947 w 1394458"/>
                <a:gd name="connsiteY69" fmla="*/ 232383 h 273890"/>
                <a:gd name="connsiteX70" fmla="*/ 807776 w 1394458"/>
                <a:gd name="connsiteY70" fmla="*/ 262777 h 273890"/>
                <a:gd name="connsiteX71" fmla="*/ 755845 w 1394458"/>
                <a:gd name="connsiteY71" fmla="*/ 273891 h 273890"/>
                <a:gd name="connsiteX72" fmla="*/ 713642 w 1394458"/>
                <a:gd name="connsiteY72" fmla="*/ 265554 h 273890"/>
                <a:gd name="connsiteX73" fmla="*/ 681512 w 1394458"/>
                <a:gd name="connsiteY73" fmla="*/ 241585 h 273890"/>
                <a:gd name="connsiteX74" fmla="*/ 661021 w 1394458"/>
                <a:gd name="connsiteY74" fmla="*/ 203901 h 273890"/>
                <a:gd name="connsiteX75" fmla="*/ 654075 w 1394458"/>
                <a:gd name="connsiteY75" fmla="*/ 154577 h 273890"/>
                <a:gd name="connsiteX76" fmla="*/ 654075 w 1394458"/>
                <a:gd name="connsiteY76" fmla="*/ 133560 h 273890"/>
                <a:gd name="connsiteX77" fmla="*/ 661196 w 1394458"/>
                <a:gd name="connsiteY77" fmla="*/ 84236 h 273890"/>
                <a:gd name="connsiteX78" fmla="*/ 682037 w 1394458"/>
                <a:gd name="connsiteY78" fmla="*/ 46547 h 273890"/>
                <a:gd name="connsiteX79" fmla="*/ 714513 w 1394458"/>
                <a:gd name="connsiteY79" fmla="*/ 22408 h 273890"/>
                <a:gd name="connsiteX80" fmla="*/ 757411 w 1394458"/>
                <a:gd name="connsiteY80" fmla="*/ 14071 h 273890"/>
                <a:gd name="connsiteX81" fmla="*/ 808472 w 1394458"/>
                <a:gd name="connsiteY81" fmla="*/ 25185 h 273890"/>
                <a:gd name="connsiteX82" fmla="*/ 840777 w 1394458"/>
                <a:gd name="connsiteY82" fmla="*/ 55924 h 273890"/>
                <a:gd name="connsiteX83" fmla="*/ 855018 w 1394458"/>
                <a:gd name="connsiteY83" fmla="*/ 100905 h 273890"/>
                <a:gd name="connsiteX84" fmla="*/ 811599 w 1394458"/>
                <a:gd name="connsiteY84" fmla="*/ 100905 h 273890"/>
                <a:gd name="connsiteX85" fmla="*/ 803958 w 1394458"/>
                <a:gd name="connsiteY85" fmla="*/ 72943 h 273890"/>
                <a:gd name="connsiteX86" fmla="*/ 786940 w 1394458"/>
                <a:gd name="connsiteY86" fmla="*/ 55229 h 273890"/>
                <a:gd name="connsiteX87" fmla="*/ 757416 w 1394458"/>
                <a:gd name="connsiteY87" fmla="*/ 48974 h 273890"/>
                <a:gd name="connsiteX88" fmla="*/ 731366 w 1394458"/>
                <a:gd name="connsiteY88" fmla="*/ 54533 h 273890"/>
                <a:gd name="connsiteX89" fmla="*/ 712781 w 1394458"/>
                <a:gd name="connsiteY89" fmla="*/ 70861 h 273890"/>
                <a:gd name="connsiteX90" fmla="*/ 701492 w 1394458"/>
                <a:gd name="connsiteY90" fmla="*/ 97432 h 273890"/>
                <a:gd name="connsiteX91" fmla="*/ 697844 w 1394458"/>
                <a:gd name="connsiteY91" fmla="*/ 133210 h 273890"/>
                <a:gd name="connsiteX92" fmla="*/ 697844 w 1394458"/>
                <a:gd name="connsiteY92" fmla="*/ 154572 h 273890"/>
                <a:gd name="connsiteX93" fmla="*/ 701142 w 1394458"/>
                <a:gd name="connsiteY93" fmla="*/ 189309 h 273890"/>
                <a:gd name="connsiteX94" fmla="*/ 711565 w 1394458"/>
                <a:gd name="connsiteY94" fmla="*/ 215880 h 273890"/>
                <a:gd name="connsiteX95" fmla="*/ 729629 w 1394458"/>
                <a:gd name="connsiteY95" fmla="*/ 233074 h 273890"/>
                <a:gd name="connsiteX96" fmla="*/ 755855 w 1394458"/>
                <a:gd name="connsiteY96" fmla="*/ 239154 h 273890"/>
                <a:gd name="connsiteX97" fmla="*/ 785904 w 1394458"/>
                <a:gd name="connsiteY97" fmla="*/ 233249 h 273890"/>
                <a:gd name="connsiteX98" fmla="*/ 803443 w 1394458"/>
                <a:gd name="connsiteY98" fmla="*/ 216055 h 273890"/>
                <a:gd name="connsiteX99" fmla="*/ 811434 w 1394458"/>
                <a:gd name="connsiteY99" fmla="*/ 188093 h 273890"/>
                <a:gd name="connsiteX100" fmla="*/ 882285 w 1394458"/>
                <a:gd name="connsiteY100" fmla="*/ 178541 h 273890"/>
                <a:gd name="connsiteX101" fmla="*/ 882285 w 1394458"/>
                <a:gd name="connsiteY101" fmla="*/ 174548 h 273890"/>
                <a:gd name="connsiteX102" fmla="*/ 888190 w 1394458"/>
                <a:gd name="connsiteY102" fmla="*/ 136858 h 273890"/>
                <a:gd name="connsiteX103" fmla="*/ 905208 w 1394458"/>
                <a:gd name="connsiteY103" fmla="*/ 106464 h 273890"/>
                <a:gd name="connsiteX104" fmla="*/ 932650 w 1394458"/>
                <a:gd name="connsiteY104" fmla="*/ 86318 h 273890"/>
                <a:gd name="connsiteX105" fmla="*/ 969469 w 1394458"/>
                <a:gd name="connsiteY105" fmla="*/ 79022 h 273890"/>
                <a:gd name="connsiteX106" fmla="*/ 1006288 w 1394458"/>
                <a:gd name="connsiteY106" fmla="*/ 86318 h 273890"/>
                <a:gd name="connsiteX107" fmla="*/ 1033899 w 1394458"/>
                <a:gd name="connsiteY107" fmla="*/ 106464 h 273890"/>
                <a:gd name="connsiteX108" fmla="*/ 1051093 w 1394458"/>
                <a:gd name="connsiteY108" fmla="*/ 136858 h 273890"/>
                <a:gd name="connsiteX109" fmla="*/ 1056998 w 1394458"/>
                <a:gd name="connsiteY109" fmla="*/ 174548 h 273890"/>
                <a:gd name="connsiteX110" fmla="*/ 1056998 w 1394458"/>
                <a:gd name="connsiteY110" fmla="*/ 178541 h 273890"/>
                <a:gd name="connsiteX111" fmla="*/ 1051093 w 1394458"/>
                <a:gd name="connsiteY111" fmla="*/ 216226 h 273890"/>
                <a:gd name="connsiteX112" fmla="*/ 1033899 w 1394458"/>
                <a:gd name="connsiteY112" fmla="*/ 246619 h 273890"/>
                <a:gd name="connsiteX113" fmla="*/ 1006458 w 1394458"/>
                <a:gd name="connsiteY113" fmla="*/ 266765 h 273890"/>
                <a:gd name="connsiteX114" fmla="*/ 969814 w 1394458"/>
                <a:gd name="connsiteY114" fmla="*/ 273886 h 273890"/>
                <a:gd name="connsiteX115" fmla="*/ 932820 w 1394458"/>
                <a:gd name="connsiteY115" fmla="*/ 266765 h 273890"/>
                <a:gd name="connsiteX116" fmla="*/ 905378 w 1394458"/>
                <a:gd name="connsiteY116" fmla="*/ 246619 h 273890"/>
                <a:gd name="connsiteX117" fmla="*/ 888185 w 1394458"/>
                <a:gd name="connsiteY117" fmla="*/ 216226 h 273890"/>
                <a:gd name="connsiteX118" fmla="*/ 882280 w 1394458"/>
                <a:gd name="connsiteY118" fmla="*/ 178541 h 273890"/>
                <a:gd name="connsiteX119" fmla="*/ 924143 w 1394458"/>
                <a:gd name="connsiteY119" fmla="*/ 174548 h 273890"/>
                <a:gd name="connsiteX120" fmla="*/ 924143 w 1394458"/>
                <a:gd name="connsiteY120" fmla="*/ 178541 h 273890"/>
                <a:gd name="connsiteX121" fmla="*/ 926750 w 1394458"/>
                <a:gd name="connsiteY121" fmla="*/ 202510 h 273890"/>
                <a:gd name="connsiteX122" fmla="*/ 934911 w 1394458"/>
                <a:gd name="connsiteY122" fmla="*/ 222310 h 273890"/>
                <a:gd name="connsiteX123" fmla="*/ 949152 w 1394458"/>
                <a:gd name="connsiteY123" fmla="*/ 235681 h 273890"/>
                <a:gd name="connsiteX124" fmla="*/ 969819 w 1394458"/>
                <a:gd name="connsiteY124" fmla="*/ 240545 h 273890"/>
                <a:gd name="connsiteX125" fmla="*/ 989965 w 1394458"/>
                <a:gd name="connsiteY125" fmla="*/ 235681 h 273890"/>
                <a:gd name="connsiteX126" fmla="*/ 1004206 w 1394458"/>
                <a:gd name="connsiteY126" fmla="*/ 222310 h 273890"/>
                <a:gd name="connsiteX127" fmla="*/ 1012367 w 1394458"/>
                <a:gd name="connsiteY127" fmla="*/ 202510 h 273890"/>
                <a:gd name="connsiteX128" fmla="*/ 1015145 w 1394458"/>
                <a:gd name="connsiteY128" fmla="*/ 178541 h 273890"/>
                <a:gd name="connsiteX129" fmla="*/ 1015145 w 1394458"/>
                <a:gd name="connsiteY129" fmla="*/ 174548 h 273890"/>
                <a:gd name="connsiteX130" fmla="*/ 1012367 w 1394458"/>
                <a:gd name="connsiteY130" fmla="*/ 150929 h 273890"/>
                <a:gd name="connsiteX131" fmla="*/ 1004031 w 1394458"/>
                <a:gd name="connsiteY131" fmla="*/ 130958 h 273890"/>
                <a:gd name="connsiteX132" fmla="*/ 989790 w 1394458"/>
                <a:gd name="connsiteY132" fmla="*/ 117412 h 273890"/>
                <a:gd name="connsiteX133" fmla="*/ 969469 w 1394458"/>
                <a:gd name="connsiteY133" fmla="*/ 112373 h 273890"/>
                <a:gd name="connsiteX134" fmla="*/ 948977 w 1394458"/>
                <a:gd name="connsiteY134" fmla="*/ 117412 h 273890"/>
                <a:gd name="connsiteX135" fmla="*/ 934911 w 1394458"/>
                <a:gd name="connsiteY135" fmla="*/ 130958 h 273890"/>
                <a:gd name="connsiteX136" fmla="*/ 926750 w 1394458"/>
                <a:gd name="connsiteY136" fmla="*/ 150929 h 273890"/>
                <a:gd name="connsiteX137" fmla="*/ 924143 w 1394458"/>
                <a:gd name="connsiteY137" fmla="*/ 174548 h 273890"/>
                <a:gd name="connsiteX138" fmla="*/ 1133598 w 1394458"/>
                <a:gd name="connsiteY138" fmla="*/ 122617 h 273890"/>
                <a:gd name="connsiteX139" fmla="*/ 1133598 w 1394458"/>
                <a:gd name="connsiteY139" fmla="*/ 270418 h 273890"/>
                <a:gd name="connsiteX140" fmla="*/ 1091745 w 1394458"/>
                <a:gd name="connsiteY140" fmla="*/ 270418 h 273890"/>
                <a:gd name="connsiteX141" fmla="*/ 1091745 w 1394458"/>
                <a:gd name="connsiteY141" fmla="*/ 82495 h 273890"/>
                <a:gd name="connsiteX142" fmla="*/ 1131171 w 1394458"/>
                <a:gd name="connsiteY142" fmla="*/ 82495 h 273890"/>
                <a:gd name="connsiteX143" fmla="*/ 1133603 w 1394458"/>
                <a:gd name="connsiteY143" fmla="*/ 122617 h 273890"/>
                <a:gd name="connsiteX144" fmla="*/ 1126132 w 1394458"/>
                <a:gd name="connsiteY144" fmla="*/ 169509 h 273890"/>
                <a:gd name="connsiteX145" fmla="*/ 1112586 w 1394458"/>
                <a:gd name="connsiteY145" fmla="*/ 169334 h 273890"/>
                <a:gd name="connsiteX146" fmla="*/ 1118145 w 1394458"/>
                <a:gd name="connsiteY146" fmla="*/ 132690 h 273890"/>
                <a:gd name="connsiteX147" fmla="*/ 1133428 w 1394458"/>
                <a:gd name="connsiteY147" fmla="*/ 104032 h 273890"/>
                <a:gd name="connsiteX148" fmla="*/ 1157046 w 1394458"/>
                <a:gd name="connsiteY148" fmla="*/ 85623 h 273890"/>
                <a:gd name="connsiteX149" fmla="*/ 1187615 w 1394458"/>
                <a:gd name="connsiteY149" fmla="*/ 79022 h 273890"/>
                <a:gd name="connsiteX150" fmla="*/ 1212105 w 1394458"/>
                <a:gd name="connsiteY150" fmla="*/ 82840 h 273890"/>
                <a:gd name="connsiteX151" fmla="*/ 1231034 w 1394458"/>
                <a:gd name="connsiteY151" fmla="*/ 94825 h 273890"/>
                <a:gd name="connsiteX152" fmla="*/ 1243189 w 1394458"/>
                <a:gd name="connsiteY152" fmla="*/ 116532 h 273890"/>
                <a:gd name="connsiteX153" fmla="*/ 1247357 w 1394458"/>
                <a:gd name="connsiteY153" fmla="*/ 149008 h 273890"/>
                <a:gd name="connsiteX154" fmla="*/ 1247357 w 1394458"/>
                <a:gd name="connsiteY154" fmla="*/ 270408 h 273890"/>
                <a:gd name="connsiteX155" fmla="*/ 1205329 w 1394458"/>
                <a:gd name="connsiteY155" fmla="*/ 270408 h 273890"/>
                <a:gd name="connsiteX156" fmla="*/ 1205329 w 1394458"/>
                <a:gd name="connsiteY156" fmla="*/ 148833 h 273890"/>
                <a:gd name="connsiteX157" fmla="*/ 1201336 w 1394458"/>
                <a:gd name="connsiteY157" fmla="*/ 127471 h 273890"/>
                <a:gd name="connsiteX158" fmla="*/ 1190047 w 1394458"/>
                <a:gd name="connsiteY158" fmla="*/ 116182 h 273890"/>
                <a:gd name="connsiteX159" fmla="*/ 1171813 w 1394458"/>
                <a:gd name="connsiteY159" fmla="*/ 112709 h 273890"/>
                <a:gd name="connsiteX160" fmla="*/ 1152533 w 1394458"/>
                <a:gd name="connsiteY160" fmla="*/ 117223 h 273890"/>
                <a:gd name="connsiteX161" fmla="*/ 1138116 w 1394458"/>
                <a:gd name="connsiteY161" fmla="*/ 129552 h 273890"/>
                <a:gd name="connsiteX162" fmla="*/ 1129259 w 1394458"/>
                <a:gd name="connsiteY162" fmla="*/ 147617 h 273890"/>
                <a:gd name="connsiteX163" fmla="*/ 1126132 w 1394458"/>
                <a:gd name="connsiteY163" fmla="*/ 169499 h 273890"/>
                <a:gd name="connsiteX164" fmla="*/ 1346701 w 1394458"/>
                <a:gd name="connsiteY164" fmla="*/ 270418 h 273890"/>
                <a:gd name="connsiteX165" fmla="*/ 1304843 w 1394458"/>
                <a:gd name="connsiteY165" fmla="*/ 270418 h 273890"/>
                <a:gd name="connsiteX166" fmla="*/ 1304843 w 1394458"/>
                <a:gd name="connsiteY166" fmla="*/ 64436 h 273890"/>
                <a:gd name="connsiteX167" fmla="*/ 1312659 w 1394458"/>
                <a:gd name="connsiteY167" fmla="*/ 29178 h 273890"/>
                <a:gd name="connsiteX168" fmla="*/ 1335412 w 1394458"/>
                <a:gd name="connsiteY168" fmla="*/ 7471 h 273890"/>
                <a:gd name="connsiteX169" fmla="*/ 1370319 w 1394458"/>
                <a:gd name="connsiteY169" fmla="*/ 0 h 273890"/>
                <a:gd name="connsiteX170" fmla="*/ 1382649 w 1394458"/>
                <a:gd name="connsiteY170" fmla="*/ 871 h 273890"/>
                <a:gd name="connsiteX171" fmla="*/ 1394458 w 1394458"/>
                <a:gd name="connsiteY171" fmla="*/ 3127 h 273890"/>
                <a:gd name="connsiteX172" fmla="*/ 1393418 w 1394458"/>
                <a:gd name="connsiteY172" fmla="*/ 35433 h 273890"/>
                <a:gd name="connsiteX173" fmla="*/ 1385776 w 1394458"/>
                <a:gd name="connsiteY173" fmla="*/ 34217 h 273890"/>
                <a:gd name="connsiteX174" fmla="*/ 1377095 w 1394458"/>
                <a:gd name="connsiteY174" fmla="*/ 33867 h 273890"/>
                <a:gd name="connsiteX175" fmla="*/ 1360596 w 1394458"/>
                <a:gd name="connsiteY175" fmla="*/ 37515 h 273890"/>
                <a:gd name="connsiteX176" fmla="*/ 1350178 w 1394458"/>
                <a:gd name="connsiteY176" fmla="*/ 47763 h 273890"/>
                <a:gd name="connsiteX177" fmla="*/ 1346706 w 1394458"/>
                <a:gd name="connsiteY177" fmla="*/ 64436 h 273890"/>
                <a:gd name="connsiteX178" fmla="*/ 1346706 w 1394458"/>
                <a:gd name="connsiteY178" fmla="*/ 270418 h 273890"/>
                <a:gd name="connsiteX179" fmla="*/ 1385431 w 1394458"/>
                <a:gd name="connsiteY179" fmla="*/ 82500 h 273890"/>
                <a:gd name="connsiteX180" fmla="*/ 1385431 w 1394458"/>
                <a:gd name="connsiteY180" fmla="*/ 113069 h 273890"/>
                <a:gd name="connsiteX181" fmla="*/ 1276015 w 1394458"/>
                <a:gd name="connsiteY181" fmla="*/ 113069 h 273890"/>
                <a:gd name="connsiteX182" fmla="*/ 1276015 w 1394458"/>
                <a:gd name="connsiteY182" fmla="*/ 82500 h 273890"/>
                <a:gd name="connsiteX183" fmla="*/ 1385431 w 1394458"/>
                <a:gd name="connsiteY183" fmla="*/ 82500 h 2738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</a:cxnLst>
              <a:rect l="l" t="t" r="r" b="b"/>
              <a:pathLst>
                <a:path w="1394458" h="273890">
                  <a:moveTo>
                    <a:pt x="157354" y="188093"/>
                  </a:moveTo>
                  <a:lnTo>
                    <a:pt x="200773" y="188093"/>
                  </a:lnTo>
                  <a:cubicBezTo>
                    <a:pt x="199382" y="204650"/>
                    <a:pt x="194752" y="219411"/>
                    <a:pt x="186877" y="232383"/>
                  </a:cubicBezTo>
                  <a:cubicBezTo>
                    <a:pt x="179003" y="245233"/>
                    <a:pt x="167947" y="255365"/>
                    <a:pt x="153706" y="262777"/>
                  </a:cubicBezTo>
                  <a:cubicBezTo>
                    <a:pt x="139465" y="270185"/>
                    <a:pt x="122155" y="273891"/>
                    <a:pt x="101775" y="273891"/>
                  </a:cubicBezTo>
                  <a:cubicBezTo>
                    <a:pt x="86143" y="273891"/>
                    <a:pt x="72077" y="271114"/>
                    <a:pt x="59572" y="265554"/>
                  </a:cubicBezTo>
                  <a:cubicBezTo>
                    <a:pt x="47067" y="259878"/>
                    <a:pt x="36357" y="251892"/>
                    <a:pt x="27442" y="241585"/>
                  </a:cubicBezTo>
                  <a:cubicBezTo>
                    <a:pt x="18526" y="231167"/>
                    <a:pt x="11697" y="218604"/>
                    <a:pt x="6950" y="203901"/>
                  </a:cubicBezTo>
                  <a:cubicBezTo>
                    <a:pt x="2315" y="189192"/>
                    <a:pt x="0" y="172753"/>
                    <a:pt x="0" y="154572"/>
                  </a:cubicBezTo>
                  <a:lnTo>
                    <a:pt x="0" y="133555"/>
                  </a:lnTo>
                  <a:cubicBezTo>
                    <a:pt x="0" y="115379"/>
                    <a:pt x="2374" y="98935"/>
                    <a:pt x="7121" y="84231"/>
                  </a:cubicBezTo>
                  <a:cubicBezTo>
                    <a:pt x="11984" y="69528"/>
                    <a:pt x="18930" y="56965"/>
                    <a:pt x="27962" y="46542"/>
                  </a:cubicBezTo>
                  <a:cubicBezTo>
                    <a:pt x="36994" y="36007"/>
                    <a:pt x="47816" y="27957"/>
                    <a:pt x="60438" y="22403"/>
                  </a:cubicBezTo>
                  <a:cubicBezTo>
                    <a:pt x="73171" y="16843"/>
                    <a:pt x="87471" y="14066"/>
                    <a:pt x="103336" y="14066"/>
                  </a:cubicBezTo>
                  <a:cubicBezTo>
                    <a:pt x="123482" y="14066"/>
                    <a:pt x="140506" y="17772"/>
                    <a:pt x="154397" y="25180"/>
                  </a:cubicBezTo>
                  <a:cubicBezTo>
                    <a:pt x="168293" y="32592"/>
                    <a:pt x="179056" y="42836"/>
                    <a:pt x="186702" y="55919"/>
                  </a:cubicBezTo>
                  <a:cubicBezTo>
                    <a:pt x="194460" y="69003"/>
                    <a:pt x="199207" y="83998"/>
                    <a:pt x="200943" y="100900"/>
                  </a:cubicBezTo>
                  <a:lnTo>
                    <a:pt x="157524" y="100900"/>
                  </a:lnTo>
                  <a:cubicBezTo>
                    <a:pt x="156367" y="90015"/>
                    <a:pt x="153818" y="80695"/>
                    <a:pt x="149883" y="72938"/>
                  </a:cubicBezTo>
                  <a:cubicBezTo>
                    <a:pt x="146065" y="65180"/>
                    <a:pt x="140389" y="59275"/>
                    <a:pt x="132865" y="55224"/>
                  </a:cubicBezTo>
                  <a:cubicBezTo>
                    <a:pt x="125340" y="51055"/>
                    <a:pt x="115496" y="48969"/>
                    <a:pt x="103341" y="48969"/>
                  </a:cubicBezTo>
                  <a:cubicBezTo>
                    <a:pt x="93385" y="48969"/>
                    <a:pt x="84698" y="50822"/>
                    <a:pt x="77291" y="54528"/>
                  </a:cubicBezTo>
                  <a:cubicBezTo>
                    <a:pt x="69878" y="58234"/>
                    <a:pt x="63687" y="63677"/>
                    <a:pt x="58706" y="70856"/>
                  </a:cubicBezTo>
                  <a:cubicBezTo>
                    <a:pt x="53730" y="78035"/>
                    <a:pt x="49966" y="86892"/>
                    <a:pt x="47417" y="97427"/>
                  </a:cubicBezTo>
                  <a:cubicBezTo>
                    <a:pt x="44985" y="107845"/>
                    <a:pt x="43769" y="119771"/>
                    <a:pt x="43769" y="133205"/>
                  </a:cubicBezTo>
                  <a:lnTo>
                    <a:pt x="43769" y="154567"/>
                  </a:lnTo>
                  <a:cubicBezTo>
                    <a:pt x="43769" y="167305"/>
                    <a:pt x="44869" y="178881"/>
                    <a:pt x="47067" y="189304"/>
                  </a:cubicBezTo>
                  <a:cubicBezTo>
                    <a:pt x="49382" y="199611"/>
                    <a:pt x="52855" y="208468"/>
                    <a:pt x="57490" y="215875"/>
                  </a:cubicBezTo>
                  <a:cubicBezTo>
                    <a:pt x="62237" y="223288"/>
                    <a:pt x="68259" y="229017"/>
                    <a:pt x="75550" y="233069"/>
                  </a:cubicBezTo>
                  <a:cubicBezTo>
                    <a:pt x="82845" y="237120"/>
                    <a:pt x="91585" y="239149"/>
                    <a:pt x="101775" y="239149"/>
                  </a:cubicBezTo>
                  <a:cubicBezTo>
                    <a:pt x="114163" y="239149"/>
                    <a:pt x="124178" y="237179"/>
                    <a:pt x="131824" y="233244"/>
                  </a:cubicBezTo>
                  <a:cubicBezTo>
                    <a:pt x="139582" y="229304"/>
                    <a:pt x="145428" y="223575"/>
                    <a:pt x="149363" y="216050"/>
                  </a:cubicBezTo>
                  <a:cubicBezTo>
                    <a:pt x="153414" y="208409"/>
                    <a:pt x="156080" y="199090"/>
                    <a:pt x="157354" y="188088"/>
                  </a:cubicBezTo>
                  <a:close/>
                  <a:moveTo>
                    <a:pt x="313837" y="270418"/>
                  </a:moveTo>
                  <a:lnTo>
                    <a:pt x="259825" y="270418"/>
                  </a:lnTo>
                  <a:lnTo>
                    <a:pt x="260170" y="235856"/>
                  </a:lnTo>
                  <a:lnTo>
                    <a:pt x="313837" y="235856"/>
                  </a:lnTo>
                  <a:cubicBezTo>
                    <a:pt x="329469" y="235856"/>
                    <a:pt x="342553" y="232441"/>
                    <a:pt x="353088" y="225608"/>
                  </a:cubicBezTo>
                  <a:cubicBezTo>
                    <a:pt x="363740" y="218779"/>
                    <a:pt x="371731" y="208993"/>
                    <a:pt x="377057" y="196255"/>
                  </a:cubicBezTo>
                  <a:cubicBezTo>
                    <a:pt x="382499" y="183516"/>
                    <a:pt x="385218" y="168351"/>
                    <a:pt x="385218" y="150754"/>
                  </a:cubicBezTo>
                  <a:lnTo>
                    <a:pt x="385218" y="137033"/>
                  </a:lnTo>
                  <a:cubicBezTo>
                    <a:pt x="385218" y="123371"/>
                    <a:pt x="383657" y="111269"/>
                    <a:pt x="380530" y="100734"/>
                  </a:cubicBezTo>
                  <a:cubicBezTo>
                    <a:pt x="377519" y="90199"/>
                    <a:pt x="373005" y="81342"/>
                    <a:pt x="366984" y="74163"/>
                  </a:cubicBezTo>
                  <a:cubicBezTo>
                    <a:pt x="361079" y="66984"/>
                    <a:pt x="353784" y="61542"/>
                    <a:pt x="345102" y="57840"/>
                  </a:cubicBezTo>
                  <a:cubicBezTo>
                    <a:pt x="336532" y="54134"/>
                    <a:pt x="326634" y="52281"/>
                    <a:pt x="315403" y="52281"/>
                  </a:cubicBezTo>
                  <a:lnTo>
                    <a:pt x="258784" y="52281"/>
                  </a:lnTo>
                  <a:lnTo>
                    <a:pt x="258784" y="17544"/>
                  </a:lnTo>
                  <a:lnTo>
                    <a:pt x="315403" y="17544"/>
                  </a:lnTo>
                  <a:cubicBezTo>
                    <a:pt x="332193" y="17544"/>
                    <a:pt x="347534" y="20379"/>
                    <a:pt x="361429" y="26055"/>
                  </a:cubicBezTo>
                  <a:cubicBezTo>
                    <a:pt x="375325" y="31615"/>
                    <a:pt x="387310" y="39660"/>
                    <a:pt x="397383" y="50195"/>
                  </a:cubicBezTo>
                  <a:cubicBezTo>
                    <a:pt x="407572" y="60730"/>
                    <a:pt x="415389" y="73351"/>
                    <a:pt x="420826" y="88054"/>
                  </a:cubicBezTo>
                  <a:cubicBezTo>
                    <a:pt x="426269" y="102758"/>
                    <a:pt x="428988" y="119202"/>
                    <a:pt x="428988" y="137378"/>
                  </a:cubicBezTo>
                  <a:lnTo>
                    <a:pt x="428988" y="150754"/>
                  </a:lnTo>
                  <a:cubicBezTo>
                    <a:pt x="428988" y="168930"/>
                    <a:pt x="426269" y="185374"/>
                    <a:pt x="420826" y="200078"/>
                  </a:cubicBezTo>
                  <a:cubicBezTo>
                    <a:pt x="415384" y="214781"/>
                    <a:pt x="407568" y="227403"/>
                    <a:pt x="397383" y="237938"/>
                  </a:cubicBezTo>
                  <a:cubicBezTo>
                    <a:pt x="387193" y="248356"/>
                    <a:pt x="375038" y="256405"/>
                    <a:pt x="360909" y="262077"/>
                  </a:cubicBezTo>
                  <a:cubicBezTo>
                    <a:pt x="346896" y="267636"/>
                    <a:pt x="331211" y="270413"/>
                    <a:pt x="313842" y="270413"/>
                  </a:cubicBezTo>
                  <a:close/>
                  <a:moveTo>
                    <a:pt x="283964" y="17544"/>
                  </a:moveTo>
                  <a:lnTo>
                    <a:pt x="283964" y="270418"/>
                  </a:lnTo>
                  <a:lnTo>
                    <a:pt x="240369" y="270418"/>
                  </a:lnTo>
                  <a:lnTo>
                    <a:pt x="240369" y="17544"/>
                  </a:lnTo>
                  <a:lnTo>
                    <a:pt x="283964" y="17544"/>
                  </a:lnTo>
                  <a:close/>
                  <a:moveTo>
                    <a:pt x="519299" y="17544"/>
                  </a:moveTo>
                  <a:lnTo>
                    <a:pt x="519299" y="270418"/>
                  </a:lnTo>
                  <a:lnTo>
                    <a:pt x="475705" y="270418"/>
                  </a:lnTo>
                  <a:lnTo>
                    <a:pt x="475705" y="17544"/>
                  </a:lnTo>
                  <a:lnTo>
                    <a:pt x="519299" y="17544"/>
                  </a:lnTo>
                  <a:close/>
                  <a:moveTo>
                    <a:pt x="811424" y="188093"/>
                  </a:moveTo>
                  <a:lnTo>
                    <a:pt x="854843" y="188093"/>
                  </a:lnTo>
                  <a:cubicBezTo>
                    <a:pt x="853452" y="204650"/>
                    <a:pt x="848822" y="219411"/>
                    <a:pt x="840947" y="232383"/>
                  </a:cubicBezTo>
                  <a:cubicBezTo>
                    <a:pt x="833073" y="245233"/>
                    <a:pt x="822017" y="255365"/>
                    <a:pt x="807776" y="262777"/>
                  </a:cubicBezTo>
                  <a:cubicBezTo>
                    <a:pt x="793535" y="270185"/>
                    <a:pt x="776225" y="273891"/>
                    <a:pt x="755845" y="273891"/>
                  </a:cubicBezTo>
                  <a:cubicBezTo>
                    <a:pt x="740213" y="273891"/>
                    <a:pt x="726147" y="271114"/>
                    <a:pt x="713642" y="265554"/>
                  </a:cubicBezTo>
                  <a:cubicBezTo>
                    <a:pt x="701137" y="259878"/>
                    <a:pt x="690427" y="251892"/>
                    <a:pt x="681512" y="241585"/>
                  </a:cubicBezTo>
                  <a:cubicBezTo>
                    <a:pt x="672596" y="231167"/>
                    <a:pt x="665768" y="218604"/>
                    <a:pt x="661021" y="203901"/>
                  </a:cubicBezTo>
                  <a:cubicBezTo>
                    <a:pt x="656390" y="189197"/>
                    <a:pt x="654075" y="172753"/>
                    <a:pt x="654075" y="154577"/>
                  </a:cubicBezTo>
                  <a:lnTo>
                    <a:pt x="654075" y="133560"/>
                  </a:lnTo>
                  <a:cubicBezTo>
                    <a:pt x="654075" y="115384"/>
                    <a:pt x="656449" y="98940"/>
                    <a:pt x="661196" y="84236"/>
                  </a:cubicBezTo>
                  <a:cubicBezTo>
                    <a:pt x="666059" y="69533"/>
                    <a:pt x="673005" y="56970"/>
                    <a:pt x="682037" y="46547"/>
                  </a:cubicBezTo>
                  <a:cubicBezTo>
                    <a:pt x="691069" y="36012"/>
                    <a:pt x="701891" y="27962"/>
                    <a:pt x="714513" y="22408"/>
                  </a:cubicBezTo>
                  <a:cubicBezTo>
                    <a:pt x="727246" y="16848"/>
                    <a:pt x="741546" y="14071"/>
                    <a:pt x="757411" y="14071"/>
                  </a:cubicBezTo>
                  <a:cubicBezTo>
                    <a:pt x="777557" y="14071"/>
                    <a:pt x="794581" y="17777"/>
                    <a:pt x="808472" y="25185"/>
                  </a:cubicBezTo>
                  <a:cubicBezTo>
                    <a:pt x="822368" y="32597"/>
                    <a:pt x="833131" y="42840"/>
                    <a:pt x="840777" y="55924"/>
                  </a:cubicBezTo>
                  <a:cubicBezTo>
                    <a:pt x="848535" y="69008"/>
                    <a:pt x="853282" y="84003"/>
                    <a:pt x="855018" y="100905"/>
                  </a:cubicBezTo>
                  <a:lnTo>
                    <a:pt x="811599" y="100905"/>
                  </a:lnTo>
                  <a:cubicBezTo>
                    <a:pt x="810442" y="90019"/>
                    <a:pt x="807893" y="80700"/>
                    <a:pt x="803958" y="72943"/>
                  </a:cubicBezTo>
                  <a:cubicBezTo>
                    <a:pt x="800140" y="65185"/>
                    <a:pt x="794464" y="59280"/>
                    <a:pt x="786940" y="55229"/>
                  </a:cubicBezTo>
                  <a:cubicBezTo>
                    <a:pt x="779415" y="51060"/>
                    <a:pt x="769571" y="48974"/>
                    <a:pt x="757416" y="48974"/>
                  </a:cubicBezTo>
                  <a:cubicBezTo>
                    <a:pt x="747460" y="48974"/>
                    <a:pt x="738773" y="50827"/>
                    <a:pt x="731366" y="54533"/>
                  </a:cubicBezTo>
                  <a:cubicBezTo>
                    <a:pt x="723953" y="58239"/>
                    <a:pt x="717762" y="63682"/>
                    <a:pt x="712781" y="70861"/>
                  </a:cubicBezTo>
                  <a:cubicBezTo>
                    <a:pt x="707801" y="78040"/>
                    <a:pt x="704041" y="86897"/>
                    <a:pt x="701492" y="97432"/>
                  </a:cubicBezTo>
                  <a:cubicBezTo>
                    <a:pt x="699060" y="107850"/>
                    <a:pt x="697844" y="119776"/>
                    <a:pt x="697844" y="133210"/>
                  </a:cubicBezTo>
                  <a:lnTo>
                    <a:pt x="697844" y="154572"/>
                  </a:lnTo>
                  <a:cubicBezTo>
                    <a:pt x="697844" y="167310"/>
                    <a:pt x="698944" y="178886"/>
                    <a:pt x="701142" y="189309"/>
                  </a:cubicBezTo>
                  <a:cubicBezTo>
                    <a:pt x="703457" y="199616"/>
                    <a:pt x="706930" y="208473"/>
                    <a:pt x="711565" y="215880"/>
                  </a:cubicBezTo>
                  <a:cubicBezTo>
                    <a:pt x="716312" y="223293"/>
                    <a:pt x="722334" y="229022"/>
                    <a:pt x="729629" y="233074"/>
                  </a:cubicBezTo>
                  <a:cubicBezTo>
                    <a:pt x="736925" y="237125"/>
                    <a:pt x="745665" y="239154"/>
                    <a:pt x="755855" y="239154"/>
                  </a:cubicBezTo>
                  <a:cubicBezTo>
                    <a:pt x="768243" y="239154"/>
                    <a:pt x="778258" y="237184"/>
                    <a:pt x="785904" y="233249"/>
                  </a:cubicBezTo>
                  <a:cubicBezTo>
                    <a:pt x="793661" y="229309"/>
                    <a:pt x="799508" y="223580"/>
                    <a:pt x="803443" y="216055"/>
                  </a:cubicBezTo>
                  <a:cubicBezTo>
                    <a:pt x="807494" y="208414"/>
                    <a:pt x="810159" y="199095"/>
                    <a:pt x="811434" y="188093"/>
                  </a:cubicBezTo>
                  <a:close/>
                  <a:moveTo>
                    <a:pt x="882285" y="178541"/>
                  </a:moveTo>
                  <a:lnTo>
                    <a:pt x="882285" y="174548"/>
                  </a:lnTo>
                  <a:cubicBezTo>
                    <a:pt x="882285" y="161002"/>
                    <a:pt x="884255" y="148439"/>
                    <a:pt x="888190" y="136858"/>
                  </a:cubicBezTo>
                  <a:cubicBezTo>
                    <a:pt x="892124" y="125165"/>
                    <a:pt x="897800" y="115034"/>
                    <a:pt x="905208" y="106464"/>
                  </a:cubicBezTo>
                  <a:cubicBezTo>
                    <a:pt x="912732" y="97782"/>
                    <a:pt x="921881" y="91065"/>
                    <a:pt x="932650" y="86318"/>
                  </a:cubicBezTo>
                  <a:cubicBezTo>
                    <a:pt x="943535" y="81454"/>
                    <a:pt x="955806" y="79022"/>
                    <a:pt x="969469" y="79022"/>
                  </a:cubicBezTo>
                  <a:cubicBezTo>
                    <a:pt x="983131" y="79022"/>
                    <a:pt x="995519" y="81454"/>
                    <a:pt x="1006288" y="86318"/>
                  </a:cubicBezTo>
                  <a:cubicBezTo>
                    <a:pt x="1017173" y="91065"/>
                    <a:pt x="1026375" y="97782"/>
                    <a:pt x="1033899" y="106464"/>
                  </a:cubicBezTo>
                  <a:cubicBezTo>
                    <a:pt x="1041424" y="115034"/>
                    <a:pt x="1047158" y="125165"/>
                    <a:pt x="1051093" y="136858"/>
                  </a:cubicBezTo>
                  <a:cubicBezTo>
                    <a:pt x="1055028" y="148434"/>
                    <a:pt x="1056998" y="160997"/>
                    <a:pt x="1056998" y="174548"/>
                  </a:cubicBezTo>
                  <a:lnTo>
                    <a:pt x="1056998" y="178541"/>
                  </a:lnTo>
                  <a:cubicBezTo>
                    <a:pt x="1056998" y="192086"/>
                    <a:pt x="1055028" y="204650"/>
                    <a:pt x="1051093" y="216226"/>
                  </a:cubicBezTo>
                  <a:cubicBezTo>
                    <a:pt x="1047153" y="227806"/>
                    <a:pt x="1041424" y="237938"/>
                    <a:pt x="1033899" y="246619"/>
                  </a:cubicBezTo>
                  <a:cubicBezTo>
                    <a:pt x="1026375" y="255189"/>
                    <a:pt x="1017226" y="261902"/>
                    <a:pt x="1006458" y="266765"/>
                  </a:cubicBezTo>
                  <a:cubicBezTo>
                    <a:pt x="995689" y="271512"/>
                    <a:pt x="983476" y="273886"/>
                    <a:pt x="969814" y="273886"/>
                  </a:cubicBezTo>
                  <a:cubicBezTo>
                    <a:pt x="956151" y="273886"/>
                    <a:pt x="943705" y="271512"/>
                    <a:pt x="932820" y="266765"/>
                  </a:cubicBezTo>
                  <a:cubicBezTo>
                    <a:pt x="922051" y="261902"/>
                    <a:pt x="912907" y="255189"/>
                    <a:pt x="905378" y="246619"/>
                  </a:cubicBezTo>
                  <a:cubicBezTo>
                    <a:pt x="897854" y="237938"/>
                    <a:pt x="892119" y="227806"/>
                    <a:pt x="888185" y="216226"/>
                  </a:cubicBezTo>
                  <a:cubicBezTo>
                    <a:pt x="884245" y="204650"/>
                    <a:pt x="882280" y="192086"/>
                    <a:pt x="882280" y="178541"/>
                  </a:cubicBezTo>
                  <a:close/>
                  <a:moveTo>
                    <a:pt x="924143" y="174548"/>
                  </a:moveTo>
                  <a:lnTo>
                    <a:pt x="924143" y="178541"/>
                  </a:lnTo>
                  <a:cubicBezTo>
                    <a:pt x="924143" y="186994"/>
                    <a:pt x="925013" y="194980"/>
                    <a:pt x="926750" y="202510"/>
                  </a:cubicBezTo>
                  <a:cubicBezTo>
                    <a:pt x="928486" y="210034"/>
                    <a:pt x="931210" y="216634"/>
                    <a:pt x="934911" y="222310"/>
                  </a:cubicBezTo>
                  <a:cubicBezTo>
                    <a:pt x="938617" y="227981"/>
                    <a:pt x="943365" y="232441"/>
                    <a:pt x="949152" y="235681"/>
                  </a:cubicBezTo>
                  <a:cubicBezTo>
                    <a:pt x="954940" y="238925"/>
                    <a:pt x="961832" y="240545"/>
                    <a:pt x="969819" y="240545"/>
                  </a:cubicBezTo>
                  <a:cubicBezTo>
                    <a:pt x="977805" y="240545"/>
                    <a:pt x="984293" y="238925"/>
                    <a:pt x="989965" y="235681"/>
                  </a:cubicBezTo>
                  <a:cubicBezTo>
                    <a:pt x="995753" y="232441"/>
                    <a:pt x="1000500" y="227981"/>
                    <a:pt x="1004206" y="222310"/>
                  </a:cubicBezTo>
                  <a:cubicBezTo>
                    <a:pt x="1007912" y="216634"/>
                    <a:pt x="1010631" y="210039"/>
                    <a:pt x="1012367" y="202510"/>
                  </a:cubicBezTo>
                  <a:cubicBezTo>
                    <a:pt x="1014220" y="194985"/>
                    <a:pt x="1015145" y="186994"/>
                    <a:pt x="1015145" y="178541"/>
                  </a:cubicBezTo>
                  <a:lnTo>
                    <a:pt x="1015145" y="174548"/>
                  </a:lnTo>
                  <a:cubicBezTo>
                    <a:pt x="1015145" y="166211"/>
                    <a:pt x="1014220" y="158336"/>
                    <a:pt x="1012367" y="150929"/>
                  </a:cubicBezTo>
                  <a:cubicBezTo>
                    <a:pt x="1010631" y="143405"/>
                    <a:pt x="1007854" y="136746"/>
                    <a:pt x="1004031" y="130958"/>
                  </a:cubicBezTo>
                  <a:cubicBezTo>
                    <a:pt x="1000325" y="125170"/>
                    <a:pt x="995578" y="120652"/>
                    <a:pt x="989790" y="117412"/>
                  </a:cubicBezTo>
                  <a:cubicBezTo>
                    <a:pt x="984118" y="114056"/>
                    <a:pt x="977343" y="112373"/>
                    <a:pt x="969469" y="112373"/>
                  </a:cubicBezTo>
                  <a:cubicBezTo>
                    <a:pt x="961594" y="112373"/>
                    <a:pt x="954765" y="114051"/>
                    <a:pt x="948977" y="117412"/>
                  </a:cubicBezTo>
                  <a:cubicBezTo>
                    <a:pt x="943301" y="120657"/>
                    <a:pt x="938613" y="125170"/>
                    <a:pt x="934911" y="130958"/>
                  </a:cubicBezTo>
                  <a:cubicBezTo>
                    <a:pt x="931205" y="136746"/>
                    <a:pt x="928486" y="143405"/>
                    <a:pt x="926750" y="150929"/>
                  </a:cubicBezTo>
                  <a:cubicBezTo>
                    <a:pt x="925013" y="158336"/>
                    <a:pt x="924143" y="166211"/>
                    <a:pt x="924143" y="174548"/>
                  </a:cubicBezTo>
                  <a:close/>
                  <a:moveTo>
                    <a:pt x="1133598" y="122617"/>
                  </a:moveTo>
                  <a:lnTo>
                    <a:pt x="1133598" y="270418"/>
                  </a:lnTo>
                  <a:lnTo>
                    <a:pt x="1091745" y="270418"/>
                  </a:lnTo>
                  <a:lnTo>
                    <a:pt x="1091745" y="82495"/>
                  </a:lnTo>
                  <a:lnTo>
                    <a:pt x="1131171" y="82495"/>
                  </a:lnTo>
                  <a:lnTo>
                    <a:pt x="1133603" y="122617"/>
                  </a:lnTo>
                  <a:close/>
                  <a:moveTo>
                    <a:pt x="1126132" y="169509"/>
                  </a:moveTo>
                  <a:lnTo>
                    <a:pt x="1112586" y="169334"/>
                  </a:lnTo>
                  <a:cubicBezTo>
                    <a:pt x="1112703" y="156016"/>
                    <a:pt x="1114556" y="143803"/>
                    <a:pt x="1118145" y="132690"/>
                  </a:cubicBezTo>
                  <a:cubicBezTo>
                    <a:pt x="1121852" y="121576"/>
                    <a:pt x="1126944" y="112023"/>
                    <a:pt x="1133428" y="104032"/>
                  </a:cubicBezTo>
                  <a:cubicBezTo>
                    <a:pt x="1140028" y="96046"/>
                    <a:pt x="1147902" y="89908"/>
                    <a:pt x="1157046" y="85623"/>
                  </a:cubicBezTo>
                  <a:cubicBezTo>
                    <a:pt x="1166195" y="81226"/>
                    <a:pt x="1176385" y="79022"/>
                    <a:pt x="1187615" y="79022"/>
                  </a:cubicBezTo>
                  <a:cubicBezTo>
                    <a:pt x="1196647" y="79022"/>
                    <a:pt x="1204809" y="80297"/>
                    <a:pt x="1212105" y="82840"/>
                  </a:cubicBezTo>
                  <a:cubicBezTo>
                    <a:pt x="1219517" y="85272"/>
                    <a:pt x="1225825" y="89265"/>
                    <a:pt x="1231034" y="94825"/>
                  </a:cubicBezTo>
                  <a:cubicBezTo>
                    <a:pt x="1236360" y="100384"/>
                    <a:pt x="1240412" y="107617"/>
                    <a:pt x="1243189" y="116532"/>
                  </a:cubicBezTo>
                  <a:cubicBezTo>
                    <a:pt x="1245966" y="125331"/>
                    <a:pt x="1247357" y="136157"/>
                    <a:pt x="1247357" y="149008"/>
                  </a:cubicBezTo>
                  <a:lnTo>
                    <a:pt x="1247357" y="270408"/>
                  </a:lnTo>
                  <a:lnTo>
                    <a:pt x="1205329" y="270408"/>
                  </a:lnTo>
                  <a:lnTo>
                    <a:pt x="1205329" y="148833"/>
                  </a:lnTo>
                  <a:cubicBezTo>
                    <a:pt x="1205329" y="139800"/>
                    <a:pt x="1203996" y="132680"/>
                    <a:pt x="1201336" y="127471"/>
                  </a:cubicBezTo>
                  <a:cubicBezTo>
                    <a:pt x="1198787" y="122145"/>
                    <a:pt x="1195028" y="118380"/>
                    <a:pt x="1190047" y="116182"/>
                  </a:cubicBezTo>
                  <a:cubicBezTo>
                    <a:pt x="1185183" y="113867"/>
                    <a:pt x="1179104" y="112709"/>
                    <a:pt x="1171813" y="112709"/>
                  </a:cubicBezTo>
                  <a:cubicBezTo>
                    <a:pt x="1164522" y="112709"/>
                    <a:pt x="1158209" y="114212"/>
                    <a:pt x="1152533" y="117223"/>
                  </a:cubicBezTo>
                  <a:cubicBezTo>
                    <a:pt x="1146861" y="120233"/>
                    <a:pt x="1142056" y="124343"/>
                    <a:pt x="1138116" y="129552"/>
                  </a:cubicBezTo>
                  <a:cubicBezTo>
                    <a:pt x="1134293" y="134762"/>
                    <a:pt x="1131341" y="140783"/>
                    <a:pt x="1129259" y="147617"/>
                  </a:cubicBezTo>
                  <a:cubicBezTo>
                    <a:pt x="1127178" y="154445"/>
                    <a:pt x="1126132" y="161741"/>
                    <a:pt x="1126132" y="169499"/>
                  </a:cubicBezTo>
                  <a:close/>
                  <a:moveTo>
                    <a:pt x="1346701" y="270418"/>
                  </a:moveTo>
                  <a:lnTo>
                    <a:pt x="1304843" y="270418"/>
                  </a:lnTo>
                  <a:lnTo>
                    <a:pt x="1304843" y="64436"/>
                  </a:lnTo>
                  <a:cubicBezTo>
                    <a:pt x="1304843" y="50428"/>
                    <a:pt x="1307450" y="38672"/>
                    <a:pt x="1312659" y="29178"/>
                  </a:cubicBezTo>
                  <a:cubicBezTo>
                    <a:pt x="1317985" y="19567"/>
                    <a:pt x="1325567" y="12330"/>
                    <a:pt x="1335412" y="7471"/>
                  </a:cubicBezTo>
                  <a:cubicBezTo>
                    <a:pt x="1345256" y="2490"/>
                    <a:pt x="1356890" y="0"/>
                    <a:pt x="1370319" y="0"/>
                  </a:cubicBezTo>
                  <a:cubicBezTo>
                    <a:pt x="1374488" y="0"/>
                    <a:pt x="1378597" y="292"/>
                    <a:pt x="1382649" y="871"/>
                  </a:cubicBezTo>
                  <a:cubicBezTo>
                    <a:pt x="1386701" y="1333"/>
                    <a:pt x="1390640" y="2087"/>
                    <a:pt x="1394458" y="3127"/>
                  </a:cubicBezTo>
                  <a:lnTo>
                    <a:pt x="1393418" y="35433"/>
                  </a:lnTo>
                  <a:cubicBezTo>
                    <a:pt x="1391102" y="34854"/>
                    <a:pt x="1388554" y="34450"/>
                    <a:pt x="1385776" y="34217"/>
                  </a:cubicBezTo>
                  <a:cubicBezTo>
                    <a:pt x="1383116" y="33983"/>
                    <a:pt x="1380217" y="33867"/>
                    <a:pt x="1377095" y="33867"/>
                  </a:cubicBezTo>
                  <a:cubicBezTo>
                    <a:pt x="1370728" y="33867"/>
                    <a:pt x="1365227" y="35083"/>
                    <a:pt x="1360596" y="37515"/>
                  </a:cubicBezTo>
                  <a:cubicBezTo>
                    <a:pt x="1356083" y="39830"/>
                    <a:pt x="1352605" y="43244"/>
                    <a:pt x="1350178" y="47763"/>
                  </a:cubicBezTo>
                  <a:cubicBezTo>
                    <a:pt x="1347863" y="52281"/>
                    <a:pt x="1346706" y="57836"/>
                    <a:pt x="1346706" y="64436"/>
                  </a:cubicBezTo>
                  <a:lnTo>
                    <a:pt x="1346706" y="270418"/>
                  </a:lnTo>
                  <a:close/>
                  <a:moveTo>
                    <a:pt x="1385431" y="82500"/>
                  </a:moveTo>
                  <a:lnTo>
                    <a:pt x="1385431" y="113069"/>
                  </a:lnTo>
                  <a:lnTo>
                    <a:pt x="1276015" y="113069"/>
                  </a:lnTo>
                  <a:lnTo>
                    <a:pt x="1276015" y="82500"/>
                  </a:lnTo>
                  <a:lnTo>
                    <a:pt x="1385431" y="82500"/>
                  </a:lnTo>
                  <a:close/>
                </a:path>
              </a:pathLst>
            </a:custGeom>
            <a:solidFill>
              <a:schemeClr val="tx1"/>
            </a:solidFill>
            <a:ln w="4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7" name="Полилиния: фигура 46">
              <a:extLst>
                <a:ext uri="{FF2B5EF4-FFF2-40B4-BE49-F238E27FC236}">
                  <a16:creationId xmlns:a16="http://schemas.microsoft.com/office/drawing/2014/main" id="{0E6F0FB0-99D0-4190-B058-29B8184B7C5F}"/>
                </a:ext>
              </a:extLst>
            </p:cNvPr>
            <p:cNvSpPr/>
            <p:nvPr/>
          </p:nvSpPr>
          <p:spPr>
            <a:xfrm>
              <a:off x="8902858" y="5892336"/>
              <a:ext cx="774600" cy="259834"/>
            </a:xfrm>
            <a:custGeom>
              <a:avLst/>
              <a:gdLst>
                <a:gd name="connsiteX0" fmla="*/ 174372 w 774600"/>
                <a:gd name="connsiteY0" fmla="*/ 223015 h 259834"/>
                <a:gd name="connsiteX1" fmla="*/ 174372 w 774600"/>
                <a:gd name="connsiteY1" fmla="*/ 256362 h 259834"/>
                <a:gd name="connsiteX2" fmla="*/ 4859 w 774600"/>
                <a:gd name="connsiteY2" fmla="*/ 256362 h 259834"/>
                <a:gd name="connsiteX3" fmla="*/ 4859 w 774600"/>
                <a:gd name="connsiteY3" fmla="*/ 227704 h 259834"/>
                <a:gd name="connsiteX4" fmla="*/ 87193 w 774600"/>
                <a:gd name="connsiteY4" fmla="*/ 137913 h 259834"/>
                <a:gd name="connsiteX5" fmla="*/ 108541 w 774600"/>
                <a:gd name="connsiteY5" fmla="*/ 111513 h 259834"/>
                <a:gd name="connsiteX6" fmla="*/ 119499 w 774600"/>
                <a:gd name="connsiteY6" fmla="*/ 91542 h 259834"/>
                <a:gd name="connsiteX7" fmla="*/ 122797 w 774600"/>
                <a:gd name="connsiteY7" fmla="*/ 73998 h 259834"/>
                <a:gd name="connsiteX8" fmla="*/ 118278 w 774600"/>
                <a:gd name="connsiteY8" fmla="*/ 52981 h 259834"/>
                <a:gd name="connsiteX9" fmla="*/ 105413 w 774600"/>
                <a:gd name="connsiteY9" fmla="*/ 38565 h 259834"/>
                <a:gd name="connsiteX10" fmla="*/ 84752 w 774600"/>
                <a:gd name="connsiteY10" fmla="*/ 33181 h 259834"/>
                <a:gd name="connsiteX11" fmla="*/ 61138 w 774600"/>
                <a:gd name="connsiteY11" fmla="*/ 39261 h 259834"/>
                <a:gd name="connsiteX12" fmla="*/ 46712 w 774600"/>
                <a:gd name="connsiteY12" fmla="*/ 56109 h 259834"/>
                <a:gd name="connsiteX13" fmla="*/ 41853 w 774600"/>
                <a:gd name="connsiteY13" fmla="*/ 80423 h 259834"/>
                <a:gd name="connsiteX14" fmla="*/ 0 w 774600"/>
                <a:gd name="connsiteY14" fmla="*/ 80423 h 259834"/>
                <a:gd name="connsiteX15" fmla="*/ 10083 w 774600"/>
                <a:gd name="connsiteY15" fmla="*/ 40131 h 259834"/>
                <a:gd name="connsiteX16" fmla="*/ 39261 w 774600"/>
                <a:gd name="connsiteY16" fmla="*/ 10953 h 259834"/>
                <a:gd name="connsiteX17" fmla="*/ 85272 w 774600"/>
                <a:gd name="connsiteY17" fmla="*/ 10 h 259834"/>
                <a:gd name="connsiteX18" fmla="*/ 128346 w 774600"/>
                <a:gd name="connsiteY18" fmla="*/ 8521 h 259834"/>
                <a:gd name="connsiteX19" fmla="*/ 155277 w 774600"/>
                <a:gd name="connsiteY19" fmla="*/ 32660 h 259834"/>
                <a:gd name="connsiteX20" fmla="*/ 164654 w 774600"/>
                <a:gd name="connsiteY20" fmla="*/ 69655 h 259834"/>
                <a:gd name="connsiteX21" fmla="*/ 160827 w 774600"/>
                <a:gd name="connsiteY21" fmla="*/ 93103 h 259834"/>
                <a:gd name="connsiteX22" fmla="*/ 149888 w 774600"/>
                <a:gd name="connsiteY22" fmla="*/ 116376 h 259834"/>
                <a:gd name="connsiteX23" fmla="*/ 133400 w 774600"/>
                <a:gd name="connsiteY23" fmla="*/ 139475 h 259834"/>
                <a:gd name="connsiteX24" fmla="*/ 112378 w 774600"/>
                <a:gd name="connsiteY24" fmla="*/ 162748 h 259834"/>
                <a:gd name="connsiteX25" fmla="*/ 57675 w 774600"/>
                <a:gd name="connsiteY25" fmla="*/ 223015 h 259834"/>
                <a:gd name="connsiteX26" fmla="*/ 174377 w 774600"/>
                <a:gd name="connsiteY26" fmla="*/ 223015 h 259834"/>
                <a:gd name="connsiteX27" fmla="*/ 371848 w 774600"/>
                <a:gd name="connsiteY27" fmla="*/ 108735 h 259834"/>
                <a:gd name="connsiteX28" fmla="*/ 371848 w 774600"/>
                <a:gd name="connsiteY28" fmla="*/ 150068 h 259834"/>
                <a:gd name="connsiteX29" fmla="*/ 365938 w 774600"/>
                <a:gd name="connsiteY29" fmla="*/ 200783 h 259834"/>
                <a:gd name="connsiteX30" fmla="*/ 349260 w 774600"/>
                <a:gd name="connsiteY30" fmla="*/ 234650 h 259834"/>
                <a:gd name="connsiteX31" fmla="*/ 323035 w 774600"/>
                <a:gd name="connsiteY31" fmla="*/ 253755 h 259834"/>
                <a:gd name="connsiteX32" fmla="*/ 289168 w 774600"/>
                <a:gd name="connsiteY32" fmla="*/ 259834 h 259834"/>
                <a:gd name="connsiteX33" fmla="*/ 261381 w 774600"/>
                <a:gd name="connsiteY33" fmla="*/ 256011 h 259834"/>
                <a:gd name="connsiteX34" fmla="*/ 238468 w 774600"/>
                <a:gd name="connsiteY34" fmla="*/ 244027 h 259834"/>
                <a:gd name="connsiteX35" fmla="*/ 220914 w 774600"/>
                <a:gd name="connsiteY35" fmla="*/ 223011 h 259834"/>
                <a:gd name="connsiteX36" fmla="*/ 209800 w 774600"/>
                <a:gd name="connsiteY36" fmla="*/ 191921 h 259834"/>
                <a:gd name="connsiteX37" fmla="*/ 205972 w 774600"/>
                <a:gd name="connsiteY37" fmla="*/ 150063 h 259834"/>
                <a:gd name="connsiteX38" fmla="*/ 205972 w 774600"/>
                <a:gd name="connsiteY38" fmla="*/ 108730 h 259834"/>
                <a:gd name="connsiteX39" fmla="*/ 211882 w 774600"/>
                <a:gd name="connsiteY39" fmla="*/ 58366 h 259834"/>
                <a:gd name="connsiteX40" fmla="*/ 228730 w 774600"/>
                <a:gd name="connsiteY40" fmla="*/ 24844 h 259834"/>
                <a:gd name="connsiteX41" fmla="*/ 254786 w 774600"/>
                <a:gd name="connsiteY41" fmla="*/ 5914 h 259834"/>
                <a:gd name="connsiteX42" fmla="*/ 288827 w 774600"/>
                <a:gd name="connsiteY42" fmla="*/ 10 h 259834"/>
                <a:gd name="connsiteX43" fmla="*/ 316614 w 774600"/>
                <a:gd name="connsiteY43" fmla="*/ 3833 h 259834"/>
                <a:gd name="connsiteX44" fmla="*/ 339542 w 774600"/>
                <a:gd name="connsiteY44" fmla="*/ 15467 h 259834"/>
                <a:gd name="connsiteX45" fmla="*/ 356906 w 774600"/>
                <a:gd name="connsiteY45" fmla="*/ 36308 h 259834"/>
                <a:gd name="connsiteX46" fmla="*/ 368020 w 774600"/>
                <a:gd name="connsiteY46" fmla="*/ 67048 h 259834"/>
                <a:gd name="connsiteX47" fmla="*/ 371848 w 774600"/>
                <a:gd name="connsiteY47" fmla="*/ 108730 h 259834"/>
                <a:gd name="connsiteX48" fmla="*/ 329995 w 774600"/>
                <a:gd name="connsiteY48" fmla="*/ 155978 h 259834"/>
                <a:gd name="connsiteX49" fmla="*/ 329995 w 774600"/>
                <a:gd name="connsiteY49" fmla="*/ 102485 h 259834"/>
                <a:gd name="connsiteX50" fmla="*/ 328258 w 774600"/>
                <a:gd name="connsiteY50" fmla="*/ 75914 h 259834"/>
                <a:gd name="connsiteX51" fmla="*/ 323039 w 774600"/>
                <a:gd name="connsiteY51" fmla="*/ 56289 h 259834"/>
                <a:gd name="connsiteX52" fmla="*/ 314708 w 774600"/>
                <a:gd name="connsiteY52" fmla="*/ 43088 h 259834"/>
                <a:gd name="connsiteX53" fmla="*/ 303234 w 774600"/>
                <a:gd name="connsiteY53" fmla="*/ 35623 h 259834"/>
                <a:gd name="connsiteX54" fmla="*/ 288823 w 774600"/>
                <a:gd name="connsiteY54" fmla="*/ 33191 h 259834"/>
                <a:gd name="connsiteX55" fmla="*/ 271459 w 774600"/>
                <a:gd name="connsiteY55" fmla="*/ 37014 h 259834"/>
                <a:gd name="connsiteX56" fmla="*/ 258613 w 774600"/>
                <a:gd name="connsiteY56" fmla="*/ 48823 h 259834"/>
                <a:gd name="connsiteX57" fmla="*/ 250608 w 774600"/>
                <a:gd name="connsiteY57" fmla="*/ 70360 h 259834"/>
                <a:gd name="connsiteX58" fmla="*/ 248015 w 774600"/>
                <a:gd name="connsiteY58" fmla="*/ 102490 h 259834"/>
                <a:gd name="connsiteX59" fmla="*/ 248015 w 774600"/>
                <a:gd name="connsiteY59" fmla="*/ 155982 h 259834"/>
                <a:gd name="connsiteX60" fmla="*/ 249752 w 774600"/>
                <a:gd name="connsiteY60" fmla="*/ 182904 h 259834"/>
                <a:gd name="connsiteX61" fmla="*/ 254956 w 774600"/>
                <a:gd name="connsiteY61" fmla="*/ 202874 h 259834"/>
                <a:gd name="connsiteX62" fmla="*/ 263302 w 774600"/>
                <a:gd name="connsiteY62" fmla="*/ 216420 h 259834"/>
                <a:gd name="connsiteX63" fmla="*/ 274756 w 774600"/>
                <a:gd name="connsiteY63" fmla="*/ 224061 h 259834"/>
                <a:gd name="connsiteX64" fmla="*/ 289168 w 774600"/>
                <a:gd name="connsiteY64" fmla="*/ 226493 h 259834"/>
                <a:gd name="connsiteX65" fmla="*/ 306721 w 774600"/>
                <a:gd name="connsiteY65" fmla="*/ 222670 h 259834"/>
                <a:gd name="connsiteX66" fmla="*/ 319567 w 774600"/>
                <a:gd name="connsiteY66" fmla="*/ 210511 h 259834"/>
                <a:gd name="connsiteX67" fmla="*/ 327383 w 774600"/>
                <a:gd name="connsiteY67" fmla="*/ 188453 h 259834"/>
                <a:gd name="connsiteX68" fmla="*/ 329995 w 774600"/>
                <a:gd name="connsiteY68" fmla="*/ 155978 h 259834"/>
                <a:gd name="connsiteX69" fmla="*/ 578701 w 774600"/>
                <a:gd name="connsiteY69" fmla="*/ 223015 h 259834"/>
                <a:gd name="connsiteX70" fmla="*/ 578701 w 774600"/>
                <a:gd name="connsiteY70" fmla="*/ 256362 h 259834"/>
                <a:gd name="connsiteX71" fmla="*/ 409187 w 774600"/>
                <a:gd name="connsiteY71" fmla="*/ 256362 h 259834"/>
                <a:gd name="connsiteX72" fmla="*/ 409187 w 774600"/>
                <a:gd name="connsiteY72" fmla="*/ 227704 h 259834"/>
                <a:gd name="connsiteX73" fmla="*/ 491507 w 774600"/>
                <a:gd name="connsiteY73" fmla="*/ 137913 h 259834"/>
                <a:gd name="connsiteX74" fmla="*/ 512874 w 774600"/>
                <a:gd name="connsiteY74" fmla="*/ 111513 h 259834"/>
                <a:gd name="connsiteX75" fmla="*/ 523813 w 774600"/>
                <a:gd name="connsiteY75" fmla="*/ 91542 h 259834"/>
                <a:gd name="connsiteX76" fmla="*/ 527110 w 774600"/>
                <a:gd name="connsiteY76" fmla="*/ 73998 h 259834"/>
                <a:gd name="connsiteX77" fmla="*/ 522592 w 774600"/>
                <a:gd name="connsiteY77" fmla="*/ 52981 h 259834"/>
                <a:gd name="connsiteX78" fmla="*/ 509746 w 774600"/>
                <a:gd name="connsiteY78" fmla="*/ 38565 h 259834"/>
                <a:gd name="connsiteX79" fmla="*/ 489085 w 774600"/>
                <a:gd name="connsiteY79" fmla="*/ 33181 h 259834"/>
                <a:gd name="connsiteX80" fmla="*/ 465452 w 774600"/>
                <a:gd name="connsiteY80" fmla="*/ 39261 h 259834"/>
                <a:gd name="connsiteX81" fmla="*/ 451040 w 774600"/>
                <a:gd name="connsiteY81" fmla="*/ 56109 h 259834"/>
                <a:gd name="connsiteX82" fmla="*/ 446181 w 774600"/>
                <a:gd name="connsiteY82" fmla="*/ 80423 h 259834"/>
                <a:gd name="connsiteX83" fmla="*/ 404328 w 774600"/>
                <a:gd name="connsiteY83" fmla="*/ 80423 h 259834"/>
                <a:gd name="connsiteX84" fmla="*/ 414391 w 774600"/>
                <a:gd name="connsiteY84" fmla="*/ 40131 h 259834"/>
                <a:gd name="connsiteX85" fmla="*/ 443569 w 774600"/>
                <a:gd name="connsiteY85" fmla="*/ 10953 h 259834"/>
                <a:gd name="connsiteX86" fmla="*/ 489596 w 774600"/>
                <a:gd name="connsiteY86" fmla="*/ 10 h 259834"/>
                <a:gd name="connsiteX87" fmla="*/ 532670 w 774600"/>
                <a:gd name="connsiteY87" fmla="*/ 8521 h 259834"/>
                <a:gd name="connsiteX88" fmla="*/ 559581 w 774600"/>
                <a:gd name="connsiteY88" fmla="*/ 32660 h 259834"/>
                <a:gd name="connsiteX89" fmla="*/ 568958 w 774600"/>
                <a:gd name="connsiteY89" fmla="*/ 69655 h 259834"/>
                <a:gd name="connsiteX90" fmla="*/ 565145 w 774600"/>
                <a:gd name="connsiteY90" fmla="*/ 93103 h 259834"/>
                <a:gd name="connsiteX91" fmla="*/ 554207 w 774600"/>
                <a:gd name="connsiteY91" fmla="*/ 116376 h 259834"/>
                <a:gd name="connsiteX92" fmla="*/ 537704 w 774600"/>
                <a:gd name="connsiteY92" fmla="*/ 139475 h 259834"/>
                <a:gd name="connsiteX93" fmla="*/ 516697 w 774600"/>
                <a:gd name="connsiteY93" fmla="*/ 162748 h 259834"/>
                <a:gd name="connsiteX94" fmla="*/ 461979 w 774600"/>
                <a:gd name="connsiteY94" fmla="*/ 223015 h 259834"/>
                <a:gd name="connsiteX95" fmla="*/ 578701 w 774600"/>
                <a:gd name="connsiteY95" fmla="*/ 223015 h 259834"/>
                <a:gd name="connsiteX96" fmla="*/ 660505 w 774600"/>
                <a:gd name="connsiteY96" fmla="*/ 110992 h 259834"/>
                <a:gd name="connsiteX97" fmla="*/ 685510 w 774600"/>
                <a:gd name="connsiteY97" fmla="*/ 110992 h 259834"/>
                <a:gd name="connsiteX98" fmla="*/ 709639 w 774600"/>
                <a:gd name="connsiteY98" fmla="*/ 105953 h 259834"/>
                <a:gd name="connsiteX99" fmla="*/ 724065 w 774600"/>
                <a:gd name="connsiteY99" fmla="*/ 92057 h 259834"/>
                <a:gd name="connsiteX100" fmla="*/ 728754 w 774600"/>
                <a:gd name="connsiteY100" fmla="*/ 71736 h 259834"/>
                <a:gd name="connsiteX101" fmla="*/ 724411 w 774600"/>
                <a:gd name="connsiteY101" fmla="*/ 51240 h 259834"/>
                <a:gd name="connsiteX102" fmla="*/ 711565 w 774600"/>
                <a:gd name="connsiteY102" fmla="*/ 37865 h 259834"/>
                <a:gd name="connsiteX103" fmla="*/ 689858 w 774600"/>
                <a:gd name="connsiteY103" fmla="*/ 33176 h 259834"/>
                <a:gd name="connsiteX104" fmla="*/ 669712 w 774600"/>
                <a:gd name="connsiteY104" fmla="*/ 37690 h 259834"/>
                <a:gd name="connsiteX105" fmla="*/ 655626 w 774600"/>
                <a:gd name="connsiteY105" fmla="*/ 50195 h 259834"/>
                <a:gd name="connsiteX106" fmla="*/ 650422 w 774600"/>
                <a:gd name="connsiteY106" fmla="*/ 69300 h 259834"/>
                <a:gd name="connsiteX107" fmla="*/ 608394 w 774600"/>
                <a:gd name="connsiteY107" fmla="*/ 69300 h 259834"/>
                <a:gd name="connsiteX108" fmla="*/ 618992 w 774600"/>
                <a:gd name="connsiteY108" fmla="*/ 33521 h 259834"/>
                <a:gd name="connsiteX109" fmla="*/ 647810 w 774600"/>
                <a:gd name="connsiteY109" fmla="*/ 9032 h 259834"/>
                <a:gd name="connsiteX110" fmla="*/ 689148 w 774600"/>
                <a:gd name="connsiteY110" fmla="*/ 0 h 259834"/>
                <a:gd name="connsiteX111" fmla="*/ 731876 w 774600"/>
                <a:gd name="connsiteY111" fmla="*/ 8161 h 259834"/>
                <a:gd name="connsiteX112" fmla="*/ 760524 w 774600"/>
                <a:gd name="connsiteY112" fmla="*/ 32130 h 259834"/>
                <a:gd name="connsiteX113" fmla="*/ 770777 w 774600"/>
                <a:gd name="connsiteY113" fmla="*/ 71731 h 259834"/>
                <a:gd name="connsiteX114" fmla="*/ 765743 w 774600"/>
                <a:gd name="connsiteY114" fmla="*/ 93614 h 259834"/>
                <a:gd name="connsiteX115" fmla="*/ 750802 w 774600"/>
                <a:gd name="connsiteY115" fmla="*/ 113935 h 259834"/>
                <a:gd name="connsiteX116" fmla="*/ 726137 w 774600"/>
                <a:gd name="connsiteY116" fmla="*/ 128696 h 259834"/>
                <a:gd name="connsiteX117" fmla="*/ 691925 w 774600"/>
                <a:gd name="connsiteY117" fmla="*/ 134256 h 259834"/>
                <a:gd name="connsiteX118" fmla="*/ 660495 w 774600"/>
                <a:gd name="connsiteY118" fmla="*/ 134256 h 259834"/>
                <a:gd name="connsiteX119" fmla="*/ 660495 w 774600"/>
                <a:gd name="connsiteY119" fmla="*/ 110982 h 259834"/>
                <a:gd name="connsiteX120" fmla="*/ 660505 w 774600"/>
                <a:gd name="connsiteY120" fmla="*/ 143643 h 259834"/>
                <a:gd name="connsiteX121" fmla="*/ 660505 w 774600"/>
                <a:gd name="connsiteY121" fmla="*/ 120715 h 259834"/>
                <a:gd name="connsiteX122" fmla="*/ 691935 w 774600"/>
                <a:gd name="connsiteY122" fmla="*/ 120715 h 259834"/>
                <a:gd name="connsiteX123" fmla="*/ 729790 w 774600"/>
                <a:gd name="connsiteY123" fmla="*/ 125924 h 259834"/>
                <a:gd name="connsiteX124" fmla="*/ 755500 w 774600"/>
                <a:gd name="connsiteY124" fmla="*/ 140340 h 259834"/>
                <a:gd name="connsiteX125" fmla="*/ 769911 w 774600"/>
                <a:gd name="connsiteY125" fmla="*/ 161007 h 259834"/>
                <a:gd name="connsiteX126" fmla="*/ 774600 w 774600"/>
                <a:gd name="connsiteY126" fmla="*/ 185671 h 259834"/>
                <a:gd name="connsiteX127" fmla="*/ 768175 w 774600"/>
                <a:gd name="connsiteY127" fmla="*/ 217281 h 259834"/>
                <a:gd name="connsiteX128" fmla="*/ 750296 w 774600"/>
                <a:gd name="connsiteY128" fmla="*/ 240554 h 259834"/>
                <a:gd name="connsiteX129" fmla="*/ 723024 w 774600"/>
                <a:gd name="connsiteY129" fmla="*/ 254971 h 259834"/>
                <a:gd name="connsiteX130" fmla="*/ 689328 w 774600"/>
                <a:gd name="connsiteY130" fmla="*/ 259834 h 259834"/>
                <a:gd name="connsiteX131" fmla="*/ 658068 w 774600"/>
                <a:gd name="connsiteY131" fmla="*/ 255316 h 259834"/>
                <a:gd name="connsiteX132" fmla="*/ 631327 w 774600"/>
                <a:gd name="connsiteY132" fmla="*/ 241945 h 259834"/>
                <a:gd name="connsiteX133" fmla="*/ 612572 w 774600"/>
                <a:gd name="connsiteY133" fmla="*/ 219543 h 259834"/>
                <a:gd name="connsiteX134" fmla="*/ 605787 w 774600"/>
                <a:gd name="connsiteY134" fmla="*/ 188283 h 259834"/>
                <a:gd name="connsiteX135" fmla="*/ 647640 w 774600"/>
                <a:gd name="connsiteY135" fmla="*/ 188283 h 259834"/>
                <a:gd name="connsiteX136" fmla="*/ 652859 w 774600"/>
                <a:gd name="connsiteY136" fmla="*/ 208254 h 259834"/>
                <a:gd name="connsiteX137" fmla="*/ 667786 w 774600"/>
                <a:gd name="connsiteY137" fmla="*/ 221624 h 259834"/>
                <a:gd name="connsiteX138" fmla="*/ 690028 w 774600"/>
                <a:gd name="connsiteY138" fmla="*/ 226488 h 259834"/>
                <a:gd name="connsiteX139" fmla="*/ 712767 w 774600"/>
                <a:gd name="connsiteY139" fmla="*/ 221799 h 259834"/>
                <a:gd name="connsiteX140" fmla="*/ 727363 w 774600"/>
                <a:gd name="connsiteY140" fmla="*/ 207904 h 259834"/>
                <a:gd name="connsiteX141" fmla="*/ 732567 w 774600"/>
                <a:gd name="connsiteY141" fmla="*/ 185671 h 259834"/>
                <a:gd name="connsiteX142" fmla="*/ 726847 w 774600"/>
                <a:gd name="connsiteY142" fmla="*/ 161702 h 259834"/>
                <a:gd name="connsiteX143" fmla="*/ 710515 w 774600"/>
                <a:gd name="connsiteY143" fmla="*/ 148157 h 259834"/>
                <a:gd name="connsiteX144" fmla="*/ 685510 w 774600"/>
                <a:gd name="connsiteY144" fmla="*/ 143643 h 259834"/>
                <a:gd name="connsiteX145" fmla="*/ 660505 w 774600"/>
                <a:gd name="connsiteY145" fmla="*/ 143643 h 2598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</a:cxnLst>
              <a:rect l="l" t="t" r="r" b="b"/>
              <a:pathLst>
                <a:path w="774600" h="259834">
                  <a:moveTo>
                    <a:pt x="174372" y="223015"/>
                  </a:moveTo>
                  <a:lnTo>
                    <a:pt x="174372" y="256362"/>
                  </a:lnTo>
                  <a:lnTo>
                    <a:pt x="4859" y="256362"/>
                  </a:lnTo>
                  <a:lnTo>
                    <a:pt x="4859" y="227704"/>
                  </a:lnTo>
                  <a:lnTo>
                    <a:pt x="87193" y="137913"/>
                  </a:lnTo>
                  <a:cubicBezTo>
                    <a:pt x="96211" y="127724"/>
                    <a:pt x="103336" y="118925"/>
                    <a:pt x="108541" y="111513"/>
                  </a:cubicBezTo>
                  <a:cubicBezTo>
                    <a:pt x="113760" y="104100"/>
                    <a:pt x="117403" y="97446"/>
                    <a:pt x="119499" y="91542"/>
                  </a:cubicBezTo>
                  <a:cubicBezTo>
                    <a:pt x="121697" y="85520"/>
                    <a:pt x="122797" y="79674"/>
                    <a:pt x="122797" y="73998"/>
                  </a:cubicBezTo>
                  <a:cubicBezTo>
                    <a:pt x="122797" y="66012"/>
                    <a:pt x="121284" y="59003"/>
                    <a:pt x="118278" y="52981"/>
                  </a:cubicBezTo>
                  <a:cubicBezTo>
                    <a:pt x="115374" y="46843"/>
                    <a:pt x="111099" y="42038"/>
                    <a:pt x="105413" y="38565"/>
                  </a:cubicBezTo>
                  <a:cubicBezTo>
                    <a:pt x="99747" y="34976"/>
                    <a:pt x="92860" y="33181"/>
                    <a:pt x="84752" y="33181"/>
                  </a:cubicBezTo>
                  <a:cubicBezTo>
                    <a:pt x="75374" y="33181"/>
                    <a:pt x="67510" y="35209"/>
                    <a:pt x="61138" y="39261"/>
                  </a:cubicBezTo>
                  <a:cubicBezTo>
                    <a:pt x="54766" y="43312"/>
                    <a:pt x="49956" y="48930"/>
                    <a:pt x="46712" y="56109"/>
                  </a:cubicBezTo>
                  <a:cubicBezTo>
                    <a:pt x="43482" y="63171"/>
                    <a:pt x="41853" y="71279"/>
                    <a:pt x="41853" y="80423"/>
                  </a:cubicBezTo>
                  <a:lnTo>
                    <a:pt x="0" y="80423"/>
                  </a:lnTo>
                  <a:cubicBezTo>
                    <a:pt x="0" y="65720"/>
                    <a:pt x="3366" y="52286"/>
                    <a:pt x="10083" y="40131"/>
                  </a:cubicBezTo>
                  <a:cubicBezTo>
                    <a:pt x="16800" y="27860"/>
                    <a:pt x="26517" y="18132"/>
                    <a:pt x="39261" y="10953"/>
                  </a:cubicBezTo>
                  <a:cubicBezTo>
                    <a:pt x="51989" y="3658"/>
                    <a:pt x="67325" y="10"/>
                    <a:pt x="85272" y="10"/>
                  </a:cubicBezTo>
                  <a:cubicBezTo>
                    <a:pt x="102189" y="10"/>
                    <a:pt x="116546" y="2845"/>
                    <a:pt x="128346" y="8521"/>
                  </a:cubicBezTo>
                  <a:cubicBezTo>
                    <a:pt x="140160" y="14193"/>
                    <a:pt x="149129" y="22242"/>
                    <a:pt x="155277" y="32660"/>
                  </a:cubicBezTo>
                  <a:cubicBezTo>
                    <a:pt x="161527" y="43079"/>
                    <a:pt x="164654" y="55413"/>
                    <a:pt x="164654" y="69655"/>
                  </a:cubicBezTo>
                  <a:cubicBezTo>
                    <a:pt x="164654" y="77529"/>
                    <a:pt x="163385" y="85345"/>
                    <a:pt x="160827" y="93103"/>
                  </a:cubicBezTo>
                  <a:cubicBezTo>
                    <a:pt x="158283" y="100861"/>
                    <a:pt x="154645" y="108619"/>
                    <a:pt x="149888" y="116376"/>
                  </a:cubicBezTo>
                  <a:cubicBezTo>
                    <a:pt x="145267" y="124017"/>
                    <a:pt x="139757" y="131717"/>
                    <a:pt x="133400" y="139475"/>
                  </a:cubicBezTo>
                  <a:cubicBezTo>
                    <a:pt x="127028" y="147116"/>
                    <a:pt x="120019" y="154873"/>
                    <a:pt x="112378" y="162748"/>
                  </a:cubicBezTo>
                  <a:lnTo>
                    <a:pt x="57675" y="223015"/>
                  </a:lnTo>
                  <a:lnTo>
                    <a:pt x="174377" y="223015"/>
                  </a:lnTo>
                  <a:close/>
                  <a:moveTo>
                    <a:pt x="371848" y="108735"/>
                  </a:moveTo>
                  <a:lnTo>
                    <a:pt x="371848" y="150068"/>
                  </a:lnTo>
                  <a:cubicBezTo>
                    <a:pt x="371848" y="169869"/>
                    <a:pt x="369873" y="186770"/>
                    <a:pt x="365938" y="200783"/>
                  </a:cubicBezTo>
                  <a:cubicBezTo>
                    <a:pt x="362125" y="214674"/>
                    <a:pt x="356561" y="225963"/>
                    <a:pt x="349260" y="234650"/>
                  </a:cubicBezTo>
                  <a:cubicBezTo>
                    <a:pt x="341960" y="243332"/>
                    <a:pt x="333219" y="249703"/>
                    <a:pt x="323035" y="253755"/>
                  </a:cubicBezTo>
                  <a:cubicBezTo>
                    <a:pt x="312971" y="257806"/>
                    <a:pt x="301668" y="259834"/>
                    <a:pt x="289168" y="259834"/>
                  </a:cubicBezTo>
                  <a:cubicBezTo>
                    <a:pt x="279221" y="259834"/>
                    <a:pt x="269951" y="258560"/>
                    <a:pt x="261381" y="256011"/>
                  </a:cubicBezTo>
                  <a:cubicBezTo>
                    <a:pt x="252933" y="253463"/>
                    <a:pt x="245287" y="249470"/>
                    <a:pt x="238468" y="244027"/>
                  </a:cubicBezTo>
                  <a:cubicBezTo>
                    <a:pt x="231634" y="238584"/>
                    <a:pt x="225773" y="231581"/>
                    <a:pt x="220914" y="223011"/>
                  </a:cubicBezTo>
                  <a:cubicBezTo>
                    <a:pt x="216172" y="214329"/>
                    <a:pt x="212466" y="203964"/>
                    <a:pt x="209800" y="191921"/>
                  </a:cubicBezTo>
                  <a:cubicBezTo>
                    <a:pt x="207256" y="179878"/>
                    <a:pt x="205972" y="165929"/>
                    <a:pt x="205972" y="150063"/>
                  </a:cubicBezTo>
                  <a:lnTo>
                    <a:pt x="205972" y="108730"/>
                  </a:lnTo>
                  <a:cubicBezTo>
                    <a:pt x="205972" y="88813"/>
                    <a:pt x="207947" y="72028"/>
                    <a:pt x="211882" y="58366"/>
                  </a:cubicBezTo>
                  <a:cubicBezTo>
                    <a:pt x="215831" y="44587"/>
                    <a:pt x="221430" y="33414"/>
                    <a:pt x="228730" y="24844"/>
                  </a:cubicBezTo>
                  <a:cubicBezTo>
                    <a:pt x="236031" y="16162"/>
                    <a:pt x="244722" y="9849"/>
                    <a:pt x="254786" y="5914"/>
                  </a:cubicBezTo>
                  <a:cubicBezTo>
                    <a:pt x="264970" y="1980"/>
                    <a:pt x="276323" y="10"/>
                    <a:pt x="288827" y="10"/>
                  </a:cubicBezTo>
                  <a:cubicBezTo>
                    <a:pt x="298910" y="10"/>
                    <a:pt x="308166" y="1284"/>
                    <a:pt x="316614" y="3833"/>
                  </a:cubicBezTo>
                  <a:cubicBezTo>
                    <a:pt x="325184" y="6265"/>
                    <a:pt x="332825" y="10141"/>
                    <a:pt x="339542" y="15467"/>
                  </a:cubicBezTo>
                  <a:cubicBezTo>
                    <a:pt x="346376" y="20793"/>
                    <a:pt x="352164" y="27743"/>
                    <a:pt x="356906" y="36308"/>
                  </a:cubicBezTo>
                  <a:cubicBezTo>
                    <a:pt x="361765" y="44762"/>
                    <a:pt x="365476" y="55010"/>
                    <a:pt x="368020" y="67048"/>
                  </a:cubicBezTo>
                  <a:cubicBezTo>
                    <a:pt x="370578" y="78974"/>
                    <a:pt x="371848" y="92870"/>
                    <a:pt x="371848" y="108730"/>
                  </a:cubicBezTo>
                  <a:close/>
                  <a:moveTo>
                    <a:pt x="329995" y="155978"/>
                  </a:moveTo>
                  <a:lnTo>
                    <a:pt x="329995" y="102485"/>
                  </a:lnTo>
                  <a:cubicBezTo>
                    <a:pt x="329995" y="92412"/>
                    <a:pt x="329411" y="83555"/>
                    <a:pt x="328258" y="75914"/>
                  </a:cubicBezTo>
                  <a:cubicBezTo>
                    <a:pt x="327091" y="68157"/>
                    <a:pt x="325355" y="61615"/>
                    <a:pt x="323039" y="56289"/>
                  </a:cubicBezTo>
                  <a:cubicBezTo>
                    <a:pt x="320841" y="50846"/>
                    <a:pt x="318059" y="46445"/>
                    <a:pt x="314708" y="43088"/>
                  </a:cubicBezTo>
                  <a:cubicBezTo>
                    <a:pt x="311342" y="39616"/>
                    <a:pt x="307529" y="37125"/>
                    <a:pt x="303234" y="35623"/>
                  </a:cubicBezTo>
                  <a:cubicBezTo>
                    <a:pt x="298959" y="34003"/>
                    <a:pt x="294148" y="33191"/>
                    <a:pt x="288823" y="33191"/>
                  </a:cubicBezTo>
                  <a:cubicBezTo>
                    <a:pt x="282349" y="33191"/>
                    <a:pt x="276542" y="34465"/>
                    <a:pt x="271459" y="37014"/>
                  </a:cubicBezTo>
                  <a:cubicBezTo>
                    <a:pt x="266357" y="39445"/>
                    <a:pt x="262081" y="43380"/>
                    <a:pt x="258613" y="48823"/>
                  </a:cubicBezTo>
                  <a:cubicBezTo>
                    <a:pt x="255126" y="54266"/>
                    <a:pt x="252466" y="61445"/>
                    <a:pt x="250608" y="70360"/>
                  </a:cubicBezTo>
                  <a:cubicBezTo>
                    <a:pt x="248871" y="79159"/>
                    <a:pt x="248015" y="89869"/>
                    <a:pt x="248015" y="102490"/>
                  </a:cubicBezTo>
                  <a:lnTo>
                    <a:pt x="248015" y="155982"/>
                  </a:lnTo>
                  <a:cubicBezTo>
                    <a:pt x="248015" y="166172"/>
                    <a:pt x="248584" y="175146"/>
                    <a:pt x="249752" y="182904"/>
                  </a:cubicBezTo>
                  <a:cubicBezTo>
                    <a:pt x="250904" y="190661"/>
                    <a:pt x="252636" y="197320"/>
                    <a:pt x="254956" y="202874"/>
                  </a:cubicBezTo>
                  <a:cubicBezTo>
                    <a:pt x="257276" y="208317"/>
                    <a:pt x="260058" y="212831"/>
                    <a:pt x="263302" y="216420"/>
                  </a:cubicBezTo>
                  <a:cubicBezTo>
                    <a:pt x="266653" y="219893"/>
                    <a:pt x="270481" y="222441"/>
                    <a:pt x="274756" y="224061"/>
                  </a:cubicBezTo>
                  <a:cubicBezTo>
                    <a:pt x="279153" y="225681"/>
                    <a:pt x="283964" y="226493"/>
                    <a:pt x="289168" y="226493"/>
                  </a:cubicBezTo>
                  <a:cubicBezTo>
                    <a:pt x="295778" y="226493"/>
                    <a:pt x="301619" y="225219"/>
                    <a:pt x="306721" y="222670"/>
                  </a:cubicBezTo>
                  <a:cubicBezTo>
                    <a:pt x="311804" y="220121"/>
                    <a:pt x="316099" y="216070"/>
                    <a:pt x="319567" y="210511"/>
                  </a:cubicBezTo>
                  <a:cubicBezTo>
                    <a:pt x="323035" y="204839"/>
                    <a:pt x="325646" y="197485"/>
                    <a:pt x="327383" y="188453"/>
                  </a:cubicBezTo>
                  <a:cubicBezTo>
                    <a:pt x="329119" y="179421"/>
                    <a:pt x="329995" y="168594"/>
                    <a:pt x="329995" y="155978"/>
                  </a:cubicBezTo>
                  <a:close/>
                  <a:moveTo>
                    <a:pt x="578701" y="223015"/>
                  </a:moveTo>
                  <a:lnTo>
                    <a:pt x="578701" y="256362"/>
                  </a:lnTo>
                  <a:lnTo>
                    <a:pt x="409187" y="256362"/>
                  </a:lnTo>
                  <a:lnTo>
                    <a:pt x="409187" y="227704"/>
                  </a:lnTo>
                  <a:lnTo>
                    <a:pt x="491507" y="137913"/>
                  </a:lnTo>
                  <a:cubicBezTo>
                    <a:pt x="500539" y="127724"/>
                    <a:pt x="507670" y="118925"/>
                    <a:pt x="512874" y="111513"/>
                  </a:cubicBezTo>
                  <a:cubicBezTo>
                    <a:pt x="518078" y="104100"/>
                    <a:pt x="521736" y="97446"/>
                    <a:pt x="523813" y="91542"/>
                  </a:cubicBezTo>
                  <a:cubicBezTo>
                    <a:pt x="526011" y="85520"/>
                    <a:pt x="527110" y="79674"/>
                    <a:pt x="527110" y="73998"/>
                  </a:cubicBezTo>
                  <a:cubicBezTo>
                    <a:pt x="527110" y="66012"/>
                    <a:pt x="525617" y="59003"/>
                    <a:pt x="522592" y="52981"/>
                  </a:cubicBezTo>
                  <a:cubicBezTo>
                    <a:pt x="519708" y="46843"/>
                    <a:pt x="515413" y="42038"/>
                    <a:pt x="509746" y="38565"/>
                  </a:cubicBezTo>
                  <a:cubicBezTo>
                    <a:pt x="504080" y="34976"/>
                    <a:pt x="497193" y="33181"/>
                    <a:pt x="489085" y="33181"/>
                  </a:cubicBezTo>
                  <a:cubicBezTo>
                    <a:pt x="479708" y="33181"/>
                    <a:pt x="471823" y="35209"/>
                    <a:pt x="465452" y="39261"/>
                  </a:cubicBezTo>
                  <a:cubicBezTo>
                    <a:pt x="459095" y="43312"/>
                    <a:pt x="454289" y="48930"/>
                    <a:pt x="451040" y="56109"/>
                  </a:cubicBezTo>
                  <a:cubicBezTo>
                    <a:pt x="447796" y="63171"/>
                    <a:pt x="446181" y="71279"/>
                    <a:pt x="446181" y="80423"/>
                  </a:cubicBezTo>
                  <a:lnTo>
                    <a:pt x="404328" y="80423"/>
                  </a:lnTo>
                  <a:cubicBezTo>
                    <a:pt x="404328" y="65720"/>
                    <a:pt x="407679" y="52286"/>
                    <a:pt x="414391" y="40131"/>
                  </a:cubicBezTo>
                  <a:cubicBezTo>
                    <a:pt x="421108" y="27860"/>
                    <a:pt x="430846" y="18132"/>
                    <a:pt x="443569" y="10953"/>
                  </a:cubicBezTo>
                  <a:cubicBezTo>
                    <a:pt x="456313" y="3658"/>
                    <a:pt x="471648" y="10"/>
                    <a:pt x="489596" y="10"/>
                  </a:cubicBezTo>
                  <a:cubicBezTo>
                    <a:pt x="506497" y="10"/>
                    <a:pt x="520855" y="2845"/>
                    <a:pt x="532670" y="8521"/>
                  </a:cubicBezTo>
                  <a:cubicBezTo>
                    <a:pt x="544484" y="14193"/>
                    <a:pt x="553453" y="22242"/>
                    <a:pt x="559581" y="32660"/>
                  </a:cubicBezTo>
                  <a:cubicBezTo>
                    <a:pt x="565831" y="43079"/>
                    <a:pt x="568958" y="55413"/>
                    <a:pt x="568958" y="69655"/>
                  </a:cubicBezTo>
                  <a:cubicBezTo>
                    <a:pt x="568958" y="77529"/>
                    <a:pt x="567689" y="85345"/>
                    <a:pt x="565145" y="93103"/>
                  </a:cubicBezTo>
                  <a:cubicBezTo>
                    <a:pt x="562601" y="100861"/>
                    <a:pt x="558944" y="108619"/>
                    <a:pt x="554207" y="116376"/>
                  </a:cubicBezTo>
                  <a:cubicBezTo>
                    <a:pt x="549571" y="124017"/>
                    <a:pt x="544075" y="131717"/>
                    <a:pt x="537704" y="139475"/>
                  </a:cubicBezTo>
                  <a:cubicBezTo>
                    <a:pt x="531332" y="147116"/>
                    <a:pt x="524323" y="154873"/>
                    <a:pt x="516697" y="162748"/>
                  </a:cubicBezTo>
                  <a:lnTo>
                    <a:pt x="461979" y="223015"/>
                  </a:lnTo>
                  <a:lnTo>
                    <a:pt x="578701" y="223015"/>
                  </a:lnTo>
                  <a:close/>
                  <a:moveTo>
                    <a:pt x="660505" y="110992"/>
                  </a:moveTo>
                  <a:lnTo>
                    <a:pt x="685510" y="110992"/>
                  </a:lnTo>
                  <a:cubicBezTo>
                    <a:pt x="695233" y="110992"/>
                    <a:pt x="703287" y="109314"/>
                    <a:pt x="709639" y="105953"/>
                  </a:cubicBezTo>
                  <a:cubicBezTo>
                    <a:pt x="716132" y="102597"/>
                    <a:pt x="720943" y="97962"/>
                    <a:pt x="724065" y="92057"/>
                  </a:cubicBezTo>
                  <a:cubicBezTo>
                    <a:pt x="727188" y="86153"/>
                    <a:pt x="728754" y="79377"/>
                    <a:pt x="728754" y="71736"/>
                  </a:cubicBezTo>
                  <a:cubicBezTo>
                    <a:pt x="728754" y="64095"/>
                    <a:pt x="727295" y="56916"/>
                    <a:pt x="724411" y="51240"/>
                  </a:cubicBezTo>
                  <a:cubicBezTo>
                    <a:pt x="721628" y="45452"/>
                    <a:pt x="717353" y="40992"/>
                    <a:pt x="711565" y="37865"/>
                  </a:cubicBezTo>
                  <a:cubicBezTo>
                    <a:pt x="705879" y="34737"/>
                    <a:pt x="698652" y="33176"/>
                    <a:pt x="689858" y="33176"/>
                  </a:cubicBezTo>
                  <a:cubicBezTo>
                    <a:pt x="682441" y="33176"/>
                    <a:pt x="675724" y="34684"/>
                    <a:pt x="669712" y="37690"/>
                  </a:cubicBezTo>
                  <a:cubicBezTo>
                    <a:pt x="663803" y="40584"/>
                    <a:pt x="659114" y="44752"/>
                    <a:pt x="655626" y="50195"/>
                  </a:cubicBezTo>
                  <a:cubicBezTo>
                    <a:pt x="652159" y="55520"/>
                    <a:pt x="650422" y="61887"/>
                    <a:pt x="650422" y="69300"/>
                  </a:cubicBezTo>
                  <a:lnTo>
                    <a:pt x="608394" y="69300"/>
                  </a:lnTo>
                  <a:cubicBezTo>
                    <a:pt x="608394" y="55871"/>
                    <a:pt x="611916" y="43945"/>
                    <a:pt x="618992" y="33521"/>
                  </a:cubicBezTo>
                  <a:cubicBezTo>
                    <a:pt x="626050" y="23103"/>
                    <a:pt x="635670" y="14937"/>
                    <a:pt x="647810" y="9032"/>
                  </a:cubicBezTo>
                  <a:cubicBezTo>
                    <a:pt x="660092" y="3011"/>
                    <a:pt x="673866" y="0"/>
                    <a:pt x="689148" y="0"/>
                  </a:cubicBezTo>
                  <a:cubicBezTo>
                    <a:pt x="705480" y="0"/>
                    <a:pt x="719717" y="2724"/>
                    <a:pt x="731876" y="8161"/>
                  </a:cubicBezTo>
                  <a:cubicBezTo>
                    <a:pt x="744138" y="13487"/>
                    <a:pt x="753705" y="21479"/>
                    <a:pt x="760524" y="32130"/>
                  </a:cubicBezTo>
                  <a:cubicBezTo>
                    <a:pt x="767358" y="42782"/>
                    <a:pt x="770777" y="55982"/>
                    <a:pt x="770777" y="71731"/>
                  </a:cubicBezTo>
                  <a:cubicBezTo>
                    <a:pt x="770777" y="78910"/>
                    <a:pt x="769094" y="86206"/>
                    <a:pt x="765743" y="93614"/>
                  </a:cubicBezTo>
                  <a:cubicBezTo>
                    <a:pt x="762378" y="101026"/>
                    <a:pt x="757397" y="107797"/>
                    <a:pt x="750802" y="113935"/>
                  </a:cubicBezTo>
                  <a:cubicBezTo>
                    <a:pt x="744206" y="119956"/>
                    <a:pt x="735982" y="124873"/>
                    <a:pt x="726137" y="128696"/>
                  </a:cubicBezTo>
                  <a:cubicBezTo>
                    <a:pt x="716298" y="132403"/>
                    <a:pt x="704892" y="134256"/>
                    <a:pt x="691925" y="134256"/>
                  </a:cubicBezTo>
                  <a:lnTo>
                    <a:pt x="660495" y="134256"/>
                  </a:lnTo>
                  <a:lnTo>
                    <a:pt x="660495" y="110982"/>
                  </a:lnTo>
                  <a:close/>
                  <a:moveTo>
                    <a:pt x="660505" y="143643"/>
                  </a:moveTo>
                  <a:lnTo>
                    <a:pt x="660505" y="120715"/>
                  </a:lnTo>
                  <a:lnTo>
                    <a:pt x="691935" y="120715"/>
                  </a:lnTo>
                  <a:cubicBezTo>
                    <a:pt x="706755" y="120715"/>
                    <a:pt x="719381" y="122451"/>
                    <a:pt x="729790" y="125924"/>
                  </a:cubicBezTo>
                  <a:cubicBezTo>
                    <a:pt x="740335" y="129397"/>
                    <a:pt x="748905" y="134202"/>
                    <a:pt x="755500" y="140340"/>
                  </a:cubicBezTo>
                  <a:cubicBezTo>
                    <a:pt x="762095" y="146362"/>
                    <a:pt x="766906" y="153249"/>
                    <a:pt x="769911" y="161007"/>
                  </a:cubicBezTo>
                  <a:cubicBezTo>
                    <a:pt x="773039" y="168764"/>
                    <a:pt x="774600" y="176984"/>
                    <a:pt x="774600" y="185671"/>
                  </a:cubicBezTo>
                  <a:cubicBezTo>
                    <a:pt x="774600" y="197480"/>
                    <a:pt x="772470" y="208015"/>
                    <a:pt x="768175" y="217281"/>
                  </a:cubicBezTo>
                  <a:cubicBezTo>
                    <a:pt x="764016" y="226430"/>
                    <a:pt x="758044" y="234188"/>
                    <a:pt x="750296" y="240554"/>
                  </a:cubicBezTo>
                  <a:cubicBezTo>
                    <a:pt x="742533" y="246921"/>
                    <a:pt x="733447" y="251726"/>
                    <a:pt x="723024" y="254971"/>
                  </a:cubicBezTo>
                  <a:cubicBezTo>
                    <a:pt x="712718" y="258215"/>
                    <a:pt x="701487" y="259834"/>
                    <a:pt x="689328" y="259834"/>
                  </a:cubicBezTo>
                  <a:cubicBezTo>
                    <a:pt x="678457" y="259834"/>
                    <a:pt x="668029" y="258327"/>
                    <a:pt x="658068" y="255316"/>
                  </a:cubicBezTo>
                  <a:cubicBezTo>
                    <a:pt x="648107" y="252305"/>
                    <a:pt x="639192" y="247850"/>
                    <a:pt x="631327" y="241945"/>
                  </a:cubicBezTo>
                  <a:cubicBezTo>
                    <a:pt x="623443" y="235924"/>
                    <a:pt x="617193" y="228458"/>
                    <a:pt x="612572" y="219543"/>
                  </a:cubicBezTo>
                  <a:cubicBezTo>
                    <a:pt x="608054" y="210511"/>
                    <a:pt x="605787" y="200092"/>
                    <a:pt x="605787" y="188283"/>
                  </a:cubicBezTo>
                  <a:lnTo>
                    <a:pt x="647640" y="188283"/>
                  </a:lnTo>
                  <a:cubicBezTo>
                    <a:pt x="647640" y="195807"/>
                    <a:pt x="649377" y="202466"/>
                    <a:pt x="652859" y="208254"/>
                  </a:cubicBezTo>
                  <a:cubicBezTo>
                    <a:pt x="656449" y="213925"/>
                    <a:pt x="661429" y="218385"/>
                    <a:pt x="667786" y="221624"/>
                  </a:cubicBezTo>
                  <a:cubicBezTo>
                    <a:pt x="674279" y="224869"/>
                    <a:pt x="681682" y="226488"/>
                    <a:pt x="690028" y="226488"/>
                  </a:cubicBezTo>
                  <a:cubicBezTo>
                    <a:pt x="698822" y="226488"/>
                    <a:pt x="706415" y="224927"/>
                    <a:pt x="712767" y="221799"/>
                  </a:cubicBezTo>
                  <a:cubicBezTo>
                    <a:pt x="719138" y="218672"/>
                    <a:pt x="723997" y="214042"/>
                    <a:pt x="727363" y="207904"/>
                  </a:cubicBezTo>
                  <a:cubicBezTo>
                    <a:pt x="730831" y="201765"/>
                    <a:pt x="732567" y="194358"/>
                    <a:pt x="732567" y="185671"/>
                  </a:cubicBezTo>
                  <a:cubicBezTo>
                    <a:pt x="732567" y="175827"/>
                    <a:pt x="730660" y="167840"/>
                    <a:pt x="726847" y="161702"/>
                  </a:cubicBezTo>
                  <a:cubicBezTo>
                    <a:pt x="723019" y="155564"/>
                    <a:pt x="717572" y="151050"/>
                    <a:pt x="710515" y="148157"/>
                  </a:cubicBezTo>
                  <a:cubicBezTo>
                    <a:pt x="703457" y="145146"/>
                    <a:pt x="695111" y="143643"/>
                    <a:pt x="685510" y="143643"/>
                  </a:cubicBezTo>
                  <a:lnTo>
                    <a:pt x="660505" y="143643"/>
                  </a:lnTo>
                  <a:close/>
                </a:path>
              </a:pathLst>
            </a:custGeom>
            <a:solidFill>
              <a:srgbClr val="EE3431"/>
            </a:solidFill>
            <a:ln w="4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8" name="Полилиния: фигура 47">
              <a:extLst>
                <a:ext uri="{FF2B5EF4-FFF2-40B4-BE49-F238E27FC236}">
                  <a16:creationId xmlns:a16="http://schemas.microsoft.com/office/drawing/2014/main" id="{C3ADAD60-17B9-4A06-AE0E-BCB35AB4E7E8}"/>
                </a:ext>
              </a:extLst>
            </p:cNvPr>
            <p:cNvSpPr/>
            <p:nvPr/>
          </p:nvSpPr>
          <p:spPr>
            <a:xfrm>
              <a:off x="8902858" y="5870060"/>
              <a:ext cx="774600" cy="259829"/>
            </a:xfrm>
            <a:custGeom>
              <a:avLst/>
              <a:gdLst>
                <a:gd name="connsiteX0" fmla="*/ 174372 w 774600"/>
                <a:gd name="connsiteY0" fmla="*/ 223011 h 259829"/>
                <a:gd name="connsiteX1" fmla="*/ 174372 w 774600"/>
                <a:gd name="connsiteY1" fmla="*/ 256357 h 259829"/>
                <a:gd name="connsiteX2" fmla="*/ 4859 w 774600"/>
                <a:gd name="connsiteY2" fmla="*/ 256357 h 259829"/>
                <a:gd name="connsiteX3" fmla="*/ 4859 w 774600"/>
                <a:gd name="connsiteY3" fmla="*/ 227699 h 259829"/>
                <a:gd name="connsiteX4" fmla="*/ 87193 w 774600"/>
                <a:gd name="connsiteY4" fmla="*/ 137908 h 259829"/>
                <a:gd name="connsiteX5" fmla="*/ 108541 w 774600"/>
                <a:gd name="connsiteY5" fmla="*/ 111508 h 259829"/>
                <a:gd name="connsiteX6" fmla="*/ 119499 w 774600"/>
                <a:gd name="connsiteY6" fmla="*/ 91537 h 259829"/>
                <a:gd name="connsiteX7" fmla="*/ 122797 w 774600"/>
                <a:gd name="connsiteY7" fmla="*/ 73993 h 259829"/>
                <a:gd name="connsiteX8" fmla="*/ 118278 w 774600"/>
                <a:gd name="connsiteY8" fmla="*/ 52977 h 259829"/>
                <a:gd name="connsiteX9" fmla="*/ 105413 w 774600"/>
                <a:gd name="connsiteY9" fmla="*/ 38560 h 259829"/>
                <a:gd name="connsiteX10" fmla="*/ 84752 w 774600"/>
                <a:gd name="connsiteY10" fmla="*/ 33176 h 259829"/>
                <a:gd name="connsiteX11" fmla="*/ 61138 w 774600"/>
                <a:gd name="connsiteY11" fmla="*/ 39256 h 259829"/>
                <a:gd name="connsiteX12" fmla="*/ 46712 w 774600"/>
                <a:gd name="connsiteY12" fmla="*/ 56104 h 259829"/>
                <a:gd name="connsiteX13" fmla="*/ 41853 w 774600"/>
                <a:gd name="connsiteY13" fmla="*/ 80418 h 259829"/>
                <a:gd name="connsiteX14" fmla="*/ 0 w 774600"/>
                <a:gd name="connsiteY14" fmla="*/ 80418 h 259829"/>
                <a:gd name="connsiteX15" fmla="*/ 10083 w 774600"/>
                <a:gd name="connsiteY15" fmla="*/ 40126 h 259829"/>
                <a:gd name="connsiteX16" fmla="*/ 39261 w 774600"/>
                <a:gd name="connsiteY16" fmla="*/ 10948 h 259829"/>
                <a:gd name="connsiteX17" fmla="*/ 85272 w 774600"/>
                <a:gd name="connsiteY17" fmla="*/ 5 h 259829"/>
                <a:gd name="connsiteX18" fmla="*/ 128346 w 774600"/>
                <a:gd name="connsiteY18" fmla="*/ 8517 h 259829"/>
                <a:gd name="connsiteX19" fmla="*/ 155277 w 774600"/>
                <a:gd name="connsiteY19" fmla="*/ 32660 h 259829"/>
                <a:gd name="connsiteX20" fmla="*/ 164654 w 774600"/>
                <a:gd name="connsiteY20" fmla="*/ 69655 h 259829"/>
                <a:gd name="connsiteX21" fmla="*/ 160827 w 774600"/>
                <a:gd name="connsiteY21" fmla="*/ 93103 h 259829"/>
                <a:gd name="connsiteX22" fmla="*/ 149888 w 774600"/>
                <a:gd name="connsiteY22" fmla="*/ 116376 h 259829"/>
                <a:gd name="connsiteX23" fmla="*/ 133400 w 774600"/>
                <a:gd name="connsiteY23" fmla="*/ 139475 h 259829"/>
                <a:gd name="connsiteX24" fmla="*/ 112378 w 774600"/>
                <a:gd name="connsiteY24" fmla="*/ 162748 h 259829"/>
                <a:gd name="connsiteX25" fmla="*/ 57675 w 774600"/>
                <a:gd name="connsiteY25" fmla="*/ 223015 h 259829"/>
                <a:gd name="connsiteX26" fmla="*/ 174377 w 774600"/>
                <a:gd name="connsiteY26" fmla="*/ 223015 h 259829"/>
                <a:gd name="connsiteX27" fmla="*/ 371848 w 774600"/>
                <a:gd name="connsiteY27" fmla="*/ 108730 h 259829"/>
                <a:gd name="connsiteX28" fmla="*/ 371848 w 774600"/>
                <a:gd name="connsiteY28" fmla="*/ 150063 h 259829"/>
                <a:gd name="connsiteX29" fmla="*/ 365938 w 774600"/>
                <a:gd name="connsiteY29" fmla="*/ 200778 h 259829"/>
                <a:gd name="connsiteX30" fmla="*/ 349260 w 774600"/>
                <a:gd name="connsiteY30" fmla="*/ 234645 h 259829"/>
                <a:gd name="connsiteX31" fmla="*/ 323035 w 774600"/>
                <a:gd name="connsiteY31" fmla="*/ 253750 h 259829"/>
                <a:gd name="connsiteX32" fmla="*/ 289168 w 774600"/>
                <a:gd name="connsiteY32" fmla="*/ 259830 h 259829"/>
                <a:gd name="connsiteX33" fmla="*/ 261381 w 774600"/>
                <a:gd name="connsiteY33" fmla="*/ 256011 h 259829"/>
                <a:gd name="connsiteX34" fmla="*/ 238468 w 774600"/>
                <a:gd name="connsiteY34" fmla="*/ 244027 h 259829"/>
                <a:gd name="connsiteX35" fmla="*/ 220914 w 774600"/>
                <a:gd name="connsiteY35" fmla="*/ 223011 h 259829"/>
                <a:gd name="connsiteX36" fmla="*/ 209800 w 774600"/>
                <a:gd name="connsiteY36" fmla="*/ 191921 h 259829"/>
                <a:gd name="connsiteX37" fmla="*/ 205972 w 774600"/>
                <a:gd name="connsiteY37" fmla="*/ 150063 h 259829"/>
                <a:gd name="connsiteX38" fmla="*/ 205972 w 774600"/>
                <a:gd name="connsiteY38" fmla="*/ 108730 h 259829"/>
                <a:gd name="connsiteX39" fmla="*/ 211882 w 774600"/>
                <a:gd name="connsiteY39" fmla="*/ 58366 h 259829"/>
                <a:gd name="connsiteX40" fmla="*/ 228730 w 774600"/>
                <a:gd name="connsiteY40" fmla="*/ 24844 h 259829"/>
                <a:gd name="connsiteX41" fmla="*/ 254786 w 774600"/>
                <a:gd name="connsiteY41" fmla="*/ 5914 h 259829"/>
                <a:gd name="connsiteX42" fmla="*/ 288827 w 774600"/>
                <a:gd name="connsiteY42" fmla="*/ 10 h 259829"/>
                <a:gd name="connsiteX43" fmla="*/ 316614 w 774600"/>
                <a:gd name="connsiteY43" fmla="*/ 3833 h 259829"/>
                <a:gd name="connsiteX44" fmla="*/ 339542 w 774600"/>
                <a:gd name="connsiteY44" fmla="*/ 15467 h 259829"/>
                <a:gd name="connsiteX45" fmla="*/ 356906 w 774600"/>
                <a:gd name="connsiteY45" fmla="*/ 36308 h 259829"/>
                <a:gd name="connsiteX46" fmla="*/ 368020 w 774600"/>
                <a:gd name="connsiteY46" fmla="*/ 67048 h 259829"/>
                <a:gd name="connsiteX47" fmla="*/ 371848 w 774600"/>
                <a:gd name="connsiteY47" fmla="*/ 108730 h 259829"/>
                <a:gd name="connsiteX48" fmla="*/ 329995 w 774600"/>
                <a:gd name="connsiteY48" fmla="*/ 155968 h 259829"/>
                <a:gd name="connsiteX49" fmla="*/ 329995 w 774600"/>
                <a:gd name="connsiteY49" fmla="*/ 102476 h 259829"/>
                <a:gd name="connsiteX50" fmla="*/ 328258 w 774600"/>
                <a:gd name="connsiteY50" fmla="*/ 75905 h 259829"/>
                <a:gd name="connsiteX51" fmla="*/ 323039 w 774600"/>
                <a:gd name="connsiteY51" fmla="*/ 56279 h 259829"/>
                <a:gd name="connsiteX52" fmla="*/ 314708 w 774600"/>
                <a:gd name="connsiteY52" fmla="*/ 43079 h 259829"/>
                <a:gd name="connsiteX53" fmla="*/ 303234 w 774600"/>
                <a:gd name="connsiteY53" fmla="*/ 35613 h 259829"/>
                <a:gd name="connsiteX54" fmla="*/ 288823 w 774600"/>
                <a:gd name="connsiteY54" fmla="*/ 33181 h 259829"/>
                <a:gd name="connsiteX55" fmla="*/ 271459 w 774600"/>
                <a:gd name="connsiteY55" fmla="*/ 37004 h 259829"/>
                <a:gd name="connsiteX56" fmla="*/ 258613 w 774600"/>
                <a:gd name="connsiteY56" fmla="*/ 48813 h 259829"/>
                <a:gd name="connsiteX57" fmla="*/ 250608 w 774600"/>
                <a:gd name="connsiteY57" fmla="*/ 70350 h 259829"/>
                <a:gd name="connsiteX58" fmla="*/ 248015 w 774600"/>
                <a:gd name="connsiteY58" fmla="*/ 102480 h 259829"/>
                <a:gd name="connsiteX59" fmla="*/ 248015 w 774600"/>
                <a:gd name="connsiteY59" fmla="*/ 155973 h 259829"/>
                <a:gd name="connsiteX60" fmla="*/ 249752 w 774600"/>
                <a:gd name="connsiteY60" fmla="*/ 182894 h 259829"/>
                <a:gd name="connsiteX61" fmla="*/ 254956 w 774600"/>
                <a:gd name="connsiteY61" fmla="*/ 202865 h 259829"/>
                <a:gd name="connsiteX62" fmla="*/ 263302 w 774600"/>
                <a:gd name="connsiteY62" fmla="*/ 216410 h 259829"/>
                <a:gd name="connsiteX63" fmla="*/ 274756 w 774600"/>
                <a:gd name="connsiteY63" fmla="*/ 224051 h 259829"/>
                <a:gd name="connsiteX64" fmla="*/ 289168 w 774600"/>
                <a:gd name="connsiteY64" fmla="*/ 226483 h 259829"/>
                <a:gd name="connsiteX65" fmla="*/ 306721 w 774600"/>
                <a:gd name="connsiteY65" fmla="*/ 222660 h 259829"/>
                <a:gd name="connsiteX66" fmla="*/ 319567 w 774600"/>
                <a:gd name="connsiteY66" fmla="*/ 210501 h 259829"/>
                <a:gd name="connsiteX67" fmla="*/ 327383 w 774600"/>
                <a:gd name="connsiteY67" fmla="*/ 188443 h 259829"/>
                <a:gd name="connsiteX68" fmla="*/ 329995 w 774600"/>
                <a:gd name="connsiteY68" fmla="*/ 155963 h 259829"/>
                <a:gd name="connsiteX69" fmla="*/ 578701 w 774600"/>
                <a:gd name="connsiteY69" fmla="*/ 223006 h 259829"/>
                <a:gd name="connsiteX70" fmla="*/ 578701 w 774600"/>
                <a:gd name="connsiteY70" fmla="*/ 256352 h 259829"/>
                <a:gd name="connsiteX71" fmla="*/ 409187 w 774600"/>
                <a:gd name="connsiteY71" fmla="*/ 256352 h 259829"/>
                <a:gd name="connsiteX72" fmla="*/ 409187 w 774600"/>
                <a:gd name="connsiteY72" fmla="*/ 227694 h 259829"/>
                <a:gd name="connsiteX73" fmla="*/ 491507 w 774600"/>
                <a:gd name="connsiteY73" fmla="*/ 137904 h 259829"/>
                <a:gd name="connsiteX74" fmla="*/ 512874 w 774600"/>
                <a:gd name="connsiteY74" fmla="*/ 111503 h 259829"/>
                <a:gd name="connsiteX75" fmla="*/ 523813 w 774600"/>
                <a:gd name="connsiteY75" fmla="*/ 91532 h 259829"/>
                <a:gd name="connsiteX76" fmla="*/ 527110 w 774600"/>
                <a:gd name="connsiteY76" fmla="*/ 73988 h 259829"/>
                <a:gd name="connsiteX77" fmla="*/ 522592 w 774600"/>
                <a:gd name="connsiteY77" fmla="*/ 52972 h 259829"/>
                <a:gd name="connsiteX78" fmla="*/ 509746 w 774600"/>
                <a:gd name="connsiteY78" fmla="*/ 38555 h 259829"/>
                <a:gd name="connsiteX79" fmla="*/ 489085 w 774600"/>
                <a:gd name="connsiteY79" fmla="*/ 33171 h 259829"/>
                <a:gd name="connsiteX80" fmla="*/ 465452 w 774600"/>
                <a:gd name="connsiteY80" fmla="*/ 39251 h 259829"/>
                <a:gd name="connsiteX81" fmla="*/ 451040 w 774600"/>
                <a:gd name="connsiteY81" fmla="*/ 56099 h 259829"/>
                <a:gd name="connsiteX82" fmla="*/ 446181 w 774600"/>
                <a:gd name="connsiteY82" fmla="*/ 80413 h 259829"/>
                <a:gd name="connsiteX83" fmla="*/ 404328 w 774600"/>
                <a:gd name="connsiteY83" fmla="*/ 80413 h 259829"/>
                <a:gd name="connsiteX84" fmla="*/ 414391 w 774600"/>
                <a:gd name="connsiteY84" fmla="*/ 40122 h 259829"/>
                <a:gd name="connsiteX85" fmla="*/ 443569 w 774600"/>
                <a:gd name="connsiteY85" fmla="*/ 10944 h 259829"/>
                <a:gd name="connsiteX86" fmla="*/ 489596 w 774600"/>
                <a:gd name="connsiteY86" fmla="*/ 0 h 259829"/>
                <a:gd name="connsiteX87" fmla="*/ 532670 w 774600"/>
                <a:gd name="connsiteY87" fmla="*/ 8512 h 259829"/>
                <a:gd name="connsiteX88" fmla="*/ 559581 w 774600"/>
                <a:gd name="connsiteY88" fmla="*/ 32656 h 259829"/>
                <a:gd name="connsiteX89" fmla="*/ 568958 w 774600"/>
                <a:gd name="connsiteY89" fmla="*/ 69650 h 259829"/>
                <a:gd name="connsiteX90" fmla="*/ 565145 w 774600"/>
                <a:gd name="connsiteY90" fmla="*/ 93098 h 259829"/>
                <a:gd name="connsiteX91" fmla="*/ 554207 w 774600"/>
                <a:gd name="connsiteY91" fmla="*/ 116372 h 259829"/>
                <a:gd name="connsiteX92" fmla="*/ 537704 w 774600"/>
                <a:gd name="connsiteY92" fmla="*/ 139470 h 259829"/>
                <a:gd name="connsiteX93" fmla="*/ 516697 w 774600"/>
                <a:gd name="connsiteY93" fmla="*/ 162743 h 259829"/>
                <a:gd name="connsiteX94" fmla="*/ 461979 w 774600"/>
                <a:gd name="connsiteY94" fmla="*/ 223011 h 259829"/>
                <a:gd name="connsiteX95" fmla="*/ 578701 w 774600"/>
                <a:gd name="connsiteY95" fmla="*/ 223011 h 259829"/>
                <a:gd name="connsiteX96" fmla="*/ 660505 w 774600"/>
                <a:gd name="connsiteY96" fmla="*/ 110982 h 259829"/>
                <a:gd name="connsiteX97" fmla="*/ 685510 w 774600"/>
                <a:gd name="connsiteY97" fmla="*/ 110982 h 259829"/>
                <a:gd name="connsiteX98" fmla="*/ 709639 w 774600"/>
                <a:gd name="connsiteY98" fmla="*/ 105948 h 259829"/>
                <a:gd name="connsiteX99" fmla="*/ 724065 w 774600"/>
                <a:gd name="connsiteY99" fmla="*/ 92052 h 259829"/>
                <a:gd name="connsiteX100" fmla="*/ 728754 w 774600"/>
                <a:gd name="connsiteY100" fmla="*/ 71731 h 259829"/>
                <a:gd name="connsiteX101" fmla="*/ 724411 w 774600"/>
                <a:gd name="connsiteY101" fmla="*/ 51240 h 259829"/>
                <a:gd name="connsiteX102" fmla="*/ 711565 w 774600"/>
                <a:gd name="connsiteY102" fmla="*/ 37865 h 259829"/>
                <a:gd name="connsiteX103" fmla="*/ 689858 w 774600"/>
                <a:gd name="connsiteY103" fmla="*/ 33176 h 259829"/>
                <a:gd name="connsiteX104" fmla="*/ 669712 w 774600"/>
                <a:gd name="connsiteY104" fmla="*/ 37690 h 259829"/>
                <a:gd name="connsiteX105" fmla="*/ 655626 w 774600"/>
                <a:gd name="connsiteY105" fmla="*/ 50195 h 259829"/>
                <a:gd name="connsiteX106" fmla="*/ 650422 w 774600"/>
                <a:gd name="connsiteY106" fmla="*/ 69300 h 259829"/>
                <a:gd name="connsiteX107" fmla="*/ 608394 w 774600"/>
                <a:gd name="connsiteY107" fmla="*/ 69300 h 259829"/>
                <a:gd name="connsiteX108" fmla="*/ 618992 w 774600"/>
                <a:gd name="connsiteY108" fmla="*/ 33521 h 259829"/>
                <a:gd name="connsiteX109" fmla="*/ 647810 w 774600"/>
                <a:gd name="connsiteY109" fmla="*/ 9032 h 259829"/>
                <a:gd name="connsiteX110" fmla="*/ 689148 w 774600"/>
                <a:gd name="connsiteY110" fmla="*/ 0 h 259829"/>
                <a:gd name="connsiteX111" fmla="*/ 731876 w 774600"/>
                <a:gd name="connsiteY111" fmla="*/ 8161 h 259829"/>
                <a:gd name="connsiteX112" fmla="*/ 760524 w 774600"/>
                <a:gd name="connsiteY112" fmla="*/ 32130 h 259829"/>
                <a:gd name="connsiteX113" fmla="*/ 770777 w 774600"/>
                <a:gd name="connsiteY113" fmla="*/ 71727 h 259829"/>
                <a:gd name="connsiteX114" fmla="*/ 765743 w 774600"/>
                <a:gd name="connsiteY114" fmla="*/ 93609 h 259829"/>
                <a:gd name="connsiteX115" fmla="*/ 750802 w 774600"/>
                <a:gd name="connsiteY115" fmla="*/ 113930 h 259829"/>
                <a:gd name="connsiteX116" fmla="*/ 726137 w 774600"/>
                <a:gd name="connsiteY116" fmla="*/ 128692 h 259829"/>
                <a:gd name="connsiteX117" fmla="*/ 691925 w 774600"/>
                <a:gd name="connsiteY117" fmla="*/ 134251 h 259829"/>
                <a:gd name="connsiteX118" fmla="*/ 660495 w 774600"/>
                <a:gd name="connsiteY118" fmla="*/ 134251 h 259829"/>
                <a:gd name="connsiteX119" fmla="*/ 660495 w 774600"/>
                <a:gd name="connsiteY119" fmla="*/ 110978 h 259829"/>
                <a:gd name="connsiteX120" fmla="*/ 660505 w 774600"/>
                <a:gd name="connsiteY120" fmla="*/ 143633 h 259829"/>
                <a:gd name="connsiteX121" fmla="*/ 660505 w 774600"/>
                <a:gd name="connsiteY121" fmla="*/ 120705 h 259829"/>
                <a:gd name="connsiteX122" fmla="*/ 691935 w 774600"/>
                <a:gd name="connsiteY122" fmla="*/ 120705 h 259829"/>
                <a:gd name="connsiteX123" fmla="*/ 729790 w 774600"/>
                <a:gd name="connsiteY123" fmla="*/ 125914 h 259829"/>
                <a:gd name="connsiteX124" fmla="*/ 755500 w 774600"/>
                <a:gd name="connsiteY124" fmla="*/ 140331 h 259829"/>
                <a:gd name="connsiteX125" fmla="*/ 769911 w 774600"/>
                <a:gd name="connsiteY125" fmla="*/ 160997 h 259829"/>
                <a:gd name="connsiteX126" fmla="*/ 774600 w 774600"/>
                <a:gd name="connsiteY126" fmla="*/ 185661 h 259829"/>
                <a:gd name="connsiteX127" fmla="*/ 768175 w 774600"/>
                <a:gd name="connsiteY127" fmla="*/ 217271 h 259829"/>
                <a:gd name="connsiteX128" fmla="*/ 750296 w 774600"/>
                <a:gd name="connsiteY128" fmla="*/ 240545 h 259829"/>
                <a:gd name="connsiteX129" fmla="*/ 723024 w 774600"/>
                <a:gd name="connsiteY129" fmla="*/ 254961 h 259829"/>
                <a:gd name="connsiteX130" fmla="*/ 689328 w 774600"/>
                <a:gd name="connsiteY130" fmla="*/ 259825 h 259829"/>
                <a:gd name="connsiteX131" fmla="*/ 658068 w 774600"/>
                <a:gd name="connsiteY131" fmla="*/ 255311 h 259829"/>
                <a:gd name="connsiteX132" fmla="*/ 631327 w 774600"/>
                <a:gd name="connsiteY132" fmla="*/ 241940 h 259829"/>
                <a:gd name="connsiteX133" fmla="*/ 612572 w 774600"/>
                <a:gd name="connsiteY133" fmla="*/ 219538 h 259829"/>
                <a:gd name="connsiteX134" fmla="*/ 605787 w 774600"/>
                <a:gd name="connsiteY134" fmla="*/ 188273 h 259829"/>
                <a:gd name="connsiteX135" fmla="*/ 647640 w 774600"/>
                <a:gd name="connsiteY135" fmla="*/ 188273 h 259829"/>
                <a:gd name="connsiteX136" fmla="*/ 652859 w 774600"/>
                <a:gd name="connsiteY136" fmla="*/ 208249 h 259829"/>
                <a:gd name="connsiteX137" fmla="*/ 667786 w 774600"/>
                <a:gd name="connsiteY137" fmla="*/ 221619 h 259829"/>
                <a:gd name="connsiteX138" fmla="*/ 690028 w 774600"/>
                <a:gd name="connsiteY138" fmla="*/ 226483 h 259829"/>
                <a:gd name="connsiteX139" fmla="*/ 712767 w 774600"/>
                <a:gd name="connsiteY139" fmla="*/ 221795 h 259829"/>
                <a:gd name="connsiteX140" fmla="*/ 727363 w 774600"/>
                <a:gd name="connsiteY140" fmla="*/ 207899 h 259829"/>
                <a:gd name="connsiteX141" fmla="*/ 732567 w 774600"/>
                <a:gd name="connsiteY141" fmla="*/ 185671 h 259829"/>
                <a:gd name="connsiteX142" fmla="*/ 726847 w 774600"/>
                <a:gd name="connsiteY142" fmla="*/ 161702 h 259829"/>
                <a:gd name="connsiteX143" fmla="*/ 710515 w 774600"/>
                <a:gd name="connsiteY143" fmla="*/ 148157 h 259829"/>
                <a:gd name="connsiteX144" fmla="*/ 685510 w 774600"/>
                <a:gd name="connsiteY144" fmla="*/ 143643 h 259829"/>
                <a:gd name="connsiteX145" fmla="*/ 660505 w 774600"/>
                <a:gd name="connsiteY145" fmla="*/ 143643 h 2598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</a:cxnLst>
              <a:rect l="l" t="t" r="r" b="b"/>
              <a:pathLst>
                <a:path w="774600" h="259829">
                  <a:moveTo>
                    <a:pt x="174372" y="223011"/>
                  </a:moveTo>
                  <a:lnTo>
                    <a:pt x="174372" y="256357"/>
                  </a:lnTo>
                  <a:lnTo>
                    <a:pt x="4859" y="256357"/>
                  </a:lnTo>
                  <a:lnTo>
                    <a:pt x="4859" y="227699"/>
                  </a:lnTo>
                  <a:lnTo>
                    <a:pt x="87193" y="137908"/>
                  </a:lnTo>
                  <a:cubicBezTo>
                    <a:pt x="96211" y="127719"/>
                    <a:pt x="103336" y="118920"/>
                    <a:pt x="108541" y="111508"/>
                  </a:cubicBezTo>
                  <a:cubicBezTo>
                    <a:pt x="113760" y="104095"/>
                    <a:pt x="117403" y="97442"/>
                    <a:pt x="119499" y="91537"/>
                  </a:cubicBezTo>
                  <a:cubicBezTo>
                    <a:pt x="121697" y="85516"/>
                    <a:pt x="122797" y="79669"/>
                    <a:pt x="122797" y="73993"/>
                  </a:cubicBezTo>
                  <a:cubicBezTo>
                    <a:pt x="122797" y="66002"/>
                    <a:pt x="121284" y="58998"/>
                    <a:pt x="118278" y="52977"/>
                  </a:cubicBezTo>
                  <a:cubicBezTo>
                    <a:pt x="115374" y="46838"/>
                    <a:pt x="111099" y="42033"/>
                    <a:pt x="105413" y="38560"/>
                  </a:cubicBezTo>
                  <a:cubicBezTo>
                    <a:pt x="99747" y="34971"/>
                    <a:pt x="92860" y="33176"/>
                    <a:pt x="84752" y="33176"/>
                  </a:cubicBezTo>
                  <a:cubicBezTo>
                    <a:pt x="75374" y="33176"/>
                    <a:pt x="67510" y="35204"/>
                    <a:pt x="61138" y="39256"/>
                  </a:cubicBezTo>
                  <a:cubicBezTo>
                    <a:pt x="54766" y="43307"/>
                    <a:pt x="49956" y="48925"/>
                    <a:pt x="46712" y="56104"/>
                  </a:cubicBezTo>
                  <a:cubicBezTo>
                    <a:pt x="43482" y="63166"/>
                    <a:pt x="41853" y="71274"/>
                    <a:pt x="41853" y="80418"/>
                  </a:cubicBezTo>
                  <a:lnTo>
                    <a:pt x="0" y="80418"/>
                  </a:lnTo>
                  <a:cubicBezTo>
                    <a:pt x="0" y="65715"/>
                    <a:pt x="3366" y="52281"/>
                    <a:pt x="10083" y="40126"/>
                  </a:cubicBezTo>
                  <a:cubicBezTo>
                    <a:pt x="16800" y="27855"/>
                    <a:pt x="26517" y="18127"/>
                    <a:pt x="39261" y="10948"/>
                  </a:cubicBezTo>
                  <a:cubicBezTo>
                    <a:pt x="51989" y="3653"/>
                    <a:pt x="67325" y="5"/>
                    <a:pt x="85272" y="5"/>
                  </a:cubicBezTo>
                  <a:cubicBezTo>
                    <a:pt x="102189" y="5"/>
                    <a:pt x="116546" y="2840"/>
                    <a:pt x="128346" y="8517"/>
                  </a:cubicBezTo>
                  <a:cubicBezTo>
                    <a:pt x="140160" y="14193"/>
                    <a:pt x="149129" y="22237"/>
                    <a:pt x="155277" y="32660"/>
                  </a:cubicBezTo>
                  <a:cubicBezTo>
                    <a:pt x="161527" y="43079"/>
                    <a:pt x="164654" y="55413"/>
                    <a:pt x="164654" y="69655"/>
                  </a:cubicBezTo>
                  <a:cubicBezTo>
                    <a:pt x="164654" y="77529"/>
                    <a:pt x="163385" y="85345"/>
                    <a:pt x="160827" y="93103"/>
                  </a:cubicBezTo>
                  <a:cubicBezTo>
                    <a:pt x="158283" y="100861"/>
                    <a:pt x="154645" y="108619"/>
                    <a:pt x="149888" y="116376"/>
                  </a:cubicBezTo>
                  <a:cubicBezTo>
                    <a:pt x="145267" y="124017"/>
                    <a:pt x="139757" y="131717"/>
                    <a:pt x="133400" y="139475"/>
                  </a:cubicBezTo>
                  <a:cubicBezTo>
                    <a:pt x="127028" y="147116"/>
                    <a:pt x="120019" y="154873"/>
                    <a:pt x="112378" y="162748"/>
                  </a:cubicBezTo>
                  <a:lnTo>
                    <a:pt x="57675" y="223015"/>
                  </a:lnTo>
                  <a:lnTo>
                    <a:pt x="174377" y="223015"/>
                  </a:lnTo>
                  <a:close/>
                  <a:moveTo>
                    <a:pt x="371848" y="108730"/>
                  </a:moveTo>
                  <a:lnTo>
                    <a:pt x="371848" y="150063"/>
                  </a:lnTo>
                  <a:cubicBezTo>
                    <a:pt x="371848" y="169864"/>
                    <a:pt x="369873" y="186765"/>
                    <a:pt x="365938" y="200778"/>
                  </a:cubicBezTo>
                  <a:cubicBezTo>
                    <a:pt x="362125" y="214674"/>
                    <a:pt x="356561" y="225963"/>
                    <a:pt x="349260" y="234645"/>
                  </a:cubicBezTo>
                  <a:cubicBezTo>
                    <a:pt x="341960" y="243327"/>
                    <a:pt x="333219" y="249698"/>
                    <a:pt x="323035" y="253750"/>
                  </a:cubicBezTo>
                  <a:cubicBezTo>
                    <a:pt x="312971" y="257801"/>
                    <a:pt x="301668" y="259830"/>
                    <a:pt x="289168" y="259830"/>
                  </a:cubicBezTo>
                  <a:cubicBezTo>
                    <a:pt x="279221" y="259830"/>
                    <a:pt x="269951" y="258555"/>
                    <a:pt x="261381" y="256011"/>
                  </a:cubicBezTo>
                  <a:cubicBezTo>
                    <a:pt x="252933" y="253463"/>
                    <a:pt x="245287" y="249470"/>
                    <a:pt x="238468" y="244027"/>
                  </a:cubicBezTo>
                  <a:cubicBezTo>
                    <a:pt x="231634" y="238584"/>
                    <a:pt x="225773" y="231581"/>
                    <a:pt x="220914" y="223011"/>
                  </a:cubicBezTo>
                  <a:cubicBezTo>
                    <a:pt x="216172" y="214329"/>
                    <a:pt x="212466" y="203964"/>
                    <a:pt x="209800" y="191921"/>
                  </a:cubicBezTo>
                  <a:cubicBezTo>
                    <a:pt x="207256" y="179878"/>
                    <a:pt x="205972" y="165929"/>
                    <a:pt x="205972" y="150063"/>
                  </a:cubicBezTo>
                  <a:lnTo>
                    <a:pt x="205972" y="108730"/>
                  </a:lnTo>
                  <a:cubicBezTo>
                    <a:pt x="205972" y="88813"/>
                    <a:pt x="207947" y="72028"/>
                    <a:pt x="211882" y="58366"/>
                  </a:cubicBezTo>
                  <a:cubicBezTo>
                    <a:pt x="215831" y="44587"/>
                    <a:pt x="221430" y="33414"/>
                    <a:pt x="228730" y="24844"/>
                  </a:cubicBezTo>
                  <a:cubicBezTo>
                    <a:pt x="236031" y="16162"/>
                    <a:pt x="244722" y="9849"/>
                    <a:pt x="254786" y="5914"/>
                  </a:cubicBezTo>
                  <a:cubicBezTo>
                    <a:pt x="264970" y="1975"/>
                    <a:pt x="276323" y="10"/>
                    <a:pt x="288827" y="10"/>
                  </a:cubicBezTo>
                  <a:cubicBezTo>
                    <a:pt x="298910" y="10"/>
                    <a:pt x="308166" y="1284"/>
                    <a:pt x="316614" y="3833"/>
                  </a:cubicBezTo>
                  <a:cubicBezTo>
                    <a:pt x="325184" y="6265"/>
                    <a:pt x="332825" y="10141"/>
                    <a:pt x="339542" y="15467"/>
                  </a:cubicBezTo>
                  <a:cubicBezTo>
                    <a:pt x="346376" y="20793"/>
                    <a:pt x="352164" y="27738"/>
                    <a:pt x="356906" y="36308"/>
                  </a:cubicBezTo>
                  <a:cubicBezTo>
                    <a:pt x="361765" y="44762"/>
                    <a:pt x="365476" y="55010"/>
                    <a:pt x="368020" y="67048"/>
                  </a:cubicBezTo>
                  <a:cubicBezTo>
                    <a:pt x="370578" y="78974"/>
                    <a:pt x="371848" y="92870"/>
                    <a:pt x="371848" y="108730"/>
                  </a:cubicBezTo>
                  <a:close/>
                  <a:moveTo>
                    <a:pt x="329995" y="155968"/>
                  </a:moveTo>
                  <a:lnTo>
                    <a:pt x="329995" y="102476"/>
                  </a:lnTo>
                  <a:cubicBezTo>
                    <a:pt x="329995" y="92403"/>
                    <a:pt x="329411" y="83546"/>
                    <a:pt x="328258" y="75905"/>
                  </a:cubicBezTo>
                  <a:cubicBezTo>
                    <a:pt x="327091" y="68147"/>
                    <a:pt x="325355" y="61605"/>
                    <a:pt x="323039" y="56279"/>
                  </a:cubicBezTo>
                  <a:cubicBezTo>
                    <a:pt x="320841" y="50837"/>
                    <a:pt x="318059" y="46440"/>
                    <a:pt x="314708" y="43079"/>
                  </a:cubicBezTo>
                  <a:cubicBezTo>
                    <a:pt x="311342" y="39606"/>
                    <a:pt x="307529" y="37116"/>
                    <a:pt x="303234" y="35613"/>
                  </a:cubicBezTo>
                  <a:cubicBezTo>
                    <a:pt x="298959" y="33993"/>
                    <a:pt x="294148" y="33181"/>
                    <a:pt x="288823" y="33181"/>
                  </a:cubicBezTo>
                  <a:cubicBezTo>
                    <a:pt x="282349" y="33181"/>
                    <a:pt x="276542" y="34455"/>
                    <a:pt x="271459" y="37004"/>
                  </a:cubicBezTo>
                  <a:cubicBezTo>
                    <a:pt x="266357" y="39436"/>
                    <a:pt x="262081" y="43371"/>
                    <a:pt x="258613" y="48813"/>
                  </a:cubicBezTo>
                  <a:cubicBezTo>
                    <a:pt x="255126" y="54256"/>
                    <a:pt x="252466" y="61435"/>
                    <a:pt x="250608" y="70350"/>
                  </a:cubicBezTo>
                  <a:cubicBezTo>
                    <a:pt x="248871" y="79149"/>
                    <a:pt x="248015" y="89859"/>
                    <a:pt x="248015" y="102480"/>
                  </a:cubicBezTo>
                  <a:lnTo>
                    <a:pt x="248015" y="155973"/>
                  </a:lnTo>
                  <a:cubicBezTo>
                    <a:pt x="248015" y="166162"/>
                    <a:pt x="248584" y="175136"/>
                    <a:pt x="249752" y="182894"/>
                  </a:cubicBezTo>
                  <a:cubicBezTo>
                    <a:pt x="250904" y="190652"/>
                    <a:pt x="252636" y="197310"/>
                    <a:pt x="254956" y="202865"/>
                  </a:cubicBezTo>
                  <a:cubicBezTo>
                    <a:pt x="257276" y="208307"/>
                    <a:pt x="260058" y="212821"/>
                    <a:pt x="263302" y="216410"/>
                  </a:cubicBezTo>
                  <a:cubicBezTo>
                    <a:pt x="266653" y="219883"/>
                    <a:pt x="270481" y="222432"/>
                    <a:pt x="274756" y="224051"/>
                  </a:cubicBezTo>
                  <a:cubicBezTo>
                    <a:pt x="279153" y="225671"/>
                    <a:pt x="283964" y="226483"/>
                    <a:pt x="289168" y="226483"/>
                  </a:cubicBezTo>
                  <a:cubicBezTo>
                    <a:pt x="295778" y="226483"/>
                    <a:pt x="301619" y="225209"/>
                    <a:pt x="306721" y="222660"/>
                  </a:cubicBezTo>
                  <a:cubicBezTo>
                    <a:pt x="311804" y="220112"/>
                    <a:pt x="316099" y="216060"/>
                    <a:pt x="319567" y="210501"/>
                  </a:cubicBezTo>
                  <a:cubicBezTo>
                    <a:pt x="323035" y="204830"/>
                    <a:pt x="325646" y="197476"/>
                    <a:pt x="327383" y="188443"/>
                  </a:cubicBezTo>
                  <a:cubicBezTo>
                    <a:pt x="329119" y="179411"/>
                    <a:pt x="329995" y="168585"/>
                    <a:pt x="329995" y="155963"/>
                  </a:cubicBezTo>
                  <a:close/>
                  <a:moveTo>
                    <a:pt x="578701" y="223006"/>
                  </a:moveTo>
                  <a:lnTo>
                    <a:pt x="578701" y="256352"/>
                  </a:lnTo>
                  <a:lnTo>
                    <a:pt x="409187" y="256352"/>
                  </a:lnTo>
                  <a:lnTo>
                    <a:pt x="409187" y="227694"/>
                  </a:lnTo>
                  <a:lnTo>
                    <a:pt x="491507" y="137904"/>
                  </a:lnTo>
                  <a:cubicBezTo>
                    <a:pt x="500539" y="127714"/>
                    <a:pt x="507670" y="118915"/>
                    <a:pt x="512874" y="111503"/>
                  </a:cubicBezTo>
                  <a:cubicBezTo>
                    <a:pt x="518078" y="104090"/>
                    <a:pt x="521736" y="97437"/>
                    <a:pt x="523813" y="91532"/>
                  </a:cubicBezTo>
                  <a:cubicBezTo>
                    <a:pt x="526011" y="85511"/>
                    <a:pt x="527110" y="79664"/>
                    <a:pt x="527110" y="73988"/>
                  </a:cubicBezTo>
                  <a:cubicBezTo>
                    <a:pt x="527110" y="65997"/>
                    <a:pt x="525617" y="58993"/>
                    <a:pt x="522592" y="52972"/>
                  </a:cubicBezTo>
                  <a:cubicBezTo>
                    <a:pt x="519708" y="46834"/>
                    <a:pt x="515413" y="42028"/>
                    <a:pt x="509746" y="38555"/>
                  </a:cubicBezTo>
                  <a:cubicBezTo>
                    <a:pt x="504080" y="34966"/>
                    <a:pt x="497193" y="33171"/>
                    <a:pt x="489085" y="33171"/>
                  </a:cubicBezTo>
                  <a:cubicBezTo>
                    <a:pt x="479708" y="33171"/>
                    <a:pt x="471823" y="35199"/>
                    <a:pt x="465452" y="39251"/>
                  </a:cubicBezTo>
                  <a:cubicBezTo>
                    <a:pt x="459095" y="43302"/>
                    <a:pt x="454289" y="48920"/>
                    <a:pt x="451040" y="56099"/>
                  </a:cubicBezTo>
                  <a:cubicBezTo>
                    <a:pt x="447796" y="63161"/>
                    <a:pt x="446181" y="71269"/>
                    <a:pt x="446181" y="80413"/>
                  </a:cubicBezTo>
                  <a:lnTo>
                    <a:pt x="404328" y="80413"/>
                  </a:lnTo>
                  <a:cubicBezTo>
                    <a:pt x="404328" y="65710"/>
                    <a:pt x="407679" y="52276"/>
                    <a:pt x="414391" y="40122"/>
                  </a:cubicBezTo>
                  <a:cubicBezTo>
                    <a:pt x="421108" y="27850"/>
                    <a:pt x="430846" y="18123"/>
                    <a:pt x="443569" y="10944"/>
                  </a:cubicBezTo>
                  <a:cubicBezTo>
                    <a:pt x="456313" y="3648"/>
                    <a:pt x="471648" y="0"/>
                    <a:pt x="489596" y="0"/>
                  </a:cubicBezTo>
                  <a:cubicBezTo>
                    <a:pt x="506497" y="0"/>
                    <a:pt x="520855" y="2836"/>
                    <a:pt x="532670" y="8512"/>
                  </a:cubicBezTo>
                  <a:cubicBezTo>
                    <a:pt x="544484" y="14188"/>
                    <a:pt x="553453" y="22232"/>
                    <a:pt x="559581" y="32656"/>
                  </a:cubicBezTo>
                  <a:cubicBezTo>
                    <a:pt x="565831" y="43074"/>
                    <a:pt x="568958" y="55409"/>
                    <a:pt x="568958" y="69650"/>
                  </a:cubicBezTo>
                  <a:cubicBezTo>
                    <a:pt x="568958" y="77524"/>
                    <a:pt x="567689" y="85340"/>
                    <a:pt x="565145" y="93098"/>
                  </a:cubicBezTo>
                  <a:cubicBezTo>
                    <a:pt x="562601" y="100856"/>
                    <a:pt x="558944" y="108614"/>
                    <a:pt x="554207" y="116372"/>
                  </a:cubicBezTo>
                  <a:cubicBezTo>
                    <a:pt x="549571" y="124013"/>
                    <a:pt x="544075" y="131712"/>
                    <a:pt x="537704" y="139470"/>
                  </a:cubicBezTo>
                  <a:cubicBezTo>
                    <a:pt x="531332" y="147111"/>
                    <a:pt x="524323" y="154869"/>
                    <a:pt x="516697" y="162743"/>
                  </a:cubicBezTo>
                  <a:lnTo>
                    <a:pt x="461979" y="223011"/>
                  </a:lnTo>
                  <a:lnTo>
                    <a:pt x="578701" y="223011"/>
                  </a:lnTo>
                  <a:close/>
                  <a:moveTo>
                    <a:pt x="660505" y="110982"/>
                  </a:moveTo>
                  <a:lnTo>
                    <a:pt x="685510" y="110982"/>
                  </a:lnTo>
                  <a:cubicBezTo>
                    <a:pt x="695233" y="110982"/>
                    <a:pt x="703287" y="109304"/>
                    <a:pt x="709639" y="105948"/>
                  </a:cubicBezTo>
                  <a:cubicBezTo>
                    <a:pt x="716132" y="102592"/>
                    <a:pt x="720943" y="97957"/>
                    <a:pt x="724065" y="92052"/>
                  </a:cubicBezTo>
                  <a:cubicBezTo>
                    <a:pt x="727193" y="86148"/>
                    <a:pt x="728754" y="79373"/>
                    <a:pt x="728754" y="71731"/>
                  </a:cubicBezTo>
                  <a:cubicBezTo>
                    <a:pt x="728754" y="64090"/>
                    <a:pt x="727295" y="56911"/>
                    <a:pt x="724411" y="51240"/>
                  </a:cubicBezTo>
                  <a:cubicBezTo>
                    <a:pt x="721628" y="45452"/>
                    <a:pt x="717353" y="40992"/>
                    <a:pt x="711565" y="37865"/>
                  </a:cubicBezTo>
                  <a:cubicBezTo>
                    <a:pt x="705879" y="34737"/>
                    <a:pt x="698652" y="33176"/>
                    <a:pt x="689858" y="33176"/>
                  </a:cubicBezTo>
                  <a:cubicBezTo>
                    <a:pt x="682441" y="33176"/>
                    <a:pt x="675724" y="34679"/>
                    <a:pt x="669712" y="37690"/>
                  </a:cubicBezTo>
                  <a:cubicBezTo>
                    <a:pt x="663803" y="40584"/>
                    <a:pt x="659114" y="44752"/>
                    <a:pt x="655626" y="50195"/>
                  </a:cubicBezTo>
                  <a:cubicBezTo>
                    <a:pt x="652159" y="55520"/>
                    <a:pt x="650422" y="61887"/>
                    <a:pt x="650422" y="69300"/>
                  </a:cubicBezTo>
                  <a:lnTo>
                    <a:pt x="608394" y="69300"/>
                  </a:lnTo>
                  <a:cubicBezTo>
                    <a:pt x="608394" y="55866"/>
                    <a:pt x="611916" y="43945"/>
                    <a:pt x="618992" y="33521"/>
                  </a:cubicBezTo>
                  <a:cubicBezTo>
                    <a:pt x="626050" y="23103"/>
                    <a:pt x="635670" y="14937"/>
                    <a:pt x="647810" y="9032"/>
                  </a:cubicBezTo>
                  <a:cubicBezTo>
                    <a:pt x="660092" y="3011"/>
                    <a:pt x="673866" y="0"/>
                    <a:pt x="689148" y="0"/>
                  </a:cubicBezTo>
                  <a:cubicBezTo>
                    <a:pt x="705480" y="0"/>
                    <a:pt x="719717" y="2724"/>
                    <a:pt x="731876" y="8161"/>
                  </a:cubicBezTo>
                  <a:cubicBezTo>
                    <a:pt x="744138" y="13487"/>
                    <a:pt x="753705" y="21479"/>
                    <a:pt x="760524" y="32130"/>
                  </a:cubicBezTo>
                  <a:cubicBezTo>
                    <a:pt x="767358" y="42782"/>
                    <a:pt x="770777" y="55982"/>
                    <a:pt x="770777" y="71727"/>
                  </a:cubicBezTo>
                  <a:cubicBezTo>
                    <a:pt x="770777" y="78906"/>
                    <a:pt x="769094" y="86201"/>
                    <a:pt x="765743" y="93609"/>
                  </a:cubicBezTo>
                  <a:cubicBezTo>
                    <a:pt x="762378" y="101021"/>
                    <a:pt x="757397" y="107792"/>
                    <a:pt x="750802" y="113930"/>
                  </a:cubicBezTo>
                  <a:cubicBezTo>
                    <a:pt x="744206" y="119951"/>
                    <a:pt x="735982" y="124869"/>
                    <a:pt x="726137" y="128692"/>
                  </a:cubicBezTo>
                  <a:cubicBezTo>
                    <a:pt x="716298" y="132398"/>
                    <a:pt x="704892" y="134251"/>
                    <a:pt x="691925" y="134251"/>
                  </a:cubicBezTo>
                  <a:lnTo>
                    <a:pt x="660495" y="134251"/>
                  </a:lnTo>
                  <a:lnTo>
                    <a:pt x="660495" y="110978"/>
                  </a:lnTo>
                  <a:close/>
                  <a:moveTo>
                    <a:pt x="660505" y="143633"/>
                  </a:moveTo>
                  <a:lnTo>
                    <a:pt x="660505" y="120705"/>
                  </a:lnTo>
                  <a:lnTo>
                    <a:pt x="691935" y="120705"/>
                  </a:lnTo>
                  <a:cubicBezTo>
                    <a:pt x="706755" y="120705"/>
                    <a:pt x="719381" y="122442"/>
                    <a:pt x="729790" y="125914"/>
                  </a:cubicBezTo>
                  <a:cubicBezTo>
                    <a:pt x="740335" y="129387"/>
                    <a:pt x="748905" y="134193"/>
                    <a:pt x="755500" y="140331"/>
                  </a:cubicBezTo>
                  <a:cubicBezTo>
                    <a:pt x="762095" y="146352"/>
                    <a:pt x="766906" y="153239"/>
                    <a:pt x="769911" y="160997"/>
                  </a:cubicBezTo>
                  <a:cubicBezTo>
                    <a:pt x="773039" y="168755"/>
                    <a:pt x="774600" y="176975"/>
                    <a:pt x="774600" y="185661"/>
                  </a:cubicBezTo>
                  <a:cubicBezTo>
                    <a:pt x="774600" y="197471"/>
                    <a:pt x="772470" y="208006"/>
                    <a:pt x="768175" y="217271"/>
                  </a:cubicBezTo>
                  <a:cubicBezTo>
                    <a:pt x="764016" y="226420"/>
                    <a:pt x="758044" y="234178"/>
                    <a:pt x="750296" y="240545"/>
                  </a:cubicBezTo>
                  <a:cubicBezTo>
                    <a:pt x="742533" y="246911"/>
                    <a:pt x="733447" y="251717"/>
                    <a:pt x="723024" y="254961"/>
                  </a:cubicBezTo>
                  <a:cubicBezTo>
                    <a:pt x="712718" y="258205"/>
                    <a:pt x="701487" y="259825"/>
                    <a:pt x="689328" y="259825"/>
                  </a:cubicBezTo>
                  <a:cubicBezTo>
                    <a:pt x="678457" y="259825"/>
                    <a:pt x="668029" y="258322"/>
                    <a:pt x="658068" y="255311"/>
                  </a:cubicBezTo>
                  <a:cubicBezTo>
                    <a:pt x="648107" y="252300"/>
                    <a:pt x="639192" y="247845"/>
                    <a:pt x="631327" y="241940"/>
                  </a:cubicBezTo>
                  <a:cubicBezTo>
                    <a:pt x="623443" y="235919"/>
                    <a:pt x="617193" y="228453"/>
                    <a:pt x="612572" y="219538"/>
                  </a:cubicBezTo>
                  <a:cubicBezTo>
                    <a:pt x="608054" y="210506"/>
                    <a:pt x="605787" y="200087"/>
                    <a:pt x="605787" y="188273"/>
                  </a:cubicBezTo>
                  <a:lnTo>
                    <a:pt x="647640" y="188273"/>
                  </a:lnTo>
                  <a:cubicBezTo>
                    <a:pt x="647640" y="195802"/>
                    <a:pt x="649377" y="202456"/>
                    <a:pt x="652859" y="208249"/>
                  </a:cubicBezTo>
                  <a:cubicBezTo>
                    <a:pt x="656449" y="213920"/>
                    <a:pt x="661429" y="218380"/>
                    <a:pt x="667786" y="221619"/>
                  </a:cubicBezTo>
                  <a:cubicBezTo>
                    <a:pt x="674279" y="224864"/>
                    <a:pt x="681682" y="226483"/>
                    <a:pt x="690028" y="226483"/>
                  </a:cubicBezTo>
                  <a:cubicBezTo>
                    <a:pt x="698822" y="226483"/>
                    <a:pt x="706415" y="224922"/>
                    <a:pt x="712767" y="221795"/>
                  </a:cubicBezTo>
                  <a:cubicBezTo>
                    <a:pt x="719138" y="218667"/>
                    <a:pt x="723997" y="214037"/>
                    <a:pt x="727363" y="207899"/>
                  </a:cubicBezTo>
                  <a:cubicBezTo>
                    <a:pt x="730831" y="201761"/>
                    <a:pt x="732567" y="194353"/>
                    <a:pt x="732567" y="185671"/>
                  </a:cubicBezTo>
                  <a:cubicBezTo>
                    <a:pt x="732567" y="175827"/>
                    <a:pt x="730660" y="167840"/>
                    <a:pt x="726847" y="161702"/>
                  </a:cubicBezTo>
                  <a:cubicBezTo>
                    <a:pt x="723019" y="155564"/>
                    <a:pt x="717572" y="151050"/>
                    <a:pt x="710515" y="148157"/>
                  </a:cubicBezTo>
                  <a:cubicBezTo>
                    <a:pt x="703457" y="145146"/>
                    <a:pt x="695111" y="143643"/>
                    <a:pt x="685510" y="143643"/>
                  </a:cubicBezTo>
                  <a:lnTo>
                    <a:pt x="660505" y="143643"/>
                  </a:lnTo>
                  <a:close/>
                </a:path>
              </a:pathLst>
            </a:custGeom>
            <a:solidFill>
              <a:schemeClr val="tx1"/>
            </a:solidFill>
            <a:ln w="4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131" name="Описание">
            <a:extLst>
              <a:ext uri="{FF2B5EF4-FFF2-40B4-BE49-F238E27FC236}">
                <a16:creationId xmlns:a16="http://schemas.microsoft.com/office/drawing/2014/main" id="{27845CDF-A906-4CE7-9EBB-783A9E17A958}"/>
              </a:ext>
            </a:extLst>
          </p:cNvPr>
          <p:cNvSpPr txBox="1"/>
          <p:nvPr/>
        </p:nvSpPr>
        <p:spPr>
          <a:xfrm>
            <a:off x="6956390" y="990171"/>
            <a:ext cx="425431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SB Sans Text" panose="020B0503040504020204" pitchFamily="34" charset="-52"/>
                <a:ea typeface="Roboto Light" panose="02000000000000000000" pitchFamily="2" charset="0"/>
                <a:cs typeface="SB Sans Text" panose="020B0503040504020204" pitchFamily="34" charset="-52"/>
              </a:rPr>
              <a:t>У Сбера обширная экосистема, </a:t>
            </a:r>
            <a:br>
              <a:rPr kumimoji="0" lang="ru-RU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SB Sans Text" panose="020B0503040504020204" pitchFamily="34" charset="-52"/>
                <a:ea typeface="Roboto Light" panose="02000000000000000000" pitchFamily="2" charset="0"/>
                <a:cs typeface="SB Sans Text" panose="020B0503040504020204" pitchFamily="34" charset="-52"/>
              </a:rPr>
            </a:br>
            <a:r>
              <a:rPr kumimoji="0" lang="ru-RU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SB Sans Text" panose="020B0503040504020204" pitchFamily="34" charset="-52"/>
                <a:ea typeface="Roboto Light" panose="02000000000000000000" pitchFamily="2" charset="0"/>
                <a:cs typeface="SB Sans Text" panose="020B0503040504020204" pitchFamily="34" charset="-52"/>
              </a:rPr>
              <a:t>и это значит:</a:t>
            </a:r>
          </a:p>
        </p:txBody>
      </p:sp>
      <p:grpSp>
        <p:nvGrpSpPr>
          <p:cNvPr id="412" name="Группа 411">
            <a:extLst>
              <a:ext uri="{FF2B5EF4-FFF2-40B4-BE49-F238E27FC236}">
                <a16:creationId xmlns:a16="http://schemas.microsoft.com/office/drawing/2014/main" id="{FA0A45BC-A7EC-4486-AA94-A5BA6534475B}"/>
              </a:ext>
            </a:extLst>
          </p:cNvPr>
          <p:cNvGrpSpPr/>
          <p:nvPr/>
        </p:nvGrpSpPr>
        <p:grpSpPr>
          <a:xfrm>
            <a:off x="6956391" y="1799149"/>
            <a:ext cx="5051622" cy="847113"/>
            <a:chOff x="6510195" y="1556711"/>
            <a:chExt cx="5051622" cy="847113"/>
          </a:xfrm>
        </p:grpSpPr>
        <p:sp>
          <p:nvSpPr>
            <p:cNvPr id="413" name="Rounded Rectangle">
              <a:extLst>
                <a:ext uri="{FF2B5EF4-FFF2-40B4-BE49-F238E27FC236}">
                  <a16:creationId xmlns:a16="http://schemas.microsoft.com/office/drawing/2014/main" id="{FE571BA8-7817-41F8-82DE-F00757ABC647}"/>
                </a:ext>
              </a:extLst>
            </p:cNvPr>
            <p:cNvSpPr/>
            <p:nvPr/>
          </p:nvSpPr>
          <p:spPr>
            <a:xfrm>
              <a:off x="6510195" y="1556711"/>
              <a:ext cx="5051622" cy="847113"/>
            </a:xfrm>
            <a:prstGeom prst="roundRect">
              <a:avLst>
                <a:gd name="adj" fmla="val 50000"/>
              </a:avLst>
            </a:prstGeom>
            <a:solidFill>
              <a:schemeClr val="bg1"/>
            </a:solidFill>
            <a:ln w="12700" cap="flat">
              <a:noFill/>
              <a:prstDash val="dash"/>
              <a:miter/>
            </a:ln>
            <a:effectLst>
              <a:outerShdw blurRad="1003300" sx="102000" sy="102000" algn="ctr" rotWithShape="0">
                <a:schemeClr val="tx1">
                  <a:alpha val="15000"/>
                </a:schemeClr>
              </a:outerShdw>
            </a:effectLst>
          </p:spPr>
          <p:txBody>
            <a:bodyPr lIns="0" tIns="0" rIns="0" bIns="0" anchor="ctr"/>
            <a:lstStyle/>
            <a:p>
              <a:pPr algn="ctr" defTabSz="309563" hangingPunct="0"/>
              <a:endParaRPr sz="1200" dirty="0">
                <a:solidFill>
                  <a:srgbClr val="FFFFFF"/>
                </a:solidFill>
                <a:latin typeface="SB Sans Text Light" panose="020B0303040504020204" pitchFamily="34" charset="-52"/>
                <a:ea typeface="Roboto" pitchFamily="2" charset="0"/>
                <a:cs typeface="SB Sans Text Light" panose="020B0303040504020204" pitchFamily="34" charset="-52"/>
                <a:sym typeface="Poppins Bold"/>
              </a:endParaRPr>
            </a:p>
          </p:txBody>
        </p:sp>
        <p:sp>
          <p:nvSpPr>
            <p:cNvPr id="414" name="Motion design">
              <a:extLst>
                <a:ext uri="{FF2B5EF4-FFF2-40B4-BE49-F238E27FC236}">
                  <a16:creationId xmlns:a16="http://schemas.microsoft.com/office/drawing/2014/main" id="{516CE25E-F43A-482D-902C-0799E6AB228F}"/>
                </a:ext>
              </a:extLst>
            </p:cNvPr>
            <p:cNvSpPr txBox="1"/>
            <p:nvPr/>
          </p:nvSpPr>
          <p:spPr>
            <a:xfrm>
              <a:off x="7434557" y="1701240"/>
              <a:ext cx="3587347" cy="536878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</a:ext>
            </a:extLst>
          </p:spPr>
          <p:txBody>
            <a:bodyPr wrap="square" lIns="0" tIns="0" rIns="0" bIns="0" anchor="ctr">
              <a:spAutoFit/>
            </a:bodyPr>
            <a:lstStyle>
              <a:lvl1pPr>
                <a:lnSpc>
                  <a:spcPct val="130000"/>
                </a:lnSpc>
                <a:defRPr sz="3000">
                  <a:latin typeface="+mn-lt"/>
                  <a:ea typeface="+mn-ea"/>
                  <a:cs typeface="+mn-cs"/>
                  <a:sym typeface="Poppins SemiBold"/>
                </a:defRPr>
              </a:lvl1pPr>
            </a:lstStyle>
            <a:p>
              <a:pPr defTabSz="309563" hangingPunct="0">
                <a:buClrTx/>
                <a:defRPr/>
              </a:pPr>
              <a:r>
                <a:rPr lang="ru-RU" sz="1400" dirty="0">
                  <a:solidFill>
                    <a:srgbClr val="0D0D0D"/>
                  </a:solidFill>
                  <a:latin typeface="SB Sans Text Light" panose="020B0303040504020204" pitchFamily="34" charset="-52"/>
                  <a:ea typeface="Roboto Light" panose="02000000000000000000" pitchFamily="2" charset="0"/>
                  <a:cs typeface="SB Sans Text Light" panose="020B0303040504020204" pitchFamily="34" charset="-52"/>
                </a:rPr>
                <a:t>Необходимо упрощать работу клиентов с дочерними обществами (ДЗО)</a:t>
              </a:r>
            </a:p>
          </p:txBody>
        </p:sp>
        <p:sp>
          <p:nvSpPr>
            <p:cNvPr id="415" name="Circle">
              <a:extLst>
                <a:ext uri="{FF2B5EF4-FFF2-40B4-BE49-F238E27FC236}">
                  <a16:creationId xmlns:a16="http://schemas.microsoft.com/office/drawing/2014/main" id="{CECCCD2D-688C-4788-A97C-5F28CAA4E096}"/>
                </a:ext>
              </a:extLst>
            </p:cNvPr>
            <p:cNvSpPr/>
            <p:nvPr/>
          </p:nvSpPr>
          <p:spPr>
            <a:xfrm>
              <a:off x="6636379" y="1662600"/>
              <a:ext cx="635335" cy="635335"/>
            </a:xfrm>
            <a:prstGeom prst="ellipse">
              <a:avLst/>
            </a:prstGeom>
            <a:solidFill>
              <a:schemeClr val="bg2"/>
            </a:solidFill>
            <a:ln w="12700">
              <a:miter lim="400000"/>
            </a:ln>
          </p:spPr>
          <p:txBody>
            <a:bodyPr lIns="0" tIns="0" rIns="0" bIns="0" anchor="ctr"/>
            <a:lstStyle/>
            <a:p>
              <a:pPr algn="ctr" defTabSz="309563" hangingPunct="0">
                <a:buClrTx/>
                <a:defRPr sz="3200">
                  <a:solidFill>
                    <a:srgbClr val="FFFFFF"/>
                  </a:solidFill>
                  <a:latin typeface="Poppins Bold"/>
                  <a:ea typeface="Poppins Bold"/>
                  <a:cs typeface="Poppins Bold"/>
                  <a:sym typeface="Poppins Bold"/>
                </a:defRPr>
              </a:pPr>
              <a:endParaRPr sz="1200" dirty="0">
                <a:solidFill>
                  <a:srgbClr val="FFFFFF"/>
                </a:solidFill>
                <a:latin typeface="SB Sans Text Light" panose="020B0303040504020204" pitchFamily="34" charset="-52"/>
                <a:ea typeface="Roboto" pitchFamily="2" charset="0"/>
                <a:cs typeface="SB Sans Text Light" panose="020B0303040504020204" pitchFamily="34" charset="-52"/>
                <a:sym typeface="Poppins Bold"/>
              </a:endParaRPr>
            </a:p>
          </p:txBody>
        </p:sp>
        <p:pic>
          <p:nvPicPr>
            <p:cNvPr id="416" name="Рисунок 415">
              <a:extLst>
                <a:ext uri="{FF2B5EF4-FFF2-40B4-BE49-F238E27FC236}">
                  <a16:creationId xmlns:a16="http://schemas.microsoft.com/office/drawing/2014/main" id="{69F3442B-9663-4B2F-A188-C466D79EE5BB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/>
          </p:blipFill>
          <p:spPr>
            <a:xfrm>
              <a:off x="6786835" y="1841748"/>
              <a:ext cx="330367" cy="282020"/>
            </a:xfrm>
            <a:prstGeom prst="rect">
              <a:avLst/>
            </a:prstGeom>
          </p:spPr>
        </p:pic>
      </p:grpSp>
      <p:grpSp>
        <p:nvGrpSpPr>
          <p:cNvPr id="7" name="Группа 6">
            <a:extLst>
              <a:ext uri="{FF2B5EF4-FFF2-40B4-BE49-F238E27FC236}">
                <a16:creationId xmlns:a16="http://schemas.microsoft.com/office/drawing/2014/main" id="{CF1D6281-12F2-4EF8-BCED-29A0345187F5}"/>
              </a:ext>
            </a:extLst>
          </p:cNvPr>
          <p:cNvGrpSpPr/>
          <p:nvPr/>
        </p:nvGrpSpPr>
        <p:grpSpPr>
          <a:xfrm>
            <a:off x="6956391" y="3813482"/>
            <a:ext cx="5051622" cy="847113"/>
            <a:chOff x="7315420" y="4380123"/>
            <a:chExt cx="5051622" cy="847113"/>
          </a:xfrm>
        </p:grpSpPr>
        <p:sp>
          <p:nvSpPr>
            <p:cNvPr id="423" name="Rounded Rectangle">
              <a:extLst>
                <a:ext uri="{FF2B5EF4-FFF2-40B4-BE49-F238E27FC236}">
                  <a16:creationId xmlns:a16="http://schemas.microsoft.com/office/drawing/2014/main" id="{88AD5A99-40B5-4C7E-8A7A-D229FC3EA1E9}"/>
                </a:ext>
              </a:extLst>
            </p:cNvPr>
            <p:cNvSpPr/>
            <p:nvPr/>
          </p:nvSpPr>
          <p:spPr>
            <a:xfrm>
              <a:off x="7315420" y="4380123"/>
              <a:ext cx="5051622" cy="847113"/>
            </a:xfrm>
            <a:prstGeom prst="roundRect">
              <a:avLst>
                <a:gd name="adj" fmla="val 50000"/>
              </a:avLst>
            </a:prstGeom>
            <a:solidFill>
              <a:schemeClr val="bg1"/>
            </a:solidFill>
            <a:ln w="12700" cap="flat">
              <a:noFill/>
              <a:prstDash val="dash"/>
              <a:miter/>
            </a:ln>
            <a:effectLst>
              <a:outerShdw blurRad="1003300" sx="102000" sy="102000" algn="ctr" rotWithShape="0">
                <a:schemeClr val="tx1">
                  <a:alpha val="15000"/>
                </a:schemeClr>
              </a:outerShdw>
            </a:effectLst>
          </p:spPr>
          <p:txBody>
            <a:bodyPr lIns="0" tIns="0" rIns="0" bIns="0" anchor="ctr"/>
            <a:lstStyle/>
            <a:p>
              <a:pPr algn="ctr" defTabSz="309563" hangingPunct="0"/>
              <a:endParaRPr sz="1200" dirty="0">
                <a:solidFill>
                  <a:srgbClr val="FFFFFF"/>
                </a:solidFill>
                <a:latin typeface="SB Sans Text Light" panose="020B0303040504020204" pitchFamily="34" charset="-52"/>
                <a:ea typeface="Roboto" pitchFamily="2" charset="0"/>
                <a:cs typeface="SB Sans Text Light" panose="020B0303040504020204" pitchFamily="34" charset="-52"/>
                <a:sym typeface="Poppins Bold"/>
              </a:endParaRPr>
            </a:p>
          </p:txBody>
        </p:sp>
        <p:sp>
          <p:nvSpPr>
            <p:cNvPr id="427" name="Motion design">
              <a:extLst>
                <a:ext uri="{FF2B5EF4-FFF2-40B4-BE49-F238E27FC236}">
                  <a16:creationId xmlns:a16="http://schemas.microsoft.com/office/drawing/2014/main" id="{405B2B1E-5D85-4D92-B012-659F9E879577}"/>
                </a:ext>
              </a:extLst>
            </p:cNvPr>
            <p:cNvSpPr txBox="1"/>
            <p:nvPr/>
          </p:nvSpPr>
          <p:spPr>
            <a:xfrm>
              <a:off x="8239784" y="4524653"/>
              <a:ext cx="3872672" cy="536878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</a:ext>
            </a:extLst>
          </p:spPr>
          <p:txBody>
            <a:bodyPr wrap="square" lIns="0" tIns="0" rIns="0" bIns="0" anchor="ctr">
              <a:spAutoFit/>
            </a:bodyPr>
            <a:lstStyle>
              <a:lvl1pPr>
                <a:lnSpc>
                  <a:spcPct val="130000"/>
                </a:lnSpc>
                <a:defRPr sz="3000">
                  <a:latin typeface="+mn-lt"/>
                  <a:ea typeface="+mn-ea"/>
                  <a:cs typeface="+mn-cs"/>
                  <a:sym typeface="Poppins SemiBold"/>
                </a:defRPr>
              </a:lvl1pPr>
            </a:lstStyle>
            <a:p>
              <a:pPr defTabSz="309563" hangingPunct="0">
                <a:buClrTx/>
                <a:defRPr/>
              </a:pPr>
              <a:r>
                <a:rPr lang="ru-RU" sz="1400" dirty="0">
                  <a:solidFill>
                    <a:srgbClr val="0D0D0D"/>
                  </a:solidFill>
                  <a:latin typeface="SB Sans Text Light" panose="020B0303040504020204" pitchFamily="34" charset="-52"/>
                  <a:ea typeface="Roboto Light" panose="02000000000000000000" pitchFamily="2" charset="0"/>
                  <a:cs typeface="SB Sans Text Light" panose="020B0303040504020204" pitchFamily="34" charset="-52"/>
                </a:rPr>
                <a:t>Продуктовый и клиентский профиль собирается в банке</a:t>
              </a:r>
            </a:p>
          </p:txBody>
        </p:sp>
        <p:sp>
          <p:nvSpPr>
            <p:cNvPr id="480" name="Circle">
              <a:extLst>
                <a:ext uri="{FF2B5EF4-FFF2-40B4-BE49-F238E27FC236}">
                  <a16:creationId xmlns:a16="http://schemas.microsoft.com/office/drawing/2014/main" id="{5AE9C216-9FA0-4F47-8517-84DFE5725877}"/>
                </a:ext>
              </a:extLst>
            </p:cNvPr>
            <p:cNvSpPr/>
            <p:nvPr/>
          </p:nvSpPr>
          <p:spPr>
            <a:xfrm>
              <a:off x="7441604" y="4486012"/>
              <a:ext cx="635335" cy="635335"/>
            </a:xfrm>
            <a:prstGeom prst="ellipse">
              <a:avLst/>
            </a:prstGeom>
            <a:solidFill>
              <a:schemeClr val="bg2"/>
            </a:solidFill>
            <a:ln w="12700">
              <a:miter lim="400000"/>
            </a:ln>
          </p:spPr>
          <p:txBody>
            <a:bodyPr lIns="0" tIns="0" rIns="0" bIns="0" anchor="ctr"/>
            <a:lstStyle/>
            <a:p>
              <a:pPr algn="ctr" defTabSz="309563" hangingPunct="0">
                <a:buClrTx/>
                <a:defRPr sz="3200">
                  <a:solidFill>
                    <a:srgbClr val="FFFFFF"/>
                  </a:solidFill>
                  <a:latin typeface="Poppins Bold"/>
                  <a:ea typeface="Poppins Bold"/>
                  <a:cs typeface="Poppins Bold"/>
                  <a:sym typeface="Poppins Bold"/>
                </a:defRPr>
              </a:pPr>
              <a:endParaRPr sz="1200" dirty="0">
                <a:solidFill>
                  <a:srgbClr val="FFFFFF"/>
                </a:solidFill>
                <a:latin typeface="SB Sans Text Light" panose="020B0303040504020204" pitchFamily="34" charset="-52"/>
                <a:ea typeface="Roboto" pitchFamily="2" charset="0"/>
                <a:cs typeface="SB Sans Text Light" panose="020B0303040504020204" pitchFamily="34" charset="-52"/>
                <a:sym typeface="Poppins Bold"/>
              </a:endParaRPr>
            </a:p>
          </p:txBody>
        </p:sp>
        <p:pic>
          <p:nvPicPr>
            <p:cNvPr id="484" name="Рисунок 483">
              <a:extLst>
                <a:ext uri="{FF2B5EF4-FFF2-40B4-BE49-F238E27FC236}">
                  <a16:creationId xmlns:a16="http://schemas.microsoft.com/office/drawing/2014/main" id="{C4DF5E32-83B0-4ED3-8D9C-9C08315C77CB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rcRect/>
            <a:stretch/>
          </p:blipFill>
          <p:spPr>
            <a:xfrm>
              <a:off x="7571423" y="4671979"/>
              <a:ext cx="365834" cy="263400"/>
            </a:xfrm>
            <a:prstGeom prst="rect">
              <a:avLst/>
            </a:prstGeom>
          </p:spPr>
        </p:pic>
      </p:grpSp>
      <p:grpSp>
        <p:nvGrpSpPr>
          <p:cNvPr id="303" name="Группа 302">
            <a:extLst>
              <a:ext uri="{FF2B5EF4-FFF2-40B4-BE49-F238E27FC236}">
                <a16:creationId xmlns:a16="http://schemas.microsoft.com/office/drawing/2014/main" id="{CFB68F95-895E-48E1-A397-DA7C6149F3EF}"/>
              </a:ext>
            </a:extLst>
          </p:cNvPr>
          <p:cNvGrpSpPr/>
          <p:nvPr/>
        </p:nvGrpSpPr>
        <p:grpSpPr>
          <a:xfrm>
            <a:off x="6956391" y="4820649"/>
            <a:ext cx="5051622" cy="847113"/>
            <a:chOff x="7315420" y="4380123"/>
            <a:chExt cx="5051622" cy="847113"/>
          </a:xfrm>
        </p:grpSpPr>
        <p:sp>
          <p:nvSpPr>
            <p:cNvPr id="304" name="Rounded Rectangle">
              <a:extLst>
                <a:ext uri="{FF2B5EF4-FFF2-40B4-BE49-F238E27FC236}">
                  <a16:creationId xmlns:a16="http://schemas.microsoft.com/office/drawing/2014/main" id="{E6325C04-CE63-42A3-9D2B-E0CA3CF03FE8}"/>
                </a:ext>
              </a:extLst>
            </p:cNvPr>
            <p:cNvSpPr/>
            <p:nvPr/>
          </p:nvSpPr>
          <p:spPr>
            <a:xfrm>
              <a:off x="7315420" y="4380123"/>
              <a:ext cx="5051622" cy="847113"/>
            </a:xfrm>
            <a:prstGeom prst="roundRect">
              <a:avLst>
                <a:gd name="adj" fmla="val 50000"/>
              </a:avLst>
            </a:prstGeom>
            <a:solidFill>
              <a:schemeClr val="bg1"/>
            </a:solidFill>
            <a:ln w="12700" cap="flat">
              <a:noFill/>
              <a:prstDash val="dash"/>
              <a:miter/>
            </a:ln>
            <a:effectLst>
              <a:outerShdw blurRad="1003300" sx="102000" sy="102000" algn="ctr" rotWithShape="0">
                <a:schemeClr val="tx1">
                  <a:alpha val="15000"/>
                </a:schemeClr>
              </a:outerShdw>
            </a:effectLst>
          </p:spPr>
          <p:txBody>
            <a:bodyPr lIns="0" tIns="0" rIns="0" bIns="0" anchor="ctr"/>
            <a:lstStyle/>
            <a:p>
              <a:pPr algn="ctr" defTabSz="309563" hangingPunct="0"/>
              <a:endParaRPr sz="1200" dirty="0">
                <a:solidFill>
                  <a:srgbClr val="FFFFFF"/>
                </a:solidFill>
                <a:latin typeface="SB Sans Text Light" panose="020B0303040504020204" pitchFamily="34" charset="-52"/>
                <a:ea typeface="Roboto" pitchFamily="2" charset="0"/>
                <a:cs typeface="SB Sans Text Light" panose="020B0303040504020204" pitchFamily="34" charset="-52"/>
                <a:sym typeface="Poppins Bold"/>
              </a:endParaRPr>
            </a:p>
          </p:txBody>
        </p:sp>
        <p:sp>
          <p:nvSpPr>
            <p:cNvPr id="305" name="Motion design">
              <a:extLst>
                <a:ext uri="{FF2B5EF4-FFF2-40B4-BE49-F238E27FC236}">
                  <a16:creationId xmlns:a16="http://schemas.microsoft.com/office/drawing/2014/main" id="{0E179B22-C3D1-436C-AA3F-7A7D3231C081}"/>
                </a:ext>
              </a:extLst>
            </p:cNvPr>
            <p:cNvSpPr txBox="1"/>
            <p:nvPr/>
          </p:nvSpPr>
          <p:spPr>
            <a:xfrm>
              <a:off x="8239784" y="4665620"/>
              <a:ext cx="3872672" cy="254942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</a:ext>
            </a:extLst>
          </p:spPr>
          <p:txBody>
            <a:bodyPr wrap="square" lIns="0" tIns="0" rIns="0" bIns="0" anchor="ctr">
              <a:spAutoFit/>
            </a:bodyPr>
            <a:lstStyle>
              <a:lvl1pPr>
                <a:lnSpc>
                  <a:spcPct val="130000"/>
                </a:lnSpc>
                <a:defRPr sz="3000">
                  <a:latin typeface="+mn-lt"/>
                  <a:ea typeface="+mn-ea"/>
                  <a:cs typeface="+mn-cs"/>
                  <a:sym typeface="Poppins SemiBold"/>
                </a:defRPr>
              </a:lvl1pPr>
            </a:lstStyle>
            <a:p>
              <a:pPr defTabSz="309563" hangingPunct="0">
                <a:buClrTx/>
                <a:defRPr/>
              </a:pPr>
              <a:r>
                <a:rPr lang="ru-RU" sz="1400" dirty="0">
                  <a:solidFill>
                    <a:srgbClr val="0D0D0D"/>
                  </a:solidFill>
                  <a:latin typeface="SB Sans Text Light" panose="020B0303040504020204" pitchFamily="34" charset="-52"/>
                  <a:ea typeface="Roboto Light" panose="02000000000000000000" pitchFamily="2" charset="0"/>
                  <a:cs typeface="SB Sans Text Light" panose="020B0303040504020204" pitchFamily="34" charset="-52"/>
                </a:rPr>
                <a:t>Ориентация на </a:t>
              </a:r>
              <a:r>
                <a:rPr lang="ru-RU" sz="1400" dirty="0" err="1">
                  <a:solidFill>
                    <a:srgbClr val="0D0D0D"/>
                  </a:solidFill>
                  <a:latin typeface="SB Sans Text Light" panose="020B0303040504020204" pitchFamily="34" charset="-52"/>
                  <a:ea typeface="Roboto Light" panose="02000000000000000000" pitchFamily="2" charset="0"/>
                  <a:cs typeface="SB Sans Text Light" panose="020B0303040504020204" pitchFamily="34" charset="-52"/>
                </a:rPr>
                <a:t>человекоцентричность</a:t>
              </a:r>
              <a:endParaRPr lang="ru-RU" sz="1400" dirty="0">
                <a:solidFill>
                  <a:srgbClr val="0D0D0D"/>
                </a:solidFill>
                <a:latin typeface="SB Sans Text Light" panose="020B0303040504020204" pitchFamily="34" charset="-52"/>
                <a:ea typeface="Roboto Light" panose="02000000000000000000" pitchFamily="2" charset="0"/>
                <a:cs typeface="SB Sans Text Light" panose="020B0303040504020204" pitchFamily="34" charset="-52"/>
              </a:endParaRPr>
            </a:p>
          </p:txBody>
        </p:sp>
        <p:sp>
          <p:nvSpPr>
            <p:cNvPr id="306" name="Circle">
              <a:extLst>
                <a:ext uri="{FF2B5EF4-FFF2-40B4-BE49-F238E27FC236}">
                  <a16:creationId xmlns:a16="http://schemas.microsoft.com/office/drawing/2014/main" id="{B22D65FA-0D0A-4717-8D09-7D4DCA01B9E0}"/>
                </a:ext>
              </a:extLst>
            </p:cNvPr>
            <p:cNvSpPr/>
            <p:nvPr/>
          </p:nvSpPr>
          <p:spPr>
            <a:xfrm>
              <a:off x="7441604" y="4486012"/>
              <a:ext cx="635335" cy="635335"/>
            </a:xfrm>
            <a:prstGeom prst="ellipse">
              <a:avLst/>
            </a:prstGeom>
            <a:solidFill>
              <a:schemeClr val="bg2"/>
            </a:solidFill>
            <a:ln w="12700">
              <a:miter lim="400000"/>
            </a:ln>
          </p:spPr>
          <p:txBody>
            <a:bodyPr lIns="0" tIns="0" rIns="0" bIns="0" anchor="ctr"/>
            <a:lstStyle/>
            <a:p>
              <a:pPr algn="ctr" defTabSz="309563" hangingPunct="0">
                <a:buClrTx/>
                <a:defRPr sz="3200">
                  <a:solidFill>
                    <a:srgbClr val="FFFFFF"/>
                  </a:solidFill>
                  <a:latin typeface="Poppins Bold"/>
                  <a:ea typeface="Poppins Bold"/>
                  <a:cs typeface="Poppins Bold"/>
                  <a:sym typeface="Poppins Bold"/>
                </a:defRPr>
              </a:pPr>
              <a:endParaRPr sz="1200" dirty="0">
                <a:solidFill>
                  <a:srgbClr val="FFFFFF"/>
                </a:solidFill>
                <a:latin typeface="SB Sans Text Light" panose="020B0303040504020204" pitchFamily="34" charset="-52"/>
                <a:ea typeface="Roboto" pitchFamily="2" charset="0"/>
                <a:cs typeface="SB Sans Text Light" panose="020B0303040504020204" pitchFamily="34" charset="-52"/>
                <a:sym typeface="Poppins Bold"/>
              </a:endParaRPr>
            </a:p>
          </p:txBody>
        </p:sp>
        <p:pic>
          <p:nvPicPr>
            <p:cNvPr id="307" name="Рисунок 306">
              <a:extLst>
                <a:ext uri="{FF2B5EF4-FFF2-40B4-BE49-F238E27FC236}">
                  <a16:creationId xmlns:a16="http://schemas.microsoft.com/office/drawing/2014/main" id="{B122F290-84EC-49A4-91C2-12D13A00EA90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rcRect/>
            <a:stretch/>
          </p:blipFill>
          <p:spPr>
            <a:xfrm>
              <a:off x="7617926" y="4674301"/>
              <a:ext cx="299220" cy="263314"/>
            </a:xfrm>
            <a:prstGeom prst="rect">
              <a:avLst/>
            </a:prstGeom>
          </p:spPr>
        </p:pic>
      </p:grpSp>
      <p:pic>
        <p:nvPicPr>
          <p:cNvPr id="389" name="Рисунок 388">
            <a:extLst>
              <a:ext uri="{FF2B5EF4-FFF2-40B4-BE49-F238E27FC236}">
                <a16:creationId xmlns:a16="http://schemas.microsoft.com/office/drawing/2014/main" id="{B78B384F-F3A2-4E10-8405-6E2FAB593BD2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503721" y="6049020"/>
            <a:ext cx="1688608" cy="472507"/>
          </a:xfrm>
          <a:prstGeom prst="rect">
            <a:avLst/>
          </a:prstGeom>
        </p:spPr>
      </p:pic>
      <p:grpSp>
        <p:nvGrpSpPr>
          <p:cNvPr id="4" name="Рисунок 1">
            <a:extLst>
              <a:ext uri="{FF2B5EF4-FFF2-40B4-BE49-F238E27FC236}">
                <a16:creationId xmlns:a16="http://schemas.microsoft.com/office/drawing/2014/main" id="{710994E2-B130-4B7F-B057-3BA0EFD1A1A8}"/>
              </a:ext>
            </a:extLst>
          </p:cNvPr>
          <p:cNvGrpSpPr/>
          <p:nvPr/>
        </p:nvGrpSpPr>
        <p:grpSpPr>
          <a:xfrm>
            <a:off x="981297" y="1441680"/>
            <a:ext cx="4387111" cy="4208288"/>
            <a:chOff x="981297" y="1441680"/>
            <a:chExt cx="4387111" cy="4208288"/>
          </a:xfrm>
        </p:grpSpPr>
        <p:sp>
          <p:nvSpPr>
            <p:cNvPr id="5" name="Полилиния: фигура 4">
              <a:extLst>
                <a:ext uri="{FF2B5EF4-FFF2-40B4-BE49-F238E27FC236}">
                  <a16:creationId xmlns:a16="http://schemas.microsoft.com/office/drawing/2014/main" id="{3E490C6F-4863-496E-AAF2-228A679FD0A0}"/>
                </a:ext>
              </a:extLst>
            </p:cNvPr>
            <p:cNvSpPr/>
            <p:nvPr/>
          </p:nvSpPr>
          <p:spPr>
            <a:xfrm>
              <a:off x="981297" y="1441680"/>
              <a:ext cx="4387111" cy="4208288"/>
            </a:xfrm>
            <a:custGeom>
              <a:avLst/>
              <a:gdLst>
                <a:gd name="connsiteX0" fmla="*/ 223596 w 4387111"/>
                <a:gd name="connsiteY0" fmla="*/ 1642772 h 4208288"/>
                <a:gd name="connsiteX1" fmla="*/ 104856 w 4387111"/>
                <a:gd name="connsiteY1" fmla="*/ 3196851 h 4208288"/>
                <a:gd name="connsiteX2" fmla="*/ 1749766 w 4387111"/>
                <a:gd name="connsiteY2" fmla="*/ 4109934 h 4208288"/>
                <a:gd name="connsiteX3" fmla="*/ 2733790 w 4387111"/>
                <a:gd name="connsiteY3" fmla="*/ 3267588 h 4208288"/>
                <a:gd name="connsiteX4" fmla="*/ 4303803 w 4387111"/>
                <a:gd name="connsiteY4" fmla="*/ 2356838 h 4208288"/>
                <a:gd name="connsiteX5" fmla="*/ 3197182 w 4387111"/>
                <a:gd name="connsiteY5" fmla="*/ 193225 h 4208288"/>
                <a:gd name="connsiteX6" fmla="*/ 223596 w 4387111"/>
                <a:gd name="connsiteY6" fmla="*/ 1642772 h 42082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387111" h="4208288">
                  <a:moveTo>
                    <a:pt x="223596" y="1642772"/>
                  </a:moveTo>
                  <a:cubicBezTo>
                    <a:pt x="223596" y="1642772"/>
                    <a:pt x="-187225" y="2262353"/>
                    <a:pt x="104856" y="3196851"/>
                  </a:cubicBezTo>
                  <a:cubicBezTo>
                    <a:pt x="396937" y="4131348"/>
                    <a:pt x="1245982" y="4369743"/>
                    <a:pt x="1749766" y="4109934"/>
                  </a:cubicBezTo>
                  <a:cubicBezTo>
                    <a:pt x="2253551" y="3850126"/>
                    <a:pt x="2327028" y="3512782"/>
                    <a:pt x="2733790" y="3267588"/>
                  </a:cubicBezTo>
                  <a:cubicBezTo>
                    <a:pt x="3140552" y="3022495"/>
                    <a:pt x="3980463" y="3031122"/>
                    <a:pt x="4303803" y="2356838"/>
                  </a:cubicBezTo>
                  <a:cubicBezTo>
                    <a:pt x="4627142" y="1682555"/>
                    <a:pt x="3956715" y="737401"/>
                    <a:pt x="3197182" y="193225"/>
                  </a:cubicBezTo>
                  <a:cubicBezTo>
                    <a:pt x="2437751" y="-351053"/>
                    <a:pt x="789085" y="292886"/>
                    <a:pt x="223596" y="1642772"/>
                  </a:cubicBezTo>
                  <a:close/>
                </a:path>
              </a:pathLst>
            </a:custGeom>
            <a:solidFill>
              <a:srgbClr val="21A038"/>
            </a:solidFill>
            <a:ln w="10141" cap="flat">
              <a:solidFill>
                <a:srgbClr val="000000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6" name="Полилиния: фигура 5">
              <a:extLst>
                <a:ext uri="{FF2B5EF4-FFF2-40B4-BE49-F238E27FC236}">
                  <a16:creationId xmlns:a16="http://schemas.microsoft.com/office/drawing/2014/main" id="{22C0105B-2D5D-4E2E-872C-363106D0985A}"/>
                </a:ext>
              </a:extLst>
            </p:cNvPr>
            <p:cNvSpPr/>
            <p:nvPr/>
          </p:nvSpPr>
          <p:spPr>
            <a:xfrm>
              <a:off x="981297" y="1441680"/>
              <a:ext cx="4387111" cy="4208288"/>
            </a:xfrm>
            <a:custGeom>
              <a:avLst/>
              <a:gdLst>
                <a:gd name="connsiteX0" fmla="*/ 223596 w 4387111"/>
                <a:gd name="connsiteY0" fmla="*/ 1642772 h 4208288"/>
                <a:gd name="connsiteX1" fmla="*/ 104856 w 4387111"/>
                <a:gd name="connsiteY1" fmla="*/ 3196851 h 4208288"/>
                <a:gd name="connsiteX2" fmla="*/ 1749766 w 4387111"/>
                <a:gd name="connsiteY2" fmla="*/ 4109934 h 4208288"/>
                <a:gd name="connsiteX3" fmla="*/ 2733790 w 4387111"/>
                <a:gd name="connsiteY3" fmla="*/ 3267588 h 4208288"/>
                <a:gd name="connsiteX4" fmla="*/ 4303803 w 4387111"/>
                <a:gd name="connsiteY4" fmla="*/ 2356838 h 4208288"/>
                <a:gd name="connsiteX5" fmla="*/ 3197182 w 4387111"/>
                <a:gd name="connsiteY5" fmla="*/ 193225 h 4208288"/>
                <a:gd name="connsiteX6" fmla="*/ 223596 w 4387111"/>
                <a:gd name="connsiteY6" fmla="*/ 1642772 h 42082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387111" h="4208288">
                  <a:moveTo>
                    <a:pt x="223596" y="1642772"/>
                  </a:moveTo>
                  <a:cubicBezTo>
                    <a:pt x="223596" y="1642772"/>
                    <a:pt x="-187225" y="2262353"/>
                    <a:pt x="104856" y="3196851"/>
                  </a:cubicBezTo>
                  <a:cubicBezTo>
                    <a:pt x="396937" y="4131348"/>
                    <a:pt x="1245982" y="4369743"/>
                    <a:pt x="1749766" y="4109934"/>
                  </a:cubicBezTo>
                  <a:cubicBezTo>
                    <a:pt x="2253551" y="3850126"/>
                    <a:pt x="2327028" y="3512782"/>
                    <a:pt x="2733790" y="3267588"/>
                  </a:cubicBezTo>
                  <a:cubicBezTo>
                    <a:pt x="3140552" y="3022495"/>
                    <a:pt x="3980463" y="3031122"/>
                    <a:pt x="4303803" y="2356838"/>
                  </a:cubicBezTo>
                  <a:cubicBezTo>
                    <a:pt x="4627142" y="1682555"/>
                    <a:pt x="3956715" y="737401"/>
                    <a:pt x="3197182" y="193225"/>
                  </a:cubicBezTo>
                  <a:cubicBezTo>
                    <a:pt x="2437751" y="-351053"/>
                    <a:pt x="789085" y="292886"/>
                    <a:pt x="223596" y="1642772"/>
                  </a:cubicBezTo>
                  <a:close/>
                </a:path>
              </a:pathLst>
            </a:custGeom>
            <a:solidFill>
              <a:srgbClr val="FFFFFF">
                <a:alpha val="70000"/>
              </a:srgbClr>
            </a:solidFill>
            <a:ln w="1014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8" name="Рисунок 1">
            <a:extLst>
              <a:ext uri="{FF2B5EF4-FFF2-40B4-BE49-F238E27FC236}">
                <a16:creationId xmlns:a16="http://schemas.microsoft.com/office/drawing/2014/main" id="{710994E2-B130-4B7F-B057-3BA0EFD1A1A8}"/>
              </a:ext>
            </a:extLst>
          </p:cNvPr>
          <p:cNvGrpSpPr/>
          <p:nvPr/>
        </p:nvGrpSpPr>
        <p:grpSpPr>
          <a:xfrm>
            <a:off x="1208648" y="2020253"/>
            <a:ext cx="1334764" cy="1731885"/>
            <a:chOff x="1208648" y="2020253"/>
            <a:chExt cx="1334764" cy="1731885"/>
          </a:xfrm>
          <a:noFill/>
        </p:grpSpPr>
        <p:sp>
          <p:nvSpPr>
            <p:cNvPr id="9" name="Полилиния: фигура 8">
              <a:extLst>
                <a:ext uri="{FF2B5EF4-FFF2-40B4-BE49-F238E27FC236}">
                  <a16:creationId xmlns:a16="http://schemas.microsoft.com/office/drawing/2014/main" id="{71009DBE-9A8B-473C-945F-B1AD60932DC9}"/>
                </a:ext>
              </a:extLst>
            </p:cNvPr>
            <p:cNvSpPr/>
            <p:nvPr/>
          </p:nvSpPr>
          <p:spPr>
            <a:xfrm>
              <a:off x="1208648" y="2020253"/>
              <a:ext cx="1334764" cy="1731885"/>
            </a:xfrm>
            <a:custGeom>
              <a:avLst/>
              <a:gdLst>
                <a:gd name="connsiteX0" fmla="*/ 0 w 1334764"/>
                <a:gd name="connsiteY0" fmla="*/ 0 h 1731885"/>
                <a:gd name="connsiteX1" fmla="*/ 1334765 w 1334764"/>
                <a:gd name="connsiteY1" fmla="*/ 0 h 1731885"/>
                <a:gd name="connsiteX2" fmla="*/ 1334765 w 1334764"/>
                <a:gd name="connsiteY2" fmla="*/ 1731885 h 1731885"/>
                <a:gd name="connsiteX3" fmla="*/ 0 w 1334764"/>
                <a:gd name="connsiteY3" fmla="*/ 1731885 h 17318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34764" h="1731885">
                  <a:moveTo>
                    <a:pt x="0" y="0"/>
                  </a:moveTo>
                  <a:lnTo>
                    <a:pt x="1334765" y="0"/>
                  </a:lnTo>
                  <a:lnTo>
                    <a:pt x="1334765" y="1731885"/>
                  </a:lnTo>
                  <a:lnTo>
                    <a:pt x="0" y="1731885"/>
                  </a:lnTo>
                  <a:close/>
                </a:path>
              </a:pathLst>
            </a:custGeom>
            <a:noFill/>
            <a:ln w="10141" cap="flat">
              <a:solidFill>
                <a:srgbClr val="263238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" name="Полилиния: фигура 9">
              <a:extLst>
                <a:ext uri="{FF2B5EF4-FFF2-40B4-BE49-F238E27FC236}">
                  <a16:creationId xmlns:a16="http://schemas.microsoft.com/office/drawing/2014/main" id="{DBE186CA-ABB8-473D-8878-9E845A306668}"/>
                </a:ext>
              </a:extLst>
            </p:cNvPr>
            <p:cNvSpPr/>
            <p:nvPr/>
          </p:nvSpPr>
          <p:spPr>
            <a:xfrm>
              <a:off x="1246503" y="2069373"/>
              <a:ext cx="1258953" cy="1633645"/>
            </a:xfrm>
            <a:custGeom>
              <a:avLst/>
              <a:gdLst>
                <a:gd name="connsiteX0" fmla="*/ 0 w 1258953"/>
                <a:gd name="connsiteY0" fmla="*/ 0 h 1633645"/>
                <a:gd name="connsiteX1" fmla="*/ 1258953 w 1258953"/>
                <a:gd name="connsiteY1" fmla="*/ 0 h 1633645"/>
                <a:gd name="connsiteX2" fmla="*/ 1258953 w 1258953"/>
                <a:gd name="connsiteY2" fmla="*/ 1633645 h 1633645"/>
                <a:gd name="connsiteX3" fmla="*/ 0 w 1258953"/>
                <a:gd name="connsiteY3" fmla="*/ 1633645 h 16336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58953" h="1633645">
                  <a:moveTo>
                    <a:pt x="0" y="0"/>
                  </a:moveTo>
                  <a:lnTo>
                    <a:pt x="1258953" y="0"/>
                  </a:lnTo>
                  <a:lnTo>
                    <a:pt x="1258953" y="1633645"/>
                  </a:lnTo>
                  <a:lnTo>
                    <a:pt x="0" y="1633645"/>
                  </a:lnTo>
                  <a:close/>
                </a:path>
              </a:pathLst>
            </a:custGeom>
            <a:noFill/>
            <a:ln w="10141" cap="flat">
              <a:solidFill>
                <a:srgbClr val="263238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" name="Полилиния: фигура 10">
              <a:extLst>
                <a:ext uri="{FF2B5EF4-FFF2-40B4-BE49-F238E27FC236}">
                  <a16:creationId xmlns:a16="http://schemas.microsoft.com/office/drawing/2014/main" id="{EFF5BFB4-9654-4E7E-8042-7C9D5D1A9FFE}"/>
                </a:ext>
              </a:extLst>
            </p:cNvPr>
            <p:cNvSpPr/>
            <p:nvPr/>
          </p:nvSpPr>
          <p:spPr>
            <a:xfrm>
              <a:off x="1562129" y="2478977"/>
              <a:ext cx="627700" cy="814437"/>
            </a:xfrm>
            <a:custGeom>
              <a:avLst/>
              <a:gdLst>
                <a:gd name="connsiteX0" fmla="*/ 0 w 627700"/>
                <a:gd name="connsiteY0" fmla="*/ 0 h 814437"/>
                <a:gd name="connsiteX1" fmla="*/ 627701 w 627700"/>
                <a:gd name="connsiteY1" fmla="*/ 0 h 814437"/>
                <a:gd name="connsiteX2" fmla="*/ 627701 w 627700"/>
                <a:gd name="connsiteY2" fmla="*/ 814438 h 814437"/>
                <a:gd name="connsiteX3" fmla="*/ 0 w 627700"/>
                <a:gd name="connsiteY3" fmla="*/ 814438 h 8144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27700" h="814437">
                  <a:moveTo>
                    <a:pt x="0" y="0"/>
                  </a:moveTo>
                  <a:lnTo>
                    <a:pt x="627701" y="0"/>
                  </a:lnTo>
                  <a:lnTo>
                    <a:pt x="627701" y="814438"/>
                  </a:lnTo>
                  <a:lnTo>
                    <a:pt x="0" y="814438"/>
                  </a:lnTo>
                  <a:close/>
                </a:path>
              </a:pathLst>
            </a:custGeom>
            <a:noFill/>
            <a:ln w="10141" cap="flat">
              <a:solidFill>
                <a:srgbClr val="263238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sp>
        <p:nvSpPr>
          <p:cNvPr id="12" name="Полилиния: фигура 11">
            <a:extLst>
              <a:ext uri="{FF2B5EF4-FFF2-40B4-BE49-F238E27FC236}">
                <a16:creationId xmlns:a16="http://schemas.microsoft.com/office/drawing/2014/main" id="{6B40A8E5-6988-406E-8FC4-491065E05DB9}"/>
              </a:ext>
            </a:extLst>
          </p:cNvPr>
          <p:cNvSpPr/>
          <p:nvPr/>
        </p:nvSpPr>
        <p:spPr>
          <a:xfrm>
            <a:off x="3770648" y="1723488"/>
            <a:ext cx="636259" cy="1290531"/>
          </a:xfrm>
          <a:custGeom>
            <a:avLst/>
            <a:gdLst>
              <a:gd name="connsiteX0" fmla="*/ 68863 w 636259"/>
              <a:gd name="connsiteY0" fmla="*/ 937456 h 1290531"/>
              <a:gd name="connsiteX1" fmla="*/ 96772 w 636259"/>
              <a:gd name="connsiteY1" fmla="*/ 739251 h 1290531"/>
              <a:gd name="connsiteX2" fmla="*/ 248395 w 636259"/>
              <a:gd name="connsiteY2" fmla="*/ 629340 h 1290531"/>
              <a:gd name="connsiteX3" fmla="*/ 363989 w 636259"/>
              <a:gd name="connsiteY3" fmla="*/ 498421 h 1290531"/>
              <a:gd name="connsiteX4" fmla="*/ 421735 w 636259"/>
              <a:gd name="connsiteY4" fmla="*/ 342638 h 1290531"/>
              <a:gd name="connsiteX5" fmla="*/ 406512 w 636259"/>
              <a:gd name="connsiteY5" fmla="*/ 236177 h 1290531"/>
              <a:gd name="connsiteX6" fmla="*/ 325830 w 636259"/>
              <a:gd name="connsiteY6" fmla="*/ 187362 h 1290531"/>
              <a:gd name="connsiteX7" fmla="*/ 243016 w 636259"/>
              <a:gd name="connsiteY7" fmla="*/ 204310 h 1290531"/>
              <a:gd name="connsiteX8" fmla="*/ 203334 w 636259"/>
              <a:gd name="connsiteY8" fmla="*/ 276671 h 1290531"/>
              <a:gd name="connsiteX9" fmla="*/ 202319 w 636259"/>
              <a:gd name="connsiteY9" fmla="*/ 317875 h 1290531"/>
              <a:gd name="connsiteX10" fmla="*/ 207495 w 636259"/>
              <a:gd name="connsiteY10" fmla="*/ 359992 h 1290531"/>
              <a:gd name="connsiteX11" fmla="*/ 7970 w 636259"/>
              <a:gd name="connsiteY11" fmla="*/ 374809 h 1290531"/>
              <a:gd name="connsiteX12" fmla="*/ 257 w 636259"/>
              <a:gd name="connsiteY12" fmla="*/ 310872 h 1290531"/>
              <a:gd name="connsiteX13" fmla="*/ 3505 w 636259"/>
              <a:gd name="connsiteY13" fmla="*/ 248457 h 1290531"/>
              <a:gd name="connsiteX14" fmla="*/ 113416 w 636259"/>
              <a:gd name="connsiteY14" fmla="*/ 50658 h 1290531"/>
              <a:gd name="connsiteX15" fmla="*/ 354652 w 636259"/>
              <a:gd name="connsiteY15" fmla="*/ 5090 h 1290531"/>
              <a:gd name="connsiteX16" fmla="*/ 580259 w 636259"/>
              <a:gd name="connsiteY16" fmla="*/ 121293 h 1290531"/>
              <a:gd name="connsiteX17" fmla="*/ 631307 w 636259"/>
              <a:gd name="connsiteY17" fmla="*/ 368821 h 1290531"/>
              <a:gd name="connsiteX18" fmla="*/ 570212 w 636259"/>
              <a:gd name="connsiteY18" fmla="*/ 548048 h 1290531"/>
              <a:gd name="connsiteX19" fmla="*/ 448833 w 636259"/>
              <a:gd name="connsiteY19" fmla="*/ 691755 h 1290531"/>
              <a:gd name="connsiteX20" fmla="*/ 280769 w 636259"/>
              <a:gd name="connsiteY20" fmla="*/ 811307 h 1290531"/>
              <a:gd name="connsiteX21" fmla="*/ 259152 w 636259"/>
              <a:gd name="connsiteY21" fmla="*/ 964249 h 1290531"/>
              <a:gd name="connsiteX22" fmla="*/ 68761 w 636259"/>
              <a:gd name="connsiteY22" fmla="*/ 937355 h 1290531"/>
              <a:gd name="connsiteX23" fmla="*/ 15278 w 636259"/>
              <a:gd name="connsiteY23" fmla="*/ 1260999 h 1290531"/>
              <a:gd name="connsiteX24" fmla="*/ 44506 w 636259"/>
              <a:gd name="connsiteY24" fmla="*/ 1053457 h 1290531"/>
              <a:gd name="connsiteX25" fmla="*/ 253672 w 636259"/>
              <a:gd name="connsiteY25" fmla="*/ 1082989 h 1290531"/>
              <a:gd name="connsiteX26" fmla="*/ 224443 w 636259"/>
              <a:gd name="connsiteY26" fmla="*/ 1290531 h 1290531"/>
              <a:gd name="connsiteX27" fmla="*/ 15278 w 636259"/>
              <a:gd name="connsiteY27" fmla="*/ 1260999 h 12905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636259" h="1290531">
                <a:moveTo>
                  <a:pt x="68863" y="937456"/>
                </a:moveTo>
                <a:lnTo>
                  <a:pt x="96772" y="739251"/>
                </a:lnTo>
                <a:cubicBezTo>
                  <a:pt x="151372" y="705557"/>
                  <a:pt x="201913" y="668920"/>
                  <a:pt x="248395" y="629340"/>
                </a:cubicBezTo>
                <a:cubicBezTo>
                  <a:pt x="294774" y="589760"/>
                  <a:pt x="333340" y="546120"/>
                  <a:pt x="363989" y="498421"/>
                </a:cubicBezTo>
                <a:cubicBezTo>
                  <a:pt x="394638" y="450722"/>
                  <a:pt x="413819" y="398760"/>
                  <a:pt x="421735" y="342638"/>
                </a:cubicBezTo>
                <a:cubicBezTo>
                  <a:pt x="427926" y="298897"/>
                  <a:pt x="422852" y="263477"/>
                  <a:pt x="406512" y="236177"/>
                </a:cubicBezTo>
                <a:cubicBezTo>
                  <a:pt x="390173" y="208979"/>
                  <a:pt x="363279" y="192639"/>
                  <a:pt x="325830" y="187362"/>
                </a:cubicBezTo>
                <a:cubicBezTo>
                  <a:pt x="292542" y="182693"/>
                  <a:pt x="264937" y="188275"/>
                  <a:pt x="243016" y="204310"/>
                </a:cubicBezTo>
                <a:cubicBezTo>
                  <a:pt x="221094" y="220345"/>
                  <a:pt x="207901" y="244499"/>
                  <a:pt x="203334" y="276671"/>
                </a:cubicBezTo>
                <a:cubicBezTo>
                  <a:pt x="201304" y="291285"/>
                  <a:pt x="200898" y="304986"/>
                  <a:pt x="202319" y="317875"/>
                </a:cubicBezTo>
                <a:cubicBezTo>
                  <a:pt x="203638" y="330764"/>
                  <a:pt x="205364" y="344870"/>
                  <a:pt x="207495" y="359992"/>
                </a:cubicBezTo>
                <a:lnTo>
                  <a:pt x="7970" y="374809"/>
                </a:lnTo>
                <a:cubicBezTo>
                  <a:pt x="3607" y="352989"/>
                  <a:pt x="1069" y="331677"/>
                  <a:pt x="257" y="310872"/>
                </a:cubicBezTo>
                <a:cubicBezTo>
                  <a:pt x="-554" y="290067"/>
                  <a:pt x="562" y="269262"/>
                  <a:pt x="3505" y="248457"/>
                </a:cubicBezTo>
                <a:cubicBezTo>
                  <a:pt x="15785" y="161076"/>
                  <a:pt x="52422" y="95110"/>
                  <a:pt x="113416" y="50658"/>
                </a:cubicBezTo>
                <a:cubicBezTo>
                  <a:pt x="174308" y="6206"/>
                  <a:pt x="254788" y="-9017"/>
                  <a:pt x="354652" y="5090"/>
                </a:cubicBezTo>
                <a:cubicBezTo>
                  <a:pt x="456647" y="19501"/>
                  <a:pt x="531849" y="58168"/>
                  <a:pt x="580259" y="121293"/>
                </a:cubicBezTo>
                <a:cubicBezTo>
                  <a:pt x="628669" y="184419"/>
                  <a:pt x="645718" y="266928"/>
                  <a:pt x="631307" y="368821"/>
                </a:cubicBezTo>
                <a:cubicBezTo>
                  <a:pt x="621869" y="435397"/>
                  <a:pt x="601571" y="495173"/>
                  <a:pt x="570212" y="548048"/>
                </a:cubicBezTo>
                <a:cubicBezTo>
                  <a:pt x="538852" y="600924"/>
                  <a:pt x="498460" y="648826"/>
                  <a:pt x="448833" y="691755"/>
                </a:cubicBezTo>
                <a:cubicBezTo>
                  <a:pt x="399205" y="734684"/>
                  <a:pt x="343285" y="774467"/>
                  <a:pt x="280769" y="811307"/>
                </a:cubicBezTo>
                <a:lnTo>
                  <a:pt x="259152" y="964249"/>
                </a:lnTo>
                <a:lnTo>
                  <a:pt x="68761" y="937355"/>
                </a:lnTo>
                <a:close/>
                <a:moveTo>
                  <a:pt x="15278" y="1260999"/>
                </a:moveTo>
                <a:lnTo>
                  <a:pt x="44506" y="1053457"/>
                </a:lnTo>
                <a:lnTo>
                  <a:pt x="253672" y="1082989"/>
                </a:lnTo>
                <a:lnTo>
                  <a:pt x="224443" y="1290531"/>
                </a:lnTo>
                <a:lnTo>
                  <a:pt x="15278" y="1260999"/>
                </a:lnTo>
                <a:close/>
              </a:path>
            </a:pathLst>
          </a:custGeom>
          <a:noFill/>
          <a:ln w="10141" cap="flat">
            <a:solidFill>
              <a:srgbClr val="263238"/>
            </a:solidFill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grpSp>
        <p:nvGrpSpPr>
          <p:cNvPr id="13" name="Рисунок 1">
            <a:extLst>
              <a:ext uri="{FF2B5EF4-FFF2-40B4-BE49-F238E27FC236}">
                <a16:creationId xmlns:a16="http://schemas.microsoft.com/office/drawing/2014/main" id="{710994E2-B130-4B7F-B057-3BA0EFD1A1A8}"/>
              </a:ext>
            </a:extLst>
          </p:cNvPr>
          <p:cNvGrpSpPr/>
          <p:nvPr/>
        </p:nvGrpSpPr>
        <p:grpSpPr>
          <a:xfrm>
            <a:off x="1917415" y="2006476"/>
            <a:ext cx="2278418" cy="3553393"/>
            <a:chOff x="1917415" y="2006476"/>
            <a:chExt cx="2278418" cy="3553393"/>
          </a:xfrm>
        </p:grpSpPr>
        <p:grpSp>
          <p:nvGrpSpPr>
            <p:cNvPr id="14" name="Рисунок 1">
              <a:extLst>
                <a:ext uri="{FF2B5EF4-FFF2-40B4-BE49-F238E27FC236}">
                  <a16:creationId xmlns:a16="http://schemas.microsoft.com/office/drawing/2014/main" id="{710994E2-B130-4B7F-B057-3BA0EFD1A1A8}"/>
                </a:ext>
              </a:extLst>
            </p:cNvPr>
            <p:cNvGrpSpPr/>
            <p:nvPr/>
          </p:nvGrpSpPr>
          <p:grpSpPr>
            <a:xfrm>
              <a:off x="1927166" y="3493221"/>
              <a:ext cx="2015900" cy="2066648"/>
              <a:chOff x="1927166" y="3493221"/>
              <a:chExt cx="2015900" cy="2066648"/>
            </a:xfrm>
          </p:grpSpPr>
          <p:sp>
            <p:nvSpPr>
              <p:cNvPr id="15" name="Полилиния: фигура 14">
                <a:extLst>
                  <a:ext uri="{FF2B5EF4-FFF2-40B4-BE49-F238E27FC236}">
                    <a16:creationId xmlns:a16="http://schemas.microsoft.com/office/drawing/2014/main" id="{28DA5905-5EA0-4255-A0D5-EBE692A5C73E}"/>
                  </a:ext>
                </a:extLst>
              </p:cNvPr>
              <p:cNvSpPr/>
              <p:nvPr/>
            </p:nvSpPr>
            <p:spPr>
              <a:xfrm>
                <a:off x="1927166" y="3493221"/>
                <a:ext cx="2015900" cy="2066648"/>
              </a:xfrm>
              <a:custGeom>
                <a:avLst/>
                <a:gdLst>
                  <a:gd name="connsiteX0" fmla="*/ 794763 w 2015900"/>
                  <a:gd name="connsiteY0" fmla="*/ 24177 h 2066648"/>
                  <a:gd name="connsiteX1" fmla="*/ 123017 w 2015900"/>
                  <a:gd name="connsiteY1" fmla="*/ 79183 h 2066648"/>
                  <a:gd name="connsiteX2" fmla="*/ 4276 w 2015900"/>
                  <a:gd name="connsiteY2" fmla="*/ 881239 h 2066648"/>
                  <a:gd name="connsiteX3" fmla="*/ 15846 w 2015900"/>
                  <a:gd name="connsiteY3" fmla="*/ 1225789 h 2066648"/>
                  <a:gd name="connsiteX4" fmla="*/ 351770 w 2015900"/>
                  <a:gd name="connsiteY4" fmla="*/ 1431403 h 2066648"/>
                  <a:gd name="connsiteX5" fmla="*/ 250384 w 2015900"/>
                  <a:gd name="connsiteY5" fmla="*/ 1967054 h 2066648"/>
                  <a:gd name="connsiteX6" fmla="*/ 762896 w 2015900"/>
                  <a:gd name="connsiteY6" fmla="*/ 2059713 h 2066648"/>
                  <a:gd name="connsiteX7" fmla="*/ 1139314 w 2015900"/>
                  <a:gd name="connsiteY7" fmla="*/ 2062656 h 2066648"/>
                  <a:gd name="connsiteX8" fmla="*/ 1782136 w 2015900"/>
                  <a:gd name="connsiteY8" fmla="*/ 2042358 h 2066648"/>
                  <a:gd name="connsiteX9" fmla="*/ 1993534 w 2015900"/>
                  <a:gd name="connsiteY9" fmla="*/ 1938130 h 2066648"/>
                  <a:gd name="connsiteX10" fmla="*/ 1950098 w 2015900"/>
                  <a:gd name="connsiteY10" fmla="*/ 1781738 h 2066648"/>
                  <a:gd name="connsiteX11" fmla="*/ 1996376 w 2015900"/>
                  <a:gd name="connsiteY11" fmla="*/ 400493 h 2066648"/>
                  <a:gd name="connsiteX12" fmla="*/ 1784977 w 2015900"/>
                  <a:gd name="connsiteY12" fmla="*/ 9563 h 2066648"/>
                  <a:gd name="connsiteX13" fmla="*/ 1266680 w 2015900"/>
                  <a:gd name="connsiteY13" fmla="*/ 3778 h 2066648"/>
                  <a:gd name="connsiteX14" fmla="*/ 794662 w 2015900"/>
                  <a:gd name="connsiteY14" fmla="*/ 24075 h 20666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2015900" h="2066648">
                    <a:moveTo>
                      <a:pt x="794763" y="24177"/>
                    </a:moveTo>
                    <a:cubicBezTo>
                      <a:pt x="794763" y="24177"/>
                      <a:pt x="143213" y="32905"/>
                      <a:pt x="123017" y="79183"/>
                    </a:cubicBezTo>
                    <a:cubicBezTo>
                      <a:pt x="102719" y="125563"/>
                      <a:pt x="10061" y="687296"/>
                      <a:pt x="4276" y="881239"/>
                    </a:cubicBezTo>
                    <a:cubicBezTo>
                      <a:pt x="-1508" y="1075283"/>
                      <a:pt x="-4452" y="1202650"/>
                      <a:pt x="15846" y="1225789"/>
                    </a:cubicBezTo>
                    <a:cubicBezTo>
                      <a:pt x="36143" y="1248928"/>
                      <a:pt x="351770" y="1431403"/>
                      <a:pt x="351770" y="1431403"/>
                    </a:cubicBezTo>
                    <a:cubicBezTo>
                      <a:pt x="351770" y="1431403"/>
                      <a:pt x="204105" y="1949700"/>
                      <a:pt x="250384" y="1967054"/>
                    </a:cubicBezTo>
                    <a:cubicBezTo>
                      <a:pt x="296764" y="1984409"/>
                      <a:pt x="580523" y="2056769"/>
                      <a:pt x="762896" y="2059713"/>
                    </a:cubicBezTo>
                    <a:cubicBezTo>
                      <a:pt x="945269" y="2062656"/>
                      <a:pt x="1124801" y="2062656"/>
                      <a:pt x="1139314" y="2062656"/>
                    </a:cubicBezTo>
                    <a:cubicBezTo>
                      <a:pt x="1153826" y="2062656"/>
                      <a:pt x="1619959" y="2080010"/>
                      <a:pt x="1782136" y="2042358"/>
                    </a:cubicBezTo>
                    <a:cubicBezTo>
                      <a:pt x="1944313" y="2004706"/>
                      <a:pt x="1993534" y="2001865"/>
                      <a:pt x="1993534" y="1938130"/>
                    </a:cubicBezTo>
                    <a:cubicBezTo>
                      <a:pt x="1993534" y="1874396"/>
                      <a:pt x="1953041" y="1796251"/>
                      <a:pt x="1950098" y="1781738"/>
                    </a:cubicBezTo>
                    <a:cubicBezTo>
                      <a:pt x="1947155" y="1767225"/>
                      <a:pt x="2060110" y="669841"/>
                      <a:pt x="1996376" y="400493"/>
                    </a:cubicBezTo>
                    <a:cubicBezTo>
                      <a:pt x="1932642" y="131145"/>
                      <a:pt x="1848711" y="26917"/>
                      <a:pt x="1784977" y="9563"/>
                    </a:cubicBezTo>
                    <a:cubicBezTo>
                      <a:pt x="1721243" y="-7792"/>
                      <a:pt x="1266680" y="3778"/>
                      <a:pt x="1266680" y="3778"/>
                    </a:cubicBezTo>
                    <a:lnTo>
                      <a:pt x="794662" y="24075"/>
                    </a:lnTo>
                    <a:close/>
                  </a:path>
                </a:pathLst>
              </a:custGeom>
              <a:solidFill>
                <a:srgbClr val="21A038"/>
              </a:solidFill>
              <a:ln w="10141" cap="flat">
                <a:solidFill>
                  <a:srgbClr val="000000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6" name="Полилиния: фигура 15">
                <a:extLst>
                  <a:ext uri="{FF2B5EF4-FFF2-40B4-BE49-F238E27FC236}">
                    <a16:creationId xmlns:a16="http://schemas.microsoft.com/office/drawing/2014/main" id="{0318FD89-538B-4250-A12F-502108DFCB04}"/>
                  </a:ext>
                </a:extLst>
              </p:cNvPr>
              <p:cNvSpPr/>
              <p:nvPr/>
            </p:nvSpPr>
            <p:spPr>
              <a:xfrm>
                <a:off x="3001122" y="3750413"/>
                <a:ext cx="67793" cy="34099"/>
              </a:xfrm>
              <a:custGeom>
                <a:avLst/>
                <a:gdLst>
                  <a:gd name="connsiteX0" fmla="*/ 67794 w 67793"/>
                  <a:gd name="connsiteY0" fmla="*/ 0 h 34099"/>
                  <a:gd name="connsiteX1" fmla="*/ 0 w 67793"/>
                  <a:gd name="connsiteY1" fmla="*/ 34100 h 340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7793" h="34099">
                    <a:moveTo>
                      <a:pt x="67794" y="0"/>
                    </a:moveTo>
                    <a:cubicBezTo>
                      <a:pt x="46380" y="12483"/>
                      <a:pt x="23748" y="23951"/>
                      <a:pt x="0" y="34100"/>
                    </a:cubicBezTo>
                  </a:path>
                </a:pathLst>
              </a:custGeom>
              <a:noFill/>
              <a:ln w="10141" cap="rnd">
                <a:solidFill>
                  <a:srgbClr val="263238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7" name="Полилиния: фигура 16">
                <a:extLst>
                  <a:ext uri="{FF2B5EF4-FFF2-40B4-BE49-F238E27FC236}">
                    <a16:creationId xmlns:a16="http://schemas.microsoft.com/office/drawing/2014/main" id="{82AC5ABF-2ED2-4EB0-B318-3E10C01207CD}"/>
                  </a:ext>
                </a:extLst>
              </p:cNvPr>
              <p:cNvSpPr/>
              <p:nvPr/>
            </p:nvSpPr>
            <p:spPr>
              <a:xfrm>
                <a:off x="3099565" y="3531504"/>
                <a:ext cx="210789" cy="200032"/>
              </a:xfrm>
              <a:custGeom>
                <a:avLst/>
                <a:gdLst>
                  <a:gd name="connsiteX0" fmla="*/ 210790 w 210789"/>
                  <a:gd name="connsiteY0" fmla="*/ 0 h 200032"/>
                  <a:gd name="connsiteX1" fmla="*/ 0 w 210789"/>
                  <a:gd name="connsiteY1" fmla="*/ 200032 h 2000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10789" h="200032">
                    <a:moveTo>
                      <a:pt x="210790" y="0"/>
                    </a:moveTo>
                    <a:cubicBezTo>
                      <a:pt x="210790" y="0"/>
                      <a:pt x="131731" y="113970"/>
                      <a:pt x="0" y="200032"/>
                    </a:cubicBezTo>
                  </a:path>
                </a:pathLst>
              </a:custGeom>
              <a:noFill/>
              <a:ln w="10141" cap="rnd">
                <a:solidFill>
                  <a:srgbClr val="263238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8" name="Полилиния: фигура 17">
                <a:extLst>
                  <a:ext uri="{FF2B5EF4-FFF2-40B4-BE49-F238E27FC236}">
                    <a16:creationId xmlns:a16="http://schemas.microsoft.com/office/drawing/2014/main" id="{4933EB10-3584-4AF6-8EB8-B2A13C40C42A}"/>
                  </a:ext>
                </a:extLst>
              </p:cNvPr>
              <p:cNvSpPr/>
              <p:nvPr/>
            </p:nvSpPr>
            <p:spPr>
              <a:xfrm>
                <a:off x="3159239" y="3647505"/>
                <a:ext cx="112448" cy="112448"/>
              </a:xfrm>
              <a:custGeom>
                <a:avLst/>
                <a:gdLst>
                  <a:gd name="connsiteX0" fmla="*/ 112448 w 112448"/>
                  <a:gd name="connsiteY0" fmla="*/ 0 h 112448"/>
                  <a:gd name="connsiteX1" fmla="*/ 0 w 112448"/>
                  <a:gd name="connsiteY1" fmla="*/ 112448 h 1124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2448" h="112448">
                    <a:moveTo>
                      <a:pt x="112448" y="0"/>
                    </a:moveTo>
                    <a:cubicBezTo>
                      <a:pt x="112448" y="0"/>
                      <a:pt x="52672" y="84336"/>
                      <a:pt x="0" y="112448"/>
                    </a:cubicBezTo>
                  </a:path>
                </a:pathLst>
              </a:custGeom>
              <a:noFill/>
              <a:ln w="10141" cap="rnd">
                <a:solidFill>
                  <a:srgbClr val="263238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9" name="Полилиния: фигура 18">
                <a:extLst>
                  <a:ext uri="{FF2B5EF4-FFF2-40B4-BE49-F238E27FC236}">
                    <a16:creationId xmlns:a16="http://schemas.microsoft.com/office/drawing/2014/main" id="{F6F06040-3176-48E5-BE7F-2D63F579AE9C}"/>
                  </a:ext>
                </a:extLst>
              </p:cNvPr>
              <p:cNvSpPr/>
              <p:nvPr/>
            </p:nvSpPr>
            <p:spPr>
              <a:xfrm>
                <a:off x="2840670" y="4522226"/>
                <a:ext cx="17049" cy="52976"/>
              </a:xfrm>
              <a:custGeom>
                <a:avLst/>
                <a:gdLst>
                  <a:gd name="connsiteX0" fmla="*/ 17050 w 17049"/>
                  <a:gd name="connsiteY0" fmla="*/ 52977 h 52976"/>
                  <a:gd name="connsiteX1" fmla="*/ 0 w 17049"/>
                  <a:gd name="connsiteY1" fmla="*/ 0 h 529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7049" h="52976">
                    <a:moveTo>
                      <a:pt x="17050" y="52977"/>
                    </a:moveTo>
                    <a:lnTo>
                      <a:pt x="0" y="0"/>
                    </a:lnTo>
                  </a:path>
                </a:pathLst>
              </a:custGeom>
              <a:ln w="10141" cap="rnd">
                <a:solidFill>
                  <a:srgbClr val="263238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20" name="Полилиния: фигура 19">
                <a:extLst>
                  <a:ext uri="{FF2B5EF4-FFF2-40B4-BE49-F238E27FC236}">
                    <a16:creationId xmlns:a16="http://schemas.microsoft.com/office/drawing/2014/main" id="{B11BCA9F-34C2-4CBF-944D-B1B88E57A57F}"/>
                  </a:ext>
                </a:extLst>
              </p:cNvPr>
              <p:cNvSpPr/>
              <p:nvPr/>
            </p:nvSpPr>
            <p:spPr>
              <a:xfrm>
                <a:off x="2875277" y="4629498"/>
                <a:ext cx="75405" cy="234436"/>
              </a:xfrm>
              <a:custGeom>
                <a:avLst/>
                <a:gdLst>
                  <a:gd name="connsiteX0" fmla="*/ 75405 w 75405"/>
                  <a:gd name="connsiteY0" fmla="*/ 234436 h 234436"/>
                  <a:gd name="connsiteX1" fmla="*/ 0 w 75405"/>
                  <a:gd name="connsiteY1" fmla="*/ 0 h 2344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75405" h="234436">
                    <a:moveTo>
                      <a:pt x="75405" y="234436"/>
                    </a:moveTo>
                    <a:lnTo>
                      <a:pt x="0" y="0"/>
                    </a:lnTo>
                  </a:path>
                </a:pathLst>
              </a:custGeom>
              <a:ln w="10141" cap="rnd">
                <a:solidFill>
                  <a:srgbClr val="263238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21" name="Полилиния: фигура 20">
                <a:extLst>
                  <a:ext uri="{FF2B5EF4-FFF2-40B4-BE49-F238E27FC236}">
                    <a16:creationId xmlns:a16="http://schemas.microsoft.com/office/drawing/2014/main" id="{89749D9A-B6AF-4D24-9058-300A82746011}"/>
                  </a:ext>
                </a:extLst>
              </p:cNvPr>
              <p:cNvSpPr/>
              <p:nvPr/>
            </p:nvSpPr>
            <p:spPr>
              <a:xfrm>
                <a:off x="2973923" y="4750979"/>
                <a:ext cx="75202" cy="118740"/>
              </a:xfrm>
              <a:custGeom>
                <a:avLst/>
                <a:gdLst>
                  <a:gd name="connsiteX0" fmla="*/ 0 w 75202"/>
                  <a:gd name="connsiteY0" fmla="*/ 118740 h 118740"/>
                  <a:gd name="connsiteX1" fmla="*/ 75202 w 75202"/>
                  <a:gd name="connsiteY1" fmla="*/ 0 h 1187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75202" h="118740">
                    <a:moveTo>
                      <a:pt x="0" y="118740"/>
                    </a:moveTo>
                    <a:lnTo>
                      <a:pt x="75202" y="0"/>
                    </a:lnTo>
                  </a:path>
                </a:pathLst>
              </a:custGeom>
              <a:ln w="10141" cap="rnd">
                <a:solidFill>
                  <a:srgbClr val="263238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22" name="Полилиния: фигура 21">
                <a:extLst>
                  <a:ext uri="{FF2B5EF4-FFF2-40B4-BE49-F238E27FC236}">
                    <a16:creationId xmlns:a16="http://schemas.microsoft.com/office/drawing/2014/main" id="{5835EDB0-0919-46B6-8EBA-C697E384429C}"/>
                  </a:ext>
                </a:extLst>
              </p:cNvPr>
              <p:cNvSpPr/>
              <p:nvPr/>
            </p:nvSpPr>
            <p:spPr>
              <a:xfrm>
                <a:off x="3144727" y="4594587"/>
                <a:ext cx="182373" cy="205613"/>
              </a:xfrm>
              <a:custGeom>
                <a:avLst/>
                <a:gdLst>
                  <a:gd name="connsiteX0" fmla="*/ 0 w 182373"/>
                  <a:gd name="connsiteY0" fmla="*/ 205614 h 205613"/>
                  <a:gd name="connsiteX1" fmla="*/ 182373 w 182373"/>
                  <a:gd name="connsiteY1" fmla="*/ 0 h 2056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82373" h="205613">
                    <a:moveTo>
                      <a:pt x="0" y="205614"/>
                    </a:moveTo>
                    <a:lnTo>
                      <a:pt x="182373" y="0"/>
                    </a:lnTo>
                  </a:path>
                </a:pathLst>
              </a:custGeom>
              <a:ln w="10141" cap="rnd">
                <a:solidFill>
                  <a:srgbClr val="263238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23" name="Полилиния: фигура 22">
                <a:extLst>
                  <a:ext uri="{FF2B5EF4-FFF2-40B4-BE49-F238E27FC236}">
                    <a16:creationId xmlns:a16="http://schemas.microsoft.com/office/drawing/2014/main" id="{2B54643C-FC48-4F91-BFD7-A9EB26AC5A44}"/>
                  </a:ext>
                </a:extLst>
              </p:cNvPr>
              <p:cNvSpPr/>
              <p:nvPr/>
            </p:nvSpPr>
            <p:spPr>
              <a:xfrm>
                <a:off x="2673926" y="5441500"/>
                <a:ext cx="392655" cy="114477"/>
              </a:xfrm>
              <a:custGeom>
                <a:avLst/>
                <a:gdLst>
                  <a:gd name="connsiteX0" fmla="*/ 0 w 392655"/>
                  <a:gd name="connsiteY0" fmla="*/ 0 h 114477"/>
                  <a:gd name="connsiteX1" fmla="*/ 392655 w 392655"/>
                  <a:gd name="connsiteY1" fmla="*/ 114478 h 1144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92655" h="114477">
                    <a:moveTo>
                      <a:pt x="0" y="0"/>
                    </a:moveTo>
                    <a:lnTo>
                      <a:pt x="392655" y="114478"/>
                    </a:lnTo>
                  </a:path>
                </a:pathLst>
              </a:custGeom>
              <a:ln w="10141" cap="rnd">
                <a:solidFill>
                  <a:srgbClr val="263238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24" name="Полилиния: фигура 23">
                <a:extLst>
                  <a:ext uri="{FF2B5EF4-FFF2-40B4-BE49-F238E27FC236}">
                    <a16:creationId xmlns:a16="http://schemas.microsoft.com/office/drawing/2014/main" id="{7D003A88-E200-40D2-A130-32DEFAF65CBF}"/>
                  </a:ext>
                </a:extLst>
              </p:cNvPr>
              <p:cNvSpPr/>
              <p:nvPr/>
            </p:nvSpPr>
            <p:spPr>
              <a:xfrm>
                <a:off x="2559854" y="5408314"/>
                <a:ext cx="67387" cy="19587"/>
              </a:xfrm>
              <a:custGeom>
                <a:avLst/>
                <a:gdLst>
                  <a:gd name="connsiteX0" fmla="*/ 0 w 67387"/>
                  <a:gd name="connsiteY0" fmla="*/ 0 h 19587"/>
                  <a:gd name="connsiteX1" fmla="*/ 67388 w 67387"/>
                  <a:gd name="connsiteY1" fmla="*/ 19587 h 195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7387" h="19587">
                    <a:moveTo>
                      <a:pt x="0" y="0"/>
                    </a:moveTo>
                    <a:lnTo>
                      <a:pt x="67388" y="19587"/>
                    </a:lnTo>
                  </a:path>
                </a:pathLst>
              </a:custGeom>
              <a:ln w="10141" cap="rnd">
                <a:solidFill>
                  <a:srgbClr val="263238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</p:grpSp>
        <p:sp>
          <p:nvSpPr>
            <p:cNvPr id="25" name="Полилиния: фигура 24">
              <a:extLst>
                <a:ext uri="{FF2B5EF4-FFF2-40B4-BE49-F238E27FC236}">
                  <a16:creationId xmlns:a16="http://schemas.microsoft.com/office/drawing/2014/main" id="{57568600-8ED1-44CC-AB64-70A4FDC24612}"/>
                </a:ext>
              </a:extLst>
            </p:cNvPr>
            <p:cNvSpPr/>
            <p:nvPr/>
          </p:nvSpPr>
          <p:spPr>
            <a:xfrm>
              <a:off x="2228592" y="2006476"/>
              <a:ext cx="1516318" cy="1415811"/>
            </a:xfrm>
            <a:custGeom>
              <a:avLst/>
              <a:gdLst>
                <a:gd name="connsiteX0" fmla="*/ 489278 w 1516318"/>
                <a:gd name="connsiteY0" fmla="*/ 223146 h 1415811"/>
                <a:gd name="connsiteX1" fmla="*/ 246012 w 1516318"/>
                <a:gd name="connsiteY1" fmla="*/ 228626 h 1415811"/>
                <a:gd name="connsiteX2" fmla="*/ 273617 w 1516318"/>
                <a:gd name="connsiteY2" fmla="*/ 341988 h 1415811"/>
                <a:gd name="connsiteX3" fmla="*/ 44153 w 1516318"/>
                <a:gd name="connsiteY3" fmla="*/ 593576 h 1415811"/>
                <a:gd name="connsiteX4" fmla="*/ 229368 w 1516318"/>
                <a:gd name="connsiteY4" fmla="*/ 867288 h 1415811"/>
                <a:gd name="connsiteX5" fmla="*/ 19289 w 1516318"/>
                <a:gd name="connsiteY5" fmla="*/ 961265 h 1415811"/>
                <a:gd name="connsiteX6" fmla="*/ 165837 w 1516318"/>
                <a:gd name="connsiteY6" fmla="*/ 1323474 h 1415811"/>
                <a:gd name="connsiteX7" fmla="*/ 704939 w 1516318"/>
                <a:gd name="connsiteY7" fmla="*/ 1270904 h 1415811"/>
                <a:gd name="connsiteX8" fmla="*/ 931662 w 1516318"/>
                <a:gd name="connsiteY8" fmla="*/ 1403649 h 1415811"/>
                <a:gd name="connsiteX9" fmla="*/ 1061566 w 1516318"/>
                <a:gd name="connsiteY9" fmla="*/ 1334536 h 1415811"/>
                <a:gd name="connsiteX10" fmla="*/ 1271646 w 1516318"/>
                <a:gd name="connsiteY10" fmla="*/ 1403649 h 1415811"/>
                <a:gd name="connsiteX11" fmla="*/ 1478985 w 1516318"/>
                <a:gd name="connsiteY11" fmla="*/ 1127197 h 1415811"/>
                <a:gd name="connsiteX12" fmla="*/ 1393228 w 1516318"/>
                <a:gd name="connsiteY12" fmla="*/ 1011095 h 1415811"/>
                <a:gd name="connsiteX13" fmla="*/ 1514911 w 1516318"/>
                <a:gd name="connsiteY13" fmla="*/ 731802 h 1415811"/>
                <a:gd name="connsiteX14" fmla="*/ 1324115 w 1516318"/>
                <a:gd name="connsiteY14" fmla="*/ 582513 h 1415811"/>
                <a:gd name="connsiteX15" fmla="*/ 1376685 w 1516318"/>
                <a:gd name="connsiteY15" fmla="*/ 402779 h 1415811"/>
                <a:gd name="connsiteX16" fmla="*/ 970227 w 1516318"/>
                <a:gd name="connsiteY16" fmla="*/ 57214 h 1415811"/>
                <a:gd name="connsiteX17" fmla="*/ 450408 w 1516318"/>
                <a:gd name="connsiteY17" fmla="*/ 90400 h 1415811"/>
                <a:gd name="connsiteX18" fmla="*/ 489075 w 1516318"/>
                <a:gd name="connsiteY18" fmla="*/ 223146 h 14158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516318" h="1415811">
                  <a:moveTo>
                    <a:pt x="489278" y="223146"/>
                  </a:moveTo>
                  <a:cubicBezTo>
                    <a:pt x="489278" y="223146"/>
                    <a:pt x="284679" y="176157"/>
                    <a:pt x="246012" y="228626"/>
                  </a:cubicBezTo>
                  <a:cubicBezTo>
                    <a:pt x="207345" y="281197"/>
                    <a:pt x="284679" y="330926"/>
                    <a:pt x="273617" y="341988"/>
                  </a:cubicBezTo>
                  <a:cubicBezTo>
                    <a:pt x="262555" y="353050"/>
                    <a:pt x="24769" y="474734"/>
                    <a:pt x="44153" y="593576"/>
                  </a:cubicBezTo>
                  <a:cubicBezTo>
                    <a:pt x="63537" y="712418"/>
                    <a:pt x="223888" y="834101"/>
                    <a:pt x="229368" y="867288"/>
                  </a:cubicBezTo>
                  <a:cubicBezTo>
                    <a:pt x="234848" y="900474"/>
                    <a:pt x="44153" y="911536"/>
                    <a:pt x="19289" y="961265"/>
                  </a:cubicBezTo>
                  <a:cubicBezTo>
                    <a:pt x="-5576" y="1010994"/>
                    <a:pt x="-41502" y="1246039"/>
                    <a:pt x="165837" y="1323474"/>
                  </a:cubicBezTo>
                  <a:cubicBezTo>
                    <a:pt x="373176" y="1400909"/>
                    <a:pt x="633086" y="1270904"/>
                    <a:pt x="704939" y="1270904"/>
                  </a:cubicBezTo>
                  <a:cubicBezTo>
                    <a:pt x="776792" y="1270904"/>
                    <a:pt x="848747" y="1411870"/>
                    <a:pt x="931662" y="1403649"/>
                  </a:cubicBezTo>
                  <a:cubicBezTo>
                    <a:pt x="1014577" y="1395327"/>
                    <a:pt x="1061566" y="1334536"/>
                    <a:pt x="1061566" y="1334536"/>
                  </a:cubicBezTo>
                  <a:cubicBezTo>
                    <a:pt x="1061566" y="1334536"/>
                    <a:pt x="1147323" y="1453378"/>
                    <a:pt x="1271646" y="1403649"/>
                  </a:cubicBezTo>
                  <a:cubicBezTo>
                    <a:pt x="1396069" y="1353920"/>
                    <a:pt x="1539877" y="1179666"/>
                    <a:pt x="1478985" y="1127197"/>
                  </a:cubicBezTo>
                  <a:cubicBezTo>
                    <a:pt x="1418194" y="1074627"/>
                    <a:pt x="1349080" y="1058084"/>
                    <a:pt x="1393228" y="1011095"/>
                  </a:cubicBezTo>
                  <a:cubicBezTo>
                    <a:pt x="1437476" y="964107"/>
                    <a:pt x="1528714" y="839683"/>
                    <a:pt x="1514911" y="731802"/>
                  </a:cubicBezTo>
                  <a:cubicBezTo>
                    <a:pt x="1501109" y="624022"/>
                    <a:pt x="1373945" y="615700"/>
                    <a:pt x="1324115" y="582513"/>
                  </a:cubicBezTo>
                  <a:cubicBezTo>
                    <a:pt x="1274386" y="549327"/>
                    <a:pt x="1379425" y="494016"/>
                    <a:pt x="1376685" y="402779"/>
                  </a:cubicBezTo>
                  <a:cubicBezTo>
                    <a:pt x="1373945" y="311542"/>
                    <a:pt x="1307572" y="159513"/>
                    <a:pt x="970227" y="57214"/>
                  </a:cubicBezTo>
                  <a:cubicBezTo>
                    <a:pt x="632883" y="-45086"/>
                    <a:pt x="467052" y="4643"/>
                    <a:pt x="450408" y="90400"/>
                  </a:cubicBezTo>
                  <a:cubicBezTo>
                    <a:pt x="433866" y="176157"/>
                    <a:pt x="489075" y="223146"/>
                    <a:pt x="489075" y="223146"/>
                  </a:cubicBezTo>
                  <a:close/>
                </a:path>
              </a:pathLst>
            </a:custGeom>
            <a:solidFill>
              <a:srgbClr val="263238"/>
            </a:solidFill>
            <a:ln w="10141" cap="rnd">
              <a:solidFill>
                <a:srgbClr val="263238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6" name="Полилиния: фигура 25">
              <a:extLst>
                <a:ext uri="{FF2B5EF4-FFF2-40B4-BE49-F238E27FC236}">
                  <a16:creationId xmlns:a16="http://schemas.microsoft.com/office/drawing/2014/main" id="{9223892E-6608-40A1-B577-5D6452233197}"/>
                </a:ext>
              </a:extLst>
            </p:cNvPr>
            <p:cNvSpPr/>
            <p:nvPr/>
          </p:nvSpPr>
          <p:spPr>
            <a:xfrm>
              <a:off x="2682812" y="3113883"/>
              <a:ext cx="544728" cy="566696"/>
            </a:xfrm>
            <a:custGeom>
              <a:avLst/>
              <a:gdLst>
                <a:gd name="connsiteX0" fmla="*/ 71898 w 544728"/>
                <a:gd name="connsiteY0" fmla="*/ 2842 h 566696"/>
                <a:gd name="connsiteX1" fmla="*/ 44 w 544728"/>
                <a:gd name="connsiteY1" fmla="*/ 447966 h 566696"/>
                <a:gd name="connsiteX2" fmla="*/ 290400 w 544728"/>
                <a:gd name="connsiteY2" fmla="*/ 564068 h 566696"/>
                <a:gd name="connsiteX3" fmla="*/ 544728 w 544728"/>
                <a:gd name="connsiteY3" fmla="*/ 428582 h 566696"/>
                <a:gd name="connsiteX4" fmla="*/ 492158 w 544728"/>
                <a:gd name="connsiteY4" fmla="*/ 0 h 566696"/>
                <a:gd name="connsiteX5" fmla="*/ 259954 w 544728"/>
                <a:gd name="connsiteY5" fmla="*/ 66373 h 566696"/>
                <a:gd name="connsiteX6" fmla="*/ 71898 w 544728"/>
                <a:gd name="connsiteY6" fmla="*/ 2740 h 5666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44728" h="566696">
                  <a:moveTo>
                    <a:pt x="71898" y="2842"/>
                  </a:moveTo>
                  <a:cubicBezTo>
                    <a:pt x="71898" y="2842"/>
                    <a:pt x="2784" y="434164"/>
                    <a:pt x="44" y="447966"/>
                  </a:cubicBezTo>
                  <a:cubicBezTo>
                    <a:pt x="-2696" y="461768"/>
                    <a:pt x="121728" y="586192"/>
                    <a:pt x="290400" y="564068"/>
                  </a:cubicBezTo>
                  <a:cubicBezTo>
                    <a:pt x="459073" y="541943"/>
                    <a:pt x="544728" y="428582"/>
                    <a:pt x="544728" y="428582"/>
                  </a:cubicBezTo>
                  <a:lnTo>
                    <a:pt x="492158" y="0"/>
                  </a:lnTo>
                  <a:cubicBezTo>
                    <a:pt x="492158" y="0"/>
                    <a:pt x="348350" y="69113"/>
                    <a:pt x="259954" y="66373"/>
                  </a:cubicBezTo>
                  <a:cubicBezTo>
                    <a:pt x="171457" y="63633"/>
                    <a:pt x="71898" y="2740"/>
                    <a:pt x="71898" y="2740"/>
                  </a:cubicBezTo>
                  <a:close/>
                </a:path>
              </a:pathLst>
            </a:custGeom>
            <a:solidFill>
              <a:srgbClr val="FFFFFF"/>
            </a:solidFill>
            <a:ln w="10141" cap="rnd">
              <a:solidFill>
                <a:srgbClr val="263238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7" name="Полилиния: фигура 26">
              <a:extLst>
                <a:ext uri="{FF2B5EF4-FFF2-40B4-BE49-F238E27FC236}">
                  <a16:creationId xmlns:a16="http://schemas.microsoft.com/office/drawing/2014/main" id="{597ACA26-744C-49CA-BF6B-6CAB1D9A95BF}"/>
                </a:ext>
              </a:extLst>
            </p:cNvPr>
            <p:cNvSpPr/>
            <p:nvPr/>
          </p:nvSpPr>
          <p:spPr>
            <a:xfrm>
              <a:off x="2726293" y="3116725"/>
              <a:ext cx="291167" cy="231391"/>
            </a:xfrm>
            <a:custGeom>
              <a:avLst/>
              <a:gdLst>
                <a:gd name="connsiteX0" fmla="*/ 0 w 291167"/>
                <a:gd name="connsiteY0" fmla="*/ 231392 h 231391"/>
                <a:gd name="connsiteX1" fmla="*/ 291168 w 291167"/>
                <a:gd name="connsiteY1" fmla="*/ 175066 h 231391"/>
                <a:gd name="connsiteX2" fmla="*/ 28417 w 291167"/>
                <a:gd name="connsiteY2" fmla="*/ 0 h 231391"/>
                <a:gd name="connsiteX3" fmla="*/ 0 w 291167"/>
                <a:gd name="connsiteY3" fmla="*/ 231392 h 231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91167" h="231391">
                  <a:moveTo>
                    <a:pt x="0" y="231392"/>
                  </a:moveTo>
                  <a:lnTo>
                    <a:pt x="291168" y="175066"/>
                  </a:lnTo>
                  <a:lnTo>
                    <a:pt x="28417" y="0"/>
                  </a:lnTo>
                  <a:lnTo>
                    <a:pt x="0" y="231392"/>
                  </a:lnTo>
                  <a:close/>
                </a:path>
              </a:pathLst>
            </a:custGeom>
            <a:solidFill>
              <a:srgbClr val="263238"/>
            </a:solidFill>
            <a:ln w="10141" cap="rnd">
              <a:solidFill>
                <a:srgbClr val="263238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ru-RU"/>
            </a:p>
          </p:txBody>
        </p:sp>
        <p:grpSp>
          <p:nvGrpSpPr>
            <p:cNvPr id="28" name="Рисунок 1">
              <a:extLst>
                <a:ext uri="{FF2B5EF4-FFF2-40B4-BE49-F238E27FC236}">
                  <a16:creationId xmlns:a16="http://schemas.microsoft.com/office/drawing/2014/main" id="{710994E2-B130-4B7F-B057-3BA0EFD1A1A8}"/>
                </a:ext>
              </a:extLst>
            </p:cNvPr>
            <p:cNvGrpSpPr/>
            <p:nvPr/>
          </p:nvGrpSpPr>
          <p:grpSpPr>
            <a:xfrm>
              <a:off x="2526172" y="2172857"/>
              <a:ext cx="847701" cy="1145089"/>
              <a:chOff x="2526172" y="2172857"/>
              <a:chExt cx="847701" cy="1145089"/>
            </a:xfrm>
          </p:grpSpPr>
          <p:sp>
            <p:nvSpPr>
              <p:cNvPr id="29" name="Полилиния: фигура 28">
                <a:extLst>
                  <a:ext uri="{FF2B5EF4-FFF2-40B4-BE49-F238E27FC236}">
                    <a16:creationId xmlns:a16="http://schemas.microsoft.com/office/drawing/2014/main" id="{1228CC64-3AD9-4470-8887-0089B498A22A}"/>
                  </a:ext>
                </a:extLst>
              </p:cNvPr>
              <p:cNvSpPr/>
              <p:nvPr/>
            </p:nvSpPr>
            <p:spPr>
              <a:xfrm>
                <a:off x="2526172" y="2713272"/>
                <a:ext cx="78133" cy="211540"/>
              </a:xfrm>
              <a:custGeom>
                <a:avLst/>
                <a:gdLst>
                  <a:gd name="connsiteX0" fmla="*/ 74886 w 78133"/>
                  <a:gd name="connsiteY0" fmla="*/ 23179 h 211540"/>
                  <a:gd name="connsiteX1" fmla="*/ 3439 w 78133"/>
                  <a:gd name="connsiteY1" fmla="*/ 39417 h 211540"/>
                  <a:gd name="connsiteX2" fmla="*/ 78133 w 78133"/>
                  <a:gd name="connsiteY2" fmla="*/ 211540 h 211540"/>
                  <a:gd name="connsiteX3" fmla="*/ 74886 w 78133"/>
                  <a:gd name="connsiteY3" fmla="*/ 23179 h 2115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8133" h="211540">
                    <a:moveTo>
                      <a:pt x="74886" y="23179"/>
                    </a:moveTo>
                    <a:cubicBezTo>
                      <a:pt x="74886" y="23179"/>
                      <a:pt x="26172" y="-38525"/>
                      <a:pt x="3439" y="39417"/>
                    </a:cubicBezTo>
                    <a:cubicBezTo>
                      <a:pt x="-19295" y="117360"/>
                      <a:pt x="78133" y="211540"/>
                      <a:pt x="78133" y="211540"/>
                    </a:cubicBezTo>
                    <a:lnTo>
                      <a:pt x="74886" y="23179"/>
                    </a:lnTo>
                    <a:close/>
                  </a:path>
                </a:pathLst>
              </a:custGeom>
              <a:solidFill>
                <a:srgbClr val="FFFFFF"/>
              </a:solidFill>
              <a:ln w="10141" cap="rnd">
                <a:solidFill>
                  <a:srgbClr val="263238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30" name="Полилиния: фигура 29">
                <a:extLst>
                  <a:ext uri="{FF2B5EF4-FFF2-40B4-BE49-F238E27FC236}">
                    <a16:creationId xmlns:a16="http://schemas.microsoft.com/office/drawing/2014/main" id="{96160C16-15AF-40C6-9E08-35F45135F735}"/>
                  </a:ext>
                </a:extLst>
              </p:cNvPr>
              <p:cNvSpPr/>
              <p:nvPr/>
            </p:nvSpPr>
            <p:spPr>
              <a:xfrm>
                <a:off x="3295740" y="2713272"/>
                <a:ext cx="78133" cy="211540"/>
              </a:xfrm>
              <a:custGeom>
                <a:avLst/>
                <a:gdLst>
                  <a:gd name="connsiteX0" fmla="*/ 3248 w 78133"/>
                  <a:gd name="connsiteY0" fmla="*/ 23179 h 211540"/>
                  <a:gd name="connsiteX1" fmla="*/ 74695 w 78133"/>
                  <a:gd name="connsiteY1" fmla="*/ 39417 h 211540"/>
                  <a:gd name="connsiteX2" fmla="*/ 0 w 78133"/>
                  <a:gd name="connsiteY2" fmla="*/ 211540 h 211540"/>
                  <a:gd name="connsiteX3" fmla="*/ 3248 w 78133"/>
                  <a:gd name="connsiteY3" fmla="*/ 23179 h 2115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8133" h="211540">
                    <a:moveTo>
                      <a:pt x="3248" y="23179"/>
                    </a:moveTo>
                    <a:cubicBezTo>
                      <a:pt x="3248" y="23179"/>
                      <a:pt x="51962" y="-38525"/>
                      <a:pt x="74695" y="39417"/>
                    </a:cubicBezTo>
                    <a:cubicBezTo>
                      <a:pt x="97428" y="117360"/>
                      <a:pt x="0" y="211540"/>
                      <a:pt x="0" y="211540"/>
                    </a:cubicBezTo>
                    <a:lnTo>
                      <a:pt x="3248" y="23179"/>
                    </a:lnTo>
                    <a:close/>
                  </a:path>
                </a:pathLst>
              </a:custGeom>
              <a:solidFill>
                <a:srgbClr val="FFFFFF"/>
              </a:solidFill>
              <a:ln w="10141" cap="rnd">
                <a:solidFill>
                  <a:srgbClr val="263238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31" name="Полилиния: фигура 30">
                <a:extLst>
                  <a:ext uri="{FF2B5EF4-FFF2-40B4-BE49-F238E27FC236}">
                    <a16:creationId xmlns:a16="http://schemas.microsoft.com/office/drawing/2014/main" id="{A77D765D-5410-47F0-B1FD-574D8A2CEBA0}"/>
                  </a:ext>
                </a:extLst>
              </p:cNvPr>
              <p:cNvSpPr/>
              <p:nvPr/>
            </p:nvSpPr>
            <p:spPr>
              <a:xfrm>
                <a:off x="2582906" y="2263209"/>
                <a:ext cx="729022" cy="1054738"/>
              </a:xfrm>
              <a:custGeom>
                <a:avLst/>
                <a:gdLst>
                  <a:gd name="connsiteX0" fmla="*/ 171194 w 729022"/>
                  <a:gd name="connsiteY0" fmla="*/ 83327 h 1054738"/>
                  <a:gd name="connsiteX1" fmla="*/ 11554 w 729022"/>
                  <a:gd name="connsiteY1" fmla="*/ 259103 h 1054738"/>
                  <a:gd name="connsiteX2" fmla="*/ 21703 w 729022"/>
                  <a:gd name="connsiteY2" fmla="*/ 806730 h 1054738"/>
                  <a:gd name="connsiteX3" fmla="*/ 302621 w 729022"/>
                  <a:gd name="connsiteY3" fmla="*/ 1039137 h 1054738"/>
                  <a:gd name="connsiteX4" fmla="*/ 486516 w 729022"/>
                  <a:gd name="connsiteY4" fmla="*/ 1035077 h 1054738"/>
                  <a:gd name="connsiteX5" fmla="*/ 722982 w 729022"/>
                  <a:gd name="connsiteY5" fmla="*/ 794653 h 1054738"/>
                  <a:gd name="connsiteX6" fmla="*/ 708876 w 729022"/>
                  <a:gd name="connsiteY6" fmla="*/ 220741 h 1054738"/>
                  <a:gd name="connsiteX7" fmla="*/ 351233 w 729022"/>
                  <a:gd name="connsiteY7" fmla="*/ 513 h 1054738"/>
                  <a:gd name="connsiteX8" fmla="*/ 171397 w 729022"/>
                  <a:gd name="connsiteY8" fmla="*/ 83327 h 10547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729022" h="1054738">
                    <a:moveTo>
                      <a:pt x="171194" y="83327"/>
                    </a:moveTo>
                    <a:cubicBezTo>
                      <a:pt x="171194" y="83327"/>
                      <a:pt x="31750" y="218711"/>
                      <a:pt x="11554" y="259103"/>
                    </a:cubicBezTo>
                    <a:cubicBezTo>
                      <a:pt x="-8642" y="299495"/>
                      <a:pt x="-523" y="762279"/>
                      <a:pt x="21703" y="806730"/>
                    </a:cubicBezTo>
                    <a:cubicBezTo>
                      <a:pt x="43929" y="851182"/>
                      <a:pt x="266187" y="1024928"/>
                      <a:pt x="302621" y="1039137"/>
                    </a:cubicBezTo>
                    <a:cubicBezTo>
                      <a:pt x="338953" y="1053243"/>
                      <a:pt x="421869" y="1067452"/>
                      <a:pt x="486516" y="1035077"/>
                    </a:cubicBezTo>
                    <a:cubicBezTo>
                      <a:pt x="551164" y="1002703"/>
                      <a:pt x="706744" y="837075"/>
                      <a:pt x="722982" y="794653"/>
                    </a:cubicBezTo>
                    <a:cubicBezTo>
                      <a:pt x="739119" y="752231"/>
                      <a:pt x="718923" y="267222"/>
                      <a:pt x="708876" y="220741"/>
                    </a:cubicBezTo>
                    <a:cubicBezTo>
                      <a:pt x="698727" y="174260"/>
                      <a:pt x="454243" y="8531"/>
                      <a:pt x="351233" y="513"/>
                    </a:cubicBezTo>
                    <a:cubicBezTo>
                      <a:pt x="248224" y="-7606"/>
                      <a:pt x="171397" y="83327"/>
                      <a:pt x="171397" y="83327"/>
                    </a:cubicBezTo>
                    <a:close/>
                  </a:path>
                </a:pathLst>
              </a:custGeom>
              <a:solidFill>
                <a:srgbClr val="FFFFFF"/>
              </a:solidFill>
              <a:ln w="10141" cap="rnd">
                <a:solidFill>
                  <a:srgbClr val="263238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481" name="Полилиния: фигура 480">
                <a:extLst>
                  <a:ext uri="{FF2B5EF4-FFF2-40B4-BE49-F238E27FC236}">
                    <a16:creationId xmlns:a16="http://schemas.microsoft.com/office/drawing/2014/main" id="{6CC05C1B-B54E-4D84-979E-32EDBC4D76D4}"/>
                  </a:ext>
                </a:extLst>
              </p:cNvPr>
              <p:cNvSpPr/>
              <p:nvPr/>
            </p:nvSpPr>
            <p:spPr>
              <a:xfrm>
                <a:off x="2856427" y="2172857"/>
                <a:ext cx="516544" cy="296072"/>
              </a:xfrm>
              <a:custGeom>
                <a:avLst/>
                <a:gdLst>
                  <a:gd name="connsiteX0" fmla="*/ 7280 w 516544"/>
                  <a:gd name="connsiteY0" fmla="*/ 90865 h 296072"/>
                  <a:gd name="connsiteX1" fmla="*/ 366343 w 516544"/>
                  <a:gd name="connsiteY1" fmla="*/ 288766 h 296072"/>
                  <a:gd name="connsiteX2" fmla="*/ 516545 w 516544"/>
                  <a:gd name="connsiteY2" fmla="*/ 296073 h 296072"/>
                  <a:gd name="connsiteX3" fmla="*/ 84207 w 516544"/>
                  <a:gd name="connsiteY3" fmla="*/ 28551 h 296072"/>
                  <a:gd name="connsiteX4" fmla="*/ 7280 w 516544"/>
                  <a:gd name="connsiteY4" fmla="*/ 90865 h 2960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16544" h="296072">
                    <a:moveTo>
                      <a:pt x="7280" y="90865"/>
                    </a:moveTo>
                    <a:cubicBezTo>
                      <a:pt x="7280" y="90865"/>
                      <a:pt x="216141" y="281357"/>
                      <a:pt x="366343" y="288766"/>
                    </a:cubicBezTo>
                    <a:lnTo>
                      <a:pt x="516545" y="296073"/>
                    </a:lnTo>
                    <a:cubicBezTo>
                      <a:pt x="516545" y="296073"/>
                      <a:pt x="186811" y="252129"/>
                      <a:pt x="84207" y="28551"/>
                    </a:cubicBezTo>
                    <a:cubicBezTo>
                      <a:pt x="84207" y="28551"/>
                      <a:pt x="-29357" y="-66745"/>
                      <a:pt x="7280" y="90865"/>
                    </a:cubicBezTo>
                    <a:close/>
                  </a:path>
                </a:pathLst>
              </a:custGeom>
              <a:solidFill>
                <a:srgbClr val="263238"/>
              </a:solidFill>
              <a:ln w="10141" cap="rnd">
                <a:solidFill>
                  <a:srgbClr val="263238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482" name="Полилиния: фигура 481">
                <a:extLst>
                  <a:ext uri="{FF2B5EF4-FFF2-40B4-BE49-F238E27FC236}">
                    <a16:creationId xmlns:a16="http://schemas.microsoft.com/office/drawing/2014/main" id="{591151C0-B004-4EAF-8F55-CB841322B264}"/>
                  </a:ext>
                </a:extLst>
              </p:cNvPr>
              <p:cNvSpPr/>
              <p:nvPr/>
            </p:nvSpPr>
            <p:spPr>
              <a:xfrm>
                <a:off x="2980418" y="2641560"/>
                <a:ext cx="16136" cy="204091"/>
              </a:xfrm>
              <a:custGeom>
                <a:avLst/>
                <a:gdLst>
                  <a:gd name="connsiteX0" fmla="*/ 0 w 16136"/>
                  <a:gd name="connsiteY0" fmla="*/ 0 h 204091"/>
                  <a:gd name="connsiteX1" fmla="*/ 16137 w 16136"/>
                  <a:gd name="connsiteY1" fmla="*/ 204091 h 2040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6136" h="204091">
                    <a:moveTo>
                      <a:pt x="0" y="0"/>
                    </a:moveTo>
                    <a:lnTo>
                      <a:pt x="16137" y="204091"/>
                    </a:lnTo>
                  </a:path>
                </a:pathLst>
              </a:custGeom>
              <a:ln w="10141" cap="rnd">
                <a:solidFill>
                  <a:srgbClr val="263238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483" name="Полилиния: фигура 482">
                <a:extLst>
                  <a:ext uri="{FF2B5EF4-FFF2-40B4-BE49-F238E27FC236}">
                    <a16:creationId xmlns:a16="http://schemas.microsoft.com/office/drawing/2014/main" id="{8356F423-6827-4B7A-BEAF-233850E7712C}"/>
                  </a:ext>
                </a:extLst>
              </p:cNvPr>
              <p:cNvSpPr/>
              <p:nvPr/>
            </p:nvSpPr>
            <p:spPr>
              <a:xfrm>
                <a:off x="2897503" y="2888073"/>
                <a:ext cx="115188" cy="54600"/>
              </a:xfrm>
              <a:custGeom>
                <a:avLst/>
                <a:gdLst>
                  <a:gd name="connsiteX0" fmla="*/ 115188 w 115188"/>
                  <a:gd name="connsiteY0" fmla="*/ 0 h 54600"/>
                  <a:gd name="connsiteX1" fmla="*/ 52571 w 115188"/>
                  <a:gd name="connsiteY1" fmla="*/ 54600 h 54600"/>
                  <a:gd name="connsiteX2" fmla="*/ 0 w 115188"/>
                  <a:gd name="connsiteY2" fmla="*/ 24256 h 546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15188" h="54600">
                    <a:moveTo>
                      <a:pt x="115188" y="0"/>
                    </a:moveTo>
                    <a:cubicBezTo>
                      <a:pt x="115188" y="0"/>
                      <a:pt x="78856" y="54600"/>
                      <a:pt x="52571" y="54600"/>
                    </a:cubicBezTo>
                    <a:cubicBezTo>
                      <a:pt x="26285" y="54600"/>
                      <a:pt x="0" y="24256"/>
                      <a:pt x="0" y="24256"/>
                    </a:cubicBezTo>
                  </a:path>
                </a:pathLst>
              </a:custGeom>
              <a:noFill/>
              <a:ln w="10141" cap="rnd">
                <a:solidFill>
                  <a:srgbClr val="263238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486" name="Полилиния: фигура 485">
                <a:extLst>
                  <a:ext uri="{FF2B5EF4-FFF2-40B4-BE49-F238E27FC236}">
                    <a16:creationId xmlns:a16="http://schemas.microsoft.com/office/drawing/2014/main" id="{BB66097E-93A3-49F1-9517-CDF8F2A3BE83}"/>
                  </a:ext>
                </a:extLst>
              </p:cNvPr>
              <p:cNvSpPr/>
              <p:nvPr/>
            </p:nvSpPr>
            <p:spPr>
              <a:xfrm>
                <a:off x="2792463" y="2954751"/>
                <a:ext cx="232305" cy="81375"/>
              </a:xfrm>
              <a:custGeom>
                <a:avLst/>
                <a:gdLst>
                  <a:gd name="connsiteX0" fmla="*/ 0 w 232305"/>
                  <a:gd name="connsiteY0" fmla="*/ 0 h 81375"/>
                  <a:gd name="connsiteX1" fmla="*/ 107069 w 232305"/>
                  <a:gd name="connsiteY1" fmla="*/ 80784 h 81375"/>
                  <a:gd name="connsiteX2" fmla="*/ 232305 w 232305"/>
                  <a:gd name="connsiteY2" fmla="*/ 66677 h 813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32305" h="81375">
                    <a:moveTo>
                      <a:pt x="0" y="0"/>
                    </a:moveTo>
                    <a:cubicBezTo>
                      <a:pt x="0" y="0"/>
                      <a:pt x="46481" y="76826"/>
                      <a:pt x="107069" y="80784"/>
                    </a:cubicBezTo>
                    <a:cubicBezTo>
                      <a:pt x="167657" y="84844"/>
                      <a:pt x="232305" y="66677"/>
                      <a:pt x="232305" y="66677"/>
                    </a:cubicBezTo>
                  </a:path>
                </a:pathLst>
              </a:custGeom>
              <a:noFill/>
              <a:ln w="10141" cap="rnd">
                <a:solidFill>
                  <a:srgbClr val="263238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487" name="Полилиния: фигура 486">
                <a:extLst>
                  <a:ext uri="{FF2B5EF4-FFF2-40B4-BE49-F238E27FC236}">
                    <a16:creationId xmlns:a16="http://schemas.microsoft.com/office/drawing/2014/main" id="{8648419D-E7DF-49F5-9D3A-713524BA85A4}"/>
                  </a:ext>
                </a:extLst>
              </p:cNvPr>
              <p:cNvSpPr/>
              <p:nvPr/>
            </p:nvSpPr>
            <p:spPr>
              <a:xfrm>
                <a:off x="2989352" y="2509647"/>
                <a:ext cx="233621" cy="99538"/>
              </a:xfrm>
              <a:custGeom>
                <a:avLst/>
                <a:gdLst>
                  <a:gd name="connsiteX0" fmla="*/ 15321 w 233621"/>
                  <a:gd name="connsiteY0" fmla="*/ 99539 h 99538"/>
                  <a:gd name="connsiteX1" fmla="*/ 114373 w 233621"/>
                  <a:gd name="connsiteY1" fmla="*/ 28802 h 99538"/>
                  <a:gd name="connsiteX2" fmla="*/ 233621 w 233621"/>
                  <a:gd name="connsiteY2" fmla="*/ 44939 h 99538"/>
                  <a:gd name="connsiteX3" fmla="*/ 128582 w 233621"/>
                  <a:gd name="connsiteY3" fmla="*/ 487 h 99538"/>
                  <a:gd name="connsiteX4" fmla="*/ 11363 w 233621"/>
                  <a:gd name="connsiteY4" fmla="*/ 71224 h 99538"/>
                  <a:gd name="connsiteX5" fmla="*/ 15423 w 233621"/>
                  <a:gd name="connsiteY5" fmla="*/ 99539 h 995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33621" h="99538">
                    <a:moveTo>
                      <a:pt x="15321" y="99539"/>
                    </a:moveTo>
                    <a:cubicBezTo>
                      <a:pt x="15321" y="99539"/>
                      <a:pt x="86058" y="46968"/>
                      <a:pt x="114373" y="28802"/>
                    </a:cubicBezTo>
                    <a:cubicBezTo>
                      <a:pt x="142688" y="10636"/>
                      <a:pt x="233621" y="44939"/>
                      <a:pt x="233621" y="44939"/>
                    </a:cubicBezTo>
                    <a:cubicBezTo>
                      <a:pt x="233621" y="44939"/>
                      <a:pt x="164914" y="6576"/>
                      <a:pt x="128582" y="487"/>
                    </a:cubicBezTo>
                    <a:cubicBezTo>
                      <a:pt x="92249" y="-5602"/>
                      <a:pt x="17453" y="46968"/>
                      <a:pt x="11363" y="71224"/>
                    </a:cubicBezTo>
                    <a:cubicBezTo>
                      <a:pt x="5274" y="95479"/>
                      <a:pt x="-12892" y="89390"/>
                      <a:pt x="15423" y="99539"/>
                    </a:cubicBezTo>
                    <a:close/>
                  </a:path>
                </a:pathLst>
              </a:custGeom>
              <a:solidFill>
                <a:srgbClr val="263238"/>
              </a:solidFill>
              <a:ln w="10141" cap="rnd">
                <a:solidFill>
                  <a:srgbClr val="263238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488" name="Полилиния: фигура 487">
                <a:extLst>
                  <a:ext uri="{FF2B5EF4-FFF2-40B4-BE49-F238E27FC236}">
                    <a16:creationId xmlns:a16="http://schemas.microsoft.com/office/drawing/2014/main" id="{351A3677-3500-409C-87D2-F078289BA5BE}"/>
                  </a:ext>
                </a:extLst>
              </p:cNvPr>
              <p:cNvSpPr/>
              <p:nvPr/>
            </p:nvSpPr>
            <p:spPr>
              <a:xfrm>
                <a:off x="2652005" y="2588510"/>
                <a:ext cx="207135" cy="38436"/>
              </a:xfrm>
              <a:custGeom>
                <a:avLst/>
                <a:gdLst>
                  <a:gd name="connsiteX0" fmla="*/ 207136 w 207135"/>
                  <a:gd name="connsiteY0" fmla="*/ 30419 h 38436"/>
                  <a:gd name="connsiteX1" fmla="*/ 162684 w 207135"/>
                  <a:gd name="connsiteY1" fmla="*/ 74 h 38436"/>
                  <a:gd name="connsiteX2" fmla="*/ 3044 w 207135"/>
                  <a:gd name="connsiteY2" fmla="*/ 38436 h 38436"/>
                  <a:gd name="connsiteX3" fmla="*/ 166744 w 207135"/>
                  <a:gd name="connsiteY3" fmla="*/ 36407 h 38436"/>
                  <a:gd name="connsiteX4" fmla="*/ 207136 w 207135"/>
                  <a:gd name="connsiteY4" fmla="*/ 30317 h 384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07135" h="38436">
                    <a:moveTo>
                      <a:pt x="207136" y="30419"/>
                    </a:moveTo>
                    <a:cubicBezTo>
                      <a:pt x="207136" y="30419"/>
                      <a:pt x="196987" y="2104"/>
                      <a:pt x="162684" y="74"/>
                    </a:cubicBezTo>
                    <a:cubicBezTo>
                      <a:pt x="128381" y="-1956"/>
                      <a:pt x="-23241" y="38436"/>
                      <a:pt x="3044" y="38436"/>
                    </a:cubicBezTo>
                    <a:cubicBezTo>
                      <a:pt x="29329" y="38436"/>
                      <a:pt x="138429" y="36407"/>
                      <a:pt x="166744" y="36407"/>
                    </a:cubicBezTo>
                    <a:cubicBezTo>
                      <a:pt x="195059" y="36407"/>
                      <a:pt x="207136" y="30317"/>
                      <a:pt x="207136" y="30317"/>
                    </a:cubicBezTo>
                    <a:close/>
                  </a:path>
                </a:pathLst>
              </a:custGeom>
              <a:solidFill>
                <a:srgbClr val="263238"/>
              </a:solidFill>
              <a:ln w="10141" cap="rnd">
                <a:solidFill>
                  <a:srgbClr val="263238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489" name="Полилиния: фигура 488">
                <a:extLst>
                  <a:ext uri="{FF2B5EF4-FFF2-40B4-BE49-F238E27FC236}">
                    <a16:creationId xmlns:a16="http://schemas.microsoft.com/office/drawing/2014/main" id="{25BEF0B2-E8C2-404D-982C-B64FE24C679D}"/>
                  </a:ext>
                </a:extLst>
              </p:cNvPr>
              <p:cNvSpPr/>
              <p:nvPr/>
            </p:nvSpPr>
            <p:spPr>
              <a:xfrm>
                <a:off x="3049229" y="2734523"/>
                <a:ext cx="162230" cy="41553"/>
              </a:xfrm>
              <a:custGeom>
                <a:avLst/>
                <a:gdLst>
                  <a:gd name="connsiteX0" fmla="*/ 157506 w 162230"/>
                  <a:gd name="connsiteY0" fmla="*/ 0 h 41553"/>
                  <a:gd name="connsiteX1" fmla="*/ 64543 w 162230"/>
                  <a:gd name="connsiteY1" fmla="*/ 10149 h 41553"/>
                  <a:gd name="connsiteX2" fmla="*/ 3955 w 162230"/>
                  <a:gd name="connsiteY2" fmla="*/ 14208 h 41553"/>
                  <a:gd name="connsiteX3" fmla="*/ 103007 w 162230"/>
                  <a:gd name="connsiteY3" fmla="*/ 38464 h 41553"/>
                  <a:gd name="connsiteX4" fmla="*/ 157607 w 162230"/>
                  <a:gd name="connsiteY4" fmla="*/ 102 h 415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2230" h="41553">
                    <a:moveTo>
                      <a:pt x="157506" y="0"/>
                    </a:moveTo>
                    <a:cubicBezTo>
                      <a:pt x="157506" y="0"/>
                      <a:pt x="104935" y="12077"/>
                      <a:pt x="64543" y="10149"/>
                    </a:cubicBezTo>
                    <a:cubicBezTo>
                      <a:pt x="24151" y="8119"/>
                      <a:pt x="-12283" y="-3958"/>
                      <a:pt x="3955" y="14208"/>
                    </a:cubicBezTo>
                    <a:cubicBezTo>
                      <a:pt x="20092" y="32375"/>
                      <a:pt x="52466" y="48511"/>
                      <a:pt x="103007" y="38464"/>
                    </a:cubicBezTo>
                    <a:cubicBezTo>
                      <a:pt x="153548" y="28315"/>
                      <a:pt x="171714" y="18268"/>
                      <a:pt x="157607" y="102"/>
                    </a:cubicBezTo>
                    <a:close/>
                  </a:path>
                </a:pathLst>
              </a:custGeom>
              <a:solidFill>
                <a:srgbClr val="263238"/>
              </a:solidFill>
              <a:ln w="1014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490" name="Полилиния: фигура 489">
                <a:extLst>
                  <a:ext uri="{FF2B5EF4-FFF2-40B4-BE49-F238E27FC236}">
                    <a16:creationId xmlns:a16="http://schemas.microsoft.com/office/drawing/2014/main" id="{1AE8AFE7-BF1B-436D-A54C-2A811EAE2B65}"/>
                  </a:ext>
                </a:extLst>
              </p:cNvPr>
              <p:cNvSpPr/>
              <p:nvPr/>
            </p:nvSpPr>
            <p:spPr>
              <a:xfrm>
                <a:off x="2683468" y="2734523"/>
                <a:ext cx="162230" cy="41553"/>
              </a:xfrm>
              <a:custGeom>
                <a:avLst/>
                <a:gdLst>
                  <a:gd name="connsiteX0" fmla="*/ 157506 w 162230"/>
                  <a:gd name="connsiteY0" fmla="*/ 0 h 41553"/>
                  <a:gd name="connsiteX1" fmla="*/ 64543 w 162230"/>
                  <a:gd name="connsiteY1" fmla="*/ 10149 h 41553"/>
                  <a:gd name="connsiteX2" fmla="*/ 3955 w 162230"/>
                  <a:gd name="connsiteY2" fmla="*/ 14208 h 41553"/>
                  <a:gd name="connsiteX3" fmla="*/ 103007 w 162230"/>
                  <a:gd name="connsiteY3" fmla="*/ 38464 h 41553"/>
                  <a:gd name="connsiteX4" fmla="*/ 157607 w 162230"/>
                  <a:gd name="connsiteY4" fmla="*/ 102 h 415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2230" h="41553">
                    <a:moveTo>
                      <a:pt x="157506" y="0"/>
                    </a:moveTo>
                    <a:cubicBezTo>
                      <a:pt x="157506" y="0"/>
                      <a:pt x="104935" y="12077"/>
                      <a:pt x="64543" y="10149"/>
                    </a:cubicBezTo>
                    <a:cubicBezTo>
                      <a:pt x="24151" y="8119"/>
                      <a:pt x="-12283" y="-3958"/>
                      <a:pt x="3955" y="14208"/>
                    </a:cubicBezTo>
                    <a:cubicBezTo>
                      <a:pt x="20092" y="32375"/>
                      <a:pt x="52466" y="48511"/>
                      <a:pt x="103007" y="38464"/>
                    </a:cubicBezTo>
                    <a:cubicBezTo>
                      <a:pt x="153548" y="28315"/>
                      <a:pt x="171714" y="18268"/>
                      <a:pt x="157607" y="102"/>
                    </a:cubicBezTo>
                    <a:close/>
                  </a:path>
                </a:pathLst>
              </a:custGeom>
              <a:solidFill>
                <a:srgbClr val="263238"/>
              </a:solidFill>
              <a:ln w="10141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</p:grpSp>
        <p:grpSp>
          <p:nvGrpSpPr>
            <p:cNvPr id="491" name="Рисунок 1">
              <a:extLst>
                <a:ext uri="{FF2B5EF4-FFF2-40B4-BE49-F238E27FC236}">
                  <a16:creationId xmlns:a16="http://schemas.microsoft.com/office/drawing/2014/main" id="{710994E2-B130-4B7F-B057-3BA0EFD1A1A8}"/>
                </a:ext>
              </a:extLst>
            </p:cNvPr>
            <p:cNvGrpSpPr/>
            <p:nvPr/>
          </p:nvGrpSpPr>
          <p:grpSpPr>
            <a:xfrm>
              <a:off x="2168518" y="3059530"/>
              <a:ext cx="715040" cy="870008"/>
              <a:chOff x="2168518" y="3059530"/>
              <a:chExt cx="715040" cy="870008"/>
            </a:xfrm>
          </p:grpSpPr>
          <p:sp>
            <p:nvSpPr>
              <p:cNvPr id="492" name="Полилиния: фигура 491">
                <a:extLst>
                  <a:ext uri="{FF2B5EF4-FFF2-40B4-BE49-F238E27FC236}">
                    <a16:creationId xmlns:a16="http://schemas.microsoft.com/office/drawing/2014/main" id="{4CF4C5DE-3C08-42AD-8489-E2351CAED56A}"/>
                  </a:ext>
                </a:extLst>
              </p:cNvPr>
              <p:cNvSpPr/>
              <p:nvPr/>
            </p:nvSpPr>
            <p:spPr>
              <a:xfrm>
                <a:off x="2168518" y="3059530"/>
                <a:ext cx="715040" cy="870008"/>
              </a:xfrm>
              <a:custGeom>
                <a:avLst/>
                <a:gdLst>
                  <a:gd name="connsiteX0" fmla="*/ 0 w 715040"/>
                  <a:gd name="connsiteY0" fmla="*/ 839562 h 870008"/>
                  <a:gd name="connsiteX1" fmla="*/ 88497 w 715040"/>
                  <a:gd name="connsiteY1" fmla="*/ 471873 h 870008"/>
                  <a:gd name="connsiteX2" fmla="*/ 434062 w 715040"/>
                  <a:gd name="connsiteY2" fmla="*/ 176036 h 870008"/>
                  <a:gd name="connsiteX3" fmla="*/ 575029 w 715040"/>
                  <a:gd name="connsiteY3" fmla="*/ 1884 h 870008"/>
                  <a:gd name="connsiteX4" fmla="*/ 525300 w 715040"/>
                  <a:gd name="connsiteY4" fmla="*/ 173296 h 870008"/>
                  <a:gd name="connsiteX5" fmla="*/ 439543 w 715040"/>
                  <a:gd name="connsiteY5" fmla="*/ 289398 h 870008"/>
                  <a:gd name="connsiteX6" fmla="*/ 635820 w 715040"/>
                  <a:gd name="connsiteY6" fmla="*/ 347449 h 870008"/>
                  <a:gd name="connsiteX7" fmla="*/ 713255 w 715040"/>
                  <a:gd name="connsiteY7" fmla="*/ 513381 h 870008"/>
                  <a:gd name="connsiteX8" fmla="*/ 685650 w 715040"/>
                  <a:gd name="connsiteY8" fmla="*/ 577014 h 870008"/>
                  <a:gd name="connsiteX9" fmla="*/ 514237 w 715040"/>
                  <a:gd name="connsiteY9" fmla="*/ 502319 h 870008"/>
                  <a:gd name="connsiteX10" fmla="*/ 395396 w 715040"/>
                  <a:gd name="connsiteY10" fmla="*/ 518861 h 870008"/>
                  <a:gd name="connsiteX11" fmla="*/ 251588 w 715040"/>
                  <a:gd name="connsiteY11" fmla="*/ 643285 h 870008"/>
                  <a:gd name="connsiteX12" fmla="*/ 171412 w 715040"/>
                  <a:gd name="connsiteY12" fmla="*/ 665409 h 870008"/>
                  <a:gd name="connsiteX13" fmla="*/ 174153 w 715040"/>
                  <a:gd name="connsiteY13" fmla="*/ 870008 h 870008"/>
                  <a:gd name="connsiteX14" fmla="*/ 0 w 715040"/>
                  <a:gd name="connsiteY14" fmla="*/ 839562 h 8700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715040" h="870008">
                    <a:moveTo>
                      <a:pt x="0" y="839562"/>
                    </a:moveTo>
                    <a:cubicBezTo>
                      <a:pt x="0" y="839562"/>
                      <a:pt x="60791" y="505059"/>
                      <a:pt x="88497" y="471873"/>
                    </a:cubicBezTo>
                    <a:cubicBezTo>
                      <a:pt x="116203" y="438686"/>
                      <a:pt x="417520" y="192579"/>
                      <a:pt x="434062" y="176036"/>
                    </a:cubicBezTo>
                    <a:cubicBezTo>
                      <a:pt x="450605" y="159494"/>
                      <a:pt x="569548" y="-20241"/>
                      <a:pt x="575029" y="1884"/>
                    </a:cubicBezTo>
                    <a:cubicBezTo>
                      <a:pt x="580509" y="24008"/>
                      <a:pt x="561226" y="120726"/>
                      <a:pt x="525300" y="173296"/>
                    </a:cubicBezTo>
                    <a:cubicBezTo>
                      <a:pt x="489373" y="225867"/>
                      <a:pt x="439543" y="289398"/>
                      <a:pt x="439543" y="289398"/>
                    </a:cubicBezTo>
                    <a:cubicBezTo>
                      <a:pt x="439543" y="289398"/>
                      <a:pt x="624757" y="336387"/>
                      <a:pt x="635820" y="347449"/>
                    </a:cubicBezTo>
                    <a:cubicBezTo>
                      <a:pt x="646882" y="358511"/>
                      <a:pt x="709804" y="496229"/>
                      <a:pt x="713255" y="513381"/>
                    </a:cubicBezTo>
                    <a:cubicBezTo>
                      <a:pt x="719141" y="543015"/>
                      <a:pt x="710616" y="574781"/>
                      <a:pt x="685650" y="577014"/>
                    </a:cubicBezTo>
                    <a:cubicBezTo>
                      <a:pt x="662917" y="579043"/>
                      <a:pt x="514237" y="502319"/>
                      <a:pt x="514237" y="502319"/>
                    </a:cubicBezTo>
                    <a:lnTo>
                      <a:pt x="395396" y="518861"/>
                    </a:lnTo>
                    <a:cubicBezTo>
                      <a:pt x="395396" y="518861"/>
                      <a:pt x="309639" y="623901"/>
                      <a:pt x="251588" y="643285"/>
                    </a:cubicBezTo>
                    <a:cubicBezTo>
                      <a:pt x="193537" y="662669"/>
                      <a:pt x="171412" y="665409"/>
                      <a:pt x="171412" y="665409"/>
                    </a:cubicBezTo>
                    <a:lnTo>
                      <a:pt x="174153" y="870008"/>
                    </a:lnTo>
                    <a:lnTo>
                      <a:pt x="0" y="839562"/>
                    </a:lnTo>
                    <a:close/>
                  </a:path>
                </a:pathLst>
              </a:custGeom>
              <a:solidFill>
                <a:srgbClr val="FFFFFF"/>
              </a:solidFill>
              <a:ln w="10141" cap="rnd">
                <a:solidFill>
                  <a:srgbClr val="263238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493" name="Полилиния: фигура 492">
                <a:extLst>
                  <a:ext uri="{FF2B5EF4-FFF2-40B4-BE49-F238E27FC236}">
                    <a16:creationId xmlns:a16="http://schemas.microsoft.com/office/drawing/2014/main" id="{AFD553E0-5438-4F21-9E17-04436931DB51}"/>
                  </a:ext>
                </a:extLst>
              </p:cNvPr>
              <p:cNvSpPr/>
              <p:nvPr/>
            </p:nvSpPr>
            <p:spPr>
              <a:xfrm>
                <a:off x="2617093" y="3412054"/>
                <a:ext cx="264781" cy="160857"/>
              </a:xfrm>
              <a:custGeom>
                <a:avLst/>
                <a:gdLst>
                  <a:gd name="connsiteX0" fmla="*/ 0 w 264781"/>
                  <a:gd name="connsiteY0" fmla="*/ 0 h 160857"/>
                  <a:gd name="connsiteX1" fmla="*/ 171311 w 264781"/>
                  <a:gd name="connsiteY1" fmla="*/ 29533 h 160857"/>
                  <a:gd name="connsiteX2" fmla="*/ 264781 w 264781"/>
                  <a:gd name="connsiteY2" fmla="*/ 160858 h 1608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64781" h="160857">
                    <a:moveTo>
                      <a:pt x="0" y="0"/>
                    </a:moveTo>
                    <a:cubicBezTo>
                      <a:pt x="0" y="0"/>
                      <a:pt x="161467" y="21617"/>
                      <a:pt x="171311" y="29533"/>
                    </a:cubicBezTo>
                    <a:cubicBezTo>
                      <a:pt x="181155" y="37449"/>
                      <a:pt x="264781" y="160858"/>
                      <a:pt x="264781" y="160858"/>
                    </a:cubicBezTo>
                  </a:path>
                </a:pathLst>
              </a:custGeom>
              <a:noFill/>
              <a:ln w="10141" cap="rnd">
                <a:solidFill>
                  <a:srgbClr val="263238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494" name="Полилиния: фигура 493">
                <a:extLst>
                  <a:ext uri="{FF2B5EF4-FFF2-40B4-BE49-F238E27FC236}">
                    <a16:creationId xmlns:a16="http://schemas.microsoft.com/office/drawing/2014/main" id="{4BFE999D-2052-420C-8391-6AABD21C0F79}"/>
                  </a:ext>
                </a:extLst>
              </p:cNvPr>
              <p:cNvSpPr/>
              <p:nvPr/>
            </p:nvSpPr>
            <p:spPr>
              <a:xfrm>
                <a:off x="2628155" y="3485632"/>
                <a:ext cx="246817" cy="129295"/>
              </a:xfrm>
              <a:custGeom>
                <a:avLst/>
                <a:gdLst>
                  <a:gd name="connsiteX0" fmla="*/ 0 w 246817"/>
                  <a:gd name="connsiteY0" fmla="*/ 0 h 129295"/>
                  <a:gd name="connsiteX1" fmla="*/ 172021 w 246817"/>
                  <a:gd name="connsiteY1" fmla="*/ 46583 h 129295"/>
                  <a:gd name="connsiteX2" fmla="*/ 246818 w 246817"/>
                  <a:gd name="connsiteY2" fmla="*/ 129295 h 1292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46817" h="129295">
                    <a:moveTo>
                      <a:pt x="0" y="0"/>
                    </a:moveTo>
                    <a:cubicBezTo>
                      <a:pt x="0" y="0"/>
                      <a:pt x="160249" y="36739"/>
                      <a:pt x="172021" y="46583"/>
                    </a:cubicBezTo>
                    <a:cubicBezTo>
                      <a:pt x="183794" y="56427"/>
                      <a:pt x="246818" y="129295"/>
                      <a:pt x="246818" y="129295"/>
                    </a:cubicBezTo>
                  </a:path>
                </a:pathLst>
              </a:custGeom>
              <a:noFill/>
              <a:ln w="10141" cap="rnd">
                <a:solidFill>
                  <a:srgbClr val="263238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</p:grpSp>
        <p:sp>
          <p:nvSpPr>
            <p:cNvPr id="495" name="Полилиния: фигура 494">
              <a:extLst>
                <a:ext uri="{FF2B5EF4-FFF2-40B4-BE49-F238E27FC236}">
                  <a16:creationId xmlns:a16="http://schemas.microsoft.com/office/drawing/2014/main" id="{8B33D0FE-E42E-4351-9975-BD8B450C956E}"/>
                </a:ext>
              </a:extLst>
            </p:cNvPr>
            <p:cNvSpPr/>
            <p:nvPr/>
          </p:nvSpPr>
          <p:spPr>
            <a:xfrm>
              <a:off x="2144860" y="4755508"/>
              <a:ext cx="733563" cy="406645"/>
            </a:xfrm>
            <a:custGeom>
              <a:avLst/>
              <a:gdLst>
                <a:gd name="connsiteX0" fmla="*/ 733462 w 733563"/>
                <a:gd name="connsiteY0" fmla="*/ 140192 h 406645"/>
                <a:gd name="connsiteX1" fmla="*/ 507652 w 733563"/>
                <a:gd name="connsiteY1" fmla="*/ 96755 h 406645"/>
                <a:gd name="connsiteX2" fmla="*/ 325279 w 733563"/>
                <a:gd name="connsiteY2" fmla="*/ 38806 h 406645"/>
                <a:gd name="connsiteX3" fmla="*/ 47304 w 733563"/>
                <a:gd name="connsiteY3" fmla="*/ 4097 h 406645"/>
                <a:gd name="connsiteX4" fmla="*/ 21222 w 733563"/>
                <a:gd name="connsiteY4" fmla="*/ 131464 h 406645"/>
                <a:gd name="connsiteX5" fmla="*/ 924 w 733563"/>
                <a:gd name="connsiteY5" fmla="*/ 203824 h 406645"/>
                <a:gd name="connsiteX6" fmla="*/ 924 w 733563"/>
                <a:gd name="connsiteY6" fmla="*/ 267559 h 406645"/>
                <a:gd name="connsiteX7" fmla="*/ 32792 w 733563"/>
                <a:gd name="connsiteY7" fmla="*/ 406596 h 406645"/>
                <a:gd name="connsiteX8" fmla="*/ 99367 w 733563"/>
                <a:gd name="connsiteY8" fmla="*/ 279230 h 406645"/>
                <a:gd name="connsiteX9" fmla="*/ 249975 w 733563"/>
                <a:gd name="connsiteY9" fmla="*/ 313938 h 406645"/>
                <a:gd name="connsiteX10" fmla="*/ 449804 w 733563"/>
                <a:gd name="connsiteY10" fmla="*/ 270502 h 406645"/>
                <a:gd name="connsiteX11" fmla="*/ 719051 w 733563"/>
                <a:gd name="connsiteY11" fmla="*/ 334236 h 406645"/>
                <a:gd name="connsiteX12" fmla="*/ 733563 w 733563"/>
                <a:gd name="connsiteY12" fmla="*/ 140192 h 4066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733563" h="406645">
                  <a:moveTo>
                    <a:pt x="733462" y="140192"/>
                  </a:moveTo>
                  <a:cubicBezTo>
                    <a:pt x="733462" y="140192"/>
                    <a:pt x="516278" y="99698"/>
                    <a:pt x="507652" y="96755"/>
                  </a:cubicBezTo>
                  <a:cubicBezTo>
                    <a:pt x="498924" y="93812"/>
                    <a:pt x="345475" y="47533"/>
                    <a:pt x="325279" y="38806"/>
                  </a:cubicBezTo>
                  <a:cubicBezTo>
                    <a:pt x="304981" y="30078"/>
                    <a:pt x="58874" y="-13359"/>
                    <a:pt x="47304" y="4097"/>
                  </a:cubicBezTo>
                  <a:cubicBezTo>
                    <a:pt x="35735" y="21451"/>
                    <a:pt x="24165" y="122837"/>
                    <a:pt x="21222" y="131464"/>
                  </a:cubicBezTo>
                  <a:cubicBezTo>
                    <a:pt x="18279" y="140192"/>
                    <a:pt x="-4860" y="180685"/>
                    <a:pt x="924" y="203824"/>
                  </a:cubicBezTo>
                  <a:cubicBezTo>
                    <a:pt x="6709" y="226964"/>
                    <a:pt x="924" y="267559"/>
                    <a:pt x="924" y="267559"/>
                  </a:cubicBezTo>
                  <a:cubicBezTo>
                    <a:pt x="924" y="267559"/>
                    <a:pt x="-2019" y="403653"/>
                    <a:pt x="32792" y="406596"/>
                  </a:cubicBezTo>
                  <a:cubicBezTo>
                    <a:pt x="67500" y="409540"/>
                    <a:pt x="99367" y="279230"/>
                    <a:pt x="99367" y="279230"/>
                  </a:cubicBezTo>
                  <a:cubicBezTo>
                    <a:pt x="99367" y="279230"/>
                    <a:pt x="148589" y="308154"/>
                    <a:pt x="249975" y="313938"/>
                  </a:cubicBezTo>
                  <a:cubicBezTo>
                    <a:pt x="351361" y="319723"/>
                    <a:pt x="449804" y="270502"/>
                    <a:pt x="449804" y="270502"/>
                  </a:cubicBezTo>
                  <a:lnTo>
                    <a:pt x="719051" y="334236"/>
                  </a:lnTo>
                  <a:lnTo>
                    <a:pt x="733563" y="140192"/>
                  </a:lnTo>
                  <a:close/>
                </a:path>
              </a:pathLst>
            </a:custGeom>
            <a:solidFill>
              <a:srgbClr val="FFFFFF"/>
            </a:solidFill>
            <a:ln w="10141" cap="rnd">
              <a:solidFill>
                <a:srgbClr val="263238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ru-RU"/>
            </a:p>
          </p:txBody>
        </p:sp>
        <p:grpSp>
          <p:nvGrpSpPr>
            <p:cNvPr id="496" name="Рисунок 1">
              <a:extLst>
                <a:ext uri="{FF2B5EF4-FFF2-40B4-BE49-F238E27FC236}">
                  <a16:creationId xmlns:a16="http://schemas.microsoft.com/office/drawing/2014/main" id="{710994E2-B130-4B7F-B057-3BA0EFD1A1A8}"/>
                </a:ext>
              </a:extLst>
            </p:cNvPr>
            <p:cNvGrpSpPr/>
            <p:nvPr/>
          </p:nvGrpSpPr>
          <p:grpSpPr>
            <a:xfrm>
              <a:off x="1917415" y="3839925"/>
              <a:ext cx="638162" cy="1246647"/>
              <a:chOff x="1917415" y="3839925"/>
              <a:chExt cx="638162" cy="1246647"/>
            </a:xfrm>
          </p:grpSpPr>
          <p:sp>
            <p:nvSpPr>
              <p:cNvPr id="497" name="Полилиния: фигура 496">
                <a:extLst>
                  <a:ext uri="{FF2B5EF4-FFF2-40B4-BE49-F238E27FC236}">
                    <a16:creationId xmlns:a16="http://schemas.microsoft.com/office/drawing/2014/main" id="{B362FAE7-A0AB-4664-A285-54C5F5BD98FB}"/>
                  </a:ext>
                </a:extLst>
              </p:cNvPr>
              <p:cNvSpPr/>
              <p:nvPr/>
            </p:nvSpPr>
            <p:spPr>
              <a:xfrm>
                <a:off x="1917415" y="3839925"/>
                <a:ext cx="638162" cy="1246647"/>
              </a:xfrm>
              <a:custGeom>
                <a:avLst/>
                <a:gdLst>
                  <a:gd name="connsiteX0" fmla="*/ 209798 w 638162"/>
                  <a:gd name="connsiteY0" fmla="*/ 102 h 1246647"/>
                  <a:gd name="connsiteX1" fmla="*/ 501270 w 638162"/>
                  <a:gd name="connsiteY1" fmla="*/ 53383 h 1246647"/>
                  <a:gd name="connsiteX2" fmla="*/ 490106 w 638162"/>
                  <a:gd name="connsiteY2" fmla="*/ 235553 h 1246647"/>
                  <a:gd name="connsiteX3" fmla="*/ 574239 w 638162"/>
                  <a:gd name="connsiteY3" fmla="*/ 445733 h 1246647"/>
                  <a:gd name="connsiteX4" fmla="*/ 635944 w 638162"/>
                  <a:gd name="connsiteY4" fmla="*/ 1072622 h 1246647"/>
                  <a:gd name="connsiteX5" fmla="*/ 333206 w 638162"/>
                  <a:gd name="connsiteY5" fmla="*/ 1246369 h 1246647"/>
                  <a:gd name="connsiteX6" fmla="*/ 2458 w 638162"/>
                  <a:gd name="connsiteY6" fmla="*/ 1010918 h 1246647"/>
                  <a:gd name="connsiteX7" fmla="*/ 92173 w 638162"/>
                  <a:gd name="connsiteY7" fmla="*/ 532607 h 1246647"/>
                  <a:gd name="connsiteX8" fmla="*/ 151036 w 638162"/>
                  <a:gd name="connsiteY8" fmla="*/ 229869 h 1246647"/>
                  <a:gd name="connsiteX9" fmla="*/ 207057 w 638162"/>
                  <a:gd name="connsiteY9" fmla="*/ 165425 h 1246647"/>
                  <a:gd name="connsiteX10" fmla="*/ 209899 w 638162"/>
                  <a:gd name="connsiteY10" fmla="*/ 0 h 12466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638162" h="1246647">
                    <a:moveTo>
                      <a:pt x="209798" y="102"/>
                    </a:moveTo>
                    <a:lnTo>
                      <a:pt x="501270" y="53383"/>
                    </a:lnTo>
                    <a:lnTo>
                      <a:pt x="490106" y="235553"/>
                    </a:lnTo>
                    <a:cubicBezTo>
                      <a:pt x="490106" y="235553"/>
                      <a:pt x="554551" y="266405"/>
                      <a:pt x="574239" y="445733"/>
                    </a:cubicBezTo>
                    <a:cubicBezTo>
                      <a:pt x="593826" y="625163"/>
                      <a:pt x="649949" y="1041770"/>
                      <a:pt x="635944" y="1072622"/>
                    </a:cubicBezTo>
                    <a:cubicBezTo>
                      <a:pt x="621939" y="1103474"/>
                      <a:pt x="535065" y="1238047"/>
                      <a:pt x="333206" y="1246369"/>
                    </a:cubicBezTo>
                    <a:cubicBezTo>
                      <a:pt x="131348" y="1254792"/>
                      <a:pt x="22045" y="1069780"/>
                      <a:pt x="2458" y="1010918"/>
                    </a:cubicBezTo>
                    <a:cubicBezTo>
                      <a:pt x="-17129" y="952055"/>
                      <a:pt x="86592" y="566199"/>
                      <a:pt x="92173" y="532607"/>
                    </a:cubicBezTo>
                    <a:cubicBezTo>
                      <a:pt x="97755" y="499014"/>
                      <a:pt x="125766" y="269145"/>
                      <a:pt x="151036" y="229869"/>
                    </a:cubicBezTo>
                    <a:cubicBezTo>
                      <a:pt x="176307" y="190594"/>
                      <a:pt x="207057" y="165425"/>
                      <a:pt x="207057" y="165425"/>
                    </a:cubicBezTo>
                    <a:lnTo>
                      <a:pt x="209899" y="0"/>
                    </a:lnTo>
                    <a:close/>
                  </a:path>
                </a:pathLst>
              </a:custGeom>
              <a:solidFill>
                <a:srgbClr val="21A038"/>
              </a:solidFill>
              <a:ln w="10141" cap="flat">
                <a:solidFill>
                  <a:srgbClr val="000000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498" name="Полилиния: фигура 497">
                <a:extLst>
                  <a:ext uri="{FF2B5EF4-FFF2-40B4-BE49-F238E27FC236}">
                    <a16:creationId xmlns:a16="http://schemas.microsoft.com/office/drawing/2014/main" id="{43769014-D2B2-45C9-841F-E2A1F6E75D28}"/>
                  </a:ext>
                </a:extLst>
              </p:cNvPr>
              <p:cNvSpPr/>
              <p:nvPr/>
            </p:nvSpPr>
            <p:spPr>
              <a:xfrm>
                <a:off x="2308367" y="4050004"/>
                <a:ext cx="48714" cy="3044"/>
              </a:xfrm>
              <a:custGeom>
                <a:avLst/>
                <a:gdLst>
                  <a:gd name="connsiteX0" fmla="*/ 0 w 48714"/>
                  <a:gd name="connsiteY0" fmla="*/ 0 h 3044"/>
                  <a:gd name="connsiteX1" fmla="*/ 48714 w 48714"/>
                  <a:gd name="connsiteY1" fmla="*/ 3045 h 30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8714" h="3044">
                    <a:moveTo>
                      <a:pt x="0" y="0"/>
                    </a:moveTo>
                    <a:cubicBezTo>
                      <a:pt x="16543" y="1928"/>
                      <a:pt x="32983" y="3045"/>
                      <a:pt x="48714" y="3045"/>
                    </a:cubicBezTo>
                  </a:path>
                </a:pathLst>
              </a:custGeom>
              <a:noFill/>
              <a:ln w="10141" cap="rnd">
                <a:solidFill>
                  <a:srgbClr val="263238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499" name="Полилиния: фигура 498">
                <a:extLst>
                  <a:ext uri="{FF2B5EF4-FFF2-40B4-BE49-F238E27FC236}">
                    <a16:creationId xmlns:a16="http://schemas.microsoft.com/office/drawing/2014/main" id="{A3A37F30-0993-42AF-9169-621506642878}"/>
                  </a:ext>
                </a:extLst>
              </p:cNvPr>
              <p:cNvSpPr/>
              <p:nvPr/>
            </p:nvSpPr>
            <p:spPr>
              <a:xfrm>
                <a:off x="2124370" y="4005451"/>
                <a:ext cx="115797" cy="32780"/>
              </a:xfrm>
              <a:custGeom>
                <a:avLst/>
                <a:gdLst>
                  <a:gd name="connsiteX0" fmla="*/ 0 w 115797"/>
                  <a:gd name="connsiteY0" fmla="*/ 0 h 32780"/>
                  <a:gd name="connsiteX1" fmla="*/ 115797 w 115797"/>
                  <a:gd name="connsiteY1" fmla="*/ 32781 h 327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5797" h="32780">
                    <a:moveTo>
                      <a:pt x="0" y="0"/>
                    </a:moveTo>
                    <a:cubicBezTo>
                      <a:pt x="0" y="0"/>
                      <a:pt x="52063" y="18877"/>
                      <a:pt x="115797" y="32781"/>
                    </a:cubicBezTo>
                  </a:path>
                </a:pathLst>
              </a:custGeom>
              <a:noFill/>
              <a:ln w="10141" cap="rnd">
                <a:solidFill>
                  <a:srgbClr val="263238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</p:grpSp>
        <p:grpSp>
          <p:nvGrpSpPr>
            <p:cNvPr id="500" name="Рисунок 1">
              <a:extLst>
                <a:ext uri="{FF2B5EF4-FFF2-40B4-BE49-F238E27FC236}">
                  <a16:creationId xmlns:a16="http://schemas.microsoft.com/office/drawing/2014/main" id="{710994E2-B130-4B7F-B057-3BA0EFD1A1A8}"/>
                </a:ext>
              </a:extLst>
            </p:cNvPr>
            <p:cNvGrpSpPr/>
            <p:nvPr/>
          </p:nvGrpSpPr>
          <p:grpSpPr>
            <a:xfrm>
              <a:off x="2820372" y="3499160"/>
              <a:ext cx="1375460" cy="1822129"/>
              <a:chOff x="2820372" y="3499160"/>
              <a:chExt cx="1375460" cy="1822129"/>
            </a:xfrm>
          </p:grpSpPr>
          <p:sp>
            <p:nvSpPr>
              <p:cNvPr id="501" name="Полилиния: фигура 500">
                <a:extLst>
                  <a:ext uri="{FF2B5EF4-FFF2-40B4-BE49-F238E27FC236}">
                    <a16:creationId xmlns:a16="http://schemas.microsoft.com/office/drawing/2014/main" id="{AEA16A00-D37F-4845-83A6-75A2461C5C1B}"/>
                  </a:ext>
                </a:extLst>
              </p:cNvPr>
              <p:cNvSpPr/>
              <p:nvPr/>
            </p:nvSpPr>
            <p:spPr>
              <a:xfrm>
                <a:off x="2820372" y="3499160"/>
                <a:ext cx="1375460" cy="1822129"/>
              </a:xfrm>
              <a:custGeom>
                <a:avLst/>
                <a:gdLst>
                  <a:gd name="connsiteX0" fmla="*/ 909227 w 1375460"/>
                  <a:gd name="connsiteY0" fmla="*/ 432307 h 1822129"/>
                  <a:gd name="connsiteX1" fmla="*/ 880303 w 1375460"/>
                  <a:gd name="connsiteY1" fmla="*/ 1179357 h 1822129"/>
                  <a:gd name="connsiteX2" fmla="*/ 836867 w 1375460"/>
                  <a:gd name="connsiteY2" fmla="*/ 1196712 h 1822129"/>
                  <a:gd name="connsiteX3" fmla="*/ 816569 w 1375460"/>
                  <a:gd name="connsiteY3" fmla="*/ 1228579 h 1822129"/>
                  <a:gd name="connsiteX4" fmla="*/ 385145 w 1375460"/>
                  <a:gd name="connsiteY4" fmla="*/ 1280743 h 1822129"/>
                  <a:gd name="connsiteX5" fmla="*/ 153449 w 1375460"/>
                  <a:gd name="connsiteY5" fmla="*/ 1370458 h 1822129"/>
                  <a:gd name="connsiteX6" fmla="*/ 26082 w 1375460"/>
                  <a:gd name="connsiteY6" fmla="*/ 1367515 h 1822129"/>
                  <a:gd name="connsiteX7" fmla="*/ 0 w 1375460"/>
                  <a:gd name="connsiteY7" fmla="*/ 1703439 h 1822129"/>
                  <a:gd name="connsiteX8" fmla="*/ 170803 w 1375460"/>
                  <a:gd name="connsiteY8" fmla="*/ 1709224 h 1822129"/>
                  <a:gd name="connsiteX9" fmla="*/ 637037 w 1375460"/>
                  <a:gd name="connsiteY9" fmla="*/ 1793154 h 1822129"/>
                  <a:gd name="connsiteX10" fmla="*/ 1236423 w 1375460"/>
                  <a:gd name="connsiteY10" fmla="*/ 1790211 h 1822129"/>
                  <a:gd name="connsiteX11" fmla="*/ 1300157 w 1375460"/>
                  <a:gd name="connsiteY11" fmla="*/ 1633819 h 1822129"/>
                  <a:gd name="connsiteX12" fmla="*/ 1375461 w 1375460"/>
                  <a:gd name="connsiteY12" fmla="*/ 1028648 h 1822129"/>
                  <a:gd name="connsiteX13" fmla="*/ 990316 w 1375460"/>
                  <a:gd name="connsiteY13" fmla="*/ 96282 h 1822129"/>
                  <a:gd name="connsiteX14" fmla="*/ 799215 w 1375460"/>
                  <a:gd name="connsiteY14" fmla="*/ 6567 h 18221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1375460" h="1822129">
                    <a:moveTo>
                      <a:pt x="909227" y="432307"/>
                    </a:moveTo>
                    <a:lnTo>
                      <a:pt x="880303" y="1179357"/>
                    </a:lnTo>
                    <a:cubicBezTo>
                      <a:pt x="880303" y="1179357"/>
                      <a:pt x="848436" y="1182301"/>
                      <a:pt x="836867" y="1196712"/>
                    </a:cubicBezTo>
                    <a:cubicBezTo>
                      <a:pt x="825297" y="1211224"/>
                      <a:pt x="816569" y="1228579"/>
                      <a:pt x="816569" y="1228579"/>
                    </a:cubicBezTo>
                    <a:cubicBezTo>
                      <a:pt x="816569" y="1228579"/>
                      <a:pt x="524082" y="1240148"/>
                      <a:pt x="385145" y="1280743"/>
                    </a:cubicBezTo>
                    <a:cubicBezTo>
                      <a:pt x="246107" y="1321237"/>
                      <a:pt x="153449" y="1370458"/>
                      <a:pt x="153449" y="1370458"/>
                    </a:cubicBezTo>
                    <a:lnTo>
                      <a:pt x="26082" y="1367515"/>
                    </a:lnTo>
                    <a:lnTo>
                      <a:pt x="0" y="1703439"/>
                    </a:lnTo>
                    <a:lnTo>
                      <a:pt x="170803" y="1709224"/>
                    </a:lnTo>
                    <a:cubicBezTo>
                      <a:pt x="170803" y="1709224"/>
                      <a:pt x="254734" y="1758445"/>
                      <a:pt x="637037" y="1793154"/>
                    </a:cubicBezTo>
                    <a:cubicBezTo>
                      <a:pt x="1019240" y="1827863"/>
                      <a:pt x="1195929" y="1836591"/>
                      <a:pt x="1236423" y="1790211"/>
                    </a:cubicBezTo>
                    <a:cubicBezTo>
                      <a:pt x="1276917" y="1743831"/>
                      <a:pt x="1294373" y="1671470"/>
                      <a:pt x="1300157" y="1633819"/>
                    </a:cubicBezTo>
                    <a:cubicBezTo>
                      <a:pt x="1305942" y="1596167"/>
                      <a:pt x="1375461" y="1364572"/>
                      <a:pt x="1375461" y="1028648"/>
                    </a:cubicBezTo>
                    <a:cubicBezTo>
                      <a:pt x="1375461" y="692724"/>
                      <a:pt x="1059835" y="206295"/>
                      <a:pt x="990316" y="96282"/>
                    </a:cubicBezTo>
                    <a:cubicBezTo>
                      <a:pt x="920797" y="-13730"/>
                      <a:pt x="848436" y="-5104"/>
                      <a:pt x="799215" y="6567"/>
                    </a:cubicBezTo>
                  </a:path>
                </a:pathLst>
              </a:custGeom>
              <a:solidFill>
                <a:srgbClr val="21A038"/>
              </a:solidFill>
              <a:ln w="10141" cap="flat">
                <a:solidFill>
                  <a:srgbClr val="000000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502" name="Полилиния: фигура 501">
                <a:extLst>
                  <a:ext uri="{FF2B5EF4-FFF2-40B4-BE49-F238E27FC236}">
                    <a16:creationId xmlns:a16="http://schemas.microsoft.com/office/drawing/2014/main" id="{3B7FD5EE-BFF7-4D6C-9E8F-22B7981222CF}"/>
                  </a:ext>
                </a:extLst>
              </p:cNvPr>
              <p:cNvSpPr/>
              <p:nvPr/>
            </p:nvSpPr>
            <p:spPr>
              <a:xfrm>
                <a:off x="3700676" y="4522226"/>
                <a:ext cx="177704" cy="156392"/>
              </a:xfrm>
              <a:custGeom>
                <a:avLst/>
                <a:gdLst>
                  <a:gd name="connsiteX0" fmla="*/ 177705 w 177704"/>
                  <a:gd name="connsiteY0" fmla="*/ 104837 h 156392"/>
                  <a:gd name="connsiteX1" fmla="*/ 0 w 177704"/>
                  <a:gd name="connsiteY1" fmla="*/ 156392 h 156392"/>
                  <a:gd name="connsiteX2" fmla="*/ 167962 w 177704"/>
                  <a:gd name="connsiteY2" fmla="*/ 0 h 1563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77704" h="156392">
                    <a:moveTo>
                      <a:pt x="177705" y="104837"/>
                    </a:moveTo>
                    <a:lnTo>
                      <a:pt x="0" y="156392"/>
                    </a:lnTo>
                    <a:lnTo>
                      <a:pt x="167962" y="0"/>
                    </a:lnTo>
                  </a:path>
                </a:pathLst>
              </a:custGeom>
              <a:noFill/>
              <a:ln w="10141" cap="rnd">
                <a:solidFill>
                  <a:srgbClr val="263238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503" name="Полилиния: фигура 502">
                <a:extLst>
                  <a:ext uri="{FF2B5EF4-FFF2-40B4-BE49-F238E27FC236}">
                    <a16:creationId xmlns:a16="http://schemas.microsoft.com/office/drawing/2014/main" id="{5411C13B-9A5D-4D1C-BE2D-7E47820EA0B3}"/>
                  </a:ext>
                </a:extLst>
              </p:cNvPr>
              <p:cNvSpPr/>
              <p:nvPr/>
            </p:nvSpPr>
            <p:spPr>
              <a:xfrm>
                <a:off x="3933995" y="4594587"/>
                <a:ext cx="56224" cy="16339"/>
              </a:xfrm>
              <a:custGeom>
                <a:avLst/>
                <a:gdLst>
                  <a:gd name="connsiteX0" fmla="*/ 56224 w 56224"/>
                  <a:gd name="connsiteY0" fmla="*/ 0 h 16339"/>
                  <a:gd name="connsiteX1" fmla="*/ 0 w 56224"/>
                  <a:gd name="connsiteY1" fmla="*/ 16339 h 163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6224" h="16339">
                    <a:moveTo>
                      <a:pt x="56224" y="0"/>
                    </a:moveTo>
                    <a:lnTo>
                      <a:pt x="0" y="16339"/>
                    </a:lnTo>
                  </a:path>
                </a:pathLst>
              </a:custGeom>
              <a:ln w="10141" cap="rnd">
                <a:solidFill>
                  <a:srgbClr val="263238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504" name="Полилиния: фигура 503">
                <a:extLst>
                  <a:ext uri="{FF2B5EF4-FFF2-40B4-BE49-F238E27FC236}">
                    <a16:creationId xmlns:a16="http://schemas.microsoft.com/office/drawing/2014/main" id="{DDC276A8-7A78-4A8A-9424-7255915AA0B7}"/>
                  </a:ext>
                </a:extLst>
              </p:cNvPr>
              <p:cNvSpPr/>
              <p:nvPr/>
            </p:nvSpPr>
            <p:spPr>
              <a:xfrm>
                <a:off x="3636941" y="4727840"/>
                <a:ext cx="260620" cy="43436"/>
              </a:xfrm>
              <a:custGeom>
                <a:avLst/>
                <a:gdLst>
                  <a:gd name="connsiteX0" fmla="*/ 0 w 260620"/>
                  <a:gd name="connsiteY0" fmla="*/ 0 h 43436"/>
                  <a:gd name="connsiteX1" fmla="*/ 260620 w 260620"/>
                  <a:gd name="connsiteY1" fmla="*/ 43437 h 434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60620" h="43436">
                    <a:moveTo>
                      <a:pt x="0" y="0"/>
                    </a:moveTo>
                    <a:cubicBezTo>
                      <a:pt x="0" y="0"/>
                      <a:pt x="185316" y="14513"/>
                      <a:pt x="260620" y="43437"/>
                    </a:cubicBezTo>
                  </a:path>
                </a:pathLst>
              </a:custGeom>
              <a:noFill/>
              <a:ln w="10141" cap="rnd">
                <a:solidFill>
                  <a:srgbClr val="263238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505" name="Полилиния: фигура 504">
                <a:extLst>
                  <a:ext uri="{FF2B5EF4-FFF2-40B4-BE49-F238E27FC236}">
                    <a16:creationId xmlns:a16="http://schemas.microsoft.com/office/drawing/2014/main" id="{15FE30BD-173B-4346-B231-A4BC58BD5695}"/>
                  </a:ext>
                </a:extLst>
              </p:cNvPr>
              <p:cNvSpPr/>
              <p:nvPr/>
            </p:nvSpPr>
            <p:spPr>
              <a:xfrm>
                <a:off x="3924557" y="4892757"/>
                <a:ext cx="25168" cy="29025"/>
              </a:xfrm>
              <a:custGeom>
                <a:avLst/>
                <a:gdLst>
                  <a:gd name="connsiteX0" fmla="*/ 0 w 25168"/>
                  <a:gd name="connsiteY0" fmla="*/ 0 h 29025"/>
                  <a:gd name="connsiteX1" fmla="*/ 25169 w 25168"/>
                  <a:gd name="connsiteY1" fmla="*/ 29026 h 290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5168" h="29025">
                    <a:moveTo>
                      <a:pt x="0" y="0"/>
                    </a:moveTo>
                    <a:cubicBezTo>
                      <a:pt x="8728" y="9033"/>
                      <a:pt x="17151" y="18775"/>
                      <a:pt x="25169" y="29026"/>
                    </a:cubicBezTo>
                  </a:path>
                </a:pathLst>
              </a:custGeom>
              <a:noFill/>
              <a:ln w="10141" cap="rnd">
                <a:solidFill>
                  <a:srgbClr val="263238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506" name="Полилиния: фигура 505">
                <a:extLst>
                  <a:ext uri="{FF2B5EF4-FFF2-40B4-BE49-F238E27FC236}">
                    <a16:creationId xmlns:a16="http://schemas.microsoft.com/office/drawing/2014/main" id="{DB3F2AAA-8676-4C95-84E9-11C860B29172}"/>
                  </a:ext>
                </a:extLst>
              </p:cNvPr>
              <p:cNvSpPr/>
              <p:nvPr/>
            </p:nvSpPr>
            <p:spPr>
              <a:xfrm>
                <a:off x="3712245" y="4768333"/>
                <a:ext cx="176892" cy="91643"/>
              </a:xfrm>
              <a:custGeom>
                <a:avLst/>
                <a:gdLst>
                  <a:gd name="connsiteX0" fmla="*/ 0 w 176892"/>
                  <a:gd name="connsiteY0" fmla="*/ 0 h 91643"/>
                  <a:gd name="connsiteX1" fmla="*/ 176893 w 176892"/>
                  <a:gd name="connsiteY1" fmla="*/ 91643 h 916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76892" h="91643">
                    <a:moveTo>
                      <a:pt x="0" y="0"/>
                    </a:moveTo>
                    <a:cubicBezTo>
                      <a:pt x="0" y="0"/>
                      <a:pt x="92455" y="22226"/>
                      <a:pt x="176893" y="91643"/>
                    </a:cubicBezTo>
                  </a:path>
                </a:pathLst>
              </a:custGeom>
              <a:noFill/>
              <a:ln w="10141" cap="rnd">
                <a:solidFill>
                  <a:srgbClr val="263238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507" name="Полилиния: фигура 506">
                <a:extLst>
                  <a:ext uri="{FF2B5EF4-FFF2-40B4-BE49-F238E27FC236}">
                    <a16:creationId xmlns:a16="http://schemas.microsoft.com/office/drawing/2014/main" id="{3B962C4E-C09B-460D-A047-B623BFDF6F30}"/>
                  </a:ext>
                </a:extLst>
              </p:cNvPr>
              <p:cNvSpPr/>
              <p:nvPr/>
            </p:nvSpPr>
            <p:spPr>
              <a:xfrm>
                <a:off x="2970980" y="4901586"/>
                <a:ext cx="2943" cy="280816"/>
              </a:xfrm>
              <a:custGeom>
                <a:avLst/>
                <a:gdLst>
                  <a:gd name="connsiteX0" fmla="*/ 0 w 2943"/>
                  <a:gd name="connsiteY0" fmla="*/ 0 h 280816"/>
                  <a:gd name="connsiteX1" fmla="*/ 2943 w 2943"/>
                  <a:gd name="connsiteY1" fmla="*/ 280816 h 2808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943" h="280816">
                    <a:moveTo>
                      <a:pt x="0" y="0"/>
                    </a:moveTo>
                    <a:lnTo>
                      <a:pt x="2943" y="280816"/>
                    </a:lnTo>
                  </a:path>
                </a:pathLst>
              </a:custGeom>
              <a:ln w="10141" cap="rnd">
                <a:solidFill>
                  <a:srgbClr val="263238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508" name="Полилиния: фигура 507">
                <a:extLst>
                  <a:ext uri="{FF2B5EF4-FFF2-40B4-BE49-F238E27FC236}">
                    <a16:creationId xmlns:a16="http://schemas.microsoft.com/office/drawing/2014/main" id="{0CB1845F-0104-43AB-938A-6BF6C07B0933}"/>
                  </a:ext>
                </a:extLst>
              </p:cNvPr>
              <p:cNvSpPr/>
              <p:nvPr/>
            </p:nvSpPr>
            <p:spPr>
              <a:xfrm>
                <a:off x="2831942" y="5112883"/>
                <a:ext cx="121683" cy="10148"/>
              </a:xfrm>
              <a:custGeom>
                <a:avLst/>
                <a:gdLst>
                  <a:gd name="connsiteX0" fmla="*/ 0 w 121683"/>
                  <a:gd name="connsiteY0" fmla="*/ 0 h 10148"/>
                  <a:gd name="connsiteX1" fmla="*/ 121684 w 121683"/>
                  <a:gd name="connsiteY1" fmla="*/ 0 h 101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1683" h="10148">
                    <a:moveTo>
                      <a:pt x="0" y="0"/>
                    </a:moveTo>
                    <a:lnTo>
                      <a:pt x="121684" y="0"/>
                    </a:lnTo>
                  </a:path>
                </a:pathLst>
              </a:custGeom>
              <a:ln w="10141" cap="rnd">
                <a:solidFill>
                  <a:srgbClr val="263238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509" name="Полилиния: фигура 508">
                <a:extLst>
                  <a:ext uri="{FF2B5EF4-FFF2-40B4-BE49-F238E27FC236}">
                    <a16:creationId xmlns:a16="http://schemas.microsoft.com/office/drawing/2014/main" id="{3FDFA28F-F939-4266-B4B5-4F3A9EB15AB6}"/>
                  </a:ext>
                </a:extLst>
              </p:cNvPr>
              <p:cNvSpPr/>
              <p:nvPr/>
            </p:nvSpPr>
            <p:spPr>
              <a:xfrm>
                <a:off x="2860967" y="4945023"/>
                <a:ext cx="49221" cy="2841"/>
              </a:xfrm>
              <a:custGeom>
                <a:avLst/>
                <a:gdLst>
                  <a:gd name="connsiteX0" fmla="*/ 0 w 49221"/>
                  <a:gd name="connsiteY0" fmla="*/ 2842 h 2841"/>
                  <a:gd name="connsiteX1" fmla="*/ 49221 w 49221"/>
                  <a:gd name="connsiteY1" fmla="*/ 0 h 28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9221" h="2841">
                    <a:moveTo>
                      <a:pt x="0" y="2842"/>
                    </a:moveTo>
                    <a:lnTo>
                      <a:pt x="49221" y="0"/>
                    </a:lnTo>
                  </a:path>
                </a:pathLst>
              </a:custGeom>
              <a:ln w="10141" cap="rnd">
                <a:solidFill>
                  <a:srgbClr val="263238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</p:grpSp>
      </p:grpSp>
      <p:grpSp>
        <p:nvGrpSpPr>
          <p:cNvPr id="33" name="Группа 32">
            <a:extLst>
              <a:ext uri="{FF2B5EF4-FFF2-40B4-BE49-F238E27FC236}">
                <a16:creationId xmlns:a16="http://schemas.microsoft.com/office/drawing/2014/main" id="{7D6141BA-4D4C-442D-8D67-462266BDDDFE}"/>
              </a:ext>
            </a:extLst>
          </p:cNvPr>
          <p:cNvGrpSpPr/>
          <p:nvPr/>
        </p:nvGrpSpPr>
        <p:grpSpPr>
          <a:xfrm>
            <a:off x="6956391" y="2806316"/>
            <a:ext cx="5051622" cy="847113"/>
            <a:chOff x="6956391" y="2806316"/>
            <a:chExt cx="5051622" cy="847113"/>
          </a:xfrm>
        </p:grpSpPr>
        <p:sp>
          <p:nvSpPr>
            <p:cNvPr id="418" name="Rounded Rectangle">
              <a:extLst>
                <a:ext uri="{FF2B5EF4-FFF2-40B4-BE49-F238E27FC236}">
                  <a16:creationId xmlns:a16="http://schemas.microsoft.com/office/drawing/2014/main" id="{08B6BC13-C9AD-4352-82E9-266F8592EFAF}"/>
                </a:ext>
              </a:extLst>
            </p:cNvPr>
            <p:cNvSpPr/>
            <p:nvPr/>
          </p:nvSpPr>
          <p:spPr>
            <a:xfrm>
              <a:off x="6956391" y="2806316"/>
              <a:ext cx="5051622" cy="847113"/>
            </a:xfrm>
            <a:prstGeom prst="roundRect">
              <a:avLst>
                <a:gd name="adj" fmla="val 50000"/>
              </a:avLst>
            </a:prstGeom>
            <a:solidFill>
              <a:schemeClr val="bg1"/>
            </a:solidFill>
            <a:ln w="12700" cap="flat">
              <a:noFill/>
              <a:prstDash val="dash"/>
              <a:miter/>
            </a:ln>
            <a:effectLst>
              <a:outerShdw blurRad="1003300" sx="102000" sy="102000" algn="ctr" rotWithShape="0">
                <a:schemeClr val="tx1">
                  <a:alpha val="15000"/>
                </a:schemeClr>
              </a:outerShdw>
            </a:effectLst>
          </p:spPr>
          <p:txBody>
            <a:bodyPr lIns="0" tIns="0" rIns="0" bIns="0" anchor="ctr"/>
            <a:lstStyle/>
            <a:p>
              <a:pPr algn="ctr" defTabSz="309563" hangingPunct="0"/>
              <a:endParaRPr sz="1200" dirty="0">
                <a:solidFill>
                  <a:srgbClr val="FFFFFF"/>
                </a:solidFill>
                <a:latin typeface="SB Sans Text Light" panose="020B0303040504020204" pitchFamily="34" charset="-52"/>
                <a:ea typeface="Roboto" pitchFamily="2" charset="0"/>
                <a:cs typeface="SB Sans Text Light" panose="020B0303040504020204" pitchFamily="34" charset="-52"/>
                <a:sym typeface="Poppins Bold"/>
              </a:endParaRPr>
            </a:p>
          </p:txBody>
        </p:sp>
        <p:sp>
          <p:nvSpPr>
            <p:cNvPr id="419" name="Motion design">
              <a:extLst>
                <a:ext uri="{FF2B5EF4-FFF2-40B4-BE49-F238E27FC236}">
                  <a16:creationId xmlns:a16="http://schemas.microsoft.com/office/drawing/2014/main" id="{B9EBABED-28D5-4C9E-A387-5F8FEE4F5411}"/>
                </a:ext>
              </a:extLst>
            </p:cNvPr>
            <p:cNvSpPr txBox="1"/>
            <p:nvPr/>
          </p:nvSpPr>
          <p:spPr>
            <a:xfrm>
              <a:off x="7880755" y="2810805"/>
              <a:ext cx="3872672" cy="816955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</a:ext>
            </a:extLst>
          </p:spPr>
          <p:txBody>
            <a:bodyPr wrap="square" lIns="0" tIns="0" rIns="0" bIns="0" anchor="ctr">
              <a:spAutoFit/>
            </a:bodyPr>
            <a:lstStyle>
              <a:lvl1pPr>
                <a:lnSpc>
                  <a:spcPct val="130000"/>
                </a:lnSpc>
                <a:defRPr sz="3000">
                  <a:latin typeface="+mn-lt"/>
                  <a:ea typeface="+mn-ea"/>
                  <a:cs typeface="+mn-cs"/>
                  <a:sym typeface="Poppins SemiBold"/>
                </a:defRPr>
              </a:lvl1pPr>
            </a:lstStyle>
            <a:p>
              <a:pPr defTabSz="309563" hangingPunct="0">
                <a:buClrTx/>
                <a:defRPr/>
              </a:pPr>
              <a:r>
                <a:rPr lang="ru-RU" sz="1400" dirty="0">
                  <a:solidFill>
                    <a:srgbClr val="0D0D0D"/>
                  </a:solidFill>
                  <a:latin typeface="SB Sans Text Light" panose="020B0303040504020204" pitchFamily="34" charset="-52"/>
                  <a:ea typeface="Roboto Light" panose="02000000000000000000" pitchFamily="2" charset="0"/>
                  <a:cs typeface="SB Sans Text Light" panose="020B0303040504020204" pitchFamily="34" charset="-52"/>
                </a:rPr>
                <a:t>Требуется быстрое сквозное обслуживание</a:t>
              </a:r>
              <a:br>
                <a:rPr lang="ru-RU" sz="1400" dirty="0">
                  <a:solidFill>
                    <a:srgbClr val="0D0D0D"/>
                  </a:solidFill>
                  <a:latin typeface="SB Sans Text Light" panose="020B0303040504020204" pitchFamily="34" charset="-52"/>
                  <a:ea typeface="Roboto Light" panose="02000000000000000000" pitchFamily="2" charset="0"/>
                  <a:cs typeface="SB Sans Text Light" panose="020B0303040504020204" pitchFamily="34" charset="-52"/>
                </a:rPr>
              </a:br>
              <a:r>
                <a:rPr lang="ru-RU" sz="1400" dirty="0">
                  <a:solidFill>
                    <a:srgbClr val="0D0D0D"/>
                  </a:solidFill>
                  <a:latin typeface="SB Sans Text Light" panose="020B0303040504020204" pitchFamily="34" charset="-52"/>
                  <a:ea typeface="Roboto Light" panose="02000000000000000000" pitchFamily="2" charset="0"/>
                  <a:cs typeface="SB Sans Text Light" panose="020B0303040504020204" pitchFamily="34" charset="-52"/>
                </a:rPr>
                <a:t>в едином канале (одно приложение, сайт, телефон 900 и др.) для всех ДЗО</a:t>
              </a:r>
            </a:p>
          </p:txBody>
        </p:sp>
        <p:sp>
          <p:nvSpPr>
            <p:cNvPr id="420" name="Circle">
              <a:extLst>
                <a:ext uri="{FF2B5EF4-FFF2-40B4-BE49-F238E27FC236}">
                  <a16:creationId xmlns:a16="http://schemas.microsoft.com/office/drawing/2014/main" id="{186F9E45-EC2A-4974-B082-15F9C4A2F73C}"/>
                </a:ext>
              </a:extLst>
            </p:cNvPr>
            <p:cNvSpPr/>
            <p:nvPr/>
          </p:nvSpPr>
          <p:spPr>
            <a:xfrm>
              <a:off x="7082575" y="2912205"/>
              <a:ext cx="635335" cy="635335"/>
            </a:xfrm>
            <a:prstGeom prst="ellipse">
              <a:avLst/>
            </a:prstGeom>
            <a:solidFill>
              <a:schemeClr val="bg2"/>
            </a:solidFill>
            <a:ln w="12700">
              <a:miter lim="400000"/>
            </a:ln>
          </p:spPr>
          <p:txBody>
            <a:bodyPr lIns="0" tIns="0" rIns="0" bIns="0" anchor="ctr"/>
            <a:lstStyle/>
            <a:p>
              <a:pPr algn="ctr" defTabSz="309563" hangingPunct="0">
                <a:buClrTx/>
                <a:defRPr sz="3200">
                  <a:solidFill>
                    <a:srgbClr val="FFFFFF"/>
                  </a:solidFill>
                  <a:latin typeface="Poppins Bold"/>
                  <a:ea typeface="Poppins Bold"/>
                  <a:cs typeface="Poppins Bold"/>
                  <a:sym typeface="Poppins Bold"/>
                </a:defRPr>
              </a:pPr>
              <a:endParaRPr sz="1200" dirty="0">
                <a:solidFill>
                  <a:srgbClr val="FFFFFF"/>
                </a:solidFill>
                <a:latin typeface="SB Sans Text Light" panose="020B0303040504020204" pitchFamily="34" charset="-52"/>
                <a:ea typeface="Roboto" pitchFamily="2" charset="0"/>
                <a:cs typeface="SB Sans Text Light" panose="020B0303040504020204" pitchFamily="34" charset="-52"/>
                <a:sym typeface="Poppins Bold"/>
              </a:endParaRPr>
            </a:p>
          </p:txBody>
        </p:sp>
        <p:pic>
          <p:nvPicPr>
            <p:cNvPr id="32" name="Рисунок 31">
              <a:extLst>
                <a:ext uri="{FF2B5EF4-FFF2-40B4-BE49-F238E27FC236}">
                  <a16:creationId xmlns:a16="http://schemas.microsoft.com/office/drawing/2014/main" id="{42FB68D4-6DB7-4FF7-8B6C-86831B087EAD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7196392" y="3064169"/>
              <a:ext cx="384894" cy="346404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934172734"/>
      </p:ext>
    </p:extLst>
  </p:cSld>
  <p:clrMapOvr>
    <a:masterClrMapping/>
  </p:clrMapOvr>
  <p:transition spd="slow">
    <p:push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path" presetSubtype="0" repeatCount="indefinite" accel="50000" decel="50000" autoRev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3.54167E-6 -3.7037E-7 L -0.00248 0.025 " pathEditMode="relative" rAng="0" ptsTypes="AA">
                                      <p:cBhvr>
                                        <p:cTn id="6" dur="75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30" y="125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25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42" presetClass="path" presetSubtype="0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1666 -0.00046 L 3.75E-6 1.85185E-6 " pathEditMode="relative" rAng="0" ptsTypes="AA">
                                      <p:cBhvr>
                                        <p:cTn id="13" dur="5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833" y="23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25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42" presetClass="path" presetSubtype="0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1667 -0.00046 L -4.375E-6 -4.07407E-6 " pathEditMode="relative" rAng="0" ptsTypes="AA">
                                      <p:cBhvr>
                                        <p:cTn id="20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833" y="23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250"/>
                                        <p:tgtEl>
                                          <p:spTgt spid="30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42" presetClass="path" presetSubtype="0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1667 -0.00046 L -4.375E-6 -3.33333E-6 " pathEditMode="relative" rAng="0" ptsTypes="AA">
                                      <p:cBhvr>
                                        <p:cTn id="27" dur="500" fill="hold"/>
                                        <p:tgtEl>
                                          <p:spTgt spid="30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833" y="23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Группа 1">
            <a:extLst>
              <a:ext uri="{FF2B5EF4-FFF2-40B4-BE49-F238E27FC236}">
                <a16:creationId xmlns:a16="http://schemas.microsoft.com/office/drawing/2014/main" id="{3895E4F0-E350-49C7-AE68-8C848A87B5B8}"/>
              </a:ext>
            </a:extLst>
          </p:cNvPr>
          <p:cNvGrpSpPr/>
          <p:nvPr/>
        </p:nvGrpSpPr>
        <p:grpSpPr>
          <a:xfrm>
            <a:off x="-385354" y="2429047"/>
            <a:ext cx="6554893" cy="2114144"/>
            <a:chOff x="-533400" y="2429047"/>
            <a:chExt cx="6554893" cy="2114144"/>
          </a:xfrm>
        </p:grpSpPr>
        <p:sp>
          <p:nvSpPr>
            <p:cNvPr id="817" name="Shape_фон">
              <a:extLst>
                <a:ext uri="{FF2B5EF4-FFF2-40B4-BE49-F238E27FC236}">
                  <a16:creationId xmlns:a16="http://schemas.microsoft.com/office/drawing/2014/main" id="{8C3218E2-A51F-4FB1-BED8-CDE77873EB75}"/>
                </a:ext>
              </a:extLst>
            </p:cNvPr>
            <p:cNvSpPr/>
            <p:nvPr/>
          </p:nvSpPr>
          <p:spPr>
            <a:xfrm>
              <a:off x="-533400" y="2429047"/>
              <a:ext cx="6239720" cy="2114144"/>
            </a:xfrm>
            <a:prstGeom prst="roundRect">
              <a:avLst>
                <a:gd name="adj" fmla="val 8571"/>
              </a:avLst>
            </a:prstGeom>
            <a:solidFill>
              <a:schemeClr val="bg1"/>
            </a:solidFill>
            <a:ln w="12700" cap="flat">
              <a:noFill/>
              <a:prstDash val="solid"/>
              <a:miter/>
            </a:ln>
            <a:effectLst>
              <a:outerShdw blurRad="1003300" sx="102000" sy="102000" algn="ctr" rotWithShape="0">
                <a:schemeClr val="tx1">
                  <a:alpha val="20000"/>
                </a:schemeClr>
              </a:outerShdw>
            </a:effectLst>
          </p:spPr>
          <p:txBody>
            <a:bodyPr lIns="0" tIns="0" rIns="0" bIns="0" anchor="ctr"/>
            <a:lstStyle/>
            <a:p>
              <a:pPr marL="0" marR="0" lvl="0" indent="0" algn="ctr" defTabSz="309563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Roboto" pitchFamily="2" charset="0"/>
                  <a:ea typeface="Roboto" pitchFamily="2" charset="0"/>
                  <a:cs typeface="Poppins Bold"/>
                  <a:sym typeface="Poppins Bold"/>
                </a:rPr>
                <a:t> </a:t>
              </a:r>
              <a:endPara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itchFamily="2" charset="0"/>
                <a:ea typeface="Roboto" pitchFamily="2" charset="0"/>
                <a:cs typeface="Poppins Bold"/>
                <a:sym typeface="Poppins Bold"/>
              </a:endParaRPr>
            </a:p>
          </p:txBody>
        </p:sp>
        <p:sp>
          <p:nvSpPr>
            <p:cNvPr id="41" name="Заголовок">
              <a:extLst>
                <a:ext uri="{FF2B5EF4-FFF2-40B4-BE49-F238E27FC236}">
                  <a16:creationId xmlns:a16="http://schemas.microsoft.com/office/drawing/2014/main" id="{C2DC1C9A-4F65-42B1-86E3-6E4D91075984}"/>
                </a:ext>
              </a:extLst>
            </p:cNvPr>
            <p:cNvSpPr txBox="1"/>
            <p:nvPr/>
          </p:nvSpPr>
          <p:spPr>
            <a:xfrm>
              <a:off x="128223" y="2878305"/>
              <a:ext cx="5893270" cy="120032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lvl="0">
                <a:defRPr/>
              </a:pPr>
              <a:r>
                <a:rPr lang="ru-RU" sz="3600" dirty="0">
                  <a:solidFill>
                    <a:srgbClr val="0D0D0D">
                      <a:lumMod val="75000"/>
                      <a:lumOff val="25000"/>
                    </a:srgbClr>
                  </a:solidFill>
                  <a:latin typeface="SB Sans Text" panose="020B0503040504020204" pitchFamily="34" charset="-52"/>
                  <a:ea typeface="Roboto" pitchFamily="2" charset="0"/>
                  <a:cs typeface="SB Sans Text" panose="020B0503040504020204" pitchFamily="34" charset="-52"/>
                </a:rPr>
                <a:t>Кросс-продуктовый профиль клиента!</a:t>
              </a:r>
              <a:endParaRPr lang="ru-RU" sz="3600" dirty="0">
                <a:solidFill>
                  <a:schemeClr val="accent3"/>
                </a:solidFill>
                <a:latin typeface="SB Sans Text" panose="020B0503040504020204" pitchFamily="34" charset="-52"/>
                <a:ea typeface="Roboto" pitchFamily="2" charset="0"/>
                <a:cs typeface="SB Sans Text" panose="020B0503040504020204" pitchFamily="34" charset="-52"/>
              </a:endParaRPr>
            </a:p>
          </p:txBody>
        </p:sp>
      </p:grpSp>
      <p:grpSp>
        <p:nvGrpSpPr>
          <p:cNvPr id="42" name="CDIConf_Black">
            <a:extLst>
              <a:ext uri="{FF2B5EF4-FFF2-40B4-BE49-F238E27FC236}">
                <a16:creationId xmlns:a16="http://schemas.microsoft.com/office/drawing/2014/main" id="{F3F1710A-CB9B-4080-B969-0477C48F22E5}"/>
              </a:ext>
            </a:extLst>
          </p:cNvPr>
          <p:cNvGrpSpPr/>
          <p:nvPr/>
        </p:nvGrpSpPr>
        <p:grpSpPr>
          <a:xfrm>
            <a:off x="9291334" y="6129083"/>
            <a:ext cx="2270483" cy="296171"/>
            <a:chOff x="7406975" y="5855999"/>
            <a:chExt cx="2270483" cy="296171"/>
          </a:xfrm>
        </p:grpSpPr>
        <p:sp>
          <p:nvSpPr>
            <p:cNvPr id="45" name="Полилиния: фигура 44">
              <a:extLst>
                <a:ext uri="{FF2B5EF4-FFF2-40B4-BE49-F238E27FC236}">
                  <a16:creationId xmlns:a16="http://schemas.microsoft.com/office/drawing/2014/main" id="{13A11B35-F320-4F31-908D-85B2D024FD4B}"/>
                </a:ext>
              </a:extLst>
            </p:cNvPr>
            <p:cNvSpPr/>
            <p:nvPr/>
          </p:nvSpPr>
          <p:spPr>
            <a:xfrm>
              <a:off x="7406975" y="5878280"/>
              <a:ext cx="1394458" cy="273890"/>
            </a:xfrm>
            <a:custGeom>
              <a:avLst/>
              <a:gdLst>
                <a:gd name="connsiteX0" fmla="*/ 157354 w 1394458"/>
                <a:gd name="connsiteY0" fmla="*/ 188093 h 273890"/>
                <a:gd name="connsiteX1" fmla="*/ 200773 w 1394458"/>
                <a:gd name="connsiteY1" fmla="*/ 188093 h 273890"/>
                <a:gd name="connsiteX2" fmla="*/ 186877 w 1394458"/>
                <a:gd name="connsiteY2" fmla="*/ 232383 h 273890"/>
                <a:gd name="connsiteX3" fmla="*/ 153706 w 1394458"/>
                <a:gd name="connsiteY3" fmla="*/ 262777 h 273890"/>
                <a:gd name="connsiteX4" fmla="*/ 101775 w 1394458"/>
                <a:gd name="connsiteY4" fmla="*/ 273891 h 273890"/>
                <a:gd name="connsiteX5" fmla="*/ 59572 w 1394458"/>
                <a:gd name="connsiteY5" fmla="*/ 265554 h 273890"/>
                <a:gd name="connsiteX6" fmla="*/ 27442 w 1394458"/>
                <a:gd name="connsiteY6" fmla="*/ 241585 h 273890"/>
                <a:gd name="connsiteX7" fmla="*/ 6950 w 1394458"/>
                <a:gd name="connsiteY7" fmla="*/ 203896 h 273890"/>
                <a:gd name="connsiteX8" fmla="*/ 0 w 1394458"/>
                <a:gd name="connsiteY8" fmla="*/ 154577 h 273890"/>
                <a:gd name="connsiteX9" fmla="*/ 0 w 1394458"/>
                <a:gd name="connsiteY9" fmla="*/ 133560 h 273890"/>
                <a:gd name="connsiteX10" fmla="*/ 7121 w 1394458"/>
                <a:gd name="connsiteY10" fmla="*/ 84236 h 273890"/>
                <a:gd name="connsiteX11" fmla="*/ 27962 w 1394458"/>
                <a:gd name="connsiteY11" fmla="*/ 46552 h 273890"/>
                <a:gd name="connsiteX12" fmla="*/ 60438 w 1394458"/>
                <a:gd name="connsiteY12" fmla="*/ 22408 h 273890"/>
                <a:gd name="connsiteX13" fmla="*/ 103336 w 1394458"/>
                <a:gd name="connsiteY13" fmla="*/ 14071 h 273890"/>
                <a:gd name="connsiteX14" fmla="*/ 154397 w 1394458"/>
                <a:gd name="connsiteY14" fmla="*/ 25185 h 273890"/>
                <a:gd name="connsiteX15" fmla="*/ 186702 w 1394458"/>
                <a:gd name="connsiteY15" fmla="*/ 55924 h 273890"/>
                <a:gd name="connsiteX16" fmla="*/ 200943 w 1394458"/>
                <a:gd name="connsiteY16" fmla="*/ 100905 h 273890"/>
                <a:gd name="connsiteX17" fmla="*/ 157524 w 1394458"/>
                <a:gd name="connsiteY17" fmla="*/ 100905 h 273890"/>
                <a:gd name="connsiteX18" fmla="*/ 149883 w 1394458"/>
                <a:gd name="connsiteY18" fmla="*/ 72943 h 273890"/>
                <a:gd name="connsiteX19" fmla="*/ 132865 w 1394458"/>
                <a:gd name="connsiteY19" fmla="*/ 55229 h 273890"/>
                <a:gd name="connsiteX20" fmla="*/ 103341 w 1394458"/>
                <a:gd name="connsiteY20" fmla="*/ 48974 h 273890"/>
                <a:gd name="connsiteX21" fmla="*/ 77291 w 1394458"/>
                <a:gd name="connsiteY21" fmla="*/ 54533 h 273890"/>
                <a:gd name="connsiteX22" fmla="*/ 58706 w 1394458"/>
                <a:gd name="connsiteY22" fmla="*/ 70861 h 273890"/>
                <a:gd name="connsiteX23" fmla="*/ 47417 w 1394458"/>
                <a:gd name="connsiteY23" fmla="*/ 97432 h 273890"/>
                <a:gd name="connsiteX24" fmla="*/ 43769 w 1394458"/>
                <a:gd name="connsiteY24" fmla="*/ 133210 h 273890"/>
                <a:gd name="connsiteX25" fmla="*/ 43769 w 1394458"/>
                <a:gd name="connsiteY25" fmla="*/ 154572 h 273890"/>
                <a:gd name="connsiteX26" fmla="*/ 47067 w 1394458"/>
                <a:gd name="connsiteY26" fmla="*/ 189304 h 273890"/>
                <a:gd name="connsiteX27" fmla="*/ 57490 w 1394458"/>
                <a:gd name="connsiteY27" fmla="*/ 215875 h 273890"/>
                <a:gd name="connsiteX28" fmla="*/ 75550 w 1394458"/>
                <a:gd name="connsiteY28" fmla="*/ 233069 h 273890"/>
                <a:gd name="connsiteX29" fmla="*/ 101775 w 1394458"/>
                <a:gd name="connsiteY29" fmla="*/ 239149 h 273890"/>
                <a:gd name="connsiteX30" fmla="*/ 131824 w 1394458"/>
                <a:gd name="connsiteY30" fmla="*/ 233244 h 273890"/>
                <a:gd name="connsiteX31" fmla="*/ 149363 w 1394458"/>
                <a:gd name="connsiteY31" fmla="*/ 216050 h 273890"/>
                <a:gd name="connsiteX32" fmla="*/ 157354 w 1394458"/>
                <a:gd name="connsiteY32" fmla="*/ 188088 h 273890"/>
                <a:gd name="connsiteX33" fmla="*/ 313837 w 1394458"/>
                <a:gd name="connsiteY33" fmla="*/ 270418 h 273890"/>
                <a:gd name="connsiteX34" fmla="*/ 259825 w 1394458"/>
                <a:gd name="connsiteY34" fmla="*/ 270418 h 273890"/>
                <a:gd name="connsiteX35" fmla="*/ 260170 w 1394458"/>
                <a:gd name="connsiteY35" fmla="*/ 235856 h 273890"/>
                <a:gd name="connsiteX36" fmla="*/ 313837 w 1394458"/>
                <a:gd name="connsiteY36" fmla="*/ 235856 h 273890"/>
                <a:gd name="connsiteX37" fmla="*/ 353088 w 1394458"/>
                <a:gd name="connsiteY37" fmla="*/ 225608 h 273890"/>
                <a:gd name="connsiteX38" fmla="*/ 377057 w 1394458"/>
                <a:gd name="connsiteY38" fmla="*/ 196255 h 273890"/>
                <a:gd name="connsiteX39" fmla="*/ 385218 w 1394458"/>
                <a:gd name="connsiteY39" fmla="*/ 150754 h 273890"/>
                <a:gd name="connsiteX40" fmla="*/ 385218 w 1394458"/>
                <a:gd name="connsiteY40" fmla="*/ 137033 h 273890"/>
                <a:gd name="connsiteX41" fmla="*/ 380530 w 1394458"/>
                <a:gd name="connsiteY41" fmla="*/ 100734 h 273890"/>
                <a:gd name="connsiteX42" fmla="*/ 366984 w 1394458"/>
                <a:gd name="connsiteY42" fmla="*/ 74163 h 273890"/>
                <a:gd name="connsiteX43" fmla="*/ 345102 w 1394458"/>
                <a:gd name="connsiteY43" fmla="*/ 57840 h 273890"/>
                <a:gd name="connsiteX44" fmla="*/ 315403 w 1394458"/>
                <a:gd name="connsiteY44" fmla="*/ 52281 h 273890"/>
                <a:gd name="connsiteX45" fmla="*/ 258784 w 1394458"/>
                <a:gd name="connsiteY45" fmla="*/ 52281 h 273890"/>
                <a:gd name="connsiteX46" fmla="*/ 258784 w 1394458"/>
                <a:gd name="connsiteY46" fmla="*/ 17544 h 273890"/>
                <a:gd name="connsiteX47" fmla="*/ 315403 w 1394458"/>
                <a:gd name="connsiteY47" fmla="*/ 17544 h 273890"/>
                <a:gd name="connsiteX48" fmla="*/ 361429 w 1394458"/>
                <a:gd name="connsiteY48" fmla="*/ 26055 h 273890"/>
                <a:gd name="connsiteX49" fmla="*/ 397383 w 1394458"/>
                <a:gd name="connsiteY49" fmla="*/ 50195 h 273890"/>
                <a:gd name="connsiteX50" fmla="*/ 420826 w 1394458"/>
                <a:gd name="connsiteY50" fmla="*/ 88054 h 273890"/>
                <a:gd name="connsiteX51" fmla="*/ 428988 w 1394458"/>
                <a:gd name="connsiteY51" fmla="*/ 137378 h 273890"/>
                <a:gd name="connsiteX52" fmla="*/ 428988 w 1394458"/>
                <a:gd name="connsiteY52" fmla="*/ 150754 h 273890"/>
                <a:gd name="connsiteX53" fmla="*/ 420826 w 1394458"/>
                <a:gd name="connsiteY53" fmla="*/ 200078 h 273890"/>
                <a:gd name="connsiteX54" fmla="*/ 397383 w 1394458"/>
                <a:gd name="connsiteY54" fmla="*/ 237938 h 273890"/>
                <a:gd name="connsiteX55" fmla="*/ 360909 w 1394458"/>
                <a:gd name="connsiteY55" fmla="*/ 262077 h 273890"/>
                <a:gd name="connsiteX56" fmla="*/ 313842 w 1394458"/>
                <a:gd name="connsiteY56" fmla="*/ 270413 h 273890"/>
                <a:gd name="connsiteX57" fmla="*/ 283964 w 1394458"/>
                <a:gd name="connsiteY57" fmla="*/ 17544 h 273890"/>
                <a:gd name="connsiteX58" fmla="*/ 283964 w 1394458"/>
                <a:gd name="connsiteY58" fmla="*/ 270418 h 273890"/>
                <a:gd name="connsiteX59" fmla="*/ 240369 w 1394458"/>
                <a:gd name="connsiteY59" fmla="*/ 270418 h 273890"/>
                <a:gd name="connsiteX60" fmla="*/ 240369 w 1394458"/>
                <a:gd name="connsiteY60" fmla="*/ 17544 h 273890"/>
                <a:gd name="connsiteX61" fmla="*/ 283964 w 1394458"/>
                <a:gd name="connsiteY61" fmla="*/ 17544 h 273890"/>
                <a:gd name="connsiteX62" fmla="*/ 519299 w 1394458"/>
                <a:gd name="connsiteY62" fmla="*/ 17544 h 273890"/>
                <a:gd name="connsiteX63" fmla="*/ 519299 w 1394458"/>
                <a:gd name="connsiteY63" fmla="*/ 270418 h 273890"/>
                <a:gd name="connsiteX64" fmla="*/ 475705 w 1394458"/>
                <a:gd name="connsiteY64" fmla="*/ 270418 h 273890"/>
                <a:gd name="connsiteX65" fmla="*/ 475705 w 1394458"/>
                <a:gd name="connsiteY65" fmla="*/ 17544 h 273890"/>
                <a:gd name="connsiteX66" fmla="*/ 519299 w 1394458"/>
                <a:gd name="connsiteY66" fmla="*/ 17544 h 273890"/>
                <a:gd name="connsiteX67" fmla="*/ 811424 w 1394458"/>
                <a:gd name="connsiteY67" fmla="*/ 188093 h 273890"/>
                <a:gd name="connsiteX68" fmla="*/ 854843 w 1394458"/>
                <a:gd name="connsiteY68" fmla="*/ 188093 h 273890"/>
                <a:gd name="connsiteX69" fmla="*/ 840947 w 1394458"/>
                <a:gd name="connsiteY69" fmla="*/ 232383 h 273890"/>
                <a:gd name="connsiteX70" fmla="*/ 807776 w 1394458"/>
                <a:gd name="connsiteY70" fmla="*/ 262777 h 273890"/>
                <a:gd name="connsiteX71" fmla="*/ 755845 w 1394458"/>
                <a:gd name="connsiteY71" fmla="*/ 273891 h 273890"/>
                <a:gd name="connsiteX72" fmla="*/ 713642 w 1394458"/>
                <a:gd name="connsiteY72" fmla="*/ 265554 h 273890"/>
                <a:gd name="connsiteX73" fmla="*/ 681512 w 1394458"/>
                <a:gd name="connsiteY73" fmla="*/ 241585 h 273890"/>
                <a:gd name="connsiteX74" fmla="*/ 661021 w 1394458"/>
                <a:gd name="connsiteY74" fmla="*/ 203896 h 273890"/>
                <a:gd name="connsiteX75" fmla="*/ 654075 w 1394458"/>
                <a:gd name="connsiteY75" fmla="*/ 154572 h 273890"/>
                <a:gd name="connsiteX76" fmla="*/ 654075 w 1394458"/>
                <a:gd name="connsiteY76" fmla="*/ 133555 h 273890"/>
                <a:gd name="connsiteX77" fmla="*/ 661196 w 1394458"/>
                <a:gd name="connsiteY77" fmla="*/ 84231 h 273890"/>
                <a:gd name="connsiteX78" fmla="*/ 682037 w 1394458"/>
                <a:gd name="connsiteY78" fmla="*/ 46547 h 273890"/>
                <a:gd name="connsiteX79" fmla="*/ 714513 w 1394458"/>
                <a:gd name="connsiteY79" fmla="*/ 22403 h 273890"/>
                <a:gd name="connsiteX80" fmla="*/ 757411 w 1394458"/>
                <a:gd name="connsiteY80" fmla="*/ 14066 h 273890"/>
                <a:gd name="connsiteX81" fmla="*/ 808472 w 1394458"/>
                <a:gd name="connsiteY81" fmla="*/ 25180 h 273890"/>
                <a:gd name="connsiteX82" fmla="*/ 840777 w 1394458"/>
                <a:gd name="connsiteY82" fmla="*/ 55919 h 273890"/>
                <a:gd name="connsiteX83" fmla="*/ 855018 w 1394458"/>
                <a:gd name="connsiteY83" fmla="*/ 100900 h 273890"/>
                <a:gd name="connsiteX84" fmla="*/ 811599 w 1394458"/>
                <a:gd name="connsiteY84" fmla="*/ 100900 h 273890"/>
                <a:gd name="connsiteX85" fmla="*/ 803958 w 1394458"/>
                <a:gd name="connsiteY85" fmla="*/ 72938 h 273890"/>
                <a:gd name="connsiteX86" fmla="*/ 786940 w 1394458"/>
                <a:gd name="connsiteY86" fmla="*/ 55224 h 273890"/>
                <a:gd name="connsiteX87" fmla="*/ 757416 w 1394458"/>
                <a:gd name="connsiteY87" fmla="*/ 48969 h 273890"/>
                <a:gd name="connsiteX88" fmla="*/ 731366 w 1394458"/>
                <a:gd name="connsiteY88" fmla="*/ 54528 h 273890"/>
                <a:gd name="connsiteX89" fmla="*/ 712781 w 1394458"/>
                <a:gd name="connsiteY89" fmla="*/ 70856 h 273890"/>
                <a:gd name="connsiteX90" fmla="*/ 701492 w 1394458"/>
                <a:gd name="connsiteY90" fmla="*/ 97427 h 273890"/>
                <a:gd name="connsiteX91" fmla="*/ 697844 w 1394458"/>
                <a:gd name="connsiteY91" fmla="*/ 133205 h 273890"/>
                <a:gd name="connsiteX92" fmla="*/ 697844 w 1394458"/>
                <a:gd name="connsiteY92" fmla="*/ 154567 h 273890"/>
                <a:gd name="connsiteX93" fmla="*/ 701142 w 1394458"/>
                <a:gd name="connsiteY93" fmla="*/ 189299 h 273890"/>
                <a:gd name="connsiteX94" fmla="*/ 711565 w 1394458"/>
                <a:gd name="connsiteY94" fmla="*/ 215870 h 273890"/>
                <a:gd name="connsiteX95" fmla="*/ 729629 w 1394458"/>
                <a:gd name="connsiteY95" fmla="*/ 233064 h 273890"/>
                <a:gd name="connsiteX96" fmla="*/ 755855 w 1394458"/>
                <a:gd name="connsiteY96" fmla="*/ 239144 h 273890"/>
                <a:gd name="connsiteX97" fmla="*/ 785904 w 1394458"/>
                <a:gd name="connsiteY97" fmla="*/ 233239 h 273890"/>
                <a:gd name="connsiteX98" fmla="*/ 803443 w 1394458"/>
                <a:gd name="connsiteY98" fmla="*/ 216046 h 273890"/>
                <a:gd name="connsiteX99" fmla="*/ 811434 w 1394458"/>
                <a:gd name="connsiteY99" fmla="*/ 188084 h 273890"/>
                <a:gd name="connsiteX100" fmla="*/ 882285 w 1394458"/>
                <a:gd name="connsiteY100" fmla="*/ 178541 h 273890"/>
                <a:gd name="connsiteX101" fmla="*/ 882285 w 1394458"/>
                <a:gd name="connsiteY101" fmla="*/ 174548 h 273890"/>
                <a:gd name="connsiteX102" fmla="*/ 888190 w 1394458"/>
                <a:gd name="connsiteY102" fmla="*/ 136858 h 273890"/>
                <a:gd name="connsiteX103" fmla="*/ 905208 w 1394458"/>
                <a:gd name="connsiteY103" fmla="*/ 106464 h 273890"/>
                <a:gd name="connsiteX104" fmla="*/ 932650 w 1394458"/>
                <a:gd name="connsiteY104" fmla="*/ 86318 h 273890"/>
                <a:gd name="connsiteX105" fmla="*/ 969469 w 1394458"/>
                <a:gd name="connsiteY105" fmla="*/ 79022 h 273890"/>
                <a:gd name="connsiteX106" fmla="*/ 1006288 w 1394458"/>
                <a:gd name="connsiteY106" fmla="*/ 86318 h 273890"/>
                <a:gd name="connsiteX107" fmla="*/ 1033899 w 1394458"/>
                <a:gd name="connsiteY107" fmla="*/ 106464 h 273890"/>
                <a:gd name="connsiteX108" fmla="*/ 1051093 w 1394458"/>
                <a:gd name="connsiteY108" fmla="*/ 136858 h 273890"/>
                <a:gd name="connsiteX109" fmla="*/ 1056998 w 1394458"/>
                <a:gd name="connsiteY109" fmla="*/ 174548 h 273890"/>
                <a:gd name="connsiteX110" fmla="*/ 1056998 w 1394458"/>
                <a:gd name="connsiteY110" fmla="*/ 178541 h 273890"/>
                <a:gd name="connsiteX111" fmla="*/ 1051093 w 1394458"/>
                <a:gd name="connsiteY111" fmla="*/ 216230 h 273890"/>
                <a:gd name="connsiteX112" fmla="*/ 1033899 w 1394458"/>
                <a:gd name="connsiteY112" fmla="*/ 246624 h 273890"/>
                <a:gd name="connsiteX113" fmla="*/ 1006458 w 1394458"/>
                <a:gd name="connsiteY113" fmla="*/ 266770 h 273890"/>
                <a:gd name="connsiteX114" fmla="*/ 969814 w 1394458"/>
                <a:gd name="connsiteY114" fmla="*/ 273891 h 273890"/>
                <a:gd name="connsiteX115" fmla="*/ 932820 w 1394458"/>
                <a:gd name="connsiteY115" fmla="*/ 266770 h 273890"/>
                <a:gd name="connsiteX116" fmla="*/ 905378 w 1394458"/>
                <a:gd name="connsiteY116" fmla="*/ 246624 h 273890"/>
                <a:gd name="connsiteX117" fmla="*/ 888185 w 1394458"/>
                <a:gd name="connsiteY117" fmla="*/ 216230 h 273890"/>
                <a:gd name="connsiteX118" fmla="*/ 882280 w 1394458"/>
                <a:gd name="connsiteY118" fmla="*/ 178541 h 273890"/>
                <a:gd name="connsiteX119" fmla="*/ 924143 w 1394458"/>
                <a:gd name="connsiteY119" fmla="*/ 174548 h 273890"/>
                <a:gd name="connsiteX120" fmla="*/ 924143 w 1394458"/>
                <a:gd name="connsiteY120" fmla="*/ 178541 h 273890"/>
                <a:gd name="connsiteX121" fmla="*/ 926750 w 1394458"/>
                <a:gd name="connsiteY121" fmla="*/ 202510 h 273890"/>
                <a:gd name="connsiteX122" fmla="*/ 934911 w 1394458"/>
                <a:gd name="connsiteY122" fmla="*/ 222310 h 273890"/>
                <a:gd name="connsiteX123" fmla="*/ 949152 w 1394458"/>
                <a:gd name="connsiteY123" fmla="*/ 235681 h 273890"/>
                <a:gd name="connsiteX124" fmla="*/ 969819 w 1394458"/>
                <a:gd name="connsiteY124" fmla="*/ 240545 h 273890"/>
                <a:gd name="connsiteX125" fmla="*/ 989965 w 1394458"/>
                <a:gd name="connsiteY125" fmla="*/ 235681 h 273890"/>
                <a:gd name="connsiteX126" fmla="*/ 1004206 w 1394458"/>
                <a:gd name="connsiteY126" fmla="*/ 222310 h 273890"/>
                <a:gd name="connsiteX127" fmla="*/ 1012367 w 1394458"/>
                <a:gd name="connsiteY127" fmla="*/ 202510 h 273890"/>
                <a:gd name="connsiteX128" fmla="*/ 1015145 w 1394458"/>
                <a:gd name="connsiteY128" fmla="*/ 178541 h 273890"/>
                <a:gd name="connsiteX129" fmla="*/ 1015145 w 1394458"/>
                <a:gd name="connsiteY129" fmla="*/ 174548 h 273890"/>
                <a:gd name="connsiteX130" fmla="*/ 1012367 w 1394458"/>
                <a:gd name="connsiteY130" fmla="*/ 150929 h 273890"/>
                <a:gd name="connsiteX131" fmla="*/ 1004031 w 1394458"/>
                <a:gd name="connsiteY131" fmla="*/ 130958 h 273890"/>
                <a:gd name="connsiteX132" fmla="*/ 989790 w 1394458"/>
                <a:gd name="connsiteY132" fmla="*/ 117412 h 273890"/>
                <a:gd name="connsiteX133" fmla="*/ 969469 w 1394458"/>
                <a:gd name="connsiteY133" fmla="*/ 112378 h 273890"/>
                <a:gd name="connsiteX134" fmla="*/ 948977 w 1394458"/>
                <a:gd name="connsiteY134" fmla="*/ 117412 h 273890"/>
                <a:gd name="connsiteX135" fmla="*/ 934911 w 1394458"/>
                <a:gd name="connsiteY135" fmla="*/ 130958 h 273890"/>
                <a:gd name="connsiteX136" fmla="*/ 926750 w 1394458"/>
                <a:gd name="connsiteY136" fmla="*/ 150929 h 273890"/>
                <a:gd name="connsiteX137" fmla="*/ 924143 w 1394458"/>
                <a:gd name="connsiteY137" fmla="*/ 174548 h 273890"/>
                <a:gd name="connsiteX138" fmla="*/ 1133598 w 1394458"/>
                <a:gd name="connsiteY138" fmla="*/ 122617 h 273890"/>
                <a:gd name="connsiteX139" fmla="*/ 1133598 w 1394458"/>
                <a:gd name="connsiteY139" fmla="*/ 270418 h 273890"/>
                <a:gd name="connsiteX140" fmla="*/ 1091745 w 1394458"/>
                <a:gd name="connsiteY140" fmla="*/ 270418 h 273890"/>
                <a:gd name="connsiteX141" fmla="*/ 1091745 w 1394458"/>
                <a:gd name="connsiteY141" fmla="*/ 82495 h 273890"/>
                <a:gd name="connsiteX142" fmla="*/ 1131171 w 1394458"/>
                <a:gd name="connsiteY142" fmla="*/ 82495 h 273890"/>
                <a:gd name="connsiteX143" fmla="*/ 1133603 w 1394458"/>
                <a:gd name="connsiteY143" fmla="*/ 122617 h 273890"/>
                <a:gd name="connsiteX144" fmla="*/ 1126132 w 1394458"/>
                <a:gd name="connsiteY144" fmla="*/ 169509 h 273890"/>
                <a:gd name="connsiteX145" fmla="*/ 1112586 w 1394458"/>
                <a:gd name="connsiteY145" fmla="*/ 169334 h 273890"/>
                <a:gd name="connsiteX146" fmla="*/ 1118145 w 1394458"/>
                <a:gd name="connsiteY146" fmla="*/ 132690 h 273890"/>
                <a:gd name="connsiteX147" fmla="*/ 1133428 w 1394458"/>
                <a:gd name="connsiteY147" fmla="*/ 104032 h 273890"/>
                <a:gd name="connsiteX148" fmla="*/ 1157046 w 1394458"/>
                <a:gd name="connsiteY148" fmla="*/ 85623 h 273890"/>
                <a:gd name="connsiteX149" fmla="*/ 1187615 w 1394458"/>
                <a:gd name="connsiteY149" fmla="*/ 79022 h 273890"/>
                <a:gd name="connsiteX150" fmla="*/ 1212105 w 1394458"/>
                <a:gd name="connsiteY150" fmla="*/ 82840 h 273890"/>
                <a:gd name="connsiteX151" fmla="*/ 1231034 w 1394458"/>
                <a:gd name="connsiteY151" fmla="*/ 94825 h 273890"/>
                <a:gd name="connsiteX152" fmla="*/ 1243189 w 1394458"/>
                <a:gd name="connsiteY152" fmla="*/ 116532 h 273890"/>
                <a:gd name="connsiteX153" fmla="*/ 1247357 w 1394458"/>
                <a:gd name="connsiteY153" fmla="*/ 149013 h 273890"/>
                <a:gd name="connsiteX154" fmla="*/ 1247357 w 1394458"/>
                <a:gd name="connsiteY154" fmla="*/ 270413 h 273890"/>
                <a:gd name="connsiteX155" fmla="*/ 1205329 w 1394458"/>
                <a:gd name="connsiteY155" fmla="*/ 270413 h 273890"/>
                <a:gd name="connsiteX156" fmla="*/ 1205329 w 1394458"/>
                <a:gd name="connsiteY156" fmla="*/ 148837 h 273890"/>
                <a:gd name="connsiteX157" fmla="*/ 1201336 w 1394458"/>
                <a:gd name="connsiteY157" fmla="*/ 127476 h 273890"/>
                <a:gd name="connsiteX158" fmla="*/ 1190047 w 1394458"/>
                <a:gd name="connsiteY158" fmla="*/ 116187 h 273890"/>
                <a:gd name="connsiteX159" fmla="*/ 1171813 w 1394458"/>
                <a:gd name="connsiteY159" fmla="*/ 112714 h 273890"/>
                <a:gd name="connsiteX160" fmla="*/ 1152533 w 1394458"/>
                <a:gd name="connsiteY160" fmla="*/ 117228 h 273890"/>
                <a:gd name="connsiteX161" fmla="*/ 1138116 w 1394458"/>
                <a:gd name="connsiteY161" fmla="*/ 129557 h 273890"/>
                <a:gd name="connsiteX162" fmla="*/ 1129259 w 1394458"/>
                <a:gd name="connsiteY162" fmla="*/ 147621 h 273890"/>
                <a:gd name="connsiteX163" fmla="*/ 1126132 w 1394458"/>
                <a:gd name="connsiteY163" fmla="*/ 169504 h 273890"/>
                <a:gd name="connsiteX164" fmla="*/ 1346701 w 1394458"/>
                <a:gd name="connsiteY164" fmla="*/ 270418 h 273890"/>
                <a:gd name="connsiteX165" fmla="*/ 1304843 w 1394458"/>
                <a:gd name="connsiteY165" fmla="*/ 270418 h 273890"/>
                <a:gd name="connsiteX166" fmla="*/ 1304843 w 1394458"/>
                <a:gd name="connsiteY166" fmla="*/ 64436 h 273890"/>
                <a:gd name="connsiteX167" fmla="*/ 1312659 w 1394458"/>
                <a:gd name="connsiteY167" fmla="*/ 29178 h 273890"/>
                <a:gd name="connsiteX168" fmla="*/ 1335412 w 1394458"/>
                <a:gd name="connsiteY168" fmla="*/ 7471 h 273890"/>
                <a:gd name="connsiteX169" fmla="*/ 1370319 w 1394458"/>
                <a:gd name="connsiteY169" fmla="*/ 0 h 273890"/>
                <a:gd name="connsiteX170" fmla="*/ 1382649 w 1394458"/>
                <a:gd name="connsiteY170" fmla="*/ 871 h 273890"/>
                <a:gd name="connsiteX171" fmla="*/ 1394458 w 1394458"/>
                <a:gd name="connsiteY171" fmla="*/ 3127 h 273890"/>
                <a:gd name="connsiteX172" fmla="*/ 1393418 w 1394458"/>
                <a:gd name="connsiteY172" fmla="*/ 35433 h 273890"/>
                <a:gd name="connsiteX173" fmla="*/ 1385776 w 1394458"/>
                <a:gd name="connsiteY173" fmla="*/ 34217 h 273890"/>
                <a:gd name="connsiteX174" fmla="*/ 1377095 w 1394458"/>
                <a:gd name="connsiteY174" fmla="*/ 33872 h 273890"/>
                <a:gd name="connsiteX175" fmla="*/ 1360596 w 1394458"/>
                <a:gd name="connsiteY175" fmla="*/ 37519 h 273890"/>
                <a:gd name="connsiteX176" fmla="*/ 1350178 w 1394458"/>
                <a:gd name="connsiteY176" fmla="*/ 47767 h 273890"/>
                <a:gd name="connsiteX177" fmla="*/ 1346706 w 1394458"/>
                <a:gd name="connsiteY177" fmla="*/ 64441 h 273890"/>
                <a:gd name="connsiteX178" fmla="*/ 1346706 w 1394458"/>
                <a:gd name="connsiteY178" fmla="*/ 270423 h 273890"/>
                <a:gd name="connsiteX179" fmla="*/ 1385431 w 1394458"/>
                <a:gd name="connsiteY179" fmla="*/ 82500 h 273890"/>
                <a:gd name="connsiteX180" fmla="*/ 1385431 w 1394458"/>
                <a:gd name="connsiteY180" fmla="*/ 113069 h 273890"/>
                <a:gd name="connsiteX181" fmla="*/ 1276015 w 1394458"/>
                <a:gd name="connsiteY181" fmla="*/ 113069 h 273890"/>
                <a:gd name="connsiteX182" fmla="*/ 1276015 w 1394458"/>
                <a:gd name="connsiteY182" fmla="*/ 82500 h 273890"/>
                <a:gd name="connsiteX183" fmla="*/ 1385431 w 1394458"/>
                <a:gd name="connsiteY183" fmla="*/ 82500 h 2738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</a:cxnLst>
              <a:rect l="l" t="t" r="r" b="b"/>
              <a:pathLst>
                <a:path w="1394458" h="273890">
                  <a:moveTo>
                    <a:pt x="157354" y="188093"/>
                  </a:moveTo>
                  <a:lnTo>
                    <a:pt x="200773" y="188093"/>
                  </a:lnTo>
                  <a:cubicBezTo>
                    <a:pt x="199382" y="204650"/>
                    <a:pt x="194752" y="219411"/>
                    <a:pt x="186877" y="232383"/>
                  </a:cubicBezTo>
                  <a:cubicBezTo>
                    <a:pt x="179003" y="245233"/>
                    <a:pt x="167947" y="255365"/>
                    <a:pt x="153706" y="262777"/>
                  </a:cubicBezTo>
                  <a:cubicBezTo>
                    <a:pt x="139465" y="270185"/>
                    <a:pt x="122155" y="273891"/>
                    <a:pt x="101775" y="273891"/>
                  </a:cubicBezTo>
                  <a:cubicBezTo>
                    <a:pt x="86143" y="273891"/>
                    <a:pt x="72077" y="271114"/>
                    <a:pt x="59572" y="265554"/>
                  </a:cubicBezTo>
                  <a:cubicBezTo>
                    <a:pt x="47067" y="259878"/>
                    <a:pt x="36357" y="251892"/>
                    <a:pt x="27442" y="241585"/>
                  </a:cubicBezTo>
                  <a:cubicBezTo>
                    <a:pt x="18526" y="231162"/>
                    <a:pt x="11697" y="218604"/>
                    <a:pt x="6950" y="203896"/>
                  </a:cubicBezTo>
                  <a:cubicBezTo>
                    <a:pt x="2315" y="189192"/>
                    <a:pt x="0" y="172753"/>
                    <a:pt x="0" y="154577"/>
                  </a:cubicBezTo>
                  <a:lnTo>
                    <a:pt x="0" y="133560"/>
                  </a:lnTo>
                  <a:cubicBezTo>
                    <a:pt x="0" y="115379"/>
                    <a:pt x="2374" y="98940"/>
                    <a:pt x="7121" y="84236"/>
                  </a:cubicBezTo>
                  <a:cubicBezTo>
                    <a:pt x="11984" y="69533"/>
                    <a:pt x="18930" y="56970"/>
                    <a:pt x="27962" y="46552"/>
                  </a:cubicBezTo>
                  <a:cubicBezTo>
                    <a:pt x="36994" y="36017"/>
                    <a:pt x="47816" y="27967"/>
                    <a:pt x="60438" y="22408"/>
                  </a:cubicBezTo>
                  <a:cubicBezTo>
                    <a:pt x="73171" y="16848"/>
                    <a:pt x="87471" y="14071"/>
                    <a:pt x="103336" y="14071"/>
                  </a:cubicBezTo>
                  <a:cubicBezTo>
                    <a:pt x="123482" y="14071"/>
                    <a:pt x="140506" y="17777"/>
                    <a:pt x="154397" y="25185"/>
                  </a:cubicBezTo>
                  <a:cubicBezTo>
                    <a:pt x="168293" y="32597"/>
                    <a:pt x="179056" y="42840"/>
                    <a:pt x="186702" y="55924"/>
                  </a:cubicBezTo>
                  <a:cubicBezTo>
                    <a:pt x="194460" y="69008"/>
                    <a:pt x="199207" y="84003"/>
                    <a:pt x="200943" y="100905"/>
                  </a:cubicBezTo>
                  <a:lnTo>
                    <a:pt x="157524" y="100905"/>
                  </a:lnTo>
                  <a:cubicBezTo>
                    <a:pt x="156367" y="90019"/>
                    <a:pt x="153818" y="80700"/>
                    <a:pt x="149883" y="72943"/>
                  </a:cubicBezTo>
                  <a:cubicBezTo>
                    <a:pt x="146065" y="65185"/>
                    <a:pt x="140389" y="59280"/>
                    <a:pt x="132865" y="55229"/>
                  </a:cubicBezTo>
                  <a:cubicBezTo>
                    <a:pt x="125340" y="51060"/>
                    <a:pt x="115496" y="48974"/>
                    <a:pt x="103341" y="48974"/>
                  </a:cubicBezTo>
                  <a:cubicBezTo>
                    <a:pt x="93385" y="48974"/>
                    <a:pt x="84698" y="50827"/>
                    <a:pt x="77291" y="54533"/>
                  </a:cubicBezTo>
                  <a:cubicBezTo>
                    <a:pt x="69878" y="58239"/>
                    <a:pt x="63687" y="63682"/>
                    <a:pt x="58706" y="70861"/>
                  </a:cubicBezTo>
                  <a:cubicBezTo>
                    <a:pt x="53730" y="78040"/>
                    <a:pt x="49966" y="86897"/>
                    <a:pt x="47417" y="97432"/>
                  </a:cubicBezTo>
                  <a:cubicBezTo>
                    <a:pt x="44985" y="107850"/>
                    <a:pt x="43769" y="119776"/>
                    <a:pt x="43769" y="133210"/>
                  </a:cubicBezTo>
                  <a:lnTo>
                    <a:pt x="43769" y="154572"/>
                  </a:lnTo>
                  <a:cubicBezTo>
                    <a:pt x="43769" y="167305"/>
                    <a:pt x="44869" y="178886"/>
                    <a:pt x="47067" y="189304"/>
                  </a:cubicBezTo>
                  <a:cubicBezTo>
                    <a:pt x="49382" y="199611"/>
                    <a:pt x="52855" y="208468"/>
                    <a:pt x="57490" y="215875"/>
                  </a:cubicBezTo>
                  <a:cubicBezTo>
                    <a:pt x="62237" y="223288"/>
                    <a:pt x="68259" y="229017"/>
                    <a:pt x="75550" y="233069"/>
                  </a:cubicBezTo>
                  <a:cubicBezTo>
                    <a:pt x="82845" y="237120"/>
                    <a:pt x="91585" y="239149"/>
                    <a:pt x="101775" y="239149"/>
                  </a:cubicBezTo>
                  <a:cubicBezTo>
                    <a:pt x="114163" y="239149"/>
                    <a:pt x="124178" y="237179"/>
                    <a:pt x="131824" y="233244"/>
                  </a:cubicBezTo>
                  <a:cubicBezTo>
                    <a:pt x="139582" y="229309"/>
                    <a:pt x="145428" y="223575"/>
                    <a:pt x="149363" y="216050"/>
                  </a:cubicBezTo>
                  <a:cubicBezTo>
                    <a:pt x="153414" y="208409"/>
                    <a:pt x="156080" y="199090"/>
                    <a:pt x="157354" y="188088"/>
                  </a:cubicBezTo>
                  <a:close/>
                  <a:moveTo>
                    <a:pt x="313837" y="270418"/>
                  </a:moveTo>
                  <a:lnTo>
                    <a:pt x="259825" y="270418"/>
                  </a:lnTo>
                  <a:lnTo>
                    <a:pt x="260170" y="235856"/>
                  </a:lnTo>
                  <a:lnTo>
                    <a:pt x="313837" y="235856"/>
                  </a:lnTo>
                  <a:cubicBezTo>
                    <a:pt x="329469" y="235856"/>
                    <a:pt x="342553" y="232441"/>
                    <a:pt x="353088" y="225608"/>
                  </a:cubicBezTo>
                  <a:cubicBezTo>
                    <a:pt x="363740" y="218779"/>
                    <a:pt x="371731" y="208993"/>
                    <a:pt x="377057" y="196255"/>
                  </a:cubicBezTo>
                  <a:cubicBezTo>
                    <a:pt x="382499" y="183521"/>
                    <a:pt x="385218" y="168351"/>
                    <a:pt x="385218" y="150754"/>
                  </a:cubicBezTo>
                  <a:lnTo>
                    <a:pt x="385218" y="137033"/>
                  </a:lnTo>
                  <a:cubicBezTo>
                    <a:pt x="385218" y="123371"/>
                    <a:pt x="383657" y="111269"/>
                    <a:pt x="380530" y="100734"/>
                  </a:cubicBezTo>
                  <a:cubicBezTo>
                    <a:pt x="377519" y="90199"/>
                    <a:pt x="373005" y="81342"/>
                    <a:pt x="366984" y="74163"/>
                  </a:cubicBezTo>
                  <a:cubicBezTo>
                    <a:pt x="361079" y="66984"/>
                    <a:pt x="353784" y="61542"/>
                    <a:pt x="345102" y="57840"/>
                  </a:cubicBezTo>
                  <a:cubicBezTo>
                    <a:pt x="336532" y="54134"/>
                    <a:pt x="326634" y="52281"/>
                    <a:pt x="315403" y="52281"/>
                  </a:cubicBezTo>
                  <a:lnTo>
                    <a:pt x="258784" y="52281"/>
                  </a:lnTo>
                  <a:lnTo>
                    <a:pt x="258784" y="17544"/>
                  </a:lnTo>
                  <a:lnTo>
                    <a:pt x="315403" y="17544"/>
                  </a:lnTo>
                  <a:cubicBezTo>
                    <a:pt x="332193" y="17544"/>
                    <a:pt x="347534" y="20379"/>
                    <a:pt x="361429" y="26055"/>
                  </a:cubicBezTo>
                  <a:cubicBezTo>
                    <a:pt x="375325" y="31615"/>
                    <a:pt x="387310" y="39660"/>
                    <a:pt x="397383" y="50195"/>
                  </a:cubicBezTo>
                  <a:cubicBezTo>
                    <a:pt x="407572" y="60730"/>
                    <a:pt x="415389" y="73351"/>
                    <a:pt x="420826" y="88054"/>
                  </a:cubicBezTo>
                  <a:cubicBezTo>
                    <a:pt x="426269" y="102758"/>
                    <a:pt x="428988" y="119202"/>
                    <a:pt x="428988" y="137378"/>
                  </a:cubicBezTo>
                  <a:lnTo>
                    <a:pt x="428988" y="150754"/>
                  </a:lnTo>
                  <a:cubicBezTo>
                    <a:pt x="428988" y="168930"/>
                    <a:pt x="426269" y="185374"/>
                    <a:pt x="420826" y="200078"/>
                  </a:cubicBezTo>
                  <a:cubicBezTo>
                    <a:pt x="415384" y="214781"/>
                    <a:pt x="407568" y="227403"/>
                    <a:pt x="397383" y="237938"/>
                  </a:cubicBezTo>
                  <a:cubicBezTo>
                    <a:pt x="387193" y="248356"/>
                    <a:pt x="375038" y="256405"/>
                    <a:pt x="360909" y="262077"/>
                  </a:cubicBezTo>
                  <a:cubicBezTo>
                    <a:pt x="346896" y="267636"/>
                    <a:pt x="331211" y="270413"/>
                    <a:pt x="313842" y="270413"/>
                  </a:cubicBezTo>
                  <a:close/>
                  <a:moveTo>
                    <a:pt x="283964" y="17544"/>
                  </a:moveTo>
                  <a:lnTo>
                    <a:pt x="283964" y="270418"/>
                  </a:lnTo>
                  <a:lnTo>
                    <a:pt x="240369" y="270418"/>
                  </a:lnTo>
                  <a:lnTo>
                    <a:pt x="240369" y="17544"/>
                  </a:lnTo>
                  <a:lnTo>
                    <a:pt x="283964" y="17544"/>
                  </a:lnTo>
                  <a:close/>
                  <a:moveTo>
                    <a:pt x="519299" y="17544"/>
                  </a:moveTo>
                  <a:lnTo>
                    <a:pt x="519299" y="270418"/>
                  </a:lnTo>
                  <a:lnTo>
                    <a:pt x="475705" y="270418"/>
                  </a:lnTo>
                  <a:lnTo>
                    <a:pt x="475705" y="17544"/>
                  </a:lnTo>
                  <a:lnTo>
                    <a:pt x="519299" y="17544"/>
                  </a:lnTo>
                  <a:close/>
                  <a:moveTo>
                    <a:pt x="811424" y="188093"/>
                  </a:moveTo>
                  <a:lnTo>
                    <a:pt x="854843" y="188093"/>
                  </a:lnTo>
                  <a:cubicBezTo>
                    <a:pt x="853452" y="204650"/>
                    <a:pt x="848822" y="219411"/>
                    <a:pt x="840947" y="232383"/>
                  </a:cubicBezTo>
                  <a:cubicBezTo>
                    <a:pt x="833073" y="245233"/>
                    <a:pt x="822017" y="255365"/>
                    <a:pt x="807776" y="262777"/>
                  </a:cubicBezTo>
                  <a:cubicBezTo>
                    <a:pt x="793535" y="270185"/>
                    <a:pt x="776225" y="273891"/>
                    <a:pt x="755845" y="273891"/>
                  </a:cubicBezTo>
                  <a:cubicBezTo>
                    <a:pt x="740213" y="273891"/>
                    <a:pt x="726147" y="271114"/>
                    <a:pt x="713642" y="265554"/>
                  </a:cubicBezTo>
                  <a:cubicBezTo>
                    <a:pt x="701137" y="259878"/>
                    <a:pt x="690427" y="251892"/>
                    <a:pt x="681512" y="241585"/>
                  </a:cubicBezTo>
                  <a:cubicBezTo>
                    <a:pt x="672596" y="231162"/>
                    <a:pt x="665768" y="218604"/>
                    <a:pt x="661021" y="203896"/>
                  </a:cubicBezTo>
                  <a:cubicBezTo>
                    <a:pt x="656390" y="189192"/>
                    <a:pt x="654075" y="172748"/>
                    <a:pt x="654075" y="154572"/>
                  </a:cubicBezTo>
                  <a:lnTo>
                    <a:pt x="654075" y="133555"/>
                  </a:lnTo>
                  <a:cubicBezTo>
                    <a:pt x="654075" y="115374"/>
                    <a:pt x="656449" y="98935"/>
                    <a:pt x="661196" y="84231"/>
                  </a:cubicBezTo>
                  <a:cubicBezTo>
                    <a:pt x="666059" y="69528"/>
                    <a:pt x="673005" y="56965"/>
                    <a:pt x="682037" y="46547"/>
                  </a:cubicBezTo>
                  <a:cubicBezTo>
                    <a:pt x="691069" y="36012"/>
                    <a:pt x="701891" y="27962"/>
                    <a:pt x="714513" y="22403"/>
                  </a:cubicBezTo>
                  <a:cubicBezTo>
                    <a:pt x="727246" y="16843"/>
                    <a:pt x="741546" y="14066"/>
                    <a:pt x="757411" y="14066"/>
                  </a:cubicBezTo>
                  <a:cubicBezTo>
                    <a:pt x="777557" y="14066"/>
                    <a:pt x="794581" y="17772"/>
                    <a:pt x="808472" y="25180"/>
                  </a:cubicBezTo>
                  <a:cubicBezTo>
                    <a:pt x="822368" y="32592"/>
                    <a:pt x="833131" y="42836"/>
                    <a:pt x="840777" y="55919"/>
                  </a:cubicBezTo>
                  <a:cubicBezTo>
                    <a:pt x="848535" y="69003"/>
                    <a:pt x="853282" y="83998"/>
                    <a:pt x="855018" y="100900"/>
                  </a:cubicBezTo>
                  <a:lnTo>
                    <a:pt x="811599" y="100900"/>
                  </a:lnTo>
                  <a:cubicBezTo>
                    <a:pt x="810442" y="90015"/>
                    <a:pt x="807893" y="80695"/>
                    <a:pt x="803958" y="72938"/>
                  </a:cubicBezTo>
                  <a:cubicBezTo>
                    <a:pt x="800140" y="65180"/>
                    <a:pt x="794464" y="59275"/>
                    <a:pt x="786940" y="55224"/>
                  </a:cubicBezTo>
                  <a:cubicBezTo>
                    <a:pt x="779415" y="51055"/>
                    <a:pt x="769571" y="48969"/>
                    <a:pt x="757416" y="48969"/>
                  </a:cubicBezTo>
                  <a:cubicBezTo>
                    <a:pt x="747460" y="48969"/>
                    <a:pt x="738773" y="50822"/>
                    <a:pt x="731366" y="54528"/>
                  </a:cubicBezTo>
                  <a:cubicBezTo>
                    <a:pt x="723953" y="58234"/>
                    <a:pt x="717762" y="63677"/>
                    <a:pt x="712781" y="70856"/>
                  </a:cubicBezTo>
                  <a:cubicBezTo>
                    <a:pt x="707801" y="78035"/>
                    <a:pt x="704041" y="86892"/>
                    <a:pt x="701492" y="97427"/>
                  </a:cubicBezTo>
                  <a:cubicBezTo>
                    <a:pt x="699060" y="107845"/>
                    <a:pt x="697844" y="119771"/>
                    <a:pt x="697844" y="133205"/>
                  </a:cubicBezTo>
                  <a:lnTo>
                    <a:pt x="697844" y="154567"/>
                  </a:lnTo>
                  <a:cubicBezTo>
                    <a:pt x="697844" y="167300"/>
                    <a:pt x="698944" y="178881"/>
                    <a:pt x="701142" y="189299"/>
                  </a:cubicBezTo>
                  <a:cubicBezTo>
                    <a:pt x="703457" y="199606"/>
                    <a:pt x="706930" y="208463"/>
                    <a:pt x="711565" y="215870"/>
                  </a:cubicBezTo>
                  <a:cubicBezTo>
                    <a:pt x="716312" y="223283"/>
                    <a:pt x="722334" y="229012"/>
                    <a:pt x="729629" y="233064"/>
                  </a:cubicBezTo>
                  <a:cubicBezTo>
                    <a:pt x="736925" y="237116"/>
                    <a:pt x="745665" y="239144"/>
                    <a:pt x="755855" y="239144"/>
                  </a:cubicBezTo>
                  <a:cubicBezTo>
                    <a:pt x="768243" y="239144"/>
                    <a:pt x="778258" y="237174"/>
                    <a:pt x="785904" y="233239"/>
                  </a:cubicBezTo>
                  <a:cubicBezTo>
                    <a:pt x="793661" y="229304"/>
                    <a:pt x="799508" y="223570"/>
                    <a:pt x="803443" y="216046"/>
                  </a:cubicBezTo>
                  <a:cubicBezTo>
                    <a:pt x="807494" y="208405"/>
                    <a:pt x="810159" y="199085"/>
                    <a:pt x="811434" y="188084"/>
                  </a:cubicBezTo>
                  <a:close/>
                  <a:moveTo>
                    <a:pt x="882285" y="178541"/>
                  </a:moveTo>
                  <a:lnTo>
                    <a:pt x="882285" y="174548"/>
                  </a:lnTo>
                  <a:cubicBezTo>
                    <a:pt x="882285" y="161002"/>
                    <a:pt x="884255" y="148439"/>
                    <a:pt x="888190" y="136858"/>
                  </a:cubicBezTo>
                  <a:cubicBezTo>
                    <a:pt x="892124" y="125165"/>
                    <a:pt x="897800" y="115034"/>
                    <a:pt x="905208" y="106464"/>
                  </a:cubicBezTo>
                  <a:cubicBezTo>
                    <a:pt x="912732" y="97782"/>
                    <a:pt x="921881" y="91065"/>
                    <a:pt x="932650" y="86318"/>
                  </a:cubicBezTo>
                  <a:cubicBezTo>
                    <a:pt x="943535" y="81454"/>
                    <a:pt x="955806" y="79022"/>
                    <a:pt x="969469" y="79022"/>
                  </a:cubicBezTo>
                  <a:cubicBezTo>
                    <a:pt x="983131" y="79022"/>
                    <a:pt x="995519" y="81454"/>
                    <a:pt x="1006288" y="86318"/>
                  </a:cubicBezTo>
                  <a:cubicBezTo>
                    <a:pt x="1017173" y="91065"/>
                    <a:pt x="1026375" y="97782"/>
                    <a:pt x="1033899" y="106464"/>
                  </a:cubicBezTo>
                  <a:cubicBezTo>
                    <a:pt x="1041424" y="115034"/>
                    <a:pt x="1047158" y="125165"/>
                    <a:pt x="1051093" y="136858"/>
                  </a:cubicBezTo>
                  <a:cubicBezTo>
                    <a:pt x="1055028" y="148439"/>
                    <a:pt x="1056998" y="160997"/>
                    <a:pt x="1056998" y="174548"/>
                  </a:cubicBezTo>
                  <a:lnTo>
                    <a:pt x="1056998" y="178541"/>
                  </a:lnTo>
                  <a:cubicBezTo>
                    <a:pt x="1056998" y="192086"/>
                    <a:pt x="1055028" y="204650"/>
                    <a:pt x="1051093" y="216230"/>
                  </a:cubicBezTo>
                  <a:cubicBezTo>
                    <a:pt x="1047153" y="227806"/>
                    <a:pt x="1041424" y="237938"/>
                    <a:pt x="1033899" y="246624"/>
                  </a:cubicBezTo>
                  <a:cubicBezTo>
                    <a:pt x="1026375" y="255194"/>
                    <a:pt x="1017226" y="261906"/>
                    <a:pt x="1006458" y="266770"/>
                  </a:cubicBezTo>
                  <a:cubicBezTo>
                    <a:pt x="995689" y="271517"/>
                    <a:pt x="983476" y="273891"/>
                    <a:pt x="969814" y="273891"/>
                  </a:cubicBezTo>
                  <a:cubicBezTo>
                    <a:pt x="956151" y="273891"/>
                    <a:pt x="943705" y="271517"/>
                    <a:pt x="932820" y="266770"/>
                  </a:cubicBezTo>
                  <a:cubicBezTo>
                    <a:pt x="922051" y="261906"/>
                    <a:pt x="912907" y="255189"/>
                    <a:pt x="905378" y="246624"/>
                  </a:cubicBezTo>
                  <a:cubicBezTo>
                    <a:pt x="897854" y="237942"/>
                    <a:pt x="892119" y="227811"/>
                    <a:pt x="888185" y="216230"/>
                  </a:cubicBezTo>
                  <a:cubicBezTo>
                    <a:pt x="884245" y="204650"/>
                    <a:pt x="882280" y="192086"/>
                    <a:pt x="882280" y="178541"/>
                  </a:cubicBezTo>
                  <a:close/>
                  <a:moveTo>
                    <a:pt x="924143" y="174548"/>
                  </a:moveTo>
                  <a:lnTo>
                    <a:pt x="924143" y="178541"/>
                  </a:lnTo>
                  <a:cubicBezTo>
                    <a:pt x="924143" y="186994"/>
                    <a:pt x="925013" y="194980"/>
                    <a:pt x="926750" y="202510"/>
                  </a:cubicBezTo>
                  <a:cubicBezTo>
                    <a:pt x="928486" y="210034"/>
                    <a:pt x="931210" y="216634"/>
                    <a:pt x="934911" y="222310"/>
                  </a:cubicBezTo>
                  <a:cubicBezTo>
                    <a:pt x="938617" y="227981"/>
                    <a:pt x="943365" y="232441"/>
                    <a:pt x="949152" y="235681"/>
                  </a:cubicBezTo>
                  <a:cubicBezTo>
                    <a:pt x="954940" y="238925"/>
                    <a:pt x="961832" y="240545"/>
                    <a:pt x="969819" y="240545"/>
                  </a:cubicBezTo>
                  <a:cubicBezTo>
                    <a:pt x="977805" y="240545"/>
                    <a:pt x="984293" y="238925"/>
                    <a:pt x="989965" y="235681"/>
                  </a:cubicBezTo>
                  <a:cubicBezTo>
                    <a:pt x="995753" y="232441"/>
                    <a:pt x="1000500" y="227981"/>
                    <a:pt x="1004206" y="222310"/>
                  </a:cubicBezTo>
                  <a:cubicBezTo>
                    <a:pt x="1007912" y="216634"/>
                    <a:pt x="1010631" y="210039"/>
                    <a:pt x="1012367" y="202510"/>
                  </a:cubicBezTo>
                  <a:cubicBezTo>
                    <a:pt x="1014220" y="194985"/>
                    <a:pt x="1015145" y="186994"/>
                    <a:pt x="1015145" y="178541"/>
                  </a:cubicBezTo>
                  <a:lnTo>
                    <a:pt x="1015145" y="174548"/>
                  </a:lnTo>
                  <a:cubicBezTo>
                    <a:pt x="1015145" y="166211"/>
                    <a:pt x="1014220" y="158336"/>
                    <a:pt x="1012367" y="150929"/>
                  </a:cubicBezTo>
                  <a:cubicBezTo>
                    <a:pt x="1010631" y="143405"/>
                    <a:pt x="1007854" y="136746"/>
                    <a:pt x="1004031" y="130958"/>
                  </a:cubicBezTo>
                  <a:cubicBezTo>
                    <a:pt x="1000325" y="125170"/>
                    <a:pt x="995578" y="120652"/>
                    <a:pt x="989790" y="117412"/>
                  </a:cubicBezTo>
                  <a:cubicBezTo>
                    <a:pt x="984118" y="114056"/>
                    <a:pt x="977343" y="112378"/>
                    <a:pt x="969469" y="112378"/>
                  </a:cubicBezTo>
                  <a:cubicBezTo>
                    <a:pt x="961594" y="112378"/>
                    <a:pt x="954765" y="114056"/>
                    <a:pt x="948977" y="117412"/>
                  </a:cubicBezTo>
                  <a:cubicBezTo>
                    <a:pt x="943301" y="120657"/>
                    <a:pt x="938613" y="125170"/>
                    <a:pt x="934911" y="130958"/>
                  </a:cubicBezTo>
                  <a:cubicBezTo>
                    <a:pt x="931205" y="136746"/>
                    <a:pt x="928486" y="143405"/>
                    <a:pt x="926750" y="150929"/>
                  </a:cubicBezTo>
                  <a:cubicBezTo>
                    <a:pt x="925013" y="158341"/>
                    <a:pt x="924143" y="166211"/>
                    <a:pt x="924143" y="174548"/>
                  </a:cubicBezTo>
                  <a:close/>
                  <a:moveTo>
                    <a:pt x="1133598" y="122617"/>
                  </a:moveTo>
                  <a:lnTo>
                    <a:pt x="1133598" y="270418"/>
                  </a:lnTo>
                  <a:lnTo>
                    <a:pt x="1091745" y="270418"/>
                  </a:lnTo>
                  <a:lnTo>
                    <a:pt x="1091745" y="82495"/>
                  </a:lnTo>
                  <a:lnTo>
                    <a:pt x="1131171" y="82495"/>
                  </a:lnTo>
                  <a:lnTo>
                    <a:pt x="1133603" y="122617"/>
                  </a:lnTo>
                  <a:close/>
                  <a:moveTo>
                    <a:pt x="1126132" y="169509"/>
                  </a:moveTo>
                  <a:lnTo>
                    <a:pt x="1112586" y="169334"/>
                  </a:lnTo>
                  <a:cubicBezTo>
                    <a:pt x="1112703" y="156016"/>
                    <a:pt x="1114556" y="143803"/>
                    <a:pt x="1118145" y="132690"/>
                  </a:cubicBezTo>
                  <a:cubicBezTo>
                    <a:pt x="1121852" y="121576"/>
                    <a:pt x="1126944" y="112023"/>
                    <a:pt x="1133428" y="104032"/>
                  </a:cubicBezTo>
                  <a:cubicBezTo>
                    <a:pt x="1140028" y="96041"/>
                    <a:pt x="1147902" y="89908"/>
                    <a:pt x="1157046" y="85623"/>
                  </a:cubicBezTo>
                  <a:cubicBezTo>
                    <a:pt x="1166195" y="81226"/>
                    <a:pt x="1176385" y="79022"/>
                    <a:pt x="1187615" y="79022"/>
                  </a:cubicBezTo>
                  <a:cubicBezTo>
                    <a:pt x="1196647" y="79022"/>
                    <a:pt x="1204809" y="80297"/>
                    <a:pt x="1212105" y="82840"/>
                  </a:cubicBezTo>
                  <a:cubicBezTo>
                    <a:pt x="1219517" y="85272"/>
                    <a:pt x="1225825" y="89265"/>
                    <a:pt x="1231034" y="94825"/>
                  </a:cubicBezTo>
                  <a:cubicBezTo>
                    <a:pt x="1236360" y="100384"/>
                    <a:pt x="1240412" y="107617"/>
                    <a:pt x="1243189" y="116532"/>
                  </a:cubicBezTo>
                  <a:cubicBezTo>
                    <a:pt x="1245966" y="125331"/>
                    <a:pt x="1247357" y="136157"/>
                    <a:pt x="1247357" y="149013"/>
                  </a:cubicBezTo>
                  <a:lnTo>
                    <a:pt x="1247357" y="270413"/>
                  </a:lnTo>
                  <a:lnTo>
                    <a:pt x="1205329" y="270413"/>
                  </a:lnTo>
                  <a:lnTo>
                    <a:pt x="1205329" y="148837"/>
                  </a:lnTo>
                  <a:cubicBezTo>
                    <a:pt x="1205329" y="139805"/>
                    <a:pt x="1203996" y="132685"/>
                    <a:pt x="1201336" y="127476"/>
                  </a:cubicBezTo>
                  <a:cubicBezTo>
                    <a:pt x="1198787" y="122150"/>
                    <a:pt x="1195028" y="118385"/>
                    <a:pt x="1190047" y="116187"/>
                  </a:cubicBezTo>
                  <a:cubicBezTo>
                    <a:pt x="1185183" y="113872"/>
                    <a:pt x="1179104" y="112714"/>
                    <a:pt x="1171813" y="112714"/>
                  </a:cubicBezTo>
                  <a:cubicBezTo>
                    <a:pt x="1164522" y="112714"/>
                    <a:pt x="1158209" y="114217"/>
                    <a:pt x="1152533" y="117228"/>
                  </a:cubicBezTo>
                  <a:cubicBezTo>
                    <a:pt x="1146861" y="120238"/>
                    <a:pt x="1142056" y="124348"/>
                    <a:pt x="1138116" y="129557"/>
                  </a:cubicBezTo>
                  <a:cubicBezTo>
                    <a:pt x="1134293" y="134766"/>
                    <a:pt x="1131341" y="140788"/>
                    <a:pt x="1129259" y="147621"/>
                  </a:cubicBezTo>
                  <a:cubicBezTo>
                    <a:pt x="1127178" y="154450"/>
                    <a:pt x="1126132" y="161746"/>
                    <a:pt x="1126132" y="169504"/>
                  </a:cubicBezTo>
                  <a:close/>
                  <a:moveTo>
                    <a:pt x="1346701" y="270418"/>
                  </a:moveTo>
                  <a:lnTo>
                    <a:pt x="1304843" y="270418"/>
                  </a:lnTo>
                  <a:lnTo>
                    <a:pt x="1304843" y="64436"/>
                  </a:lnTo>
                  <a:cubicBezTo>
                    <a:pt x="1304843" y="50428"/>
                    <a:pt x="1307450" y="38672"/>
                    <a:pt x="1312659" y="29178"/>
                  </a:cubicBezTo>
                  <a:cubicBezTo>
                    <a:pt x="1317985" y="19567"/>
                    <a:pt x="1325567" y="12330"/>
                    <a:pt x="1335412" y="7471"/>
                  </a:cubicBezTo>
                  <a:cubicBezTo>
                    <a:pt x="1345256" y="2490"/>
                    <a:pt x="1356890" y="0"/>
                    <a:pt x="1370319" y="0"/>
                  </a:cubicBezTo>
                  <a:cubicBezTo>
                    <a:pt x="1374488" y="0"/>
                    <a:pt x="1378597" y="292"/>
                    <a:pt x="1382649" y="871"/>
                  </a:cubicBezTo>
                  <a:cubicBezTo>
                    <a:pt x="1386701" y="1333"/>
                    <a:pt x="1390640" y="2087"/>
                    <a:pt x="1394458" y="3127"/>
                  </a:cubicBezTo>
                  <a:lnTo>
                    <a:pt x="1393418" y="35433"/>
                  </a:lnTo>
                  <a:cubicBezTo>
                    <a:pt x="1391102" y="34854"/>
                    <a:pt x="1388554" y="34450"/>
                    <a:pt x="1385776" y="34217"/>
                  </a:cubicBezTo>
                  <a:cubicBezTo>
                    <a:pt x="1383116" y="33983"/>
                    <a:pt x="1380217" y="33872"/>
                    <a:pt x="1377095" y="33872"/>
                  </a:cubicBezTo>
                  <a:cubicBezTo>
                    <a:pt x="1370728" y="33872"/>
                    <a:pt x="1365227" y="35088"/>
                    <a:pt x="1360596" y="37519"/>
                  </a:cubicBezTo>
                  <a:cubicBezTo>
                    <a:pt x="1356083" y="39835"/>
                    <a:pt x="1352605" y="43249"/>
                    <a:pt x="1350178" y="47767"/>
                  </a:cubicBezTo>
                  <a:cubicBezTo>
                    <a:pt x="1347863" y="52286"/>
                    <a:pt x="1346706" y="57840"/>
                    <a:pt x="1346706" y="64441"/>
                  </a:cubicBezTo>
                  <a:lnTo>
                    <a:pt x="1346706" y="270423"/>
                  </a:lnTo>
                  <a:close/>
                  <a:moveTo>
                    <a:pt x="1385431" y="82500"/>
                  </a:moveTo>
                  <a:lnTo>
                    <a:pt x="1385431" y="113069"/>
                  </a:lnTo>
                  <a:lnTo>
                    <a:pt x="1276015" y="113069"/>
                  </a:lnTo>
                  <a:lnTo>
                    <a:pt x="1276015" y="82500"/>
                  </a:lnTo>
                  <a:lnTo>
                    <a:pt x="1385431" y="82500"/>
                  </a:lnTo>
                  <a:close/>
                </a:path>
              </a:pathLst>
            </a:custGeom>
            <a:solidFill>
              <a:srgbClr val="EE3431"/>
            </a:solidFill>
            <a:ln w="4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6" name="Полилиния: фигура 45">
              <a:extLst>
                <a:ext uri="{FF2B5EF4-FFF2-40B4-BE49-F238E27FC236}">
                  <a16:creationId xmlns:a16="http://schemas.microsoft.com/office/drawing/2014/main" id="{EB80AEA3-6D76-4813-B83E-E98064CA7762}"/>
                </a:ext>
              </a:extLst>
            </p:cNvPr>
            <p:cNvSpPr/>
            <p:nvPr/>
          </p:nvSpPr>
          <p:spPr>
            <a:xfrm>
              <a:off x="7406975" y="5855999"/>
              <a:ext cx="1394458" cy="273890"/>
            </a:xfrm>
            <a:custGeom>
              <a:avLst/>
              <a:gdLst>
                <a:gd name="connsiteX0" fmla="*/ 157354 w 1394458"/>
                <a:gd name="connsiteY0" fmla="*/ 188093 h 273890"/>
                <a:gd name="connsiteX1" fmla="*/ 200773 w 1394458"/>
                <a:gd name="connsiteY1" fmla="*/ 188093 h 273890"/>
                <a:gd name="connsiteX2" fmla="*/ 186877 w 1394458"/>
                <a:gd name="connsiteY2" fmla="*/ 232383 h 273890"/>
                <a:gd name="connsiteX3" fmla="*/ 153706 w 1394458"/>
                <a:gd name="connsiteY3" fmla="*/ 262777 h 273890"/>
                <a:gd name="connsiteX4" fmla="*/ 101775 w 1394458"/>
                <a:gd name="connsiteY4" fmla="*/ 273891 h 273890"/>
                <a:gd name="connsiteX5" fmla="*/ 59572 w 1394458"/>
                <a:gd name="connsiteY5" fmla="*/ 265554 h 273890"/>
                <a:gd name="connsiteX6" fmla="*/ 27442 w 1394458"/>
                <a:gd name="connsiteY6" fmla="*/ 241585 h 273890"/>
                <a:gd name="connsiteX7" fmla="*/ 6950 w 1394458"/>
                <a:gd name="connsiteY7" fmla="*/ 203901 h 273890"/>
                <a:gd name="connsiteX8" fmla="*/ 0 w 1394458"/>
                <a:gd name="connsiteY8" fmla="*/ 154572 h 273890"/>
                <a:gd name="connsiteX9" fmla="*/ 0 w 1394458"/>
                <a:gd name="connsiteY9" fmla="*/ 133555 h 273890"/>
                <a:gd name="connsiteX10" fmla="*/ 7121 w 1394458"/>
                <a:gd name="connsiteY10" fmla="*/ 84231 h 273890"/>
                <a:gd name="connsiteX11" fmla="*/ 27962 w 1394458"/>
                <a:gd name="connsiteY11" fmla="*/ 46542 h 273890"/>
                <a:gd name="connsiteX12" fmla="*/ 60438 w 1394458"/>
                <a:gd name="connsiteY12" fmla="*/ 22403 h 273890"/>
                <a:gd name="connsiteX13" fmla="*/ 103336 w 1394458"/>
                <a:gd name="connsiteY13" fmla="*/ 14066 h 273890"/>
                <a:gd name="connsiteX14" fmla="*/ 154397 w 1394458"/>
                <a:gd name="connsiteY14" fmla="*/ 25180 h 273890"/>
                <a:gd name="connsiteX15" fmla="*/ 186702 w 1394458"/>
                <a:gd name="connsiteY15" fmla="*/ 55919 h 273890"/>
                <a:gd name="connsiteX16" fmla="*/ 200943 w 1394458"/>
                <a:gd name="connsiteY16" fmla="*/ 100900 h 273890"/>
                <a:gd name="connsiteX17" fmla="*/ 157524 w 1394458"/>
                <a:gd name="connsiteY17" fmla="*/ 100900 h 273890"/>
                <a:gd name="connsiteX18" fmla="*/ 149883 w 1394458"/>
                <a:gd name="connsiteY18" fmla="*/ 72938 h 273890"/>
                <a:gd name="connsiteX19" fmla="*/ 132865 w 1394458"/>
                <a:gd name="connsiteY19" fmla="*/ 55224 h 273890"/>
                <a:gd name="connsiteX20" fmla="*/ 103341 w 1394458"/>
                <a:gd name="connsiteY20" fmla="*/ 48969 h 273890"/>
                <a:gd name="connsiteX21" fmla="*/ 77291 w 1394458"/>
                <a:gd name="connsiteY21" fmla="*/ 54528 h 273890"/>
                <a:gd name="connsiteX22" fmla="*/ 58706 w 1394458"/>
                <a:gd name="connsiteY22" fmla="*/ 70856 h 273890"/>
                <a:gd name="connsiteX23" fmla="*/ 47417 w 1394458"/>
                <a:gd name="connsiteY23" fmla="*/ 97427 h 273890"/>
                <a:gd name="connsiteX24" fmla="*/ 43769 w 1394458"/>
                <a:gd name="connsiteY24" fmla="*/ 133205 h 273890"/>
                <a:gd name="connsiteX25" fmla="*/ 43769 w 1394458"/>
                <a:gd name="connsiteY25" fmla="*/ 154567 h 273890"/>
                <a:gd name="connsiteX26" fmla="*/ 47067 w 1394458"/>
                <a:gd name="connsiteY26" fmla="*/ 189304 h 273890"/>
                <a:gd name="connsiteX27" fmla="*/ 57490 w 1394458"/>
                <a:gd name="connsiteY27" fmla="*/ 215875 h 273890"/>
                <a:gd name="connsiteX28" fmla="*/ 75550 w 1394458"/>
                <a:gd name="connsiteY28" fmla="*/ 233069 h 273890"/>
                <a:gd name="connsiteX29" fmla="*/ 101775 w 1394458"/>
                <a:gd name="connsiteY29" fmla="*/ 239149 h 273890"/>
                <a:gd name="connsiteX30" fmla="*/ 131824 w 1394458"/>
                <a:gd name="connsiteY30" fmla="*/ 233244 h 273890"/>
                <a:gd name="connsiteX31" fmla="*/ 149363 w 1394458"/>
                <a:gd name="connsiteY31" fmla="*/ 216050 h 273890"/>
                <a:gd name="connsiteX32" fmla="*/ 157354 w 1394458"/>
                <a:gd name="connsiteY32" fmla="*/ 188088 h 273890"/>
                <a:gd name="connsiteX33" fmla="*/ 313837 w 1394458"/>
                <a:gd name="connsiteY33" fmla="*/ 270418 h 273890"/>
                <a:gd name="connsiteX34" fmla="*/ 259825 w 1394458"/>
                <a:gd name="connsiteY34" fmla="*/ 270418 h 273890"/>
                <a:gd name="connsiteX35" fmla="*/ 260170 w 1394458"/>
                <a:gd name="connsiteY35" fmla="*/ 235856 h 273890"/>
                <a:gd name="connsiteX36" fmla="*/ 313837 w 1394458"/>
                <a:gd name="connsiteY36" fmla="*/ 235856 h 273890"/>
                <a:gd name="connsiteX37" fmla="*/ 353088 w 1394458"/>
                <a:gd name="connsiteY37" fmla="*/ 225608 h 273890"/>
                <a:gd name="connsiteX38" fmla="*/ 377057 w 1394458"/>
                <a:gd name="connsiteY38" fmla="*/ 196255 h 273890"/>
                <a:gd name="connsiteX39" fmla="*/ 385218 w 1394458"/>
                <a:gd name="connsiteY39" fmla="*/ 150754 h 273890"/>
                <a:gd name="connsiteX40" fmla="*/ 385218 w 1394458"/>
                <a:gd name="connsiteY40" fmla="*/ 137033 h 273890"/>
                <a:gd name="connsiteX41" fmla="*/ 380530 w 1394458"/>
                <a:gd name="connsiteY41" fmla="*/ 100734 h 273890"/>
                <a:gd name="connsiteX42" fmla="*/ 366984 w 1394458"/>
                <a:gd name="connsiteY42" fmla="*/ 74163 h 273890"/>
                <a:gd name="connsiteX43" fmla="*/ 345102 w 1394458"/>
                <a:gd name="connsiteY43" fmla="*/ 57840 h 273890"/>
                <a:gd name="connsiteX44" fmla="*/ 315403 w 1394458"/>
                <a:gd name="connsiteY44" fmla="*/ 52281 h 273890"/>
                <a:gd name="connsiteX45" fmla="*/ 258784 w 1394458"/>
                <a:gd name="connsiteY45" fmla="*/ 52281 h 273890"/>
                <a:gd name="connsiteX46" fmla="*/ 258784 w 1394458"/>
                <a:gd name="connsiteY46" fmla="*/ 17544 h 273890"/>
                <a:gd name="connsiteX47" fmla="*/ 315403 w 1394458"/>
                <a:gd name="connsiteY47" fmla="*/ 17544 h 273890"/>
                <a:gd name="connsiteX48" fmla="*/ 361429 w 1394458"/>
                <a:gd name="connsiteY48" fmla="*/ 26055 h 273890"/>
                <a:gd name="connsiteX49" fmla="*/ 397383 w 1394458"/>
                <a:gd name="connsiteY49" fmla="*/ 50195 h 273890"/>
                <a:gd name="connsiteX50" fmla="*/ 420826 w 1394458"/>
                <a:gd name="connsiteY50" fmla="*/ 88054 h 273890"/>
                <a:gd name="connsiteX51" fmla="*/ 428988 w 1394458"/>
                <a:gd name="connsiteY51" fmla="*/ 137378 h 273890"/>
                <a:gd name="connsiteX52" fmla="*/ 428988 w 1394458"/>
                <a:gd name="connsiteY52" fmla="*/ 150754 h 273890"/>
                <a:gd name="connsiteX53" fmla="*/ 420826 w 1394458"/>
                <a:gd name="connsiteY53" fmla="*/ 200078 h 273890"/>
                <a:gd name="connsiteX54" fmla="*/ 397383 w 1394458"/>
                <a:gd name="connsiteY54" fmla="*/ 237938 h 273890"/>
                <a:gd name="connsiteX55" fmla="*/ 360909 w 1394458"/>
                <a:gd name="connsiteY55" fmla="*/ 262077 h 273890"/>
                <a:gd name="connsiteX56" fmla="*/ 313842 w 1394458"/>
                <a:gd name="connsiteY56" fmla="*/ 270413 h 273890"/>
                <a:gd name="connsiteX57" fmla="*/ 283964 w 1394458"/>
                <a:gd name="connsiteY57" fmla="*/ 17544 h 273890"/>
                <a:gd name="connsiteX58" fmla="*/ 283964 w 1394458"/>
                <a:gd name="connsiteY58" fmla="*/ 270418 h 273890"/>
                <a:gd name="connsiteX59" fmla="*/ 240369 w 1394458"/>
                <a:gd name="connsiteY59" fmla="*/ 270418 h 273890"/>
                <a:gd name="connsiteX60" fmla="*/ 240369 w 1394458"/>
                <a:gd name="connsiteY60" fmla="*/ 17544 h 273890"/>
                <a:gd name="connsiteX61" fmla="*/ 283964 w 1394458"/>
                <a:gd name="connsiteY61" fmla="*/ 17544 h 273890"/>
                <a:gd name="connsiteX62" fmla="*/ 519299 w 1394458"/>
                <a:gd name="connsiteY62" fmla="*/ 17544 h 273890"/>
                <a:gd name="connsiteX63" fmla="*/ 519299 w 1394458"/>
                <a:gd name="connsiteY63" fmla="*/ 270418 h 273890"/>
                <a:gd name="connsiteX64" fmla="*/ 475705 w 1394458"/>
                <a:gd name="connsiteY64" fmla="*/ 270418 h 273890"/>
                <a:gd name="connsiteX65" fmla="*/ 475705 w 1394458"/>
                <a:gd name="connsiteY65" fmla="*/ 17544 h 273890"/>
                <a:gd name="connsiteX66" fmla="*/ 519299 w 1394458"/>
                <a:gd name="connsiteY66" fmla="*/ 17544 h 273890"/>
                <a:gd name="connsiteX67" fmla="*/ 811424 w 1394458"/>
                <a:gd name="connsiteY67" fmla="*/ 188093 h 273890"/>
                <a:gd name="connsiteX68" fmla="*/ 854843 w 1394458"/>
                <a:gd name="connsiteY68" fmla="*/ 188093 h 273890"/>
                <a:gd name="connsiteX69" fmla="*/ 840947 w 1394458"/>
                <a:gd name="connsiteY69" fmla="*/ 232383 h 273890"/>
                <a:gd name="connsiteX70" fmla="*/ 807776 w 1394458"/>
                <a:gd name="connsiteY70" fmla="*/ 262777 h 273890"/>
                <a:gd name="connsiteX71" fmla="*/ 755845 w 1394458"/>
                <a:gd name="connsiteY71" fmla="*/ 273891 h 273890"/>
                <a:gd name="connsiteX72" fmla="*/ 713642 w 1394458"/>
                <a:gd name="connsiteY72" fmla="*/ 265554 h 273890"/>
                <a:gd name="connsiteX73" fmla="*/ 681512 w 1394458"/>
                <a:gd name="connsiteY73" fmla="*/ 241585 h 273890"/>
                <a:gd name="connsiteX74" fmla="*/ 661021 w 1394458"/>
                <a:gd name="connsiteY74" fmla="*/ 203901 h 273890"/>
                <a:gd name="connsiteX75" fmla="*/ 654075 w 1394458"/>
                <a:gd name="connsiteY75" fmla="*/ 154577 h 273890"/>
                <a:gd name="connsiteX76" fmla="*/ 654075 w 1394458"/>
                <a:gd name="connsiteY76" fmla="*/ 133560 h 273890"/>
                <a:gd name="connsiteX77" fmla="*/ 661196 w 1394458"/>
                <a:gd name="connsiteY77" fmla="*/ 84236 h 273890"/>
                <a:gd name="connsiteX78" fmla="*/ 682037 w 1394458"/>
                <a:gd name="connsiteY78" fmla="*/ 46547 h 273890"/>
                <a:gd name="connsiteX79" fmla="*/ 714513 w 1394458"/>
                <a:gd name="connsiteY79" fmla="*/ 22408 h 273890"/>
                <a:gd name="connsiteX80" fmla="*/ 757411 w 1394458"/>
                <a:gd name="connsiteY80" fmla="*/ 14071 h 273890"/>
                <a:gd name="connsiteX81" fmla="*/ 808472 w 1394458"/>
                <a:gd name="connsiteY81" fmla="*/ 25185 h 273890"/>
                <a:gd name="connsiteX82" fmla="*/ 840777 w 1394458"/>
                <a:gd name="connsiteY82" fmla="*/ 55924 h 273890"/>
                <a:gd name="connsiteX83" fmla="*/ 855018 w 1394458"/>
                <a:gd name="connsiteY83" fmla="*/ 100905 h 273890"/>
                <a:gd name="connsiteX84" fmla="*/ 811599 w 1394458"/>
                <a:gd name="connsiteY84" fmla="*/ 100905 h 273890"/>
                <a:gd name="connsiteX85" fmla="*/ 803958 w 1394458"/>
                <a:gd name="connsiteY85" fmla="*/ 72943 h 273890"/>
                <a:gd name="connsiteX86" fmla="*/ 786940 w 1394458"/>
                <a:gd name="connsiteY86" fmla="*/ 55229 h 273890"/>
                <a:gd name="connsiteX87" fmla="*/ 757416 w 1394458"/>
                <a:gd name="connsiteY87" fmla="*/ 48974 h 273890"/>
                <a:gd name="connsiteX88" fmla="*/ 731366 w 1394458"/>
                <a:gd name="connsiteY88" fmla="*/ 54533 h 273890"/>
                <a:gd name="connsiteX89" fmla="*/ 712781 w 1394458"/>
                <a:gd name="connsiteY89" fmla="*/ 70861 h 273890"/>
                <a:gd name="connsiteX90" fmla="*/ 701492 w 1394458"/>
                <a:gd name="connsiteY90" fmla="*/ 97432 h 273890"/>
                <a:gd name="connsiteX91" fmla="*/ 697844 w 1394458"/>
                <a:gd name="connsiteY91" fmla="*/ 133210 h 273890"/>
                <a:gd name="connsiteX92" fmla="*/ 697844 w 1394458"/>
                <a:gd name="connsiteY92" fmla="*/ 154572 h 273890"/>
                <a:gd name="connsiteX93" fmla="*/ 701142 w 1394458"/>
                <a:gd name="connsiteY93" fmla="*/ 189309 h 273890"/>
                <a:gd name="connsiteX94" fmla="*/ 711565 w 1394458"/>
                <a:gd name="connsiteY94" fmla="*/ 215880 h 273890"/>
                <a:gd name="connsiteX95" fmla="*/ 729629 w 1394458"/>
                <a:gd name="connsiteY95" fmla="*/ 233074 h 273890"/>
                <a:gd name="connsiteX96" fmla="*/ 755855 w 1394458"/>
                <a:gd name="connsiteY96" fmla="*/ 239154 h 273890"/>
                <a:gd name="connsiteX97" fmla="*/ 785904 w 1394458"/>
                <a:gd name="connsiteY97" fmla="*/ 233249 h 273890"/>
                <a:gd name="connsiteX98" fmla="*/ 803443 w 1394458"/>
                <a:gd name="connsiteY98" fmla="*/ 216055 h 273890"/>
                <a:gd name="connsiteX99" fmla="*/ 811434 w 1394458"/>
                <a:gd name="connsiteY99" fmla="*/ 188093 h 273890"/>
                <a:gd name="connsiteX100" fmla="*/ 882285 w 1394458"/>
                <a:gd name="connsiteY100" fmla="*/ 178541 h 273890"/>
                <a:gd name="connsiteX101" fmla="*/ 882285 w 1394458"/>
                <a:gd name="connsiteY101" fmla="*/ 174548 h 273890"/>
                <a:gd name="connsiteX102" fmla="*/ 888190 w 1394458"/>
                <a:gd name="connsiteY102" fmla="*/ 136858 h 273890"/>
                <a:gd name="connsiteX103" fmla="*/ 905208 w 1394458"/>
                <a:gd name="connsiteY103" fmla="*/ 106464 h 273890"/>
                <a:gd name="connsiteX104" fmla="*/ 932650 w 1394458"/>
                <a:gd name="connsiteY104" fmla="*/ 86318 h 273890"/>
                <a:gd name="connsiteX105" fmla="*/ 969469 w 1394458"/>
                <a:gd name="connsiteY105" fmla="*/ 79022 h 273890"/>
                <a:gd name="connsiteX106" fmla="*/ 1006288 w 1394458"/>
                <a:gd name="connsiteY106" fmla="*/ 86318 h 273890"/>
                <a:gd name="connsiteX107" fmla="*/ 1033899 w 1394458"/>
                <a:gd name="connsiteY107" fmla="*/ 106464 h 273890"/>
                <a:gd name="connsiteX108" fmla="*/ 1051093 w 1394458"/>
                <a:gd name="connsiteY108" fmla="*/ 136858 h 273890"/>
                <a:gd name="connsiteX109" fmla="*/ 1056998 w 1394458"/>
                <a:gd name="connsiteY109" fmla="*/ 174548 h 273890"/>
                <a:gd name="connsiteX110" fmla="*/ 1056998 w 1394458"/>
                <a:gd name="connsiteY110" fmla="*/ 178541 h 273890"/>
                <a:gd name="connsiteX111" fmla="*/ 1051093 w 1394458"/>
                <a:gd name="connsiteY111" fmla="*/ 216226 h 273890"/>
                <a:gd name="connsiteX112" fmla="*/ 1033899 w 1394458"/>
                <a:gd name="connsiteY112" fmla="*/ 246619 h 273890"/>
                <a:gd name="connsiteX113" fmla="*/ 1006458 w 1394458"/>
                <a:gd name="connsiteY113" fmla="*/ 266765 h 273890"/>
                <a:gd name="connsiteX114" fmla="*/ 969814 w 1394458"/>
                <a:gd name="connsiteY114" fmla="*/ 273886 h 273890"/>
                <a:gd name="connsiteX115" fmla="*/ 932820 w 1394458"/>
                <a:gd name="connsiteY115" fmla="*/ 266765 h 273890"/>
                <a:gd name="connsiteX116" fmla="*/ 905378 w 1394458"/>
                <a:gd name="connsiteY116" fmla="*/ 246619 h 273890"/>
                <a:gd name="connsiteX117" fmla="*/ 888185 w 1394458"/>
                <a:gd name="connsiteY117" fmla="*/ 216226 h 273890"/>
                <a:gd name="connsiteX118" fmla="*/ 882280 w 1394458"/>
                <a:gd name="connsiteY118" fmla="*/ 178541 h 273890"/>
                <a:gd name="connsiteX119" fmla="*/ 924143 w 1394458"/>
                <a:gd name="connsiteY119" fmla="*/ 174548 h 273890"/>
                <a:gd name="connsiteX120" fmla="*/ 924143 w 1394458"/>
                <a:gd name="connsiteY120" fmla="*/ 178541 h 273890"/>
                <a:gd name="connsiteX121" fmla="*/ 926750 w 1394458"/>
                <a:gd name="connsiteY121" fmla="*/ 202510 h 273890"/>
                <a:gd name="connsiteX122" fmla="*/ 934911 w 1394458"/>
                <a:gd name="connsiteY122" fmla="*/ 222310 h 273890"/>
                <a:gd name="connsiteX123" fmla="*/ 949152 w 1394458"/>
                <a:gd name="connsiteY123" fmla="*/ 235681 h 273890"/>
                <a:gd name="connsiteX124" fmla="*/ 969819 w 1394458"/>
                <a:gd name="connsiteY124" fmla="*/ 240545 h 273890"/>
                <a:gd name="connsiteX125" fmla="*/ 989965 w 1394458"/>
                <a:gd name="connsiteY125" fmla="*/ 235681 h 273890"/>
                <a:gd name="connsiteX126" fmla="*/ 1004206 w 1394458"/>
                <a:gd name="connsiteY126" fmla="*/ 222310 h 273890"/>
                <a:gd name="connsiteX127" fmla="*/ 1012367 w 1394458"/>
                <a:gd name="connsiteY127" fmla="*/ 202510 h 273890"/>
                <a:gd name="connsiteX128" fmla="*/ 1015145 w 1394458"/>
                <a:gd name="connsiteY128" fmla="*/ 178541 h 273890"/>
                <a:gd name="connsiteX129" fmla="*/ 1015145 w 1394458"/>
                <a:gd name="connsiteY129" fmla="*/ 174548 h 273890"/>
                <a:gd name="connsiteX130" fmla="*/ 1012367 w 1394458"/>
                <a:gd name="connsiteY130" fmla="*/ 150929 h 273890"/>
                <a:gd name="connsiteX131" fmla="*/ 1004031 w 1394458"/>
                <a:gd name="connsiteY131" fmla="*/ 130958 h 273890"/>
                <a:gd name="connsiteX132" fmla="*/ 989790 w 1394458"/>
                <a:gd name="connsiteY132" fmla="*/ 117412 h 273890"/>
                <a:gd name="connsiteX133" fmla="*/ 969469 w 1394458"/>
                <a:gd name="connsiteY133" fmla="*/ 112373 h 273890"/>
                <a:gd name="connsiteX134" fmla="*/ 948977 w 1394458"/>
                <a:gd name="connsiteY134" fmla="*/ 117412 h 273890"/>
                <a:gd name="connsiteX135" fmla="*/ 934911 w 1394458"/>
                <a:gd name="connsiteY135" fmla="*/ 130958 h 273890"/>
                <a:gd name="connsiteX136" fmla="*/ 926750 w 1394458"/>
                <a:gd name="connsiteY136" fmla="*/ 150929 h 273890"/>
                <a:gd name="connsiteX137" fmla="*/ 924143 w 1394458"/>
                <a:gd name="connsiteY137" fmla="*/ 174548 h 273890"/>
                <a:gd name="connsiteX138" fmla="*/ 1133598 w 1394458"/>
                <a:gd name="connsiteY138" fmla="*/ 122617 h 273890"/>
                <a:gd name="connsiteX139" fmla="*/ 1133598 w 1394458"/>
                <a:gd name="connsiteY139" fmla="*/ 270418 h 273890"/>
                <a:gd name="connsiteX140" fmla="*/ 1091745 w 1394458"/>
                <a:gd name="connsiteY140" fmla="*/ 270418 h 273890"/>
                <a:gd name="connsiteX141" fmla="*/ 1091745 w 1394458"/>
                <a:gd name="connsiteY141" fmla="*/ 82495 h 273890"/>
                <a:gd name="connsiteX142" fmla="*/ 1131171 w 1394458"/>
                <a:gd name="connsiteY142" fmla="*/ 82495 h 273890"/>
                <a:gd name="connsiteX143" fmla="*/ 1133603 w 1394458"/>
                <a:gd name="connsiteY143" fmla="*/ 122617 h 273890"/>
                <a:gd name="connsiteX144" fmla="*/ 1126132 w 1394458"/>
                <a:gd name="connsiteY144" fmla="*/ 169509 h 273890"/>
                <a:gd name="connsiteX145" fmla="*/ 1112586 w 1394458"/>
                <a:gd name="connsiteY145" fmla="*/ 169334 h 273890"/>
                <a:gd name="connsiteX146" fmla="*/ 1118145 w 1394458"/>
                <a:gd name="connsiteY146" fmla="*/ 132690 h 273890"/>
                <a:gd name="connsiteX147" fmla="*/ 1133428 w 1394458"/>
                <a:gd name="connsiteY147" fmla="*/ 104032 h 273890"/>
                <a:gd name="connsiteX148" fmla="*/ 1157046 w 1394458"/>
                <a:gd name="connsiteY148" fmla="*/ 85623 h 273890"/>
                <a:gd name="connsiteX149" fmla="*/ 1187615 w 1394458"/>
                <a:gd name="connsiteY149" fmla="*/ 79022 h 273890"/>
                <a:gd name="connsiteX150" fmla="*/ 1212105 w 1394458"/>
                <a:gd name="connsiteY150" fmla="*/ 82840 h 273890"/>
                <a:gd name="connsiteX151" fmla="*/ 1231034 w 1394458"/>
                <a:gd name="connsiteY151" fmla="*/ 94825 h 273890"/>
                <a:gd name="connsiteX152" fmla="*/ 1243189 w 1394458"/>
                <a:gd name="connsiteY152" fmla="*/ 116532 h 273890"/>
                <a:gd name="connsiteX153" fmla="*/ 1247357 w 1394458"/>
                <a:gd name="connsiteY153" fmla="*/ 149008 h 273890"/>
                <a:gd name="connsiteX154" fmla="*/ 1247357 w 1394458"/>
                <a:gd name="connsiteY154" fmla="*/ 270408 h 273890"/>
                <a:gd name="connsiteX155" fmla="*/ 1205329 w 1394458"/>
                <a:gd name="connsiteY155" fmla="*/ 270408 h 273890"/>
                <a:gd name="connsiteX156" fmla="*/ 1205329 w 1394458"/>
                <a:gd name="connsiteY156" fmla="*/ 148833 h 273890"/>
                <a:gd name="connsiteX157" fmla="*/ 1201336 w 1394458"/>
                <a:gd name="connsiteY157" fmla="*/ 127471 h 273890"/>
                <a:gd name="connsiteX158" fmla="*/ 1190047 w 1394458"/>
                <a:gd name="connsiteY158" fmla="*/ 116182 h 273890"/>
                <a:gd name="connsiteX159" fmla="*/ 1171813 w 1394458"/>
                <a:gd name="connsiteY159" fmla="*/ 112709 h 273890"/>
                <a:gd name="connsiteX160" fmla="*/ 1152533 w 1394458"/>
                <a:gd name="connsiteY160" fmla="*/ 117223 h 273890"/>
                <a:gd name="connsiteX161" fmla="*/ 1138116 w 1394458"/>
                <a:gd name="connsiteY161" fmla="*/ 129552 h 273890"/>
                <a:gd name="connsiteX162" fmla="*/ 1129259 w 1394458"/>
                <a:gd name="connsiteY162" fmla="*/ 147617 h 273890"/>
                <a:gd name="connsiteX163" fmla="*/ 1126132 w 1394458"/>
                <a:gd name="connsiteY163" fmla="*/ 169499 h 273890"/>
                <a:gd name="connsiteX164" fmla="*/ 1346701 w 1394458"/>
                <a:gd name="connsiteY164" fmla="*/ 270418 h 273890"/>
                <a:gd name="connsiteX165" fmla="*/ 1304843 w 1394458"/>
                <a:gd name="connsiteY165" fmla="*/ 270418 h 273890"/>
                <a:gd name="connsiteX166" fmla="*/ 1304843 w 1394458"/>
                <a:gd name="connsiteY166" fmla="*/ 64436 h 273890"/>
                <a:gd name="connsiteX167" fmla="*/ 1312659 w 1394458"/>
                <a:gd name="connsiteY167" fmla="*/ 29178 h 273890"/>
                <a:gd name="connsiteX168" fmla="*/ 1335412 w 1394458"/>
                <a:gd name="connsiteY168" fmla="*/ 7471 h 273890"/>
                <a:gd name="connsiteX169" fmla="*/ 1370319 w 1394458"/>
                <a:gd name="connsiteY169" fmla="*/ 0 h 273890"/>
                <a:gd name="connsiteX170" fmla="*/ 1382649 w 1394458"/>
                <a:gd name="connsiteY170" fmla="*/ 871 h 273890"/>
                <a:gd name="connsiteX171" fmla="*/ 1394458 w 1394458"/>
                <a:gd name="connsiteY171" fmla="*/ 3127 h 273890"/>
                <a:gd name="connsiteX172" fmla="*/ 1393418 w 1394458"/>
                <a:gd name="connsiteY172" fmla="*/ 35433 h 273890"/>
                <a:gd name="connsiteX173" fmla="*/ 1385776 w 1394458"/>
                <a:gd name="connsiteY173" fmla="*/ 34217 h 273890"/>
                <a:gd name="connsiteX174" fmla="*/ 1377095 w 1394458"/>
                <a:gd name="connsiteY174" fmla="*/ 33867 h 273890"/>
                <a:gd name="connsiteX175" fmla="*/ 1360596 w 1394458"/>
                <a:gd name="connsiteY175" fmla="*/ 37515 h 273890"/>
                <a:gd name="connsiteX176" fmla="*/ 1350178 w 1394458"/>
                <a:gd name="connsiteY176" fmla="*/ 47763 h 273890"/>
                <a:gd name="connsiteX177" fmla="*/ 1346706 w 1394458"/>
                <a:gd name="connsiteY177" fmla="*/ 64436 h 273890"/>
                <a:gd name="connsiteX178" fmla="*/ 1346706 w 1394458"/>
                <a:gd name="connsiteY178" fmla="*/ 270418 h 273890"/>
                <a:gd name="connsiteX179" fmla="*/ 1385431 w 1394458"/>
                <a:gd name="connsiteY179" fmla="*/ 82500 h 273890"/>
                <a:gd name="connsiteX180" fmla="*/ 1385431 w 1394458"/>
                <a:gd name="connsiteY180" fmla="*/ 113069 h 273890"/>
                <a:gd name="connsiteX181" fmla="*/ 1276015 w 1394458"/>
                <a:gd name="connsiteY181" fmla="*/ 113069 h 273890"/>
                <a:gd name="connsiteX182" fmla="*/ 1276015 w 1394458"/>
                <a:gd name="connsiteY182" fmla="*/ 82500 h 273890"/>
                <a:gd name="connsiteX183" fmla="*/ 1385431 w 1394458"/>
                <a:gd name="connsiteY183" fmla="*/ 82500 h 2738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</a:cxnLst>
              <a:rect l="l" t="t" r="r" b="b"/>
              <a:pathLst>
                <a:path w="1394458" h="273890">
                  <a:moveTo>
                    <a:pt x="157354" y="188093"/>
                  </a:moveTo>
                  <a:lnTo>
                    <a:pt x="200773" y="188093"/>
                  </a:lnTo>
                  <a:cubicBezTo>
                    <a:pt x="199382" y="204650"/>
                    <a:pt x="194752" y="219411"/>
                    <a:pt x="186877" y="232383"/>
                  </a:cubicBezTo>
                  <a:cubicBezTo>
                    <a:pt x="179003" y="245233"/>
                    <a:pt x="167947" y="255365"/>
                    <a:pt x="153706" y="262777"/>
                  </a:cubicBezTo>
                  <a:cubicBezTo>
                    <a:pt x="139465" y="270185"/>
                    <a:pt x="122155" y="273891"/>
                    <a:pt x="101775" y="273891"/>
                  </a:cubicBezTo>
                  <a:cubicBezTo>
                    <a:pt x="86143" y="273891"/>
                    <a:pt x="72077" y="271114"/>
                    <a:pt x="59572" y="265554"/>
                  </a:cubicBezTo>
                  <a:cubicBezTo>
                    <a:pt x="47067" y="259878"/>
                    <a:pt x="36357" y="251892"/>
                    <a:pt x="27442" y="241585"/>
                  </a:cubicBezTo>
                  <a:cubicBezTo>
                    <a:pt x="18526" y="231167"/>
                    <a:pt x="11697" y="218604"/>
                    <a:pt x="6950" y="203901"/>
                  </a:cubicBezTo>
                  <a:cubicBezTo>
                    <a:pt x="2315" y="189192"/>
                    <a:pt x="0" y="172753"/>
                    <a:pt x="0" y="154572"/>
                  </a:cubicBezTo>
                  <a:lnTo>
                    <a:pt x="0" y="133555"/>
                  </a:lnTo>
                  <a:cubicBezTo>
                    <a:pt x="0" y="115379"/>
                    <a:pt x="2374" y="98935"/>
                    <a:pt x="7121" y="84231"/>
                  </a:cubicBezTo>
                  <a:cubicBezTo>
                    <a:pt x="11984" y="69528"/>
                    <a:pt x="18930" y="56965"/>
                    <a:pt x="27962" y="46542"/>
                  </a:cubicBezTo>
                  <a:cubicBezTo>
                    <a:pt x="36994" y="36007"/>
                    <a:pt x="47816" y="27957"/>
                    <a:pt x="60438" y="22403"/>
                  </a:cubicBezTo>
                  <a:cubicBezTo>
                    <a:pt x="73171" y="16843"/>
                    <a:pt x="87471" y="14066"/>
                    <a:pt x="103336" y="14066"/>
                  </a:cubicBezTo>
                  <a:cubicBezTo>
                    <a:pt x="123482" y="14066"/>
                    <a:pt x="140506" y="17772"/>
                    <a:pt x="154397" y="25180"/>
                  </a:cubicBezTo>
                  <a:cubicBezTo>
                    <a:pt x="168293" y="32592"/>
                    <a:pt x="179056" y="42836"/>
                    <a:pt x="186702" y="55919"/>
                  </a:cubicBezTo>
                  <a:cubicBezTo>
                    <a:pt x="194460" y="69003"/>
                    <a:pt x="199207" y="83998"/>
                    <a:pt x="200943" y="100900"/>
                  </a:cubicBezTo>
                  <a:lnTo>
                    <a:pt x="157524" y="100900"/>
                  </a:lnTo>
                  <a:cubicBezTo>
                    <a:pt x="156367" y="90015"/>
                    <a:pt x="153818" y="80695"/>
                    <a:pt x="149883" y="72938"/>
                  </a:cubicBezTo>
                  <a:cubicBezTo>
                    <a:pt x="146065" y="65180"/>
                    <a:pt x="140389" y="59275"/>
                    <a:pt x="132865" y="55224"/>
                  </a:cubicBezTo>
                  <a:cubicBezTo>
                    <a:pt x="125340" y="51055"/>
                    <a:pt x="115496" y="48969"/>
                    <a:pt x="103341" y="48969"/>
                  </a:cubicBezTo>
                  <a:cubicBezTo>
                    <a:pt x="93385" y="48969"/>
                    <a:pt x="84698" y="50822"/>
                    <a:pt x="77291" y="54528"/>
                  </a:cubicBezTo>
                  <a:cubicBezTo>
                    <a:pt x="69878" y="58234"/>
                    <a:pt x="63687" y="63677"/>
                    <a:pt x="58706" y="70856"/>
                  </a:cubicBezTo>
                  <a:cubicBezTo>
                    <a:pt x="53730" y="78035"/>
                    <a:pt x="49966" y="86892"/>
                    <a:pt x="47417" y="97427"/>
                  </a:cubicBezTo>
                  <a:cubicBezTo>
                    <a:pt x="44985" y="107845"/>
                    <a:pt x="43769" y="119771"/>
                    <a:pt x="43769" y="133205"/>
                  </a:cubicBezTo>
                  <a:lnTo>
                    <a:pt x="43769" y="154567"/>
                  </a:lnTo>
                  <a:cubicBezTo>
                    <a:pt x="43769" y="167305"/>
                    <a:pt x="44869" y="178881"/>
                    <a:pt x="47067" y="189304"/>
                  </a:cubicBezTo>
                  <a:cubicBezTo>
                    <a:pt x="49382" y="199611"/>
                    <a:pt x="52855" y="208468"/>
                    <a:pt x="57490" y="215875"/>
                  </a:cubicBezTo>
                  <a:cubicBezTo>
                    <a:pt x="62237" y="223288"/>
                    <a:pt x="68259" y="229017"/>
                    <a:pt x="75550" y="233069"/>
                  </a:cubicBezTo>
                  <a:cubicBezTo>
                    <a:pt x="82845" y="237120"/>
                    <a:pt x="91585" y="239149"/>
                    <a:pt x="101775" y="239149"/>
                  </a:cubicBezTo>
                  <a:cubicBezTo>
                    <a:pt x="114163" y="239149"/>
                    <a:pt x="124178" y="237179"/>
                    <a:pt x="131824" y="233244"/>
                  </a:cubicBezTo>
                  <a:cubicBezTo>
                    <a:pt x="139582" y="229304"/>
                    <a:pt x="145428" y="223575"/>
                    <a:pt x="149363" y="216050"/>
                  </a:cubicBezTo>
                  <a:cubicBezTo>
                    <a:pt x="153414" y="208409"/>
                    <a:pt x="156080" y="199090"/>
                    <a:pt x="157354" y="188088"/>
                  </a:cubicBezTo>
                  <a:close/>
                  <a:moveTo>
                    <a:pt x="313837" y="270418"/>
                  </a:moveTo>
                  <a:lnTo>
                    <a:pt x="259825" y="270418"/>
                  </a:lnTo>
                  <a:lnTo>
                    <a:pt x="260170" y="235856"/>
                  </a:lnTo>
                  <a:lnTo>
                    <a:pt x="313837" y="235856"/>
                  </a:lnTo>
                  <a:cubicBezTo>
                    <a:pt x="329469" y="235856"/>
                    <a:pt x="342553" y="232441"/>
                    <a:pt x="353088" y="225608"/>
                  </a:cubicBezTo>
                  <a:cubicBezTo>
                    <a:pt x="363740" y="218779"/>
                    <a:pt x="371731" y="208993"/>
                    <a:pt x="377057" y="196255"/>
                  </a:cubicBezTo>
                  <a:cubicBezTo>
                    <a:pt x="382499" y="183516"/>
                    <a:pt x="385218" y="168351"/>
                    <a:pt x="385218" y="150754"/>
                  </a:cubicBezTo>
                  <a:lnTo>
                    <a:pt x="385218" y="137033"/>
                  </a:lnTo>
                  <a:cubicBezTo>
                    <a:pt x="385218" y="123371"/>
                    <a:pt x="383657" y="111269"/>
                    <a:pt x="380530" y="100734"/>
                  </a:cubicBezTo>
                  <a:cubicBezTo>
                    <a:pt x="377519" y="90199"/>
                    <a:pt x="373005" y="81342"/>
                    <a:pt x="366984" y="74163"/>
                  </a:cubicBezTo>
                  <a:cubicBezTo>
                    <a:pt x="361079" y="66984"/>
                    <a:pt x="353784" y="61542"/>
                    <a:pt x="345102" y="57840"/>
                  </a:cubicBezTo>
                  <a:cubicBezTo>
                    <a:pt x="336532" y="54134"/>
                    <a:pt x="326634" y="52281"/>
                    <a:pt x="315403" y="52281"/>
                  </a:cubicBezTo>
                  <a:lnTo>
                    <a:pt x="258784" y="52281"/>
                  </a:lnTo>
                  <a:lnTo>
                    <a:pt x="258784" y="17544"/>
                  </a:lnTo>
                  <a:lnTo>
                    <a:pt x="315403" y="17544"/>
                  </a:lnTo>
                  <a:cubicBezTo>
                    <a:pt x="332193" y="17544"/>
                    <a:pt x="347534" y="20379"/>
                    <a:pt x="361429" y="26055"/>
                  </a:cubicBezTo>
                  <a:cubicBezTo>
                    <a:pt x="375325" y="31615"/>
                    <a:pt x="387310" y="39660"/>
                    <a:pt x="397383" y="50195"/>
                  </a:cubicBezTo>
                  <a:cubicBezTo>
                    <a:pt x="407572" y="60730"/>
                    <a:pt x="415389" y="73351"/>
                    <a:pt x="420826" y="88054"/>
                  </a:cubicBezTo>
                  <a:cubicBezTo>
                    <a:pt x="426269" y="102758"/>
                    <a:pt x="428988" y="119202"/>
                    <a:pt x="428988" y="137378"/>
                  </a:cubicBezTo>
                  <a:lnTo>
                    <a:pt x="428988" y="150754"/>
                  </a:lnTo>
                  <a:cubicBezTo>
                    <a:pt x="428988" y="168930"/>
                    <a:pt x="426269" y="185374"/>
                    <a:pt x="420826" y="200078"/>
                  </a:cubicBezTo>
                  <a:cubicBezTo>
                    <a:pt x="415384" y="214781"/>
                    <a:pt x="407568" y="227403"/>
                    <a:pt x="397383" y="237938"/>
                  </a:cubicBezTo>
                  <a:cubicBezTo>
                    <a:pt x="387193" y="248356"/>
                    <a:pt x="375038" y="256405"/>
                    <a:pt x="360909" y="262077"/>
                  </a:cubicBezTo>
                  <a:cubicBezTo>
                    <a:pt x="346896" y="267636"/>
                    <a:pt x="331211" y="270413"/>
                    <a:pt x="313842" y="270413"/>
                  </a:cubicBezTo>
                  <a:close/>
                  <a:moveTo>
                    <a:pt x="283964" y="17544"/>
                  </a:moveTo>
                  <a:lnTo>
                    <a:pt x="283964" y="270418"/>
                  </a:lnTo>
                  <a:lnTo>
                    <a:pt x="240369" y="270418"/>
                  </a:lnTo>
                  <a:lnTo>
                    <a:pt x="240369" y="17544"/>
                  </a:lnTo>
                  <a:lnTo>
                    <a:pt x="283964" y="17544"/>
                  </a:lnTo>
                  <a:close/>
                  <a:moveTo>
                    <a:pt x="519299" y="17544"/>
                  </a:moveTo>
                  <a:lnTo>
                    <a:pt x="519299" y="270418"/>
                  </a:lnTo>
                  <a:lnTo>
                    <a:pt x="475705" y="270418"/>
                  </a:lnTo>
                  <a:lnTo>
                    <a:pt x="475705" y="17544"/>
                  </a:lnTo>
                  <a:lnTo>
                    <a:pt x="519299" y="17544"/>
                  </a:lnTo>
                  <a:close/>
                  <a:moveTo>
                    <a:pt x="811424" y="188093"/>
                  </a:moveTo>
                  <a:lnTo>
                    <a:pt x="854843" y="188093"/>
                  </a:lnTo>
                  <a:cubicBezTo>
                    <a:pt x="853452" y="204650"/>
                    <a:pt x="848822" y="219411"/>
                    <a:pt x="840947" y="232383"/>
                  </a:cubicBezTo>
                  <a:cubicBezTo>
                    <a:pt x="833073" y="245233"/>
                    <a:pt x="822017" y="255365"/>
                    <a:pt x="807776" y="262777"/>
                  </a:cubicBezTo>
                  <a:cubicBezTo>
                    <a:pt x="793535" y="270185"/>
                    <a:pt x="776225" y="273891"/>
                    <a:pt x="755845" y="273891"/>
                  </a:cubicBezTo>
                  <a:cubicBezTo>
                    <a:pt x="740213" y="273891"/>
                    <a:pt x="726147" y="271114"/>
                    <a:pt x="713642" y="265554"/>
                  </a:cubicBezTo>
                  <a:cubicBezTo>
                    <a:pt x="701137" y="259878"/>
                    <a:pt x="690427" y="251892"/>
                    <a:pt x="681512" y="241585"/>
                  </a:cubicBezTo>
                  <a:cubicBezTo>
                    <a:pt x="672596" y="231167"/>
                    <a:pt x="665768" y="218604"/>
                    <a:pt x="661021" y="203901"/>
                  </a:cubicBezTo>
                  <a:cubicBezTo>
                    <a:pt x="656390" y="189197"/>
                    <a:pt x="654075" y="172753"/>
                    <a:pt x="654075" y="154577"/>
                  </a:cubicBezTo>
                  <a:lnTo>
                    <a:pt x="654075" y="133560"/>
                  </a:lnTo>
                  <a:cubicBezTo>
                    <a:pt x="654075" y="115384"/>
                    <a:pt x="656449" y="98940"/>
                    <a:pt x="661196" y="84236"/>
                  </a:cubicBezTo>
                  <a:cubicBezTo>
                    <a:pt x="666059" y="69533"/>
                    <a:pt x="673005" y="56970"/>
                    <a:pt x="682037" y="46547"/>
                  </a:cubicBezTo>
                  <a:cubicBezTo>
                    <a:pt x="691069" y="36012"/>
                    <a:pt x="701891" y="27962"/>
                    <a:pt x="714513" y="22408"/>
                  </a:cubicBezTo>
                  <a:cubicBezTo>
                    <a:pt x="727246" y="16848"/>
                    <a:pt x="741546" y="14071"/>
                    <a:pt x="757411" y="14071"/>
                  </a:cubicBezTo>
                  <a:cubicBezTo>
                    <a:pt x="777557" y="14071"/>
                    <a:pt x="794581" y="17777"/>
                    <a:pt x="808472" y="25185"/>
                  </a:cubicBezTo>
                  <a:cubicBezTo>
                    <a:pt x="822368" y="32597"/>
                    <a:pt x="833131" y="42840"/>
                    <a:pt x="840777" y="55924"/>
                  </a:cubicBezTo>
                  <a:cubicBezTo>
                    <a:pt x="848535" y="69008"/>
                    <a:pt x="853282" y="84003"/>
                    <a:pt x="855018" y="100905"/>
                  </a:cubicBezTo>
                  <a:lnTo>
                    <a:pt x="811599" y="100905"/>
                  </a:lnTo>
                  <a:cubicBezTo>
                    <a:pt x="810442" y="90019"/>
                    <a:pt x="807893" y="80700"/>
                    <a:pt x="803958" y="72943"/>
                  </a:cubicBezTo>
                  <a:cubicBezTo>
                    <a:pt x="800140" y="65185"/>
                    <a:pt x="794464" y="59280"/>
                    <a:pt x="786940" y="55229"/>
                  </a:cubicBezTo>
                  <a:cubicBezTo>
                    <a:pt x="779415" y="51060"/>
                    <a:pt x="769571" y="48974"/>
                    <a:pt x="757416" y="48974"/>
                  </a:cubicBezTo>
                  <a:cubicBezTo>
                    <a:pt x="747460" y="48974"/>
                    <a:pt x="738773" y="50827"/>
                    <a:pt x="731366" y="54533"/>
                  </a:cubicBezTo>
                  <a:cubicBezTo>
                    <a:pt x="723953" y="58239"/>
                    <a:pt x="717762" y="63682"/>
                    <a:pt x="712781" y="70861"/>
                  </a:cubicBezTo>
                  <a:cubicBezTo>
                    <a:pt x="707801" y="78040"/>
                    <a:pt x="704041" y="86897"/>
                    <a:pt x="701492" y="97432"/>
                  </a:cubicBezTo>
                  <a:cubicBezTo>
                    <a:pt x="699060" y="107850"/>
                    <a:pt x="697844" y="119776"/>
                    <a:pt x="697844" y="133210"/>
                  </a:cubicBezTo>
                  <a:lnTo>
                    <a:pt x="697844" y="154572"/>
                  </a:lnTo>
                  <a:cubicBezTo>
                    <a:pt x="697844" y="167310"/>
                    <a:pt x="698944" y="178886"/>
                    <a:pt x="701142" y="189309"/>
                  </a:cubicBezTo>
                  <a:cubicBezTo>
                    <a:pt x="703457" y="199616"/>
                    <a:pt x="706930" y="208473"/>
                    <a:pt x="711565" y="215880"/>
                  </a:cubicBezTo>
                  <a:cubicBezTo>
                    <a:pt x="716312" y="223293"/>
                    <a:pt x="722334" y="229022"/>
                    <a:pt x="729629" y="233074"/>
                  </a:cubicBezTo>
                  <a:cubicBezTo>
                    <a:pt x="736925" y="237125"/>
                    <a:pt x="745665" y="239154"/>
                    <a:pt x="755855" y="239154"/>
                  </a:cubicBezTo>
                  <a:cubicBezTo>
                    <a:pt x="768243" y="239154"/>
                    <a:pt x="778258" y="237184"/>
                    <a:pt x="785904" y="233249"/>
                  </a:cubicBezTo>
                  <a:cubicBezTo>
                    <a:pt x="793661" y="229309"/>
                    <a:pt x="799508" y="223580"/>
                    <a:pt x="803443" y="216055"/>
                  </a:cubicBezTo>
                  <a:cubicBezTo>
                    <a:pt x="807494" y="208414"/>
                    <a:pt x="810159" y="199095"/>
                    <a:pt x="811434" y="188093"/>
                  </a:cubicBezTo>
                  <a:close/>
                  <a:moveTo>
                    <a:pt x="882285" y="178541"/>
                  </a:moveTo>
                  <a:lnTo>
                    <a:pt x="882285" y="174548"/>
                  </a:lnTo>
                  <a:cubicBezTo>
                    <a:pt x="882285" y="161002"/>
                    <a:pt x="884255" y="148439"/>
                    <a:pt x="888190" y="136858"/>
                  </a:cubicBezTo>
                  <a:cubicBezTo>
                    <a:pt x="892124" y="125165"/>
                    <a:pt x="897800" y="115034"/>
                    <a:pt x="905208" y="106464"/>
                  </a:cubicBezTo>
                  <a:cubicBezTo>
                    <a:pt x="912732" y="97782"/>
                    <a:pt x="921881" y="91065"/>
                    <a:pt x="932650" y="86318"/>
                  </a:cubicBezTo>
                  <a:cubicBezTo>
                    <a:pt x="943535" y="81454"/>
                    <a:pt x="955806" y="79022"/>
                    <a:pt x="969469" y="79022"/>
                  </a:cubicBezTo>
                  <a:cubicBezTo>
                    <a:pt x="983131" y="79022"/>
                    <a:pt x="995519" y="81454"/>
                    <a:pt x="1006288" y="86318"/>
                  </a:cubicBezTo>
                  <a:cubicBezTo>
                    <a:pt x="1017173" y="91065"/>
                    <a:pt x="1026375" y="97782"/>
                    <a:pt x="1033899" y="106464"/>
                  </a:cubicBezTo>
                  <a:cubicBezTo>
                    <a:pt x="1041424" y="115034"/>
                    <a:pt x="1047158" y="125165"/>
                    <a:pt x="1051093" y="136858"/>
                  </a:cubicBezTo>
                  <a:cubicBezTo>
                    <a:pt x="1055028" y="148434"/>
                    <a:pt x="1056998" y="160997"/>
                    <a:pt x="1056998" y="174548"/>
                  </a:cubicBezTo>
                  <a:lnTo>
                    <a:pt x="1056998" y="178541"/>
                  </a:lnTo>
                  <a:cubicBezTo>
                    <a:pt x="1056998" y="192086"/>
                    <a:pt x="1055028" y="204650"/>
                    <a:pt x="1051093" y="216226"/>
                  </a:cubicBezTo>
                  <a:cubicBezTo>
                    <a:pt x="1047153" y="227806"/>
                    <a:pt x="1041424" y="237938"/>
                    <a:pt x="1033899" y="246619"/>
                  </a:cubicBezTo>
                  <a:cubicBezTo>
                    <a:pt x="1026375" y="255189"/>
                    <a:pt x="1017226" y="261902"/>
                    <a:pt x="1006458" y="266765"/>
                  </a:cubicBezTo>
                  <a:cubicBezTo>
                    <a:pt x="995689" y="271512"/>
                    <a:pt x="983476" y="273886"/>
                    <a:pt x="969814" y="273886"/>
                  </a:cubicBezTo>
                  <a:cubicBezTo>
                    <a:pt x="956151" y="273886"/>
                    <a:pt x="943705" y="271512"/>
                    <a:pt x="932820" y="266765"/>
                  </a:cubicBezTo>
                  <a:cubicBezTo>
                    <a:pt x="922051" y="261902"/>
                    <a:pt x="912907" y="255189"/>
                    <a:pt x="905378" y="246619"/>
                  </a:cubicBezTo>
                  <a:cubicBezTo>
                    <a:pt x="897854" y="237938"/>
                    <a:pt x="892119" y="227806"/>
                    <a:pt x="888185" y="216226"/>
                  </a:cubicBezTo>
                  <a:cubicBezTo>
                    <a:pt x="884245" y="204650"/>
                    <a:pt x="882280" y="192086"/>
                    <a:pt x="882280" y="178541"/>
                  </a:cubicBezTo>
                  <a:close/>
                  <a:moveTo>
                    <a:pt x="924143" y="174548"/>
                  </a:moveTo>
                  <a:lnTo>
                    <a:pt x="924143" y="178541"/>
                  </a:lnTo>
                  <a:cubicBezTo>
                    <a:pt x="924143" y="186994"/>
                    <a:pt x="925013" y="194980"/>
                    <a:pt x="926750" y="202510"/>
                  </a:cubicBezTo>
                  <a:cubicBezTo>
                    <a:pt x="928486" y="210034"/>
                    <a:pt x="931210" y="216634"/>
                    <a:pt x="934911" y="222310"/>
                  </a:cubicBezTo>
                  <a:cubicBezTo>
                    <a:pt x="938617" y="227981"/>
                    <a:pt x="943365" y="232441"/>
                    <a:pt x="949152" y="235681"/>
                  </a:cubicBezTo>
                  <a:cubicBezTo>
                    <a:pt x="954940" y="238925"/>
                    <a:pt x="961832" y="240545"/>
                    <a:pt x="969819" y="240545"/>
                  </a:cubicBezTo>
                  <a:cubicBezTo>
                    <a:pt x="977805" y="240545"/>
                    <a:pt x="984293" y="238925"/>
                    <a:pt x="989965" y="235681"/>
                  </a:cubicBezTo>
                  <a:cubicBezTo>
                    <a:pt x="995753" y="232441"/>
                    <a:pt x="1000500" y="227981"/>
                    <a:pt x="1004206" y="222310"/>
                  </a:cubicBezTo>
                  <a:cubicBezTo>
                    <a:pt x="1007912" y="216634"/>
                    <a:pt x="1010631" y="210039"/>
                    <a:pt x="1012367" y="202510"/>
                  </a:cubicBezTo>
                  <a:cubicBezTo>
                    <a:pt x="1014220" y="194985"/>
                    <a:pt x="1015145" y="186994"/>
                    <a:pt x="1015145" y="178541"/>
                  </a:cubicBezTo>
                  <a:lnTo>
                    <a:pt x="1015145" y="174548"/>
                  </a:lnTo>
                  <a:cubicBezTo>
                    <a:pt x="1015145" y="166211"/>
                    <a:pt x="1014220" y="158336"/>
                    <a:pt x="1012367" y="150929"/>
                  </a:cubicBezTo>
                  <a:cubicBezTo>
                    <a:pt x="1010631" y="143405"/>
                    <a:pt x="1007854" y="136746"/>
                    <a:pt x="1004031" y="130958"/>
                  </a:cubicBezTo>
                  <a:cubicBezTo>
                    <a:pt x="1000325" y="125170"/>
                    <a:pt x="995578" y="120652"/>
                    <a:pt x="989790" y="117412"/>
                  </a:cubicBezTo>
                  <a:cubicBezTo>
                    <a:pt x="984118" y="114056"/>
                    <a:pt x="977343" y="112373"/>
                    <a:pt x="969469" y="112373"/>
                  </a:cubicBezTo>
                  <a:cubicBezTo>
                    <a:pt x="961594" y="112373"/>
                    <a:pt x="954765" y="114051"/>
                    <a:pt x="948977" y="117412"/>
                  </a:cubicBezTo>
                  <a:cubicBezTo>
                    <a:pt x="943301" y="120657"/>
                    <a:pt x="938613" y="125170"/>
                    <a:pt x="934911" y="130958"/>
                  </a:cubicBezTo>
                  <a:cubicBezTo>
                    <a:pt x="931205" y="136746"/>
                    <a:pt x="928486" y="143405"/>
                    <a:pt x="926750" y="150929"/>
                  </a:cubicBezTo>
                  <a:cubicBezTo>
                    <a:pt x="925013" y="158336"/>
                    <a:pt x="924143" y="166211"/>
                    <a:pt x="924143" y="174548"/>
                  </a:cubicBezTo>
                  <a:close/>
                  <a:moveTo>
                    <a:pt x="1133598" y="122617"/>
                  </a:moveTo>
                  <a:lnTo>
                    <a:pt x="1133598" y="270418"/>
                  </a:lnTo>
                  <a:lnTo>
                    <a:pt x="1091745" y="270418"/>
                  </a:lnTo>
                  <a:lnTo>
                    <a:pt x="1091745" y="82495"/>
                  </a:lnTo>
                  <a:lnTo>
                    <a:pt x="1131171" y="82495"/>
                  </a:lnTo>
                  <a:lnTo>
                    <a:pt x="1133603" y="122617"/>
                  </a:lnTo>
                  <a:close/>
                  <a:moveTo>
                    <a:pt x="1126132" y="169509"/>
                  </a:moveTo>
                  <a:lnTo>
                    <a:pt x="1112586" y="169334"/>
                  </a:lnTo>
                  <a:cubicBezTo>
                    <a:pt x="1112703" y="156016"/>
                    <a:pt x="1114556" y="143803"/>
                    <a:pt x="1118145" y="132690"/>
                  </a:cubicBezTo>
                  <a:cubicBezTo>
                    <a:pt x="1121852" y="121576"/>
                    <a:pt x="1126944" y="112023"/>
                    <a:pt x="1133428" y="104032"/>
                  </a:cubicBezTo>
                  <a:cubicBezTo>
                    <a:pt x="1140028" y="96046"/>
                    <a:pt x="1147902" y="89908"/>
                    <a:pt x="1157046" y="85623"/>
                  </a:cubicBezTo>
                  <a:cubicBezTo>
                    <a:pt x="1166195" y="81226"/>
                    <a:pt x="1176385" y="79022"/>
                    <a:pt x="1187615" y="79022"/>
                  </a:cubicBezTo>
                  <a:cubicBezTo>
                    <a:pt x="1196647" y="79022"/>
                    <a:pt x="1204809" y="80297"/>
                    <a:pt x="1212105" y="82840"/>
                  </a:cubicBezTo>
                  <a:cubicBezTo>
                    <a:pt x="1219517" y="85272"/>
                    <a:pt x="1225825" y="89265"/>
                    <a:pt x="1231034" y="94825"/>
                  </a:cubicBezTo>
                  <a:cubicBezTo>
                    <a:pt x="1236360" y="100384"/>
                    <a:pt x="1240412" y="107617"/>
                    <a:pt x="1243189" y="116532"/>
                  </a:cubicBezTo>
                  <a:cubicBezTo>
                    <a:pt x="1245966" y="125331"/>
                    <a:pt x="1247357" y="136157"/>
                    <a:pt x="1247357" y="149008"/>
                  </a:cubicBezTo>
                  <a:lnTo>
                    <a:pt x="1247357" y="270408"/>
                  </a:lnTo>
                  <a:lnTo>
                    <a:pt x="1205329" y="270408"/>
                  </a:lnTo>
                  <a:lnTo>
                    <a:pt x="1205329" y="148833"/>
                  </a:lnTo>
                  <a:cubicBezTo>
                    <a:pt x="1205329" y="139800"/>
                    <a:pt x="1203996" y="132680"/>
                    <a:pt x="1201336" y="127471"/>
                  </a:cubicBezTo>
                  <a:cubicBezTo>
                    <a:pt x="1198787" y="122145"/>
                    <a:pt x="1195028" y="118380"/>
                    <a:pt x="1190047" y="116182"/>
                  </a:cubicBezTo>
                  <a:cubicBezTo>
                    <a:pt x="1185183" y="113867"/>
                    <a:pt x="1179104" y="112709"/>
                    <a:pt x="1171813" y="112709"/>
                  </a:cubicBezTo>
                  <a:cubicBezTo>
                    <a:pt x="1164522" y="112709"/>
                    <a:pt x="1158209" y="114212"/>
                    <a:pt x="1152533" y="117223"/>
                  </a:cubicBezTo>
                  <a:cubicBezTo>
                    <a:pt x="1146861" y="120233"/>
                    <a:pt x="1142056" y="124343"/>
                    <a:pt x="1138116" y="129552"/>
                  </a:cubicBezTo>
                  <a:cubicBezTo>
                    <a:pt x="1134293" y="134762"/>
                    <a:pt x="1131341" y="140783"/>
                    <a:pt x="1129259" y="147617"/>
                  </a:cubicBezTo>
                  <a:cubicBezTo>
                    <a:pt x="1127178" y="154445"/>
                    <a:pt x="1126132" y="161741"/>
                    <a:pt x="1126132" y="169499"/>
                  </a:cubicBezTo>
                  <a:close/>
                  <a:moveTo>
                    <a:pt x="1346701" y="270418"/>
                  </a:moveTo>
                  <a:lnTo>
                    <a:pt x="1304843" y="270418"/>
                  </a:lnTo>
                  <a:lnTo>
                    <a:pt x="1304843" y="64436"/>
                  </a:lnTo>
                  <a:cubicBezTo>
                    <a:pt x="1304843" y="50428"/>
                    <a:pt x="1307450" y="38672"/>
                    <a:pt x="1312659" y="29178"/>
                  </a:cubicBezTo>
                  <a:cubicBezTo>
                    <a:pt x="1317985" y="19567"/>
                    <a:pt x="1325567" y="12330"/>
                    <a:pt x="1335412" y="7471"/>
                  </a:cubicBezTo>
                  <a:cubicBezTo>
                    <a:pt x="1345256" y="2490"/>
                    <a:pt x="1356890" y="0"/>
                    <a:pt x="1370319" y="0"/>
                  </a:cubicBezTo>
                  <a:cubicBezTo>
                    <a:pt x="1374488" y="0"/>
                    <a:pt x="1378597" y="292"/>
                    <a:pt x="1382649" y="871"/>
                  </a:cubicBezTo>
                  <a:cubicBezTo>
                    <a:pt x="1386701" y="1333"/>
                    <a:pt x="1390640" y="2087"/>
                    <a:pt x="1394458" y="3127"/>
                  </a:cubicBezTo>
                  <a:lnTo>
                    <a:pt x="1393418" y="35433"/>
                  </a:lnTo>
                  <a:cubicBezTo>
                    <a:pt x="1391102" y="34854"/>
                    <a:pt x="1388554" y="34450"/>
                    <a:pt x="1385776" y="34217"/>
                  </a:cubicBezTo>
                  <a:cubicBezTo>
                    <a:pt x="1383116" y="33983"/>
                    <a:pt x="1380217" y="33867"/>
                    <a:pt x="1377095" y="33867"/>
                  </a:cubicBezTo>
                  <a:cubicBezTo>
                    <a:pt x="1370728" y="33867"/>
                    <a:pt x="1365227" y="35083"/>
                    <a:pt x="1360596" y="37515"/>
                  </a:cubicBezTo>
                  <a:cubicBezTo>
                    <a:pt x="1356083" y="39830"/>
                    <a:pt x="1352605" y="43244"/>
                    <a:pt x="1350178" y="47763"/>
                  </a:cubicBezTo>
                  <a:cubicBezTo>
                    <a:pt x="1347863" y="52281"/>
                    <a:pt x="1346706" y="57836"/>
                    <a:pt x="1346706" y="64436"/>
                  </a:cubicBezTo>
                  <a:lnTo>
                    <a:pt x="1346706" y="270418"/>
                  </a:lnTo>
                  <a:close/>
                  <a:moveTo>
                    <a:pt x="1385431" y="82500"/>
                  </a:moveTo>
                  <a:lnTo>
                    <a:pt x="1385431" y="113069"/>
                  </a:lnTo>
                  <a:lnTo>
                    <a:pt x="1276015" y="113069"/>
                  </a:lnTo>
                  <a:lnTo>
                    <a:pt x="1276015" y="82500"/>
                  </a:lnTo>
                  <a:lnTo>
                    <a:pt x="1385431" y="82500"/>
                  </a:lnTo>
                  <a:close/>
                </a:path>
              </a:pathLst>
            </a:custGeom>
            <a:solidFill>
              <a:schemeClr val="tx1"/>
            </a:solidFill>
            <a:ln w="4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7" name="Полилиния: фигура 46">
              <a:extLst>
                <a:ext uri="{FF2B5EF4-FFF2-40B4-BE49-F238E27FC236}">
                  <a16:creationId xmlns:a16="http://schemas.microsoft.com/office/drawing/2014/main" id="{0E6F0FB0-99D0-4190-B058-29B8184B7C5F}"/>
                </a:ext>
              </a:extLst>
            </p:cNvPr>
            <p:cNvSpPr/>
            <p:nvPr/>
          </p:nvSpPr>
          <p:spPr>
            <a:xfrm>
              <a:off x="8902858" y="5892336"/>
              <a:ext cx="774600" cy="259834"/>
            </a:xfrm>
            <a:custGeom>
              <a:avLst/>
              <a:gdLst>
                <a:gd name="connsiteX0" fmla="*/ 174372 w 774600"/>
                <a:gd name="connsiteY0" fmla="*/ 223015 h 259834"/>
                <a:gd name="connsiteX1" fmla="*/ 174372 w 774600"/>
                <a:gd name="connsiteY1" fmla="*/ 256362 h 259834"/>
                <a:gd name="connsiteX2" fmla="*/ 4859 w 774600"/>
                <a:gd name="connsiteY2" fmla="*/ 256362 h 259834"/>
                <a:gd name="connsiteX3" fmla="*/ 4859 w 774600"/>
                <a:gd name="connsiteY3" fmla="*/ 227704 h 259834"/>
                <a:gd name="connsiteX4" fmla="*/ 87193 w 774600"/>
                <a:gd name="connsiteY4" fmla="*/ 137913 h 259834"/>
                <a:gd name="connsiteX5" fmla="*/ 108541 w 774600"/>
                <a:gd name="connsiteY5" fmla="*/ 111513 h 259834"/>
                <a:gd name="connsiteX6" fmla="*/ 119499 w 774600"/>
                <a:gd name="connsiteY6" fmla="*/ 91542 h 259834"/>
                <a:gd name="connsiteX7" fmla="*/ 122797 w 774600"/>
                <a:gd name="connsiteY7" fmla="*/ 73998 h 259834"/>
                <a:gd name="connsiteX8" fmla="*/ 118278 w 774600"/>
                <a:gd name="connsiteY8" fmla="*/ 52981 h 259834"/>
                <a:gd name="connsiteX9" fmla="*/ 105413 w 774600"/>
                <a:gd name="connsiteY9" fmla="*/ 38565 h 259834"/>
                <a:gd name="connsiteX10" fmla="*/ 84752 w 774600"/>
                <a:gd name="connsiteY10" fmla="*/ 33181 h 259834"/>
                <a:gd name="connsiteX11" fmla="*/ 61138 w 774600"/>
                <a:gd name="connsiteY11" fmla="*/ 39261 h 259834"/>
                <a:gd name="connsiteX12" fmla="*/ 46712 w 774600"/>
                <a:gd name="connsiteY12" fmla="*/ 56109 h 259834"/>
                <a:gd name="connsiteX13" fmla="*/ 41853 w 774600"/>
                <a:gd name="connsiteY13" fmla="*/ 80423 h 259834"/>
                <a:gd name="connsiteX14" fmla="*/ 0 w 774600"/>
                <a:gd name="connsiteY14" fmla="*/ 80423 h 259834"/>
                <a:gd name="connsiteX15" fmla="*/ 10083 w 774600"/>
                <a:gd name="connsiteY15" fmla="*/ 40131 h 259834"/>
                <a:gd name="connsiteX16" fmla="*/ 39261 w 774600"/>
                <a:gd name="connsiteY16" fmla="*/ 10953 h 259834"/>
                <a:gd name="connsiteX17" fmla="*/ 85272 w 774600"/>
                <a:gd name="connsiteY17" fmla="*/ 10 h 259834"/>
                <a:gd name="connsiteX18" fmla="*/ 128346 w 774600"/>
                <a:gd name="connsiteY18" fmla="*/ 8521 h 259834"/>
                <a:gd name="connsiteX19" fmla="*/ 155277 w 774600"/>
                <a:gd name="connsiteY19" fmla="*/ 32660 h 259834"/>
                <a:gd name="connsiteX20" fmla="*/ 164654 w 774600"/>
                <a:gd name="connsiteY20" fmla="*/ 69655 h 259834"/>
                <a:gd name="connsiteX21" fmla="*/ 160827 w 774600"/>
                <a:gd name="connsiteY21" fmla="*/ 93103 h 259834"/>
                <a:gd name="connsiteX22" fmla="*/ 149888 w 774600"/>
                <a:gd name="connsiteY22" fmla="*/ 116376 h 259834"/>
                <a:gd name="connsiteX23" fmla="*/ 133400 w 774600"/>
                <a:gd name="connsiteY23" fmla="*/ 139475 h 259834"/>
                <a:gd name="connsiteX24" fmla="*/ 112378 w 774600"/>
                <a:gd name="connsiteY24" fmla="*/ 162748 h 259834"/>
                <a:gd name="connsiteX25" fmla="*/ 57675 w 774600"/>
                <a:gd name="connsiteY25" fmla="*/ 223015 h 259834"/>
                <a:gd name="connsiteX26" fmla="*/ 174377 w 774600"/>
                <a:gd name="connsiteY26" fmla="*/ 223015 h 259834"/>
                <a:gd name="connsiteX27" fmla="*/ 371848 w 774600"/>
                <a:gd name="connsiteY27" fmla="*/ 108735 h 259834"/>
                <a:gd name="connsiteX28" fmla="*/ 371848 w 774600"/>
                <a:gd name="connsiteY28" fmla="*/ 150068 h 259834"/>
                <a:gd name="connsiteX29" fmla="*/ 365938 w 774600"/>
                <a:gd name="connsiteY29" fmla="*/ 200783 h 259834"/>
                <a:gd name="connsiteX30" fmla="*/ 349260 w 774600"/>
                <a:gd name="connsiteY30" fmla="*/ 234650 h 259834"/>
                <a:gd name="connsiteX31" fmla="*/ 323035 w 774600"/>
                <a:gd name="connsiteY31" fmla="*/ 253755 h 259834"/>
                <a:gd name="connsiteX32" fmla="*/ 289168 w 774600"/>
                <a:gd name="connsiteY32" fmla="*/ 259834 h 259834"/>
                <a:gd name="connsiteX33" fmla="*/ 261381 w 774600"/>
                <a:gd name="connsiteY33" fmla="*/ 256011 h 259834"/>
                <a:gd name="connsiteX34" fmla="*/ 238468 w 774600"/>
                <a:gd name="connsiteY34" fmla="*/ 244027 h 259834"/>
                <a:gd name="connsiteX35" fmla="*/ 220914 w 774600"/>
                <a:gd name="connsiteY35" fmla="*/ 223011 h 259834"/>
                <a:gd name="connsiteX36" fmla="*/ 209800 w 774600"/>
                <a:gd name="connsiteY36" fmla="*/ 191921 h 259834"/>
                <a:gd name="connsiteX37" fmla="*/ 205972 w 774600"/>
                <a:gd name="connsiteY37" fmla="*/ 150063 h 259834"/>
                <a:gd name="connsiteX38" fmla="*/ 205972 w 774600"/>
                <a:gd name="connsiteY38" fmla="*/ 108730 h 259834"/>
                <a:gd name="connsiteX39" fmla="*/ 211882 w 774600"/>
                <a:gd name="connsiteY39" fmla="*/ 58366 h 259834"/>
                <a:gd name="connsiteX40" fmla="*/ 228730 w 774600"/>
                <a:gd name="connsiteY40" fmla="*/ 24844 h 259834"/>
                <a:gd name="connsiteX41" fmla="*/ 254786 w 774600"/>
                <a:gd name="connsiteY41" fmla="*/ 5914 h 259834"/>
                <a:gd name="connsiteX42" fmla="*/ 288827 w 774600"/>
                <a:gd name="connsiteY42" fmla="*/ 10 h 259834"/>
                <a:gd name="connsiteX43" fmla="*/ 316614 w 774600"/>
                <a:gd name="connsiteY43" fmla="*/ 3833 h 259834"/>
                <a:gd name="connsiteX44" fmla="*/ 339542 w 774600"/>
                <a:gd name="connsiteY44" fmla="*/ 15467 h 259834"/>
                <a:gd name="connsiteX45" fmla="*/ 356906 w 774600"/>
                <a:gd name="connsiteY45" fmla="*/ 36308 h 259834"/>
                <a:gd name="connsiteX46" fmla="*/ 368020 w 774600"/>
                <a:gd name="connsiteY46" fmla="*/ 67048 h 259834"/>
                <a:gd name="connsiteX47" fmla="*/ 371848 w 774600"/>
                <a:gd name="connsiteY47" fmla="*/ 108730 h 259834"/>
                <a:gd name="connsiteX48" fmla="*/ 329995 w 774600"/>
                <a:gd name="connsiteY48" fmla="*/ 155978 h 259834"/>
                <a:gd name="connsiteX49" fmla="*/ 329995 w 774600"/>
                <a:gd name="connsiteY49" fmla="*/ 102485 h 259834"/>
                <a:gd name="connsiteX50" fmla="*/ 328258 w 774600"/>
                <a:gd name="connsiteY50" fmla="*/ 75914 h 259834"/>
                <a:gd name="connsiteX51" fmla="*/ 323039 w 774600"/>
                <a:gd name="connsiteY51" fmla="*/ 56289 h 259834"/>
                <a:gd name="connsiteX52" fmla="*/ 314708 w 774600"/>
                <a:gd name="connsiteY52" fmla="*/ 43088 h 259834"/>
                <a:gd name="connsiteX53" fmla="*/ 303234 w 774600"/>
                <a:gd name="connsiteY53" fmla="*/ 35623 h 259834"/>
                <a:gd name="connsiteX54" fmla="*/ 288823 w 774600"/>
                <a:gd name="connsiteY54" fmla="*/ 33191 h 259834"/>
                <a:gd name="connsiteX55" fmla="*/ 271459 w 774600"/>
                <a:gd name="connsiteY55" fmla="*/ 37014 h 259834"/>
                <a:gd name="connsiteX56" fmla="*/ 258613 w 774600"/>
                <a:gd name="connsiteY56" fmla="*/ 48823 h 259834"/>
                <a:gd name="connsiteX57" fmla="*/ 250608 w 774600"/>
                <a:gd name="connsiteY57" fmla="*/ 70360 h 259834"/>
                <a:gd name="connsiteX58" fmla="*/ 248015 w 774600"/>
                <a:gd name="connsiteY58" fmla="*/ 102490 h 259834"/>
                <a:gd name="connsiteX59" fmla="*/ 248015 w 774600"/>
                <a:gd name="connsiteY59" fmla="*/ 155982 h 259834"/>
                <a:gd name="connsiteX60" fmla="*/ 249752 w 774600"/>
                <a:gd name="connsiteY60" fmla="*/ 182904 h 259834"/>
                <a:gd name="connsiteX61" fmla="*/ 254956 w 774600"/>
                <a:gd name="connsiteY61" fmla="*/ 202874 h 259834"/>
                <a:gd name="connsiteX62" fmla="*/ 263302 w 774600"/>
                <a:gd name="connsiteY62" fmla="*/ 216420 h 259834"/>
                <a:gd name="connsiteX63" fmla="*/ 274756 w 774600"/>
                <a:gd name="connsiteY63" fmla="*/ 224061 h 259834"/>
                <a:gd name="connsiteX64" fmla="*/ 289168 w 774600"/>
                <a:gd name="connsiteY64" fmla="*/ 226493 h 259834"/>
                <a:gd name="connsiteX65" fmla="*/ 306721 w 774600"/>
                <a:gd name="connsiteY65" fmla="*/ 222670 h 259834"/>
                <a:gd name="connsiteX66" fmla="*/ 319567 w 774600"/>
                <a:gd name="connsiteY66" fmla="*/ 210511 h 259834"/>
                <a:gd name="connsiteX67" fmla="*/ 327383 w 774600"/>
                <a:gd name="connsiteY67" fmla="*/ 188453 h 259834"/>
                <a:gd name="connsiteX68" fmla="*/ 329995 w 774600"/>
                <a:gd name="connsiteY68" fmla="*/ 155978 h 259834"/>
                <a:gd name="connsiteX69" fmla="*/ 578701 w 774600"/>
                <a:gd name="connsiteY69" fmla="*/ 223015 h 259834"/>
                <a:gd name="connsiteX70" fmla="*/ 578701 w 774600"/>
                <a:gd name="connsiteY70" fmla="*/ 256362 h 259834"/>
                <a:gd name="connsiteX71" fmla="*/ 409187 w 774600"/>
                <a:gd name="connsiteY71" fmla="*/ 256362 h 259834"/>
                <a:gd name="connsiteX72" fmla="*/ 409187 w 774600"/>
                <a:gd name="connsiteY72" fmla="*/ 227704 h 259834"/>
                <a:gd name="connsiteX73" fmla="*/ 491507 w 774600"/>
                <a:gd name="connsiteY73" fmla="*/ 137913 h 259834"/>
                <a:gd name="connsiteX74" fmla="*/ 512874 w 774600"/>
                <a:gd name="connsiteY74" fmla="*/ 111513 h 259834"/>
                <a:gd name="connsiteX75" fmla="*/ 523813 w 774600"/>
                <a:gd name="connsiteY75" fmla="*/ 91542 h 259834"/>
                <a:gd name="connsiteX76" fmla="*/ 527110 w 774600"/>
                <a:gd name="connsiteY76" fmla="*/ 73998 h 259834"/>
                <a:gd name="connsiteX77" fmla="*/ 522592 w 774600"/>
                <a:gd name="connsiteY77" fmla="*/ 52981 h 259834"/>
                <a:gd name="connsiteX78" fmla="*/ 509746 w 774600"/>
                <a:gd name="connsiteY78" fmla="*/ 38565 h 259834"/>
                <a:gd name="connsiteX79" fmla="*/ 489085 w 774600"/>
                <a:gd name="connsiteY79" fmla="*/ 33181 h 259834"/>
                <a:gd name="connsiteX80" fmla="*/ 465452 w 774600"/>
                <a:gd name="connsiteY80" fmla="*/ 39261 h 259834"/>
                <a:gd name="connsiteX81" fmla="*/ 451040 w 774600"/>
                <a:gd name="connsiteY81" fmla="*/ 56109 h 259834"/>
                <a:gd name="connsiteX82" fmla="*/ 446181 w 774600"/>
                <a:gd name="connsiteY82" fmla="*/ 80423 h 259834"/>
                <a:gd name="connsiteX83" fmla="*/ 404328 w 774600"/>
                <a:gd name="connsiteY83" fmla="*/ 80423 h 259834"/>
                <a:gd name="connsiteX84" fmla="*/ 414391 w 774600"/>
                <a:gd name="connsiteY84" fmla="*/ 40131 h 259834"/>
                <a:gd name="connsiteX85" fmla="*/ 443569 w 774600"/>
                <a:gd name="connsiteY85" fmla="*/ 10953 h 259834"/>
                <a:gd name="connsiteX86" fmla="*/ 489596 w 774600"/>
                <a:gd name="connsiteY86" fmla="*/ 10 h 259834"/>
                <a:gd name="connsiteX87" fmla="*/ 532670 w 774600"/>
                <a:gd name="connsiteY87" fmla="*/ 8521 h 259834"/>
                <a:gd name="connsiteX88" fmla="*/ 559581 w 774600"/>
                <a:gd name="connsiteY88" fmla="*/ 32660 h 259834"/>
                <a:gd name="connsiteX89" fmla="*/ 568958 w 774600"/>
                <a:gd name="connsiteY89" fmla="*/ 69655 h 259834"/>
                <a:gd name="connsiteX90" fmla="*/ 565145 w 774600"/>
                <a:gd name="connsiteY90" fmla="*/ 93103 h 259834"/>
                <a:gd name="connsiteX91" fmla="*/ 554207 w 774600"/>
                <a:gd name="connsiteY91" fmla="*/ 116376 h 259834"/>
                <a:gd name="connsiteX92" fmla="*/ 537704 w 774600"/>
                <a:gd name="connsiteY92" fmla="*/ 139475 h 259834"/>
                <a:gd name="connsiteX93" fmla="*/ 516697 w 774600"/>
                <a:gd name="connsiteY93" fmla="*/ 162748 h 259834"/>
                <a:gd name="connsiteX94" fmla="*/ 461979 w 774600"/>
                <a:gd name="connsiteY94" fmla="*/ 223015 h 259834"/>
                <a:gd name="connsiteX95" fmla="*/ 578701 w 774600"/>
                <a:gd name="connsiteY95" fmla="*/ 223015 h 259834"/>
                <a:gd name="connsiteX96" fmla="*/ 660505 w 774600"/>
                <a:gd name="connsiteY96" fmla="*/ 110992 h 259834"/>
                <a:gd name="connsiteX97" fmla="*/ 685510 w 774600"/>
                <a:gd name="connsiteY97" fmla="*/ 110992 h 259834"/>
                <a:gd name="connsiteX98" fmla="*/ 709639 w 774600"/>
                <a:gd name="connsiteY98" fmla="*/ 105953 h 259834"/>
                <a:gd name="connsiteX99" fmla="*/ 724065 w 774600"/>
                <a:gd name="connsiteY99" fmla="*/ 92057 h 259834"/>
                <a:gd name="connsiteX100" fmla="*/ 728754 w 774600"/>
                <a:gd name="connsiteY100" fmla="*/ 71736 h 259834"/>
                <a:gd name="connsiteX101" fmla="*/ 724411 w 774600"/>
                <a:gd name="connsiteY101" fmla="*/ 51240 h 259834"/>
                <a:gd name="connsiteX102" fmla="*/ 711565 w 774600"/>
                <a:gd name="connsiteY102" fmla="*/ 37865 h 259834"/>
                <a:gd name="connsiteX103" fmla="*/ 689858 w 774600"/>
                <a:gd name="connsiteY103" fmla="*/ 33176 h 259834"/>
                <a:gd name="connsiteX104" fmla="*/ 669712 w 774600"/>
                <a:gd name="connsiteY104" fmla="*/ 37690 h 259834"/>
                <a:gd name="connsiteX105" fmla="*/ 655626 w 774600"/>
                <a:gd name="connsiteY105" fmla="*/ 50195 h 259834"/>
                <a:gd name="connsiteX106" fmla="*/ 650422 w 774600"/>
                <a:gd name="connsiteY106" fmla="*/ 69300 h 259834"/>
                <a:gd name="connsiteX107" fmla="*/ 608394 w 774600"/>
                <a:gd name="connsiteY107" fmla="*/ 69300 h 259834"/>
                <a:gd name="connsiteX108" fmla="*/ 618992 w 774600"/>
                <a:gd name="connsiteY108" fmla="*/ 33521 h 259834"/>
                <a:gd name="connsiteX109" fmla="*/ 647810 w 774600"/>
                <a:gd name="connsiteY109" fmla="*/ 9032 h 259834"/>
                <a:gd name="connsiteX110" fmla="*/ 689148 w 774600"/>
                <a:gd name="connsiteY110" fmla="*/ 0 h 259834"/>
                <a:gd name="connsiteX111" fmla="*/ 731876 w 774600"/>
                <a:gd name="connsiteY111" fmla="*/ 8161 h 259834"/>
                <a:gd name="connsiteX112" fmla="*/ 760524 w 774600"/>
                <a:gd name="connsiteY112" fmla="*/ 32130 h 259834"/>
                <a:gd name="connsiteX113" fmla="*/ 770777 w 774600"/>
                <a:gd name="connsiteY113" fmla="*/ 71731 h 259834"/>
                <a:gd name="connsiteX114" fmla="*/ 765743 w 774600"/>
                <a:gd name="connsiteY114" fmla="*/ 93614 h 259834"/>
                <a:gd name="connsiteX115" fmla="*/ 750802 w 774600"/>
                <a:gd name="connsiteY115" fmla="*/ 113935 h 259834"/>
                <a:gd name="connsiteX116" fmla="*/ 726137 w 774600"/>
                <a:gd name="connsiteY116" fmla="*/ 128696 h 259834"/>
                <a:gd name="connsiteX117" fmla="*/ 691925 w 774600"/>
                <a:gd name="connsiteY117" fmla="*/ 134256 h 259834"/>
                <a:gd name="connsiteX118" fmla="*/ 660495 w 774600"/>
                <a:gd name="connsiteY118" fmla="*/ 134256 h 259834"/>
                <a:gd name="connsiteX119" fmla="*/ 660495 w 774600"/>
                <a:gd name="connsiteY119" fmla="*/ 110982 h 259834"/>
                <a:gd name="connsiteX120" fmla="*/ 660505 w 774600"/>
                <a:gd name="connsiteY120" fmla="*/ 143643 h 259834"/>
                <a:gd name="connsiteX121" fmla="*/ 660505 w 774600"/>
                <a:gd name="connsiteY121" fmla="*/ 120715 h 259834"/>
                <a:gd name="connsiteX122" fmla="*/ 691935 w 774600"/>
                <a:gd name="connsiteY122" fmla="*/ 120715 h 259834"/>
                <a:gd name="connsiteX123" fmla="*/ 729790 w 774600"/>
                <a:gd name="connsiteY123" fmla="*/ 125924 h 259834"/>
                <a:gd name="connsiteX124" fmla="*/ 755500 w 774600"/>
                <a:gd name="connsiteY124" fmla="*/ 140340 h 259834"/>
                <a:gd name="connsiteX125" fmla="*/ 769911 w 774600"/>
                <a:gd name="connsiteY125" fmla="*/ 161007 h 259834"/>
                <a:gd name="connsiteX126" fmla="*/ 774600 w 774600"/>
                <a:gd name="connsiteY126" fmla="*/ 185671 h 259834"/>
                <a:gd name="connsiteX127" fmla="*/ 768175 w 774600"/>
                <a:gd name="connsiteY127" fmla="*/ 217281 h 259834"/>
                <a:gd name="connsiteX128" fmla="*/ 750296 w 774600"/>
                <a:gd name="connsiteY128" fmla="*/ 240554 h 259834"/>
                <a:gd name="connsiteX129" fmla="*/ 723024 w 774600"/>
                <a:gd name="connsiteY129" fmla="*/ 254971 h 259834"/>
                <a:gd name="connsiteX130" fmla="*/ 689328 w 774600"/>
                <a:gd name="connsiteY130" fmla="*/ 259834 h 259834"/>
                <a:gd name="connsiteX131" fmla="*/ 658068 w 774600"/>
                <a:gd name="connsiteY131" fmla="*/ 255316 h 259834"/>
                <a:gd name="connsiteX132" fmla="*/ 631327 w 774600"/>
                <a:gd name="connsiteY132" fmla="*/ 241945 h 259834"/>
                <a:gd name="connsiteX133" fmla="*/ 612572 w 774600"/>
                <a:gd name="connsiteY133" fmla="*/ 219543 h 259834"/>
                <a:gd name="connsiteX134" fmla="*/ 605787 w 774600"/>
                <a:gd name="connsiteY134" fmla="*/ 188283 h 259834"/>
                <a:gd name="connsiteX135" fmla="*/ 647640 w 774600"/>
                <a:gd name="connsiteY135" fmla="*/ 188283 h 259834"/>
                <a:gd name="connsiteX136" fmla="*/ 652859 w 774600"/>
                <a:gd name="connsiteY136" fmla="*/ 208254 h 259834"/>
                <a:gd name="connsiteX137" fmla="*/ 667786 w 774600"/>
                <a:gd name="connsiteY137" fmla="*/ 221624 h 259834"/>
                <a:gd name="connsiteX138" fmla="*/ 690028 w 774600"/>
                <a:gd name="connsiteY138" fmla="*/ 226488 h 259834"/>
                <a:gd name="connsiteX139" fmla="*/ 712767 w 774600"/>
                <a:gd name="connsiteY139" fmla="*/ 221799 h 259834"/>
                <a:gd name="connsiteX140" fmla="*/ 727363 w 774600"/>
                <a:gd name="connsiteY140" fmla="*/ 207904 h 259834"/>
                <a:gd name="connsiteX141" fmla="*/ 732567 w 774600"/>
                <a:gd name="connsiteY141" fmla="*/ 185671 h 259834"/>
                <a:gd name="connsiteX142" fmla="*/ 726847 w 774600"/>
                <a:gd name="connsiteY142" fmla="*/ 161702 h 259834"/>
                <a:gd name="connsiteX143" fmla="*/ 710515 w 774600"/>
                <a:gd name="connsiteY143" fmla="*/ 148157 h 259834"/>
                <a:gd name="connsiteX144" fmla="*/ 685510 w 774600"/>
                <a:gd name="connsiteY144" fmla="*/ 143643 h 259834"/>
                <a:gd name="connsiteX145" fmla="*/ 660505 w 774600"/>
                <a:gd name="connsiteY145" fmla="*/ 143643 h 2598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</a:cxnLst>
              <a:rect l="l" t="t" r="r" b="b"/>
              <a:pathLst>
                <a:path w="774600" h="259834">
                  <a:moveTo>
                    <a:pt x="174372" y="223015"/>
                  </a:moveTo>
                  <a:lnTo>
                    <a:pt x="174372" y="256362"/>
                  </a:lnTo>
                  <a:lnTo>
                    <a:pt x="4859" y="256362"/>
                  </a:lnTo>
                  <a:lnTo>
                    <a:pt x="4859" y="227704"/>
                  </a:lnTo>
                  <a:lnTo>
                    <a:pt x="87193" y="137913"/>
                  </a:lnTo>
                  <a:cubicBezTo>
                    <a:pt x="96211" y="127724"/>
                    <a:pt x="103336" y="118925"/>
                    <a:pt x="108541" y="111513"/>
                  </a:cubicBezTo>
                  <a:cubicBezTo>
                    <a:pt x="113760" y="104100"/>
                    <a:pt x="117403" y="97446"/>
                    <a:pt x="119499" y="91542"/>
                  </a:cubicBezTo>
                  <a:cubicBezTo>
                    <a:pt x="121697" y="85520"/>
                    <a:pt x="122797" y="79674"/>
                    <a:pt x="122797" y="73998"/>
                  </a:cubicBezTo>
                  <a:cubicBezTo>
                    <a:pt x="122797" y="66012"/>
                    <a:pt x="121284" y="59003"/>
                    <a:pt x="118278" y="52981"/>
                  </a:cubicBezTo>
                  <a:cubicBezTo>
                    <a:pt x="115374" y="46843"/>
                    <a:pt x="111099" y="42038"/>
                    <a:pt x="105413" y="38565"/>
                  </a:cubicBezTo>
                  <a:cubicBezTo>
                    <a:pt x="99747" y="34976"/>
                    <a:pt x="92860" y="33181"/>
                    <a:pt x="84752" y="33181"/>
                  </a:cubicBezTo>
                  <a:cubicBezTo>
                    <a:pt x="75374" y="33181"/>
                    <a:pt x="67510" y="35209"/>
                    <a:pt x="61138" y="39261"/>
                  </a:cubicBezTo>
                  <a:cubicBezTo>
                    <a:pt x="54766" y="43312"/>
                    <a:pt x="49956" y="48930"/>
                    <a:pt x="46712" y="56109"/>
                  </a:cubicBezTo>
                  <a:cubicBezTo>
                    <a:pt x="43482" y="63171"/>
                    <a:pt x="41853" y="71279"/>
                    <a:pt x="41853" y="80423"/>
                  </a:cubicBezTo>
                  <a:lnTo>
                    <a:pt x="0" y="80423"/>
                  </a:lnTo>
                  <a:cubicBezTo>
                    <a:pt x="0" y="65720"/>
                    <a:pt x="3366" y="52286"/>
                    <a:pt x="10083" y="40131"/>
                  </a:cubicBezTo>
                  <a:cubicBezTo>
                    <a:pt x="16800" y="27860"/>
                    <a:pt x="26517" y="18132"/>
                    <a:pt x="39261" y="10953"/>
                  </a:cubicBezTo>
                  <a:cubicBezTo>
                    <a:pt x="51989" y="3658"/>
                    <a:pt x="67325" y="10"/>
                    <a:pt x="85272" y="10"/>
                  </a:cubicBezTo>
                  <a:cubicBezTo>
                    <a:pt x="102189" y="10"/>
                    <a:pt x="116546" y="2845"/>
                    <a:pt x="128346" y="8521"/>
                  </a:cubicBezTo>
                  <a:cubicBezTo>
                    <a:pt x="140160" y="14193"/>
                    <a:pt x="149129" y="22242"/>
                    <a:pt x="155277" y="32660"/>
                  </a:cubicBezTo>
                  <a:cubicBezTo>
                    <a:pt x="161527" y="43079"/>
                    <a:pt x="164654" y="55413"/>
                    <a:pt x="164654" y="69655"/>
                  </a:cubicBezTo>
                  <a:cubicBezTo>
                    <a:pt x="164654" y="77529"/>
                    <a:pt x="163385" y="85345"/>
                    <a:pt x="160827" y="93103"/>
                  </a:cubicBezTo>
                  <a:cubicBezTo>
                    <a:pt x="158283" y="100861"/>
                    <a:pt x="154645" y="108619"/>
                    <a:pt x="149888" y="116376"/>
                  </a:cubicBezTo>
                  <a:cubicBezTo>
                    <a:pt x="145267" y="124017"/>
                    <a:pt x="139757" y="131717"/>
                    <a:pt x="133400" y="139475"/>
                  </a:cubicBezTo>
                  <a:cubicBezTo>
                    <a:pt x="127028" y="147116"/>
                    <a:pt x="120019" y="154873"/>
                    <a:pt x="112378" y="162748"/>
                  </a:cubicBezTo>
                  <a:lnTo>
                    <a:pt x="57675" y="223015"/>
                  </a:lnTo>
                  <a:lnTo>
                    <a:pt x="174377" y="223015"/>
                  </a:lnTo>
                  <a:close/>
                  <a:moveTo>
                    <a:pt x="371848" y="108735"/>
                  </a:moveTo>
                  <a:lnTo>
                    <a:pt x="371848" y="150068"/>
                  </a:lnTo>
                  <a:cubicBezTo>
                    <a:pt x="371848" y="169869"/>
                    <a:pt x="369873" y="186770"/>
                    <a:pt x="365938" y="200783"/>
                  </a:cubicBezTo>
                  <a:cubicBezTo>
                    <a:pt x="362125" y="214674"/>
                    <a:pt x="356561" y="225963"/>
                    <a:pt x="349260" y="234650"/>
                  </a:cubicBezTo>
                  <a:cubicBezTo>
                    <a:pt x="341960" y="243332"/>
                    <a:pt x="333219" y="249703"/>
                    <a:pt x="323035" y="253755"/>
                  </a:cubicBezTo>
                  <a:cubicBezTo>
                    <a:pt x="312971" y="257806"/>
                    <a:pt x="301668" y="259834"/>
                    <a:pt x="289168" y="259834"/>
                  </a:cubicBezTo>
                  <a:cubicBezTo>
                    <a:pt x="279221" y="259834"/>
                    <a:pt x="269951" y="258560"/>
                    <a:pt x="261381" y="256011"/>
                  </a:cubicBezTo>
                  <a:cubicBezTo>
                    <a:pt x="252933" y="253463"/>
                    <a:pt x="245287" y="249470"/>
                    <a:pt x="238468" y="244027"/>
                  </a:cubicBezTo>
                  <a:cubicBezTo>
                    <a:pt x="231634" y="238584"/>
                    <a:pt x="225773" y="231581"/>
                    <a:pt x="220914" y="223011"/>
                  </a:cubicBezTo>
                  <a:cubicBezTo>
                    <a:pt x="216172" y="214329"/>
                    <a:pt x="212466" y="203964"/>
                    <a:pt x="209800" y="191921"/>
                  </a:cubicBezTo>
                  <a:cubicBezTo>
                    <a:pt x="207256" y="179878"/>
                    <a:pt x="205972" y="165929"/>
                    <a:pt x="205972" y="150063"/>
                  </a:cubicBezTo>
                  <a:lnTo>
                    <a:pt x="205972" y="108730"/>
                  </a:lnTo>
                  <a:cubicBezTo>
                    <a:pt x="205972" y="88813"/>
                    <a:pt x="207947" y="72028"/>
                    <a:pt x="211882" y="58366"/>
                  </a:cubicBezTo>
                  <a:cubicBezTo>
                    <a:pt x="215831" y="44587"/>
                    <a:pt x="221430" y="33414"/>
                    <a:pt x="228730" y="24844"/>
                  </a:cubicBezTo>
                  <a:cubicBezTo>
                    <a:pt x="236031" y="16162"/>
                    <a:pt x="244722" y="9849"/>
                    <a:pt x="254786" y="5914"/>
                  </a:cubicBezTo>
                  <a:cubicBezTo>
                    <a:pt x="264970" y="1980"/>
                    <a:pt x="276323" y="10"/>
                    <a:pt x="288827" y="10"/>
                  </a:cubicBezTo>
                  <a:cubicBezTo>
                    <a:pt x="298910" y="10"/>
                    <a:pt x="308166" y="1284"/>
                    <a:pt x="316614" y="3833"/>
                  </a:cubicBezTo>
                  <a:cubicBezTo>
                    <a:pt x="325184" y="6265"/>
                    <a:pt x="332825" y="10141"/>
                    <a:pt x="339542" y="15467"/>
                  </a:cubicBezTo>
                  <a:cubicBezTo>
                    <a:pt x="346376" y="20793"/>
                    <a:pt x="352164" y="27743"/>
                    <a:pt x="356906" y="36308"/>
                  </a:cubicBezTo>
                  <a:cubicBezTo>
                    <a:pt x="361765" y="44762"/>
                    <a:pt x="365476" y="55010"/>
                    <a:pt x="368020" y="67048"/>
                  </a:cubicBezTo>
                  <a:cubicBezTo>
                    <a:pt x="370578" y="78974"/>
                    <a:pt x="371848" y="92870"/>
                    <a:pt x="371848" y="108730"/>
                  </a:cubicBezTo>
                  <a:close/>
                  <a:moveTo>
                    <a:pt x="329995" y="155978"/>
                  </a:moveTo>
                  <a:lnTo>
                    <a:pt x="329995" y="102485"/>
                  </a:lnTo>
                  <a:cubicBezTo>
                    <a:pt x="329995" y="92412"/>
                    <a:pt x="329411" y="83555"/>
                    <a:pt x="328258" y="75914"/>
                  </a:cubicBezTo>
                  <a:cubicBezTo>
                    <a:pt x="327091" y="68157"/>
                    <a:pt x="325355" y="61615"/>
                    <a:pt x="323039" y="56289"/>
                  </a:cubicBezTo>
                  <a:cubicBezTo>
                    <a:pt x="320841" y="50846"/>
                    <a:pt x="318059" y="46445"/>
                    <a:pt x="314708" y="43088"/>
                  </a:cubicBezTo>
                  <a:cubicBezTo>
                    <a:pt x="311342" y="39616"/>
                    <a:pt x="307529" y="37125"/>
                    <a:pt x="303234" y="35623"/>
                  </a:cubicBezTo>
                  <a:cubicBezTo>
                    <a:pt x="298959" y="34003"/>
                    <a:pt x="294148" y="33191"/>
                    <a:pt x="288823" y="33191"/>
                  </a:cubicBezTo>
                  <a:cubicBezTo>
                    <a:pt x="282349" y="33191"/>
                    <a:pt x="276542" y="34465"/>
                    <a:pt x="271459" y="37014"/>
                  </a:cubicBezTo>
                  <a:cubicBezTo>
                    <a:pt x="266357" y="39445"/>
                    <a:pt x="262081" y="43380"/>
                    <a:pt x="258613" y="48823"/>
                  </a:cubicBezTo>
                  <a:cubicBezTo>
                    <a:pt x="255126" y="54266"/>
                    <a:pt x="252466" y="61445"/>
                    <a:pt x="250608" y="70360"/>
                  </a:cubicBezTo>
                  <a:cubicBezTo>
                    <a:pt x="248871" y="79159"/>
                    <a:pt x="248015" y="89869"/>
                    <a:pt x="248015" y="102490"/>
                  </a:cubicBezTo>
                  <a:lnTo>
                    <a:pt x="248015" y="155982"/>
                  </a:lnTo>
                  <a:cubicBezTo>
                    <a:pt x="248015" y="166172"/>
                    <a:pt x="248584" y="175146"/>
                    <a:pt x="249752" y="182904"/>
                  </a:cubicBezTo>
                  <a:cubicBezTo>
                    <a:pt x="250904" y="190661"/>
                    <a:pt x="252636" y="197320"/>
                    <a:pt x="254956" y="202874"/>
                  </a:cubicBezTo>
                  <a:cubicBezTo>
                    <a:pt x="257276" y="208317"/>
                    <a:pt x="260058" y="212831"/>
                    <a:pt x="263302" y="216420"/>
                  </a:cubicBezTo>
                  <a:cubicBezTo>
                    <a:pt x="266653" y="219893"/>
                    <a:pt x="270481" y="222441"/>
                    <a:pt x="274756" y="224061"/>
                  </a:cubicBezTo>
                  <a:cubicBezTo>
                    <a:pt x="279153" y="225681"/>
                    <a:pt x="283964" y="226493"/>
                    <a:pt x="289168" y="226493"/>
                  </a:cubicBezTo>
                  <a:cubicBezTo>
                    <a:pt x="295778" y="226493"/>
                    <a:pt x="301619" y="225219"/>
                    <a:pt x="306721" y="222670"/>
                  </a:cubicBezTo>
                  <a:cubicBezTo>
                    <a:pt x="311804" y="220121"/>
                    <a:pt x="316099" y="216070"/>
                    <a:pt x="319567" y="210511"/>
                  </a:cubicBezTo>
                  <a:cubicBezTo>
                    <a:pt x="323035" y="204839"/>
                    <a:pt x="325646" y="197485"/>
                    <a:pt x="327383" y="188453"/>
                  </a:cubicBezTo>
                  <a:cubicBezTo>
                    <a:pt x="329119" y="179421"/>
                    <a:pt x="329995" y="168594"/>
                    <a:pt x="329995" y="155978"/>
                  </a:cubicBezTo>
                  <a:close/>
                  <a:moveTo>
                    <a:pt x="578701" y="223015"/>
                  </a:moveTo>
                  <a:lnTo>
                    <a:pt x="578701" y="256362"/>
                  </a:lnTo>
                  <a:lnTo>
                    <a:pt x="409187" y="256362"/>
                  </a:lnTo>
                  <a:lnTo>
                    <a:pt x="409187" y="227704"/>
                  </a:lnTo>
                  <a:lnTo>
                    <a:pt x="491507" y="137913"/>
                  </a:lnTo>
                  <a:cubicBezTo>
                    <a:pt x="500539" y="127724"/>
                    <a:pt x="507670" y="118925"/>
                    <a:pt x="512874" y="111513"/>
                  </a:cubicBezTo>
                  <a:cubicBezTo>
                    <a:pt x="518078" y="104100"/>
                    <a:pt x="521736" y="97446"/>
                    <a:pt x="523813" y="91542"/>
                  </a:cubicBezTo>
                  <a:cubicBezTo>
                    <a:pt x="526011" y="85520"/>
                    <a:pt x="527110" y="79674"/>
                    <a:pt x="527110" y="73998"/>
                  </a:cubicBezTo>
                  <a:cubicBezTo>
                    <a:pt x="527110" y="66012"/>
                    <a:pt x="525617" y="59003"/>
                    <a:pt x="522592" y="52981"/>
                  </a:cubicBezTo>
                  <a:cubicBezTo>
                    <a:pt x="519708" y="46843"/>
                    <a:pt x="515413" y="42038"/>
                    <a:pt x="509746" y="38565"/>
                  </a:cubicBezTo>
                  <a:cubicBezTo>
                    <a:pt x="504080" y="34976"/>
                    <a:pt x="497193" y="33181"/>
                    <a:pt x="489085" y="33181"/>
                  </a:cubicBezTo>
                  <a:cubicBezTo>
                    <a:pt x="479708" y="33181"/>
                    <a:pt x="471823" y="35209"/>
                    <a:pt x="465452" y="39261"/>
                  </a:cubicBezTo>
                  <a:cubicBezTo>
                    <a:pt x="459095" y="43312"/>
                    <a:pt x="454289" y="48930"/>
                    <a:pt x="451040" y="56109"/>
                  </a:cubicBezTo>
                  <a:cubicBezTo>
                    <a:pt x="447796" y="63171"/>
                    <a:pt x="446181" y="71279"/>
                    <a:pt x="446181" y="80423"/>
                  </a:cubicBezTo>
                  <a:lnTo>
                    <a:pt x="404328" y="80423"/>
                  </a:lnTo>
                  <a:cubicBezTo>
                    <a:pt x="404328" y="65720"/>
                    <a:pt x="407679" y="52286"/>
                    <a:pt x="414391" y="40131"/>
                  </a:cubicBezTo>
                  <a:cubicBezTo>
                    <a:pt x="421108" y="27860"/>
                    <a:pt x="430846" y="18132"/>
                    <a:pt x="443569" y="10953"/>
                  </a:cubicBezTo>
                  <a:cubicBezTo>
                    <a:pt x="456313" y="3658"/>
                    <a:pt x="471648" y="10"/>
                    <a:pt x="489596" y="10"/>
                  </a:cubicBezTo>
                  <a:cubicBezTo>
                    <a:pt x="506497" y="10"/>
                    <a:pt x="520855" y="2845"/>
                    <a:pt x="532670" y="8521"/>
                  </a:cubicBezTo>
                  <a:cubicBezTo>
                    <a:pt x="544484" y="14193"/>
                    <a:pt x="553453" y="22242"/>
                    <a:pt x="559581" y="32660"/>
                  </a:cubicBezTo>
                  <a:cubicBezTo>
                    <a:pt x="565831" y="43079"/>
                    <a:pt x="568958" y="55413"/>
                    <a:pt x="568958" y="69655"/>
                  </a:cubicBezTo>
                  <a:cubicBezTo>
                    <a:pt x="568958" y="77529"/>
                    <a:pt x="567689" y="85345"/>
                    <a:pt x="565145" y="93103"/>
                  </a:cubicBezTo>
                  <a:cubicBezTo>
                    <a:pt x="562601" y="100861"/>
                    <a:pt x="558944" y="108619"/>
                    <a:pt x="554207" y="116376"/>
                  </a:cubicBezTo>
                  <a:cubicBezTo>
                    <a:pt x="549571" y="124017"/>
                    <a:pt x="544075" y="131717"/>
                    <a:pt x="537704" y="139475"/>
                  </a:cubicBezTo>
                  <a:cubicBezTo>
                    <a:pt x="531332" y="147116"/>
                    <a:pt x="524323" y="154873"/>
                    <a:pt x="516697" y="162748"/>
                  </a:cubicBezTo>
                  <a:lnTo>
                    <a:pt x="461979" y="223015"/>
                  </a:lnTo>
                  <a:lnTo>
                    <a:pt x="578701" y="223015"/>
                  </a:lnTo>
                  <a:close/>
                  <a:moveTo>
                    <a:pt x="660505" y="110992"/>
                  </a:moveTo>
                  <a:lnTo>
                    <a:pt x="685510" y="110992"/>
                  </a:lnTo>
                  <a:cubicBezTo>
                    <a:pt x="695233" y="110992"/>
                    <a:pt x="703287" y="109314"/>
                    <a:pt x="709639" y="105953"/>
                  </a:cubicBezTo>
                  <a:cubicBezTo>
                    <a:pt x="716132" y="102597"/>
                    <a:pt x="720943" y="97962"/>
                    <a:pt x="724065" y="92057"/>
                  </a:cubicBezTo>
                  <a:cubicBezTo>
                    <a:pt x="727188" y="86153"/>
                    <a:pt x="728754" y="79377"/>
                    <a:pt x="728754" y="71736"/>
                  </a:cubicBezTo>
                  <a:cubicBezTo>
                    <a:pt x="728754" y="64095"/>
                    <a:pt x="727295" y="56916"/>
                    <a:pt x="724411" y="51240"/>
                  </a:cubicBezTo>
                  <a:cubicBezTo>
                    <a:pt x="721628" y="45452"/>
                    <a:pt x="717353" y="40992"/>
                    <a:pt x="711565" y="37865"/>
                  </a:cubicBezTo>
                  <a:cubicBezTo>
                    <a:pt x="705879" y="34737"/>
                    <a:pt x="698652" y="33176"/>
                    <a:pt x="689858" y="33176"/>
                  </a:cubicBezTo>
                  <a:cubicBezTo>
                    <a:pt x="682441" y="33176"/>
                    <a:pt x="675724" y="34684"/>
                    <a:pt x="669712" y="37690"/>
                  </a:cubicBezTo>
                  <a:cubicBezTo>
                    <a:pt x="663803" y="40584"/>
                    <a:pt x="659114" y="44752"/>
                    <a:pt x="655626" y="50195"/>
                  </a:cubicBezTo>
                  <a:cubicBezTo>
                    <a:pt x="652159" y="55520"/>
                    <a:pt x="650422" y="61887"/>
                    <a:pt x="650422" y="69300"/>
                  </a:cubicBezTo>
                  <a:lnTo>
                    <a:pt x="608394" y="69300"/>
                  </a:lnTo>
                  <a:cubicBezTo>
                    <a:pt x="608394" y="55871"/>
                    <a:pt x="611916" y="43945"/>
                    <a:pt x="618992" y="33521"/>
                  </a:cubicBezTo>
                  <a:cubicBezTo>
                    <a:pt x="626050" y="23103"/>
                    <a:pt x="635670" y="14937"/>
                    <a:pt x="647810" y="9032"/>
                  </a:cubicBezTo>
                  <a:cubicBezTo>
                    <a:pt x="660092" y="3011"/>
                    <a:pt x="673866" y="0"/>
                    <a:pt x="689148" y="0"/>
                  </a:cubicBezTo>
                  <a:cubicBezTo>
                    <a:pt x="705480" y="0"/>
                    <a:pt x="719717" y="2724"/>
                    <a:pt x="731876" y="8161"/>
                  </a:cubicBezTo>
                  <a:cubicBezTo>
                    <a:pt x="744138" y="13487"/>
                    <a:pt x="753705" y="21479"/>
                    <a:pt x="760524" y="32130"/>
                  </a:cubicBezTo>
                  <a:cubicBezTo>
                    <a:pt x="767358" y="42782"/>
                    <a:pt x="770777" y="55982"/>
                    <a:pt x="770777" y="71731"/>
                  </a:cubicBezTo>
                  <a:cubicBezTo>
                    <a:pt x="770777" y="78910"/>
                    <a:pt x="769094" y="86206"/>
                    <a:pt x="765743" y="93614"/>
                  </a:cubicBezTo>
                  <a:cubicBezTo>
                    <a:pt x="762378" y="101026"/>
                    <a:pt x="757397" y="107797"/>
                    <a:pt x="750802" y="113935"/>
                  </a:cubicBezTo>
                  <a:cubicBezTo>
                    <a:pt x="744206" y="119956"/>
                    <a:pt x="735982" y="124873"/>
                    <a:pt x="726137" y="128696"/>
                  </a:cubicBezTo>
                  <a:cubicBezTo>
                    <a:pt x="716298" y="132403"/>
                    <a:pt x="704892" y="134256"/>
                    <a:pt x="691925" y="134256"/>
                  </a:cubicBezTo>
                  <a:lnTo>
                    <a:pt x="660495" y="134256"/>
                  </a:lnTo>
                  <a:lnTo>
                    <a:pt x="660495" y="110982"/>
                  </a:lnTo>
                  <a:close/>
                  <a:moveTo>
                    <a:pt x="660505" y="143643"/>
                  </a:moveTo>
                  <a:lnTo>
                    <a:pt x="660505" y="120715"/>
                  </a:lnTo>
                  <a:lnTo>
                    <a:pt x="691935" y="120715"/>
                  </a:lnTo>
                  <a:cubicBezTo>
                    <a:pt x="706755" y="120715"/>
                    <a:pt x="719381" y="122451"/>
                    <a:pt x="729790" y="125924"/>
                  </a:cubicBezTo>
                  <a:cubicBezTo>
                    <a:pt x="740335" y="129397"/>
                    <a:pt x="748905" y="134202"/>
                    <a:pt x="755500" y="140340"/>
                  </a:cubicBezTo>
                  <a:cubicBezTo>
                    <a:pt x="762095" y="146362"/>
                    <a:pt x="766906" y="153249"/>
                    <a:pt x="769911" y="161007"/>
                  </a:cubicBezTo>
                  <a:cubicBezTo>
                    <a:pt x="773039" y="168764"/>
                    <a:pt x="774600" y="176984"/>
                    <a:pt x="774600" y="185671"/>
                  </a:cubicBezTo>
                  <a:cubicBezTo>
                    <a:pt x="774600" y="197480"/>
                    <a:pt x="772470" y="208015"/>
                    <a:pt x="768175" y="217281"/>
                  </a:cubicBezTo>
                  <a:cubicBezTo>
                    <a:pt x="764016" y="226430"/>
                    <a:pt x="758044" y="234188"/>
                    <a:pt x="750296" y="240554"/>
                  </a:cubicBezTo>
                  <a:cubicBezTo>
                    <a:pt x="742533" y="246921"/>
                    <a:pt x="733447" y="251726"/>
                    <a:pt x="723024" y="254971"/>
                  </a:cubicBezTo>
                  <a:cubicBezTo>
                    <a:pt x="712718" y="258215"/>
                    <a:pt x="701487" y="259834"/>
                    <a:pt x="689328" y="259834"/>
                  </a:cubicBezTo>
                  <a:cubicBezTo>
                    <a:pt x="678457" y="259834"/>
                    <a:pt x="668029" y="258327"/>
                    <a:pt x="658068" y="255316"/>
                  </a:cubicBezTo>
                  <a:cubicBezTo>
                    <a:pt x="648107" y="252305"/>
                    <a:pt x="639192" y="247850"/>
                    <a:pt x="631327" y="241945"/>
                  </a:cubicBezTo>
                  <a:cubicBezTo>
                    <a:pt x="623443" y="235924"/>
                    <a:pt x="617193" y="228458"/>
                    <a:pt x="612572" y="219543"/>
                  </a:cubicBezTo>
                  <a:cubicBezTo>
                    <a:pt x="608054" y="210511"/>
                    <a:pt x="605787" y="200092"/>
                    <a:pt x="605787" y="188283"/>
                  </a:cubicBezTo>
                  <a:lnTo>
                    <a:pt x="647640" y="188283"/>
                  </a:lnTo>
                  <a:cubicBezTo>
                    <a:pt x="647640" y="195807"/>
                    <a:pt x="649377" y="202466"/>
                    <a:pt x="652859" y="208254"/>
                  </a:cubicBezTo>
                  <a:cubicBezTo>
                    <a:pt x="656449" y="213925"/>
                    <a:pt x="661429" y="218385"/>
                    <a:pt x="667786" y="221624"/>
                  </a:cubicBezTo>
                  <a:cubicBezTo>
                    <a:pt x="674279" y="224869"/>
                    <a:pt x="681682" y="226488"/>
                    <a:pt x="690028" y="226488"/>
                  </a:cubicBezTo>
                  <a:cubicBezTo>
                    <a:pt x="698822" y="226488"/>
                    <a:pt x="706415" y="224927"/>
                    <a:pt x="712767" y="221799"/>
                  </a:cubicBezTo>
                  <a:cubicBezTo>
                    <a:pt x="719138" y="218672"/>
                    <a:pt x="723997" y="214042"/>
                    <a:pt x="727363" y="207904"/>
                  </a:cubicBezTo>
                  <a:cubicBezTo>
                    <a:pt x="730831" y="201765"/>
                    <a:pt x="732567" y="194358"/>
                    <a:pt x="732567" y="185671"/>
                  </a:cubicBezTo>
                  <a:cubicBezTo>
                    <a:pt x="732567" y="175827"/>
                    <a:pt x="730660" y="167840"/>
                    <a:pt x="726847" y="161702"/>
                  </a:cubicBezTo>
                  <a:cubicBezTo>
                    <a:pt x="723019" y="155564"/>
                    <a:pt x="717572" y="151050"/>
                    <a:pt x="710515" y="148157"/>
                  </a:cubicBezTo>
                  <a:cubicBezTo>
                    <a:pt x="703457" y="145146"/>
                    <a:pt x="695111" y="143643"/>
                    <a:pt x="685510" y="143643"/>
                  </a:cubicBezTo>
                  <a:lnTo>
                    <a:pt x="660505" y="143643"/>
                  </a:lnTo>
                  <a:close/>
                </a:path>
              </a:pathLst>
            </a:custGeom>
            <a:solidFill>
              <a:srgbClr val="EE3431"/>
            </a:solidFill>
            <a:ln w="4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8" name="Полилиния: фигура 47">
              <a:extLst>
                <a:ext uri="{FF2B5EF4-FFF2-40B4-BE49-F238E27FC236}">
                  <a16:creationId xmlns:a16="http://schemas.microsoft.com/office/drawing/2014/main" id="{C3ADAD60-17B9-4A06-AE0E-BCB35AB4E7E8}"/>
                </a:ext>
              </a:extLst>
            </p:cNvPr>
            <p:cNvSpPr/>
            <p:nvPr/>
          </p:nvSpPr>
          <p:spPr>
            <a:xfrm>
              <a:off x="8902858" y="5870060"/>
              <a:ext cx="774600" cy="259829"/>
            </a:xfrm>
            <a:custGeom>
              <a:avLst/>
              <a:gdLst>
                <a:gd name="connsiteX0" fmla="*/ 174372 w 774600"/>
                <a:gd name="connsiteY0" fmla="*/ 223011 h 259829"/>
                <a:gd name="connsiteX1" fmla="*/ 174372 w 774600"/>
                <a:gd name="connsiteY1" fmla="*/ 256357 h 259829"/>
                <a:gd name="connsiteX2" fmla="*/ 4859 w 774600"/>
                <a:gd name="connsiteY2" fmla="*/ 256357 h 259829"/>
                <a:gd name="connsiteX3" fmla="*/ 4859 w 774600"/>
                <a:gd name="connsiteY3" fmla="*/ 227699 h 259829"/>
                <a:gd name="connsiteX4" fmla="*/ 87193 w 774600"/>
                <a:gd name="connsiteY4" fmla="*/ 137908 h 259829"/>
                <a:gd name="connsiteX5" fmla="*/ 108541 w 774600"/>
                <a:gd name="connsiteY5" fmla="*/ 111508 h 259829"/>
                <a:gd name="connsiteX6" fmla="*/ 119499 w 774600"/>
                <a:gd name="connsiteY6" fmla="*/ 91537 h 259829"/>
                <a:gd name="connsiteX7" fmla="*/ 122797 w 774600"/>
                <a:gd name="connsiteY7" fmla="*/ 73993 h 259829"/>
                <a:gd name="connsiteX8" fmla="*/ 118278 w 774600"/>
                <a:gd name="connsiteY8" fmla="*/ 52977 h 259829"/>
                <a:gd name="connsiteX9" fmla="*/ 105413 w 774600"/>
                <a:gd name="connsiteY9" fmla="*/ 38560 h 259829"/>
                <a:gd name="connsiteX10" fmla="*/ 84752 w 774600"/>
                <a:gd name="connsiteY10" fmla="*/ 33176 h 259829"/>
                <a:gd name="connsiteX11" fmla="*/ 61138 w 774600"/>
                <a:gd name="connsiteY11" fmla="*/ 39256 h 259829"/>
                <a:gd name="connsiteX12" fmla="*/ 46712 w 774600"/>
                <a:gd name="connsiteY12" fmla="*/ 56104 h 259829"/>
                <a:gd name="connsiteX13" fmla="*/ 41853 w 774600"/>
                <a:gd name="connsiteY13" fmla="*/ 80418 h 259829"/>
                <a:gd name="connsiteX14" fmla="*/ 0 w 774600"/>
                <a:gd name="connsiteY14" fmla="*/ 80418 h 259829"/>
                <a:gd name="connsiteX15" fmla="*/ 10083 w 774600"/>
                <a:gd name="connsiteY15" fmla="*/ 40126 h 259829"/>
                <a:gd name="connsiteX16" fmla="*/ 39261 w 774600"/>
                <a:gd name="connsiteY16" fmla="*/ 10948 h 259829"/>
                <a:gd name="connsiteX17" fmla="*/ 85272 w 774600"/>
                <a:gd name="connsiteY17" fmla="*/ 5 h 259829"/>
                <a:gd name="connsiteX18" fmla="*/ 128346 w 774600"/>
                <a:gd name="connsiteY18" fmla="*/ 8517 h 259829"/>
                <a:gd name="connsiteX19" fmla="*/ 155277 w 774600"/>
                <a:gd name="connsiteY19" fmla="*/ 32660 h 259829"/>
                <a:gd name="connsiteX20" fmla="*/ 164654 w 774600"/>
                <a:gd name="connsiteY20" fmla="*/ 69655 h 259829"/>
                <a:gd name="connsiteX21" fmla="*/ 160827 w 774600"/>
                <a:gd name="connsiteY21" fmla="*/ 93103 h 259829"/>
                <a:gd name="connsiteX22" fmla="*/ 149888 w 774600"/>
                <a:gd name="connsiteY22" fmla="*/ 116376 h 259829"/>
                <a:gd name="connsiteX23" fmla="*/ 133400 w 774600"/>
                <a:gd name="connsiteY23" fmla="*/ 139475 h 259829"/>
                <a:gd name="connsiteX24" fmla="*/ 112378 w 774600"/>
                <a:gd name="connsiteY24" fmla="*/ 162748 h 259829"/>
                <a:gd name="connsiteX25" fmla="*/ 57675 w 774600"/>
                <a:gd name="connsiteY25" fmla="*/ 223015 h 259829"/>
                <a:gd name="connsiteX26" fmla="*/ 174377 w 774600"/>
                <a:gd name="connsiteY26" fmla="*/ 223015 h 259829"/>
                <a:gd name="connsiteX27" fmla="*/ 371848 w 774600"/>
                <a:gd name="connsiteY27" fmla="*/ 108730 h 259829"/>
                <a:gd name="connsiteX28" fmla="*/ 371848 w 774600"/>
                <a:gd name="connsiteY28" fmla="*/ 150063 h 259829"/>
                <a:gd name="connsiteX29" fmla="*/ 365938 w 774600"/>
                <a:gd name="connsiteY29" fmla="*/ 200778 h 259829"/>
                <a:gd name="connsiteX30" fmla="*/ 349260 w 774600"/>
                <a:gd name="connsiteY30" fmla="*/ 234645 h 259829"/>
                <a:gd name="connsiteX31" fmla="*/ 323035 w 774600"/>
                <a:gd name="connsiteY31" fmla="*/ 253750 h 259829"/>
                <a:gd name="connsiteX32" fmla="*/ 289168 w 774600"/>
                <a:gd name="connsiteY32" fmla="*/ 259830 h 259829"/>
                <a:gd name="connsiteX33" fmla="*/ 261381 w 774600"/>
                <a:gd name="connsiteY33" fmla="*/ 256011 h 259829"/>
                <a:gd name="connsiteX34" fmla="*/ 238468 w 774600"/>
                <a:gd name="connsiteY34" fmla="*/ 244027 h 259829"/>
                <a:gd name="connsiteX35" fmla="*/ 220914 w 774600"/>
                <a:gd name="connsiteY35" fmla="*/ 223011 h 259829"/>
                <a:gd name="connsiteX36" fmla="*/ 209800 w 774600"/>
                <a:gd name="connsiteY36" fmla="*/ 191921 h 259829"/>
                <a:gd name="connsiteX37" fmla="*/ 205972 w 774600"/>
                <a:gd name="connsiteY37" fmla="*/ 150063 h 259829"/>
                <a:gd name="connsiteX38" fmla="*/ 205972 w 774600"/>
                <a:gd name="connsiteY38" fmla="*/ 108730 h 259829"/>
                <a:gd name="connsiteX39" fmla="*/ 211882 w 774600"/>
                <a:gd name="connsiteY39" fmla="*/ 58366 h 259829"/>
                <a:gd name="connsiteX40" fmla="*/ 228730 w 774600"/>
                <a:gd name="connsiteY40" fmla="*/ 24844 h 259829"/>
                <a:gd name="connsiteX41" fmla="*/ 254786 w 774600"/>
                <a:gd name="connsiteY41" fmla="*/ 5914 h 259829"/>
                <a:gd name="connsiteX42" fmla="*/ 288827 w 774600"/>
                <a:gd name="connsiteY42" fmla="*/ 10 h 259829"/>
                <a:gd name="connsiteX43" fmla="*/ 316614 w 774600"/>
                <a:gd name="connsiteY43" fmla="*/ 3833 h 259829"/>
                <a:gd name="connsiteX44" fmla="*/ 339542 w 774600"/>
                <a:gd name="connsiteY44" fmla="*/ 15467 h 259829"/>
                <a:gd name="connsiteX45" fmla="*/ 356906 w 774600"/>
                <a:gd name="connsiteY45" fmla="*/ 36308 h 259829"/>
                <a:gd name="connsiteX46" fmla="*/ 368020 w 774600"/>
                <a:gd name="connsiteY46" fmla="*/ 67048 h 259829"/>
                <a:gd name="connsiteX47" fmla="*/ 371848 w 774600"/>
                <a:gd name="connsiteY47" fmla="*/ 108730 h 259829"/>
                <a:gd name="connsiteX48" fmla="*/ 329995 w 774600"/>
                <a:gd name="connsiteY48" fmla="*/ 155968 h 259829"/>
                <a:gd name="connsiteX49" fmla="*/ 329995 w 774600"/>
                <a:gd name="connsiteY49" fmla="*/ 102476 h 259829"/>
                <a:gd name="connsiteX50" fmla="*/ 328258 w 774600"/>
                <a:gd name="connsiteY50" fmla="*/ 75905 h 259829"/>
                <a:gd name="connsiteX51" fmla="*/ 323039 w 774600"/>
                <a:gd name="connsiteY51" fmla="*/ 56279 h 259829"/>
                <a:gd name="connsiteX52" fmla="*/ 314708 w 774600"/>
                <a:gd name="connsiteY52" fmla="*/ 43079 h 259829"/>
                <a:gd name="connsiteX53" fmla="*/ 303234 w 774600"/>
                <a:gd name="connsiteY53" fmla="*/ 35613 h 259829"/>
                <a:gd name="connsiteX54" fmla="*/ 288823 w 774600"/>
                <a:gd name="connsiteY54" fmla="*/ 33181 h 259829"/>
                <a:gd name="connsiteX55" fmla="*/ 271459 w 774600"/>
                <a:gd name="connsiteY55" fmla="*/ 37004 h 259829"/>
                <a:gd name="connsiteX56" fmla="*/ 258613 w 774600"/>
                <a:gd name="connsiteY56" fmla="*/ 48813 h 259829"/>
                <a:gd name="connsiteX57" fmla="*/ 250608 w 774600"/>
                <a:gd name="connsiteY57" fmla="*/ 70350 h 259829"/>
                <a:gd name="connsiteX58" fmla="*/ 248015 w 774600"/>
                <a:gd name="connsiteY58" fmla="*/ 102480 h 259829"/>
                <a:gd name="connsiteX59" fmla="*/ 248015 w 774600"/>
                <a:gd name="connsiteY59" fmla="*/ 155973 h 259829"/>
                <a:gd name="connsiteX60" fmla="*/ 249752 w 774600"/>
                <a:gd name="connsiteY60" fmla="*/ 182894 h 259829"/>
                <a:gd name="connsiteX61" fmla="*/ 254956 w 774600"/>
                <a:gd name="connsiteY61" fmla="*/ 202865 h 259829"/>
                <a:gd name="connsiteX62" fmla="*/ 263302 w 774600"/>
                <a:gd name="connsiteY62" fmla="*/ 216410 h 259829"/>
                <a:gd name="connsiteX63" fmla="*/ 274756 w 774600"/>
                <a:gd name="connsiteY63" fmla="*/ 224051 h 259829"/>
                <a:gd name="connsiteX64" fmla="*/ 289168 w 774600"/>
                <a:gd name="connsiteY64" fmla="*/ 226483 h 259829"/>
                <a:gd name="connsiteX65" fmla="*/ 306721 w 774600"/>
                <a:gd name="connsiteY65" fmla="*/ 222660 h 259829"/>
                <a:gd name="connsiteX66" fmla="*/ 319567 w 774600"/>
                <a:gd name="connsiteY66" fmla="*/ 210501 h 259829"/>
                <a:gd name="connsiteX67" fmla="*/ 327383 w 774600"/>
                <a:gd name="connsiteY67" fmla="*/ 188443 h 259829"/>
                <a:gd name="connsiteX68" fmla="*/ 329995 w 774600"/>
                <a:gd name="connsiteY68" fmla="*/ 155963 h 259829"/>
                <a:gd name="connsiteX69" fmla="*/ 578701 w 774600"/>
                <a:gd name="connsiteY69" fmla="*/ 223006 h 259829"/>
                <a:gd name="connsiteX70" fmla="*/ 578701 w 774600"/>
                <a:gd name="connsiteY70" fmla="*/ 256352 h 259829"/>
                <a:gd name="connsiteX71" fmla="*/ 409187 w 774600"/>
                <a:gd name="connsiteY71" fmla="*/ 256352 h 259829"/>
                <a:gd name="connsiteX72" fmla="*/ 409187 w 774600"/>
                <a:gd name="connsiteY72" fmla="*/ 227694 h 259829"/>
                <a:gd name="connsiteX73" fmla="*/ 491507 w 774600"/>
                <a:gd name="connsiteY73" fmla="*/ 137904 h 259829"/>
                <a:gd name="connsiteX74" fmla="*/ 512874 w 774600"/>
                <a:gd name="connsiteY74" fmla="*/ 111503 h 259829"/>
                <a:gd name="connsiteX75" fmla="*/ 523813 w 774600"/>
                <a:gd name="connsiteY75" fmla="*/ 91532 h 259829"/>
                <a:gd name="connsiteX76" fmla="*/ 527110 w 774600"/>
                <a:gd name="connsiteY76" fmla="*/ 73988 h 259829"/>
                <a:gd name="connsiteX77" fmla="*/ 522592 w 774600"/>
                <a:gd name="connsiteY77" fmla="*/ 52972 h 259829"/>
                <a:gd name="connsiteX78" fmla="*/ 509746 w 774600"/>
                <a:gd name="connsiteY78" fmla="*/ 38555 h 259829"/>
                <a:gd name="connsiteX79" fmla="*/ 489085 w 774600"/>
                <a:gd name="connsiteY79" fmla="*/ 33171 h 259829"/>
                <a:gd name="connsiteX80" fmla="*/ 465452 w 774600"/>
                <a:gd name="connsiteY80" fmla="*/ 39251 h 259829"/>
                <a:gd name="connsiteX81" fmla="*/ 451040 w 774600"/>
                <a:gd name="connsiteY81" fmla="*/ 56099 h 259829"/>
                <a:gd name="connsiteX82" fmla="*/ 446181 w 774600"/>
                <a:gd name="connsiteY82" fmla="*/ 80413 h 259829"/>
                <a:gd name="connsiteX83" fmla="*/ 404328 w 774600"/>
                <a:gd name="connsiteY83" fmla="*/ 80413 h 259829"/>
                <a:gd name="connsiteX84" fmla="*/ 414391 w 774600"/>
                <a:gd name="connsiteY84" fmla="*/ 40122 h 259829"/>
                <a:gd name="connsiteX85" fmla="*/ 443569 w 774600"/>
                <a:gd name="connsiteY85" fmla="*/ 10944 h 259829"/>
                <a:gd name="connsiteX86" fmla="*/ 489596 w 774600"/>
                <a:gd name="connsiteY86" fmla="*/ 0 h 259829"/>
                <a:gd name="connsiteX87" fmla="*/ 532670 w 774600"/>
                <a:gd name="connsiteY87" fmla="*/ 8512 h 259829"/>
                <a:gd name="connsiteX88" fmla="*/ 559581 w 774600"/>
                <a:gd name="connsiteY88" fmla="*/ 32656 h 259829"/>
                <a:gd name="connsiteX89" fmla="*/ 568958 w 774600"/>
                <a:gd name="connsiteY89" fmla="*/ 69650 h 259829"/>
                <a:gd name="connsiteX90" fmla="*/ 565145 w 774600"/>
                <a:gd name="connsiteY90" fmla="*/ 93098 h 259829"/>
                <a:gd name="connsiteX91" fmla="*/ 554207 w 774600"/>
                <a:gd name="connsiteY91" fmla="*/ 116372 h 259829"/>
                <a:gd name="connsiteX92" fmla="*/ 537704 w 774600"/>
                <a:gd name="connsiteY92" fmla="*/ 139470 h 259829"/>
                <a:gd name="connsiteX93" fmla="*/ 516697 w 774600"/>
                <a:gd name="connsiteY93" fmla="*/ 162743 h 259829"/>
                <a:gd name="connsiteX94" fmla="*/ 461979 w 774600"/>
                <a:gd name="connsiteY94" fmla="*/ 223011 h 259829"/>
                <a:gd name="connsiteX95" fmla="*/ 578701 w 774600"/>
                <a:gd name="connsiteY95" fmla="*/ 223011 h 259829"/>
                <a:gd name="connsiteX96" fmla="*/ 660505 w 774600"/>
                <a:gd name="connsiteY96" fmla="*/ 110982 h 259829"/>
                <a:gd name="connsiteX97" fmla="*/ 685510 w 774600"/>
                <a:gd name="connsiteY97" fmla="*/ 110982 h 259829"/>
                <a:gd name="connsiteX98" fmla="*/ 709639 w 774600"/>
                <a:gd name="connsiteY98" fmla="*/ 105948 h 259829"/>
                <a:gd name="connsiteX99" fmla="*/ 724065 w 774600"/>
                <a:gd name="connsiteY99" fmla="*/ 92052 h 259829"/>
                <a:gd name="connsiteX100" fmla="*/ 728754 w 774600"/>
                <a:gd name="connsiteY100" fmla="*/ 71731 h 259829"/>
                <a:gd name="connsiteX101" fmla="*/ 724411 w 774600"/>
                <a:gd name="connsiteY101" fmla="*/ 51240 h 259829"/>
                <a:gd name="connsiteX102" fmla="*/ 711565 w 774600"/>
                <a:gd name="connsiteY102" fmla="*/ 37865 h 259829"/>
                <a:gd name="connsiteX103" fmla="*/ 689858 w 774600"/>
                <a:gd name="connsiteY103" fmla="*/ 33176 h 259829"/>
                <a:gd name="connsiteX104" fmla="*/ 669712 w 774600"/>
                <a:gd name="connsiteY104" fmla="*/ 37690 h 259829"/>
                <a:gd name="connsiteX105" fmla="*/ 655626 w 774600"/>
                <a:gd name="connsiteY105" fmla="*/ 50195 h 259829"/>
                <a:gd name="connsiteX106" fmla="*/ 650422 w 774600"/>
                <a:gd name="connsiteY106" fmla="*/ 69300 h 259829"/>
                <a:gd name="connsiteX107" fmla="*/ 608394 w 774600"/>
                <a:gd name="connsiteY107" fmla="*/ 69300 h 259829"/>
                <a:gd name="connsiteX108" fmla="*/ 618992 w 774600"/>
                <a:gd name="connsiteY108" fmla="*/ 33521 h 259829"/>
                <a:gd name="connsiteX109" fmla="*/ 647810 w 774600"/>
                <a:gd name="connsiteY109" fmla="*/ 9032 h 259829"/>
                <a:gd name="connsiteX110" fmla="*/ 689148 w 774600"/>
                <a:gd name="connsiteY110" fmla="*/ 0 h 259829"/>
                <a:gd name="connsiteX111" fmla="*/ 731876 w 774600"/>
                <a:gd name="connsiteY111" fmla="*/ 8161 h 259829"/>
                <a:gd name="connsiteX112" fmla="*/ 760524 w 774600"/>
                <a:gd name="connsiteY112" fmla="*/ 32130 h 259829"/>
                <a:gd name="connsiteX113" fmla="*/ 770777 w 774600"/>
                <a:gd name="connsiteY113" fmla="*/ 71727 h 259829"/>
                <a:gd name="connsiteX114" fmla="*/ 765743 w 774600"/>
                <a:gd name="connsiteY114" fmla="*/ 93609 h 259829"/>
                <a:gd name="connsiteX115" fmla="*/ 750802 w 774600"/>
                <a:gd name="connsiteY115" fmla="*/ 113930 h 259829"/>
                <a:gd name="connsiteX116" fmla="*/ 726137 w 774600"/>
                <a:gd name="connsiteY116" fmla="*/ 128692 h 259829"/>
                <a:gd name="connsiteX117" fmla="*/ 691925 w 774600"/>
                <a:gd name="connsiteY117" fmla="*/ 134251 h 259829"/>
                <a:gd name="connsiteX118" fmla="*/ 660495 w 774600"/>
                <a:gd name="connsiteY118" fmla="*/ 134251 h 259829"/>
                <a:gd name="connsiteX119" fmla="*/ 660495 w 774600"/>
                <a:gd name="connsiteY119" fmla="*/ 110978 h 259829"/>
                <a:gd name="connsiteX120" fmla="*/ 660505 w 774600"/>
                <a:gd name="connsiteY120" fmla="*/ 143633 h 259829"/>
                <a:gd name="connsiteX121" fmla="*/ 660505 w 774600"/>
                <a:gd name="connsiteY121" fmla="*/ 120705 h 259829"/>
                <a:gd name="connsiteX122" fmla="*/ 691935 w 774600"/>
                <a:gd name="connsiteY122" fmla="*/ 120705 h 259829"/>
                <a:gd name="connsiteX123" fmla="*/ 729790 w 774600"/>
                <a:gd name="connsiteY123" fmla="*/ 125914 h 259829"/>
                <a:gd name="connsiteX124" fmla="*/ 755500 w 774600"/>
                <a:gd name="connsiteY124" fmla="*/ 140331 h 259829"/>
                <a:gd name="connsiteX125" fmla="*/ 769911 w 774600"/>
                <a:gd name="connsiteY125" fmla="*/ 160997 h 259829"/>
                <a:gd name="connsiteX126" fmla="*/ 774600 w 774600"/>
                <a:gd name="connsiteY126" fmla="*/ 185661 h 259829"/>
                <a:gd name="connsiteX127" fmla="*/ 768175 w 774600"/>
                <a:gd name="connsiteY127" fmla="*/ 217271 h 259829"/>
                <a:gd name="connsiteX128" fmla="*/ 750296 w 774600"/>
                <a:gd name="connsiteY128" fmla="*/ 240545 h 259829"/>
                <a:gd name="connsiteX129" fmla="*/ 723024 w 774600"/>
                <a:gd name="connsiteY129" fmla="*/ 254961 h 259829"/>
                <a:gd name="connsiteX130" fmla="*/ 689328 w 774600"/>
                <a:gd name="connsiteY130" fmla="*/ 259825 h 259829"/>
                <a:gd name="connsiteX131" fmla="*/ 658068 w 774600"/>
                <a:gd name="connsiteY131" fmla="*/ 255311 h 259829"/>
                <a:gd name="connsiteX132" fmla="*/ 631327 w 774600"/>
                <a:gd name="connsiteY132" fmla="*/ 241940 h 259829"/>
                <a:gd name="connsiteX133" fmla="*/ 612572 w 774600"/>
                <a:gd name="connsiteY133" fmla="*/ 219538 h 259829"/>
                <a:gd name="connsiteX134" fmla="*/ 605787 w 774600"/>
                <a:gd name="connsiteY134" fmla="*/ 188273 h 259829"/>
                <a:gd name="connsiteX135" fmla="*/ 647640 w 774600"/>
                <a:gd name="connsiteY135" fmla="*/ 188273 h 259829"/>
                <a:gd name="connsiteX136" fmla="*/ 652859 w 774600"/>
                <a:gd name="connsiteY136" fmla="*/ 208249 h 259829"/>
                <a:gd name="connsiteX137" fmla="*/ 667786 w 774600"/>
                <a:gd name="connsiteY137" fmla="*/ 221619 h 259829"/>
                <a:gd name="connsiteX138" fmla="*/ 690028 w 774600"/>
                <a:gd name="connsiteY138" fmla="*/ 226483 h 259829"/>
                <a:gd name="connsiteX139" fmla="*/ 712767 w 774600"/>
                <a:gd name="connsiteY139" fmla="*/ 221795 h 259829"/>
                <a:gd name="connsiteX140" fmla="*/ 727363 w 774600"/>
                <a:gd name="connsiteY140" fmla="*/ 207899 h 259829"/>
                <a:gd name="connsiteX141" fmla="*/ 732567 w 774600"/>
                <a:gd name="connsiteY141" fmla="*/ 185671 h 259829"/>
                <a:gd name="connsiteX142" fmla="*/ 726847 w 774600"/>
                <a:gd name="connsiteY142" fmla="*/ 161702 h 259829"/>
                <a:gd name="connsiteX143" fmla="*/ 710515 w 774600"/>
                <a:gd name="connsiteY143" fmla="*/ 148157 h 259829"/>
                <a:gd name="connsiteX144" fmla="*/ 685510 w 774600"/>
                <a:gd name="connsiteY144" fmla="*/ 143643 h 259829"/>
                <a:gd name="connsiteX145" fmla="*/ 660505 w 774600"/>
                <a:gd name="connsiteY145" fmla="*/ 143643 h 2598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</a:cxnLst>
              <a:rect l="l" t="t" r="r" b="b"/>
              <a:pathLst>
                <a:path w="774600" h="259829">
                  <a:moveTo>
                    <a:pt x="174372" y="223011"/>
                  </a:moveTo>
                  <a:lnTo>
                    <a:pt x="174372" y="256357"/>
                  </a:lnTo>
                  <a:lnTo>
                    <a:pt x="4859" y="256357"/>
                  </a:lnTo>
                  <a:lnTo>
                    <a:pt x="4859" y="227699"/>
                  </a:lnTo>
                  <a:lnTo>
                    <a:pt x="87193" y="137908"/>
                  </a:lnTo>
                  <a:cubicBezTo>
                    <a:pt x="96211" y="127719"/>
                    <a:pt x="103336" y="118920"/>
                    <a:pt x="108541" y="111508"/>
                  </a:cubicBezTo>
                  <a:cubicBezTo>
                    <a:pt x="113760" y="104095"/>
                    <a:pt x="117403" y="97442"/>
                    <a:pt x="119499" y="91537"/>
                  </a:cubicBezTo>
                  <a:cubicBezTo>
                    <a:pt x="121697" y="85516"/>
                    <a:pt x="122797" y="79669"/>
                    <a:pt x="122797" y="73993"/>
                  </a:cubicBezTo>
                  <a:cubicBezTo>
                    <a:pt x="122797" y="66002"/>
                    <a:pt x="121284" y="58998"/>
                    <a:pt x="118278" y="52977"/>
                  </a:cubicBezTo>
                  <a:cubicBezTo>
                    <a:pt x="115374" y="46838"/>
                    <a:pt x="111099" y="42033"/>
                    <a:pt x="105413" y="38560"/>
                  </a:cubicBezTo>
                  <a:cubicBezTo>
                    <a:pt x="99747" y="34971"/>
                    <a:pt x="92860" y="33176"/>
                    <a:pt x="84752" y="33176"/>
                  </a:cubicBezTo>
                  <a:cubicBezTo>
                    <a:pt x="75374" y="33176"/>
                    <a:pt x="67510" y="35204"/>
                    <a:pt x="61138" y="39256"/>
                  </a:cubicBezTo>
                  <a:cubicBezTo>
                    <a:pt x="54766" y="43307"/>
                    <a:pt x="49956" y="48925"/>
                    <a:pt x="46712" y="56104"/>
                  </a:cubicBezTo>
                  <a:cubicBezTo>
                    <a:pt x="43482" y="63166"/>
                    <a:pt x="41853" y="71274"/>
                    <a:pt x="41853" y="80418"/>
                  </a:cubicBezTo>
                  <a:lnTo>
                    <a:pt x="0" y="80418"/>
                  </a:lnTo>
                  <a:cubicBezTo>
                    <a:pt x="0" y="65715"/>
                    <a:pt x="3366" y="52281"/>
                    <a:pt x="10083" y="40126"/>
                  </a:cubicBezTo>
                  <a:cubicBezTo>
                    <a:pt x="16800" y="27855"/>
                    <a:pt x="26517" y="18127"/>
                    <a:pt x="39261" y="10948"/>
                  </a:cubicBezTo>
                  <a:cubicBezTo>
                    <a:pt x="51989" y="3653"/>
                    <a:pt x="67325" y="5"/>
                    <a:pt x="85272" y="5"/>
                  </a:cubicBezTo>
                  <a:cubicBezTo>
                    <a:pt x="102189" y="5"/>
                    <a:pt x="116546" y="2840"/>
                    <a:pt x="128346" y="8517"/>
                  </a:cubicBezTo>
                  <a:cubicBezTo>
                    <a:pt x="140160" y="14193"/>
                    <a:pt x="149129" y="22237"/>
                    <a:pt x="155277" y="32660"/>
                  </a:cubicBezTo>
                  <a:cubicBezTo>
                    <a:pt x="161527" y="43079"/>
                    <a:pt x="164654" y="55413"/>
                    <a:pt x="164654" y="69655"/>
                  </a:cubicBezTo>
                  <a:cubicBezTo>
                    <a:pt x="164654" y="77529"/>
                    <a:pt x="163385" y="85345"/>
                    <a:pt x="160827" y="93103"/>
                  </a:cubicBezTo>
                  <a:cubicBezTo>
                    <a:pt x="158283" y="100861"/>
                    <a:pt x="154645" y="108619"/>
                    <a:pt x="149888" y="116376"/>
                  </a:cubicBezTo>
                  <a:cubicBezTo>
                    <a:pt x="145267" y="124017"/>
                    <a:pt x="139757" y="131717"/>
                    <a:pt x="133400" y="139475"/>
                  </a:cubicBezTo>
                  <a:cubicBezTo>
                    <a:pt x="127028" y="147116"/>
                    <a:pt x="120019" y="154873"/>
                    <a:pt x="112378" y="162748"/>
                  </a:cubicBezTo>
                  <a:lnTo>
                    <a:pt x="57675" y="223015"/>
                  </a:lnTo>
                  <a:lnTo>
                    <a:pt x="174377" y="223015"/>
                  </a:lnTo>
                  <a:close/>
                  <a:moveTo>
                    <a:pt x="371848" y="108730"/>
                  </a:moveTo>
                  <a:lnTo>
                    <a:pt x="371848" y="150063"/>
                  </a:lnTo>
                  <a:cubicBezTo>
                    <a:pt x="371848" y="169864"/>
                    <a:pt x="369873" y="186765"/>
                    <a:pt x="365938" y="200778"/>
                  </a:cubicBezTo>
                  <a:cubicBezTo>
                    <a:pt x="362125" y="214674"/>
                    <a:pt x="356561" y="225963"/>
                    <a:pt x="349260" y="234645"/>
                  </a:cubicBezTo>
                  <a:cubicBezTo>
                    <a:pt x="341960" y="243327"/>
                    <a:pt x="333219" y="249698"/>
                    <a:pt x="323035" y="253750"/>
                  </a:cubicBezTo>
                  <a:cubicBezTo>
                    <a:pt x="312971" y="257801"/>
                    <a:pt x="301668" y="259830"/>
                    <a:pt x="289168" y="259830"/>
                  </a:cubicBezTo>
                  <a:cubicBezTo>
                    <a:pt x="279221" y="259830"/>
                    <a:pt x="269951" y="258555"/>
                    <a:pt x="261381" y="256011"/>
                  </a:cubicBezTo>
                  <a:cubicBezTo>
                    <a:pt x="252933" y="253463"/>
                    <a:pt x="245287" y="249470"/>
                    <a:pt x="238468" y="244027"/>
                  </a:cubicBezTo>
                  <a:cubicBezTo>
                    <a:pt x="231634" y="238584"/>
                    <a:pt x="225773" y="231581"/>
                    <a:pt x="220914" y="223011"/>
                  </a:cubicBezTo>
                  <a:cubicBezTo>
                    <a:pt x="216172" y="214329"/>
                    <a:pt x="212466" y="203964"/>
                    <a:pt x="209800" y="191921"/>
                  </a:cubicBezTo>
                  <a:cubicBezTo>
                    <a:pt x="207256" y="179878"/>
                    <a:pt x="205972" y="165929"/>
                    <a:pt x="205972" y="150063"/>
                  </a:cubicBezTo>
                  <a:lnTo>
                    <a:pt x="205972" y="108730"/>
                  </a:lnTo>
                  <a:cubicBezTo>
                    <a:pt x="205972" y="88813"/>
                    <a:pt x="207947" y="72028"/>
                    <a:pt x="211882" y="58366"/>
                  </a:cubicBezTo>
                  <a:cubicBezTo>
                    <a:pt x="215831" y="44587"/>
                    <a:pt x="221430" y="33414"/>
                    <a:pt x="228730" y="24844"/>
                  </a:cubicBezTo>
                  <a:cubicBezTo>
                    <a:pt x="236031" y="16162"/>
                    <a:pt x="244722" y="9849"/>
                    <a:pt x="254786" y="5914"/>
                  </a:cubicBezTo>
                  <a:cubicBezTo>
                    <a:pt x="264970" y="1975"/>
                    <a:pt x="276323" y="10"/>
                    <a:pt x="288827" y="10"/>
                  </a:cubicBezTo>
                  <a:cubicBezTo>
                    <a:pt x="298910" y="10"/>
                    <a:pt x="308166" y="1284"/>
                    <a:pt x="316614" y="3833"/>
                  </a:cubicBezTo>
                  <a:cubicBezTo>
                    <a:pt x="325184" y="6265"/>
                    <a:pt x="332825" y="10141"/>
                    <a:pt x="339542" y="15467"/>
                  </a:cubicBezTo>
                  <a:cubicBezTo>
                    <a:pt x="346376" y="20793"/>
                    <a:pt x="352164" y="27738"/>
                    <a:pt x="356906" y="36308"/>
                  </a:cubicBezTo>
                  <a:cubicBezTo>
                    <a:pt x="361765" y="44762"/>
                    <a:pt x="365476" y="55010"/>
                    <a:pt x="368020" y="67048"/>
                  </a:cubicBezTo>
                  <a:cubicBezTo>
                    <a:pt x="370578" y="78974"/>
                    <a:pt x="371848" y="92870"/>
                    <a:pt x="371848" y="108730"/>
                  </a:cubicBezTo>
                  <a:close/>
                  <a:moveTo>
                    <a:pt x="329995" y="155968"/>
                  </a:moveTo>
                  <a:lnTo>
                    <a:pt x="329995" y="102476"/>
                  </a:lnTo>
                  <a:cubicBezTo>
                    <a:pt x="329995" y="92403"/>
                    <a:pt x="329411" y="83546"/>
                    <a:pt x="328258" y="75905"/>
                  </a:cubicBezTo>
                  <a:cubicBezTo>
                    <a:pt x="327091" y="68147"/>
                    <a:pt x="325355" y="61605"/>
                    <a:pt x="323039" y="56279"/>
                  </a:cubicBezTo>
                  <a:cubicBezTo>
                    <a:pt x="320841" y="50837"/>
                    <a:pt x="318059" y="46440"/>
                    <a:pt x="314708" y="43079"/>
                  </a:cubicBezTo>
                  <a:cubicBezTo>
                    <a:pt x="311342" y="39606"/>
                    <a:pt x="307529" y="37116"/>
                    <a:pt x="303234" y="35613"/>
                  </a:cubicBezTo>
                  <a:cubicBezTo>
                    <a:pt x="298959" y="33993"/>
                    <a:pt x="294148" y="33181"/>
                    <a:pt x="288823" y="33181"/>
                  </a:cubicBezTo>
                  <a:cubicBezTo>
                    <a:pt x="282349" y="33181"/>
                    <a:pt x="276542" y="34455"/>
                    <a:pt x="271459" y="37004"/>
                  </a:cubicBezTo>
                  <a:cubicBezTo>
                    <a:pt x="266357" y="39436"/>
                    <a:pt x="262081" y="43371"/>
                    <a:pt x="258613" y="48813"/>
                  </a:cubicBezTo>
                  <a:cubicBezTo>
                    <a:pt x="255126" y="54256"/>
                    <a:pt x="252466" y="61435"/>
                    <a:pt x="250608" y="70350"/>
                  </a:cubicBezTo>
                  <a:cubicBezTo>
                    <a:pt x="248871" y="79149"/>
                    <a:pt x="248015" y="89859"/>
                    <a:pt x="248015" y="102480"/>
                  </a:cubicBezTo>
                  <a:lnTo>
                    <a:pt x="248015" y="155973"/>
                  </a:lnTo>
                  <a:cubicBezTo>
                    <a:pt x="248015" y="166162"/>
                    <a:pt x="248584" y="175136"/>
                    <a:pt x="249752" y="182894"/>
                  </a:cubicBezTo>
                  <a:cubicBezTo>
                    <a:pt x="250904" y="190652"/>
                    <a:pt x="252636" y="197310"/>
                    <a:pt x="254956" y="202865"/>
                  </a:cubicBezTo>
                  <a:cubicBezTo>
                    <a:pt x="257276" y="208307"/>
                    <a:pt x="260058" y="212821"/>
                    <a:pt x="263302" y="216410"/>
                  </a:cubicBezTo>
                  <a:cubicBezTo>
                    <a:pt x="266653" y="219883"/>
                    <a:pt x="270481" y="222432"/>
                    <a:pt x="274756" y="224051"/>
                  </a:cubicBezTo>
                  <a:cubicBezTo>
                    <a:pt x="279153" y="225671"/>
                    <a:pt x="283964" y="226483"/>
                    <a:pt x="289168" y="226483"/>
                  </a:cubicBezTo>
                  <a:cubicBezTo>
                    <a:pt x="295778" y="226483"/>
                    <a:pt x="301619" y="225209"/>
                    <a:pt x="306721" y="222660"/>
                  </a:cubicBezTo>
                  <a:cubicBezTo>
                    <a:pt x="311804" y="220112"/>
                    <a:pt x="316099" y="216060"/>
                    <a:pt x="319567" y="210501"/>
                  </a:cubicBezTo>
                  <a:cubicBezTo>
                    <a:pt x="323035" y="204830"/>
                    <a:pt x="325646" y="197476"/>
                    <a:pt x="327383" y="188443"/>
                  </a:cubicBezTo>
                  <a:cubicBezTo>
                    <a:pt x="329119" y="179411"/>
                    <a:pt x="329995" y="168585"/>
                    <a:pt x="329995" y="155963"/>
                  </a:cubicBezTo>
                  <a:close/>
                  <a:moveTo>
                    <a:pt x="578701" y="223006"/>
                  </a:moveTo>
                  <a:lnTo>
                    <a:pt x="578701" y="256352"/>
                  </a:lnTo>
                  <a:lnTo>
                    <a:pt x="409187" y="256352"/>
                  </a:lnTo>
                  <a:lnTo>
                    <a:pt x="409187" y="227694"/>
                  </a:lnTo>
                  <a:lnTo>
                    <a:pt x="491507" y="137904"/>
                  </a:lnTo>
                  <a:cubicBezTo>
                    <a:pt x="500539" y="127714"/>
                    <a:pt x="507670" y="118915"/>
                    <a:pt x="512874" y="111503"/>
                  </a:cubicBezTo>
                  <a:cubicBezTo>
                    <a:pt x="518078" y="104090"/>
                    <a:pt x="521736" y="97437"/>
                    <a:pt x="523813" y="91532"/>
                  </a:cubicBezTo>
                  <a:cubicBezTo>
                    <a:pt x="526011" y="85511"/>
                    <a:pt x="527110" y="79664"/>
                    <a:pt x="527110" y="73988"/>
                  </a:cubicBezTo>
                  <a:cubicBezTo>
                    <a:pt x="527110" y="65997"/>
                    <a:pt x="525617" y="58993"/>
                    <a:pt x="522592" y="52972"/>
                  </a:cubicBezTo>
                  <a:cubicBezTo>
                    <a:pt x="519708" y="46834"/>
                    <a:pt x="515413" y="42028"/>
                    <a:pt x="509746" y="38555"/>
                  </a:cubicBezTo>
                  <a:cubicBezTo>
                    <a:pt x="504080" y="34966"/>
                    <a:pt x="497193" y="33171"/>
                    <a:pt x="489085" y="33171"/>
                  </a:cubicBezTo>
                  <a:cubicBezTo>
                    <a:pt x="479708" y="33171"/>
                    <a:pt x="471823" y="35199"/>
                    <a:pt x="465452" y="39251"/>
                  </a:cubicBezTo>
                  <a:cubicBezTo>
                    <a:pt x="459095" y="43302"/>
                    <a:pt x="454289" y="48920"/>
                    <a:pt x="451040" y="56099"/>
                  </a:cubicBezTo>
                  <a:cubicBezTo>
                    <a:pt x="447796" y="63161"/>
                    <a:pt x="446181" y="71269"/>
                    <a:pt x="446181" y="80413"/>
                  </a:cubicBezTo>
                  <a:lnTo>
                    <a:pt x="404328" y="80413"/>
                  </a:lnTo>
                  <a:cubicBezTo>
                    <a:pt x="404328" y="65710"/>
                    <a:pt x="407679" y="52276"/>
                    <a:pt x="414391" y="40122"/>
                  </a:cubicBezTo>
                  <a:cubicBezTo>
                    <a:pt x="421108" y="27850"/>
                    <a:pt x="430846" y="18123"/>
                    <a:pt x="443569" y="10944"/>
                  </a:cubicBezTo>
                  <a:cubicBezTo>
                    <a:pt x="456313" y="3648"/>
                    <a:pt x="471648" y="0"/>
                    <a:pt x="489596" y="0"/>
                  </a:cubicBezTo>
                  <a:cubicBezTo>
                    <a:pt x="506497" y="0"/>
                    <a:pt x="520855" y="2836"/>
                    <a:pt x="532670" y="8512"/>
                  </a:cubicBezTo>
                  <a:cubicBezTo>
                    <a:pt x="544484" y="14188"/>
                    <a:pt x="553453" y="22232"/>
                    <a:pt x="559581" y="32656"/>
                  </a:cubicBezTo>
                  <a:cubicBezTo>
                    <a:pt x="565831" y="43074"/>
                    <a:pt x="568958" y="55409"/>
                    <a:pt x="568958" y="69650"/>
                  </a:cubicBezTo>
                  <a:cubicBezTo>
                    <a:pt x="568958" y="77524"/>
                    <a:pt x="567689" y="85340"/>
                    <a:pt x="565145" y="93098"/>
                  </a:cubicBezTo>
                  <a:cubicBezTo>
                    <a:pt x="562601" y="100856"/>
                    <a:pt x="558944" y="108614"/>
                    <a:pt x="554207" y="116372"/>
                  </a:cubicBezTo>
                  <a:cubicBezTo>
                    <a:pt x="549571" y="124013"/>
                    <a:pt x="544075" y="131712"/>
                    <a:pt x="537704" y="139470"/>
                  </a:cubicBezTo>
                  <a:cubicBezTo>
                    <a:pt x="531332" y="147111"/>
                    <a:pt x="524323" y="154869"/>
                    <a:pt x="516697" y="162743"/>
                  </a:cubicBezTo>
                  <a:lnTo>
                    <a:pt x="461979" y="223011"/>
                  </a:lnTo>
                  <a:lnTo>
                    <a:pt x="578701" y="223011"/>
                  </a:lnTo>
                  <a:close/>
                  <a:moveTo>
                    <a:pt x="660505" y="110982"/>
                  </a:moveTo>
                  <a:lnTo>
                    <a:pt x="685510" y="110982"/>
                  </a:lnTo>
                  <a:cubicBezTo>
                    <a:pt x="695233" y="110982"/>
                    <a:pt x="703287" y="109304"/>
                    <a:pt x="709639" y="105948"/>
                  </a:cubicBezTo>
                  <a:cubicBezTo>
                    <a:pt x="716132" y="102592"/>
                    <a:pt x="720943" y="97957"/>
                    <a:pt x="724065" y="92052"/>
                  </a:cubicBezTo>
                  <a:cubicBezTo>
                    <a:pt x="727193" y="86148"/>
                    <a:pt x="728754" y="79373"/>
                    <a:pt x="728754" y="71731"/>
                  </a:cubicBezTo>
                  <a:cubicBezTo>
                    <a:pt x="728754" y="64090"/>
                    <a:pt x="727295" y="56911"/>
                    <a:pt x="724411" y="51240"/>
                  </a:cubicBezTo>
                  <a:cubicBezTo>
                    <a:pt x="721628" y="45452"/>
                    <a:pt x="717353" y="40992"/>
                    <a:pt x="711565" y="37865"/>
                  </a:cubicBezTo>
                  <a:cubicBezTo>
                    <a:pt x="705879" y="34737"/>
                    <a:pt x="698652" y="33176"/>
                    <a:pt x="689858" y="33176"/>
                  </a:cubicBezTo>
                  <a:cubicBezTo>
                    <a:pt x="682441" y="33176"/>
                    <a:pt x="675724" y="34679"/>
                    <a:pt x="669712" y="37690"/>
                  </a:cubicBezTo>
                  <a:cubicBezTo>
                    <a:pt x="663803" y="40584"/>
                    <a:pt x="659114" y="44752"/>
                    <a:pt x="655626" y="50195"/>
                  </a:cubicBezTo>
                  <a:cubicBezTo>
                    <a:pt x="652159" y="55520"/>
                    <a:pt x="650422" y="61887"/>
                    <a:pt x="650422" y="69300"/>
                  </a:cubicBezTo>
                  <a:lnTo>
                    <a:pt x="608394" y="69300"/>
                  </a:lnTo>
                  <a:cubicBezTo>
                    <a:pt x="608394" y="55866"/>
                    <a:pt x="611916" y="43945"/>
                    <a:pt x="618992" y="33521"/>
                  </a:cubicBezTo>
                  <a:cubicBezTo>
                    <a:pt x="626050" y="23103"/>
                    <a:pt x="635670" y="14937"/>
                    <a:pt x="647810" y="9032"/>
                  </a:cubicBezTo>
                  <a:cubicBezTo>
                    <a:pt x="660092" y="3011"/>
                    <a:pt x="673866" y="0"/>
                    <a:pt x="689148" y="0"/>
                  </a:cubicBezTo>
                  <a:cubicBezTo>
                    <a:pt x="705480" y="0"/>
                    <a:pt x="719717" y="2724"/>
                    <a:pt x="731876" y="8161"/>
                  </a:cubicBezTo>
                  <a:cubicBezTo>
                    <a:pt x="744138" y="13487"/>
                    <a:pt x="753705" y="21479"/>
                    <a:pt x="760524" y="32130"/>
                  </a:cubicBezTo>
                  <a:cubicBezTo>
                    <a:pt x="767358" y="42782"/>
                    <a:pt x="770777" y="55982"/>
                    <a:pt x="770777" y="71727"/>
                  </a:cubicBezTo>
                  <a:cubicBezTo>
                    <a:pt x="770777" y="78906"/>
                    <a:pt x="769094" y="86201"/>
                    <a:pt x="765743" y="93609"/>
                  </a:cubicBezTo>
                  <a:cubicBezTo>
                    <a:pt x="762378" y="101021"/>
                    <a:pt x="757397" y="107792"/>
                    <a:pt x="750802" y="113930"/>
                  </a:cubicBezTo>
                  <a:cubicBezTo>
                    <a:pt x="744206" y="119951"/>
                    <a:pt x="735982" y="124869"/>
                    <a:pt x="726137" y="128692"/>
                  </a:cubicBezTo>
                  <a:cubicBezTo>
                    <a:pt x="716298" y="132398"/>
                    <a:pt x="704892" y="134251"/>
                    <a:pt x="691925" y="134251"/>
                  </a:cubicBezTo>
                  <a:lnTo>
                    <a:pt x="660495" y="134251"/>
                  </a:lnTo>
                  <a:lnTo>
                    <a:pt x="660495" y="110978"/>
                  </a:lnTo>
                  <a:close/>
                  <a:moveTo>
                    <a:pt x="660505" y="143633"/>
                  </a:moveTo>
                  <a:lnTo>
                    <a:pt x="660505" y="120705"/>
                  </a:lnTo>
                  <a:lnTo>
                    <a:pt x="691935" y="120705"/>
                  </a:lnTo>
                  <a:cubicBezTo>
                    <a:pt x="706755" y="120705"/>
                    <a:pt x="719381" y="122442"/>
                    <a:pt x="729790" y="125914"/>
                  </a:cubicBezTo>
                  <a:cubicBezTo>
                    <a:pt x="740335" y="129387"/>
                    <a:pt x="748905" y="134193"/>
                    <a:pt x="755500" y="140331"/>
                  </a:cubicBezTo>
                  <a:cubicBezTo>
                    <a:pt x="762095" y="146352"/>
                    <a:pt x="766906" y="153239"/>
                    <a:pt x="769911" y="160997"/>
                  </a:cubicBezTo>
                  <a:cubicBezTo>
                    <a:pt x="773039" y="168755"/>
                    <a:pt x="774600" y="176975"/>
                    <a:pt x="774600" y="185661"/>
                  </a:cubicBezTo>
                  <a:cubicBezTo>
                    <a:pt x="774600" y="197471"/>
                    <a:pt x="772470" y="208006"/>
                    <a:pt x="768175" y="217271"/>
                  </a:cubicBezTo>
                  <a:cubicBezTo>
                    <a:pt x="764016" y="226420"/>
                    <a:pt x="758044" y="234178"/>
                    <a:pt x="750296" y="240545"/>
                  </a:cubicBezTo>
                  <a:cubicBezTo>
                    <a:pt x="742533" y="246911"/>
                    <a:pt x="733447" y="251717"/>
                    <a:pt x="723024" y="254961"/>
                  </a:cubicBezTo>
                  <a:cubicBezTo>
                    <a:pt x="712718" y="258205"/>
                    <a:pt x="701487" y="259825"/>
                    <a:pt x="689328" y="259825"/>
                  </a:cubicBezTo>
                  <a:cubicBezTo>
                    <a:pt x="678457" y="259825"/>
                    <a:pt x="668029" y="258322"/>
                    <a:pt x="658068" y="255311"/>
                  </a:cubicBezTo>
                  <a:cubicBezTo>
                    <a:pt x="648107" y="252300"/>
                    <a:pt x="639192" y="247845"/>
                    <a:pt x="631327" y="241940"/>
                  </a:cubicBezTo>
                  <a:cubicBezTo>
                    <a:pt x="623443" y="235919"/>
                    <a:pt x="617193" y="228453"/>
                    <a:pt x="612572" y="219538"/>
                  </a:cubicBezTo>
                  <a:cubicBezTo>
                    <a:pt x="608054" y="210506"/>
                    <a:pt x="605787" y="200087"/>
                    <a:pt x="605787" y="188273"/>
                  </a:cubicBezTo>
                  <a:lnTo>
                    <a:pt x="647640" y="188273"/>
                  </a:lnTo>
                  <a:cubicBezTo>
                    <a:pt x="647640" y="195802"/>
                    <a:pt x="649377" y="202456"/>
                    <a:pt x="652859" y="208249"/>
                  </a:cubicBezTo>
                  <a:cubicBezTo>
                    <a:pt x="656449" y="213920"/>
                    <a:pt x="661429" y="218380"/>
                    <a:pt x="667786" y="221619"/>
                  </a:cubicBezTo>
                  <a:cubicBezTo>
                    <a:pt x="674279" y="224864"/>
                    <a:pt x="681682" y="226483"/>
                    <a:pt x="690028" y="226483"/>
                  </a:cubicBezTo>
                  <a:cubicBezTo>
                    <a:pt x="698822" y="226483"/>
                    <a:pt x="706415" y="224922"/>
                    <a:pt x="712767" y="221795"/>
                  </a:cubicBezTo>
                  <a:cubicBezTo>
                    <a:pt x="719138" y="218667"/>
                    <a:pt x="723997" y="214037"/>
                    <a:pt x="727363" y="207899"/>
                  </a:cubicBezTo>
                  <a:cubicBezTo>
                    <a:pt x="730831" y="201761"/>
                    <a:pt x="732567" y="194353"/>
                    <a:pt x="732567" y="185671"/>
                  </a:cubicBezTo>
                  <a:cubicBezTo>
                    <a:pt x="732567" y="175827"/>
                    <a:pt x="730660" y="167840"/>
                    <a:pt x="726847" y="161702"/>
                  </a:cubicBezTo>
                  <a:cubicBezTo>
                    <a:pt x="723019" y="155564"/>
                    <a:pt x="717572" y="151050"/>
                    <a:pt x="710515" y="148157"/>
                  </a:cubicBezTo>
                  <a:cubicBezTo>
                    <a:pt x="703457" y="145146"/>
                    <a:pt x="695111" y="143643"/>
                    <a:pt x="685510" y="143643"/>
                  </a:cubicBezTo>
                  <a:lnTo>
                    <a:pt x="660505" y="143643"/>
                  </a:lnTo>
                  <a:close/>
                </a:path>
              </a:pathLst>
            </a:custGeom>
            <a:solidFill>
              <a:schemeClr val="tx1"/>
            </a:solidFill>
            <a:ln w="4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pic>
        <p:nvPicPr>
          <p:cNvPr id="65" name="Рисунок 64">
            <a:extLst>
              <a:ext uri="{FF2B5EF4-FFF2-40B4-BE49-F238E27FC236}">
                <a16:creationId xmlns:a16="http://schemas.microsoft.com/office/drawing/2014/main" id="{8C253D65-E6C8-4777-929C-19337306D7A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503721" y="6049020"/>
            <a:ext cx="1688608" cy="472507"/>
          </a:xfrm>
          <a:prstGeom prst="rect">
            <a:avLst/>
          </a:prstGeom>
        </p:spPr>
      </p:pic>
      <p:sp>
        <p:nvSpPr>
          <p:cNvPr id="66" name="Заголовок">
            <a:extLst>
              <a:ext uri="{FF2B5EF4-FFF2-40B4-BE49-F238E27FC236}">
                <a16:creationId xmlns:a16="http://schemas.microsoft.com/office/drawing/2014/main" id="{B9FE5875-FCC6-4A88-B603-977F22872C0C}"/>
              </a:ext>
            </a:extLst>
          </p:cNvPr>
          <p:cNvSpPr txBox="1"/>
          <p:nvPr/>
        </p:nvSpPr>
        <p:spPr>
          <a:xfrm>
            <a:off x="270463" y="1474897"/>
            <a:ext cx="5192693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4400" dirty="0">
                <a:solidFill>
                  <a:schemeClr val="bg2"/>
                </a:solidFill>
                <a:latin typeface="SB Sans Text Medium" panose="020B0603040504020204" pitchFamily="34" charset="-52"/>
                <a:ea typeface="Roboto" pitchFamily="2" charset="0"/>
                <a:cs typeface="SB Sans Text Medium" panose="020B0603040504020204" pitchFamily="34" charset="-52"/>
              </a:rPr>
              <a:t>Как обеспечить? </a:t>
            </a:r>
          </a:p>
        </p:txBody>
      </p:sp>
      <p:grpSp>
        <p:nvGrpSpPr>
          <p:cNvPr id="34" name="Рисунок 2">
            <a:extLst>
              <a:ext uri="{FF2B5EF4-FFF2-40B4-BE49-F238E27FC236}">
                <a16:creationId xmlns:a16="http://schemas.microsoft.com/office/drawing/2014/main" id="{08640A5A-A127-43A2-9632-E378C3D71D5B}"/>
              </a:ext>
            </a:extLst>
          </p:cNvPr>
          <p:cNvGrpSpPr/>
          <p:nvPr/>
        </p:nvGrpSpPr>
        <p:grpSpPr>
          <a:xfrm>
            <a:off x="6444133" y="1172081"/>
            <a:ext cx="5117095" cy="4602733"/>
            <a:chOff x="6444133" y="1172081"/>
            <a:chExt cx="5117095" cy="4602733"/>
          </a:xfrm>
        </p:grpSpPr>
        <p:sp>
          <p:nvSpPr>
            <p:cNvPr id="35" name="Полилиния: фигура 34">
              <a:extLst>
                <a:ext uri="{FF2B5EF4-FFF2-40B4-BE49-F238E27FC236}">
                  <a16:creationId xmlns:a16="http://schemas.microsoft.com/office/drawing/2014/main" id="{1EF434C0-3D89-42E0-8A11-E2AABC293B86}"/>
                </a:ext>
              </a:extLst>
            </p:cNvPr>
            <p:cNvSpPr/>
            <p:nvPr/>
          </p:nvSpPr>
          <p:spPr>
            <a:xfrm>
              <a:off x="6444133" y="1172081"/>
              <a:ext cx="5117095" cy="4602733"/>
            </a:xfrm>
            <a:custGeom>
              <a:avLst/>
              <a:gdLst>
                <a:gd name="connsiteX0" fmla="*/ 3380889 w 5117095"/>
                <a:gd name="connsiteY0" fmla="*/ 115558 h 4602733"/>
                <a:gd name="connsiteX1" fmla="*/ 1706758 w 5117095"/>
                <a:gd name="connsiteY1" fmla="*/ 253829 h 4602733"/>
                <a:gd name="connsiteX2" fmla="*/ 156122 w 5117095"/>
                <a:gd name="connsiteY2" fmla="*/ 2485788 h 4602733"/>
                <a:gd name="connsiteX3" fmla="*/ 690868 w 5117095"/>
                <a:gd name="connsiteY3" fmla="*/ 4462561 h 4602733"/>
                <a:gd name="connsiteX4" fmla="*/ 2642943 w 5117095"/>
                <a:gd name="connsiteY4" fmla="*/ 4316740 h 4602733"/>
                <a:gd name="connsiteX5" fmla="*/ 4501182 w 5117095"/>
                <a:gd name="connsiteY5" fmla="*/ 3952620 h 4602733"/>
                <a:gd name="connsiteX6" fmla="*/ 4719266 w 5117095"/>
                <a:gd name="connsiteY6" fmla="*/ 1293662 h 4602733"/>
                <a:gd name="connsiteX7" fmla="*/ 3381104 w 5117095"/>
                <a:gd name="connsiteY7" fmla="*/ 115666 h 46027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117095" h="4602733">
                  <a:moveTo>
                    <a:pt x="3380889" y="115558"/>
                  </a:moveTo>
                  <a:cubicBezTo>
                    <a:pt x="3380889" y="115558"/>
                    <a:pt x="2525165" y="-220627"/>
                    <a:pt x="1706758" y="253829"/>
                  </a:cubicBezTo>
                  <a:cubicBezTo>
                    <a:pt x="888352" y="728284"/>
                    <a:pt x="495219" y="1704483"/>
                    <a:pt x="156122" y="2485788"/>
                  </a:cubicBezTo>
                  <a:cubicBezTo>
                    <a:pt x="-182976" y="3267092"/>
                    <a:pt x="46001" y="4077840"/>
                    <a:pt x="690868" y="4462561"/>
                  </a:cubicBezTo>
                  <a:cubicBezTo>
                    <a:pt x="1335628" y="4847281"/>
                    <a:pt x="1752920" y="4318250"/>
                    <a:pt x="2642943" y="4316740"/>
                  </a:cubicBezTo>
                  <a:cubicBezTo>
                    <a:pt x="3532965" y="4315230"/>
                    <a:pt x="3776071" y="4454040"/>
                    <a:pt x="4501182" y="3952620"/>
                  </a:cubicBezTo>
                  <a:cubicBezTo>
                    <a:pt x="5226294" y="3451201"/>
                    <a:pt x="5326815" y="2222081"/>
                    <a:pt x="4719266" y="1293662"/>
                  </a:cubicBezTo>
                  <a:cubicBezTo>
                    <a:pt x="4111717" y="365243"/>
                    <a:pt x="3381104" y="115666"/>
                    <a:pt x="3381104" y="115666"/>
                  </a:cubicBezTo>
                  <a:close/>
                </a:path>
              </a:pathLst>
            </a:custGeom>
            <a:solidFill>
              <a:srgbClr val="21A038"/>
            </a:solidFill>
            <a:ln w="10768" cap="flat">
              <a:solidFill>
                <a:srgbClr val="000000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60" name="Полилиния: фигура 59">
              <a:extLst>
                <a:ext uri="{FF2B5EF4-FFF2-40B4-BE49-F238E27FC236}">
                  <a16:creationId xmlns:a16="http://schemas.microsoft.com/office/drawing/2014/main" id="{84E8C48C-3B48-4786-BC9F-1751795CE400}"/>
                </a:ext>
              </a:extLst>
            </p:cNvPr>
            <p:cNvSpPr/>
            <p:nvPr/>
          </p:nvSpPr>
          <p:spPr>
            <a:xfrm>
              <a:off x="6444133" y="1172081"/>
              <a:ext cx="5117095" cy="4602733"/>
            </a:xfrm>
            <a:custGeom>
              <a:avLst/>
              <a:gdLst>
                <a:gd name="connsiteX0" fmla="*/ 3380889 w 5117095"/>
                <a:gd name="connsiteY0" fmla="*/ 115558 h 4602733"/>
                <a:gd name="connsiteX1" fmla="*/ 1706758 w 5117095"/>
                <a:gd name="connsiteY1" fmla="*/ 253829 h 4602733"/>
                <a:gd name="connsiteX2" fmla="*/ 156122 w 5117095"/>
                <a:gd name="connsiteY2" fmla="*/ 2485788 h 4602733"/>
                <a:gd name="connsiteX3" fmla="*/ 690868 w 5117095"/>
                <a:gd name="connsiteY3" fmla="*/ 4462561 h 4602733"/>
                <a:gd name="connsiteX4" fmla="*/ 2642943 w 5117095"/>
                <a:gd name="connsiteY4" fmla="*/ 4316740 h 4602733"/>
                <a:gd name="connsiteX5" fmla="*/ 4501182 w 5117095"/>
                <a:gd name="connsiteY5" fmla="*/ 3952620 h 4602733"/>
                <a:gd name="connsiteX6" fmla="*/ 4719266 w 5117095"/>
                <a:gd name="connsiteY6" fmla="*/ 1293662 h 4602733"/>
                <a:gd name="connsiteX7" fmla="*/ 3381104 w 5117095"/>
                <a:gd name="connsiteY7" fmla="*/ 115666 h 46027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117095" h="4602733">
                  <a:moveTo>
                    <a:pt x="3380889" y="115558"/>
                  </a:moveTo>
                  <a:cubicBezTo>
                    <a:pt x="3380889" y="115558"/>
                    <a:pt x="2525165" y="-220627"/>
                    <a:pt x="1706758" y="253829"/>
                  </a:cubicBezTo>
                  <a:cubicBezTo>
                    <a:pt x="888352" y="728284"/>
                    <a:pt x="495219" y="1704483"/>
                    <a:pt x="156122" y="2485788"/>
                  </a:cubicBezTo>
                  <a:cubicBezTo>
                    <a:pt x="-182976" y="3267092"/>
                    <a:pt x="46001" y="4077840"/>
                    <a:pt x="690868" y="4462561"/>
                  </a:cubicBezTo>
                  <a:cubicBezTo>
                    <a:pt x="1335628" y="4847281"/>
                    <a:pt x="1752920" y="4318250"/>
                    <a:pt x="2642943" y="4316740"/>
                  </a:cubicBezTo>
                  <a:cubicBezTo>
                    <a:pt x="3532965" y="4315230"/>
                    <a:pt x="3776071" y="4454040"/>
                    <a:pt x="4501182" y="3952620"/>
                  </a:cubicBezTo>
                  <a:cubicBezTo>
                    <a:pt x="5226294" y="3451201"/>
                    <a:pt x="5326815" y="2222081"/>
                    <a:pt x="4719266" y="1293662"/>
                  </a:cubicBezTo>
                  <a:cubicBezTo>
                    <a:pt x="4111717" y="365243"/>
                    <a:pt x="3381104" y="115666"/>
                    <a:pt x="3381104" y="115666"/>
                  </a:cubicBezTo>
                  <a:close/>
                </a:path>
              </a:pathLst>
            </a:custGeom>
            <a:solidFill>
              <a:srgbClr val="FFFFFF">
                <a:alpha val="70000"/>
              </a:srgbClr>
            </a:solidFill>
            <a:ln w="107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67" name="Рисунок 2">
            <a:extLst>
              <a:ext uri="{FF2B5EF4-FFF2-40B4-BE49-F238E27FC236}">
                <a16:creationId xmlns:a16="http://schemas.microsoft.com/office/drawing/2014/main" id="{08640A5A-A127-43A2-9632-E378C3D71D5B}"/>
              </a:ext>
            </a:extLst>
          </p:cNvPr>
          <p:cNvGrpSpPr/>
          <p:nvPr/>
        </p:nvGrpSpPr>
        <p:grpSpPr>
          <a:xfrm>
            <a:off x="6508507" y="1825407"/>
            <a:ext cx="485881" cy="485881"/>
            <a:chOff x="6508507" y="1825407"/>
            <a:chExt cx="485881" cy="485881"/>
          </a:xfrm>
          <a:noFill/>
        </p:grpSpPr>
        <p:sp>
          <p:nvSpPr>
            <p:cNvPr id="68" name="Полилиния: фигура 67">
              <a:extLst>
                <a:ext uri="{FF2B5EF4-FFF2-40B4-BE49-F238E27FC236}">
                  <a16:creationId xmlns:a16="http://schemas.microsoft.com/office/drawing/2014/main" id="{BC64EE82-27AC-4020-99CF-A277433B2965}"/>
                </a:ext>
              </a:extLst>
            </p:cNvPr>
            <p:cNvSpPr/>
            <p:nvPr/>
          </p:nvSpPr>
          <p:spPr>
            <a:xfrm rot="-2046000">
              <a:off x="6576506" y="1893406"/>
              <a:ext cx="349882" cy="349882"/>
            </a:xfrm>
            <a:custGeom>
              <a:avLst/>
              <a:gdLst>
                <a:gd name="connsiteX0" fmla="*/ 349883 w 349882"/>
                <a:gd name="connsiteY0" fmla="*/ 174941 h 349882"/>
                <a:gd name="connsiteX1" fmla="*/ 174941 w 349882"/>
                <a:gd name="connsiteY1" fmla="*/ 349883 h 349882"/>
                <a:gd name="connsiteX2" fmla="*/ 0 w 349882"/>
                <a:gd name="connsiteY2" fmla="*/ 174941 h 349882"/>
                <a:gd name="connsiteX3" fmla="*/ 174941 w 349882"/>
                <a:gd name="connsiteY3" fmla="*/ 0 h 349882"/>
                <a:gd name="connsiteX4" fmla="*/ 349883 w 349882"/>
                <a:gd name="connsiteY4" fmla="*/ 174941 h 3498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9882" h="349882">
                  <a:moveTo>
                    <a:pt x="349883" y="174941"/>
                  </a:moveTo>
                  <a:cubicBezTo>
                    <a:pt x="349883" y="271559"/>
                    <a:pt x="271559" y="349883"/>
                    <a:pt x="174941" y="349883"/>
                  </a:cubicBezTo>
                  <a:cubicBezTo>
                    <a:pt x="78324" y="349883"/>
                    <a:pt x="0" y="271559"/>
                    <a:pt x="0" y="174941"/>
                  </a:cubicBezTo>
                  <a:cubicBezTo>
                    <a:pt x="0" y="78324"/>
                    <a:pt x="78324" y="0"/>
                    <a:pt x="174941" y="0"/>
                  </a:cubicBezTo>
                  <a:cubicBezTo>
                    <a:pt x="271559" y="0"/>
                    <a:pt x="349883" y="78324"/>
                    <a:pt x="349883" y="174941"/>
                  </a:cubicBezTo>
                  <a:close/>
                </a:path>
              </a:pathLst>
            </a:custGeom>
            <a:noFill/>
            <a:ln w="10768" cap="flat">
              <a:solidFill>
                <a:schemeClr val="bg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69" name="Полилиния: фигура 68">
              <a:extLst>
                <a:ext uri="{FF2B5EF4-FFF2-40B4-BE49-F238E27FC236}">
                  <a16:creationId xmlns:a16="http://schemas.microsoft.com/office/drawing/2014/main" id="{8A780A9C-AC4D-4891-A0EE-6649ABEA4F43}"/>
                </a:ext>
              </a:extLst>
            </p:cNvPr>
            <p:cNvSpPr/>
            <p:nvPr/>
          </p:nvSpPr>
          <p:spPr>
            <a:xfrm>
              <a:off x="6689451" y="1986434"/>
              <a:ext cx="124033" cy="124033"/>
            </a:xfrm>
            <a:custGeom>
              <a:avLst/>
              <a:gdLst>
                <a:gd name="connsiteX0" fmla="*/ 124034 w 124033"/>
                <a:gd name="connsiteY0" fmla="*/ 62017 h 124033"/>
                <a:gd name="connsiteX1" fmla="*/ 62017 w 124033"/>
                <a:gd name="connsiteY1" fmla="*/ 124034 h 124033"/>
                <a:gd name="connsiteX2" fmla="*/ 0 w 124033"/>
                <a:gd name="connsiteY2" fmla="*/ 62017 h 124033"/>
                <a:gd name="connsiteX3" fmla="*/ 62017 w 124033"/>
                <a:gd name="connsiteY3" fmla="*/ 0 h 124033"/>
                <a:gd name="connsiteX4" fmla="*/ 124034 w 124033"/>
                <a:gd name="connsiteY4" fmla="*/ 62017 h 124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4033" h="124033">
                  <a:moveTo>
                    <a:pt x="124034" y="62017"/>
                  </a:moveTo>
                  <a:cubicBezTo>
                    <a:pt x="124034" y="96315"/>
                    <a:pt x="96315" y="124034"/>
                    <a:pt x="62017" y="124034"/>
                  </a:cubicBezTo>
                  <a:cubicBezTo>
                    <a:pt x="27719" y="124034"/>
                    <a:pt x="0" y="96315"/>
                    <a:pt x="0" y="62017"/>
                  </a:cubicBezTo>
                  <a:cubicBezTo>
                    <a:pt x="0" y="27719"/>
                    <a:pt x="27719" y="0"/>
                    <a:pt x="62017" y="0"/>
                  </a:cubicBezTo>
                  <a:cubicBezTo>
                    <a:pt x="96315" y="0"/>
                    <a:pt x="124034" y="27719"/>
                    <a:pt x="124034" y="62017"/>
                  </a:cubicBezTo>
                  <a:close/>
                </a:path>
              </a:pathLst>
            </a:custGeom>
            <a:noFill/>
            <a:ln w="10768" cap="flat">
              <a:solidFill>
                <a:schemeClr val="bg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70" name="Полилиния: фигура 69">
              <a:extLst>
                <a:ext uri="{FF2B5EF4-FFF2-40B4-BE49-F238E27FC236}">
                  <a16:creationId xmlns:a16="http://schemas.microsoft.com/office/drawing/2014/main" id="{CF6B9456-23C5-4877-85D4-9F1025FCE374}"/>
                </a:ext>
              </a:extLst>
            </p:cNvPr>
            <p:cNvSpPr/>
            <p:nvPr/>
          </p:nvSpPr>
          <p:spPr>
            <a:xfrm>
              <a:off x="6646201" y="2118988"/>
              <a:ext cx="210533" cy="124465"/>
            </a:xfrm>
            <a:custGeom>
              <a:avLst/>
              <a:gdLst>
                <a:gd name="connsiteX0" fmla="*/ 105267 w 210533"/>
                <a:gd name="connsiteY0" fmla="*/ 124465 h 124465"/>
                <a:gd name="connsiteX1" fmla="*/ 210534 w 210533"/>
                <a:gd name="connsiteY1" fmla="*/ 89089 h 124465"/>
                <a:gd name="connsiteX2" fmla="*/ 105267 w 210533"/>
                <a:gd name="connsiteY2" fmla="*/ 0 h 124465"/>
                <a:gd name="connsiteX3" fmla="*/ 0 w 210533"/>
                <a:gd name="connsiteY3" fmla="*/ 89089 h 124465"/>
                <a:gd name="connsiteX4" fmla="*/ 105267 w 210533"/>
                <a:gd name="connsiteY4" fmla="*/ 124465 h 1244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10533" h="124465">
                  <a:moveTo>
                    <a:pt x="105267" y="124465"/>
                  </a:moveTo>
                  <a:cubicBezTo>
                    <a:pt x="144850" y="124465"/>
                    <a:pt x="181197" y="111199"/>
                    <a:pt x="210534" y="89089"/>
                  </a:cubicBezTo>
                  <a:cubicBezTo>
                    <a:pt x="202121" y="38504"/>
                    <a:pt x="158224" y="0"/>
                    <a:pt x="105267" y="0"/>
                  </a:cubicBezTo>
                  <a:cubicBezTo>
                    <a:pt x="52310" y="0"/>
                    <a:pt x="8521" y="38612"/>
                    <a:pt x="0" y="89089"/>
                  </a:cubicBezTo>
                  <a:cubicBezTo>
                    <a:pt x="29337" y="111199"/>
                    <a:pt x="65684" y="124465"/>
                    <a:pt x="105267" y="124465"/>
                  </a:cubicBezTo>
                  <a:close/>
                </a:path>
              </a:pathLst>
            </a:custGeom>
            <a:noFill/>
            <a:ln w="10768" cap="flat">
              <a:solidFill>
                <a:schemeClr val="bg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71" name="Рисунок 2">
            <a:extLst>
              <a:ext uri="{FF2B5EF4-FFF2-40B4-BE49-F238E27FC236}">
                <a16:creationId xmlns:a16="http://schemas.microsoft.com/office/drawing/2014/main" id="{08640A5A-A127-43A2-9632-E378C3D71D5B}"/>
              </a:ext>
            </a:extLst>
          </p:cNvPr>
          <p:cNvGrpSpPr/>
          <p:nvPr/>
        </p:nvGrpSpPr>
        <p:grpSpPr>
          <a:xfrm>
            <a:off x="6576527" y="2332758"/>
            <a:ext cx="349882" cy="349990"/>
            <a:chOff x="6576527" y="2332758"/>
            <a:chExt cx="349882" cy="349990"/>
          </a:xfrm>
          <a:noFill/>
        </p:grpSpPr>
        <p:sp>
          <p:nvSpPr>
            <p:cNvPr id="72" name="Полилиния: фигура 71">
              <a:extLst>
                <a:ext uri="{FF2B5EF4-FFF2-40B4-BE49-F238E27FC236}">
                  <a16:creationId xmlns:a16="http://schemas.microsoft.com/office/drawing/2014/main" id="{3AA21487-78F6-4672-8CE8-4854C5402B43}"/>
                </a:ext>
              </a:extLst>
            </p:cNvPr>
            <p:cNvSpPr/>
            <p:nvPr/>
          </p:nvSpPr>
          <p:spPr>
            <a:xfrm>
              <a:off x="6576527" y="2332758"/>
              <a:ext cx="349882" cy="349882"/>
            </a:xfrm>
            <a:custGeom>
              <a:avLst/>
              <a:gdLst>
                <a:gd name="connsiteX0" fmla="*/ 349883 w 349882"/>
                <a:gd name="connsiteY0" fmla="*/ 174941 h 349882"/>
                <a:gd name="connsiteX1" fmla="*/ 174941 w 349882"/>
                <a:gd name="connsiteY1" fmla="*/ 349883 h 349882"/>
                <a:gd name="connsiteX2" fmla="*/ 0 w 349882"/>
                <a:gd name="connsiteY2" fmla="*/ 174941 h 349882"/>
                <a:gd name="connsiteX3" fmla="*/ 174941 w 349882"/>
                <a:gd name="connsiteY3" fmla="*/ 0 h 349882"/>
                <a:gd name="connsiteX4" fmla="*/ 349883 w 349882"/>
                <a:gd name="connsiteY4" fmla="*/ 174941 h 3498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9882" h="349882">
                  <a:moveTo>
                    <a:pt x="349883" y="174941"/>
                  </a:moveTo>
                  <a:cubicBezTo>
                    <a:pt x="349883" y="271559"/>
                    <a:pt x="271559" y="349883"/>
                    <a:pt x="174941" y="349883"/>
                  </a:cubicBezTo>
                  <a:cubicBezTo>
                    <a:pt x="78324" y="349883"/>
                    <a:pt x="0" y="271559"/>
                    <a:pt x="0" y="174941"/>
                  </a:cubicBezTo>
                  <a:cubicBezTo>
                    <a:pt x="0" y="78324"/>
                    <a:pt x="78324" y="0"/>
                    <a:pt x="174941" y="0"/>
                  </a:cubicBezTo>
                  <a:cubicBezTo>
                    <a:pt x="271559" y="0"/>
                    <a:pt x="349883" y="78324"/>
                    <a:pt x="349883" y="174941"/>
                  </a:cubicBezTo>
                  <a:close/>
                </a:path>
              </a:pathLst>
            </a:custGeom>
            <a:noFill/>
            <a:ln w="10768" cap="flat">
              <a:solidFill>
                <a:schemeClr val="tx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73" name="Полилиния: фигура 72">
              <a:extLst>
                <a:ext uri="{FF2B5EF4-FFF2-40B4-BE49-F238E27FC236}">
                  <a16:creationId xmlns:a16="http://schemas.microsoft.com/office/drawing/2014/main" id="{0E9D30F5-5305-48CF-B658-2B20360B0A90}"/>
                </a:ext>
              </a:extLst>
            </p:cNvPr>
            <p:cNvSpPr/>
            <p:nvPr/>
          </p:nvSpPr>
          <p:spPr>
            <a:xfrm>
              <a:off x="6689451" y="2425837"/>
              <a:ext cx="124033" cy="124033"/>
            </a:xfrm>
            <a:custGeom>
              <a:avLst/>
              <a:gdLst>
                <a:gd name="connsiteX0" fmla="*/ 124034 w 124033"/>
                <a:gd name="connsiteY0" fmla="*/ 62017 h 124033"/>
                <a:gd name="connsiteX1" fmla="*/ 62017 w 124033"/>
                <a:gd name="connsiteY1" fmla="*/ 124034 h 124033"/>
                <a:gd name="connsiteX2" fmla="*/ 0 w 124033"/>
                <a:gd name="connsiteY2" fmla="*/ 62017 h 124033"/>
                <a:gd name="connsiteX3" fmla="*/ 62017 w 124033"/>
                <a:gd name="connsiteY3" fmla="*/ 0 h 124033"/>
                <a:gd name="connsiteX4" fmla="*/ 124034 w 124033"/>
                <a:gd name="connsiteY4" fmla="*/ 62017 h 124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4033" h="124033">
                  <a:moveTo>
                    <a:pt x="124034" y="62017"/>
                  </a:moveTo>
                  <a:cubicBezTo>
                    <a:pt x="124034" y="96315"/>
                    <a:pt x="96315" y="124034"/>
                    <a:pt x="62017" y="124034"/>
                  </a:cubicBezTo>
                  <a:cubicBezTo>
                    <a:pt x="27719" y="124034"/>
                    <a:pt x="0" y="96315"/>
                    <a:pt x="0" y="62017"/>
                  </a:cubicBezTo>
                  <a:cubicBezTo>
                    <a:pt x="0" y="27719"/>
                    <a:pt x="27719" y="0"/>
                    <a:pt x="62017" y="0"/>
                  </a:cubicBezTo>
                  <a:cubicBezTo>
                    <a:pt x="96315" y="0"/>
                    <a:pt x="124034" y="27719"/>
                    <a:pt x="124034" y="62017"/>
                  </a:cubicBezTo>
                  <a:close/>
                </a:path>
              </a:pathLst>
            </a:custGeom>
            <a:noFill/>
            <a:ln w="10768" cap="flat">
              <a:solidFill>
                <a:schemeClr val="tx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74" name="Полилиния: фигура 73">
              <a:extLst>
                <a:ext uri="{FF2B5EF4-FFF2-40B4-BE49-F238E27FC236}">
                  <a16:creationId xmlns:a16="http://schemas.microsoft.com/office/drawing/2014/main" id="{20E29CE0-A5EE-4887-BCB4-7EE71A19334E}"/>
                </a:ext>
              </a:extLst>
            </p:cNvPr>
            <p:cNvSpPr/>
            <p:nvPr/>
          </p:nvSpPr>
          <p:spPr>
            <a:xfrm>
              <a:off x="6646201" y="2558283"/>
              <a:ext cx="210533" cy="124465"/>
            </a:xfrm>
            <a:custGeom>
              <a:avLst/>
              <a:gdLst>
                <a:gd name="connsiteX0" fmla="*/ 105267 w 210533"/>
                <a:gd name="connsiteY0" fmla="*/ 124465 h 124465"/>
                <a:gd name="connsiteX1" fmla="*/ 210534 w 210533"/>
                <a:gd name="connsiteY1" fmla="*/ 89088 h 124465"/>
                <a:gd name="connsiteX2" fmla="*/ 105267 w 210533"/>
                <a:gd name="connsiteY2" fmla="*/ 0 h 124465"/>
                <a:gd name="connsiteX3" fmla="*/ 0 w 210533"/>
                <a:gd name="connsiteY3" fmla="*/ 89088 h 124465"/>
                <a:gd name="connsiteX4" fmla="*/ 105267 w 210533"/>
                <a:gd name="connsiteY4" fmla="*/ 124465 h 1244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10533" h="124465">
                  <a:moveTo>
                    <a:pt x="105267" y="124465"/>
                  </a:moveTo>
                  <a:cubicBezTo>
                    <a:pt x="144850" y="124465"/>
                    <a:pt x="181197" y="111199"/>
                    <a:pt x="210534" y="89088"/>
                  </a:cubicBezTo>
                  <a:cubicBezTo>
                    <a:pt x="202121" y="38504"/>
                    <a:pt x="158224" y="0"/>
                    <a:pt x="105267" y="0"/>
                  </a:cubicBezTo>
                  <a:cubicBezTo>
                    <a:pt x="52310" y="0"/>
                    <a:pt x="8521" y="38612"/>
                    <a:pt x="0" y="89088"/>
                  </a:cubicBezTo>
                  <a:cubicBezTo>
                    <a:pt x="29337" y="111199"/>
                    <a:pt x="65684" y="124465"/>
                    <a:pt x="105267" y="124465"/>
                  </a:cubicBezTo>
                  <a:close/>
                </a:path>
              </a:pathLst>
            </a:custGeom>
            <a:noFill/>
            <a:ln w="10768" cap="flat">
              <a:solidFill>
                <a:schemeClr val="tx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75" name="Рисунок 2">
            <a:extLst>
              <a:ext uri="{FF2B5EF4-FFF2-40B4-BE49-F238E27FC236}">
                <a16:creationId xmlns:a16="http://schemas.microsoft.com/office/drawing/2014/main" id="{08640A5A-A127-43A2-9632-E378C3D71D5B}"/>
              </a:ext>
            </a:extLst>
          </p:cNvPr>
          <p:cNvGrpSpPr/>
          <p:nvPr/>
        </p:nvGrpSpPr>
        <p:grpSpPr>
          <a:xfrm>
            <a:off x="6576527" y="2772160"/>
            <a:ext cx="349882" cy="349882"/>
            <a:chOff x="6576527" y="2772160"/>
            <a:chExt cx="349882" cy="349882"/>
          </a:xfrm>
          <a:noFill/>
        </p:grpSpPr>
        <p:sp>
          <p:nvSpPr>
            <p:cNvPr id="76" name="Полилиния: фигура 75">
              <a:extLst>
                <a:ext uri="{FF2B5EF4-FFF2-40B4-BE49-F238E27FC236}">
                  <a16:creationId xmlns:a16="http://schemas.microsoft.com/office/drawing/2014/main" id="{79AC66EE-85CB-4CC8-83AA-6B4C9DFD3FA3}"/>
                </a:ext>
              </a:extLst>
            </p:cNvPr>
            <p:cNvSpPr/>
            <p:nvPr/>
          </p:nvSpPr>
          <p:spPr>
            <a:xfrm>
              <a:off x="6576527" y="2772160"/>
              <a:ext cx="349882" cy="349882"/>
            </a:xfrm>
            <a:custGeom>
              <a:avLst/>
              <a:gdLst>
                <a:gd name="connsiteX0" fmla="*/ 349883 w 349882"/>
                <a:gd name="connsiteY0" fmla="*/ 174941 h 349882"/>
                <a:gd name="connsiteX1" fmla="*/ 174941 w 349882"/>
                <a:gd name="connsiteY1" fmla="*/ 349883 h 349882"/>
                <a:gd name="connsiteX2" fmla="*/ 0 w 349882"/>
                <a:gd name="connsiteY2" fmla="*/ 174941 h 349882"/>
                <a:gd name="connsiteX3" fmla="*/ 174941 w 349882"/>
                <a:gd name="connsiteY3" fmla="*/ 0 h 349882"/>
                <a:gd name="connsiteX4" fmla="*/ 349883 w 349882"/>
                <a:gd name="connsiteY4" fmla="*/ 174941 h 3498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9882" h="349882">
                  <a:moveTo>
                    <a:pt x="349883" y="174941"/>
                  </a:moveTo>
                  <a:cubicBezTo>
                    <a:pt x="349883" y="271559"/>
                    <a:pt x="271559" y="349883"/>
                    <a:pt x="174941" y="349883"/>
                  </a:cubicBezTo>
                  <a:cubicBezTo>
                    <a:pt x="78324" y="349883"/>
                    <a:pt x="0" y="271559"/>
                    <a:pt x="0" y="174941"/>
                  </a:cubicBezTo>
                  <a:cubicBezTo>
                    <a:pt x="0" y="78324"/>
                    <a:pt x="78324" y="0"/>
                    <a:pt x="174941" y="0"/>
                  </a:cubicBezTo>
                  <a:cubicBezTo>
                    <a:pt x="271559" y="0"/>
                    <a:pt x="349883" y="78324"/>
                    <a:pt x="349883" y="174941"/>
                  </a:cubicBezTo>
                  <a:close/>
                </a:path>
              </a:pathLst>
            </a:custGeom>
            <a:noFill/>
            <a:ln w="10768" cap="flat">
              <a:solidFill>
                <a:schemeClr val="bg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77" name="Полилиния: фигура 76">
              <a:extLst>
                <a:ext uri="{FF2B5EF4-FFF2-40B4-BE49-F238E27FC236}">
                  <a16:creationId xmlns:a16="http://schemas.microsoft.com/office/drawing/2014/main" id="{7F792814-F3E3-47E2-813C-67A5433A74D9}"/>
                </a:ext>
              </a:extLst>
            </p:cNvPr>
            <p:cNvSpPr/>
            <p:nvPr/>
          </p:nvSpPr>
          <p:spPr>
            <a:xfrm>
              <a:off x="6689451" y="2865132"/>
              <a:ext cx="124033" cy="124033"/>
            </a:xfrm>
            <a:custGeom>
              <a:avLst/>
              <a:gdLst>
                <a:gd name="connsiteX0" fmla="*/ 124034 w 124033"/>
                <a:gd name="connsiteY0" fmla="*/ 62017 h 124033"/>
                <a:gd name="connsiteX1" fmla="*/ 62017 w 124033"/>
                <a:gd name="connsiteY1" fmla="*/ 124034 h 124033"/>
                <a:gd name="connsiteX2" fmla="*/ 0 w 124033"/>
                <a:gd name="connsiteY2" fmla="*/ 62017 h 124033"/>
                <a:gd name="connsiteX3" fmla="*/ 62017 w 124033"/>
                <a:gd name="connsiteY3" fmla="*/ 0 h 124033"/>
                <a:gd name="connsiteX4" fmla="*/ 124034 w 124033"/>
                <a:gd name="connsiteY4" fmla="*/ 62017 h 124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4033" h="124033">
                  <a:moveTo>
                    <a:pt x="124034" y="62017"/>
                  </a:moveTo>
                  <a:cubicBezTo>
                    <a:pt x="124034" y="96315"/>
                    <a:pt x="96315" y="124034"/>
                    <a:pt x="62017" y="124034"/>
                  </a:cubicBezTo>
                  <a:cubicBezTo>
                    <a:pt x="27719" y="124034"/>
                    <a:pt x="0" y="96315"/>
                    <a:pt x="0" y="62017"/>
                  </a:cubicBezTo>
                  <a:cubicBezTo>
                    <a:pt x="0" y="27719"/>
                    <a:pt x="27719" y="0"/>
                    <a:pt x="62017" y="0"/>
                  </a:cubicBezTo>
                  <a:cubicBezTo>
                    <a:pt x="96315" y="0"/>
                    <a:pt x="124034" y="27719"/>
                    <a:pt x="124034" y="62017"/>
                  </a:cubicBezTo>
                  <a:close/>
                </a:path>
              </a:pathLst>
            </a:custGeom>
            <a:noFill/>
            <a:ln w="10768" cap="flat">
              <a:solidFill>
                <a:schemeClr val="bg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78" name="Полилиния: фигура 77">
              <a:extLst>
                <a:ext uri="{FF2B5EF4-FFF2-40B4-BE49-F238E27FC236}">
                  <a16:creationId xmlns:a16="http://schemas.microsoft.com/office/drawing/2014/main" id="{CE5E6921-70E9-494D-8A46-FE9A57CDD709}"/>
                </a:ext>
              </a:extLst>
            </p:cNvPr>
            <p:cNvSpPr/>
            <p:nvPr/>
          </p:nvSpPr>
          <p:spPr>
            <a:xfrm>
              <a:off x="6646201" y="2997578"/>
              <a:ext cx="210533" cy="124465"/>
            </a:xfrm>
            <a:custGeom>
              <a:avLst/>
              <a:gdLst>
                <a:gd name="connsiteX0" fmla="*/ 105267 w 210533"/>
                <a:gd name="connsiteY0" fmla="*/ 124465 h 124465"/>
                <a:gd name="connsiteX1" fmla="*/ 210534 w 210533"/>
                <a:gd name="connsiteY1" fmla="*/ 89088 h 124465"/>
                <a:gd name="connsiteX2" fmla="*/ 105267 w 210533"/>
                <a:gd name="connsiteY2" fmla="*/ 0 h 124465"/>
                <a:gd name="connsiteX3" fmla="*/ 0 w 210533"/>
                <a:gd name="connsiteY3" fmla="*/ 89088 h 124465"/>
                <a:gd name="connsiteX4" fmla="*/ 105267 w 210533"/>
                <a:gd name="connsiteY4" fmla="*/ 124465 h 1244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10533" h="124465">
                  <a:moveTo>
                    <a:pt x="105267" y="124465"/>
                  </a:moveTo>
                  <a:cubicBezTo>
                    <a:pt x="144850" y="124465"/>
                    <a:pt x="181197" y="111199"/>
                    <a:pt x="210534" y="89088"/>
                  </a:cubicBezTo>
                  <a:cubicBezTo>
                    <a:pt x="202121" y="38504"/>
                    <a:pt x="158224" y="0"/>
                    <a:pt x="105267" y="0"/>
                  </a:cubicBezTo>
                  <a:cubicBezTo>
                    <a:pt x="52310" y="0"/>
                    <a:pt x="8521" y="38612"/>
                    <a:pt x="0" y="89088"/>
                  </a:cubicBezTo>
                  <a:cubicBezTo>
                    <a:pt x="29337" y="111199"/>
                    <a:pt x="65684" y="124465"/>
                    <a:pt x="105267" y="124465"/>
                  </a:cubicBezTo>
                  <a:close/>
                </a:path>
              </a:pathLst>
            </a:custGeom>
            <a:noFill/>
            <a:ln w="10768" cap="flat">
              <a:solidFill>
                <a:schemeClr val="bg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79" name="Рисунок 2">
            <a:extLst>
              <a:ext uri="{FF2B5EF4-FFF2-40B4-BE49-F238E27FC236}">
                <a16:creationId xmlns:a16="http://schemas.microsoft.com/office/drawing/2014/main" id="{08640A5A-A127-43A2-9632-E378C3D71D5B}"/>
              </a:ext>
            </a:extLst>
          </p:cNvPr>
          <p:cNvGrpSpPr/>
          <p:nvPr/>
        </p:nvGrpSpPr>
        <p:grpSpPr>
          <a:xfrm>
            <a:off x="6508616" y="3143388"/>
            <a:ext cx="485881" cy="485881"/>
            <a:chOff x="6508616" y="3143388"/>
            <a:chExt cx="485881" cy="485881"/>
          </a:xfrm>
          <a:noFill/>
        </p:grpSpPr>
        <p:sp>
          <p:nvSpPr>
            <p:cNvPr id="80" name="Полилиния: фигура 79">
              <a:extLst>
                <a:ext uri="{FF2B5EF4-FFF2-40B4-BE49-F238E27FC236}">
                  <a16:creationId xmlns:a16="http://schemas.microsoft.com/office/drawing/2014/main" id="{C2E985DC-870E-4AA3-B53E-D9C89D010E3F}"/>
                </a:ext>
              </a:extLst>
            </p:cNvPr>
            <p:cNvSpPr/>
            <p:nvPr/>
          </p:nvSpPr>
          <p:spPr>
            <a:xfrm rot="-2046000">
              <a:off x="6576615" y="3211388"/>
              <a:ext cx="349882" cy="349882"/>
            </a:xfrm>
            <a:custGeom>
              <a:avLst/>
              <a:gdLst>
                <a:gd name="connsiteX0" fmla="*/ 349883 w 349882"/>
                <a:gd name="connsiteY0" fmla="*/ 174941 h 349882"/>
                <a:gd name="connsiteX1" fmla="*/ 174941 w 349882"/>
                <a:gd name="connsiteY1" fmla="*/ 349883 h 349882"/>
                <a:gd name="connsiteX2" fmla="*/ 0 w 349882"/>
                <a:gd name="connsiteY2" fmla="*/ 174941 h 349882"/>
                <a:gd name="connsiteX3" fmla="*/ 174941 w 349882"/>
                <a:gd name="connsiteY3" fmla="*/ 0 h 349882"/>
                <a:gd name="connsiteX4" fmla="*/ 349883 w 349882"/>
                <a:gd name="connsiteY4" fmla="*/ 174941 h 3498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9882" h="349882">
                  <a:moveTo>
                    <a:pt x="349883" y="174941"/>
                  </a:moveTo>
                  <a:cubicBezTo>
                    <a:pt x="349883" y="271559"/>
                    <a:pt x="271559" y="349883"/>
                    <a:pt x="174941" y="349883"/>
                  </a:cubicBezTo>
                  <a:cubicBezTo>
                    <a:pt x="78324" y="349883"/>
                    <a:pt x="0" y="271559"/>
                    <a:pt x="0" y="174941"/>
                  </a:cubicBezTo>
                  <a:cubicBezTo>
                    <a:pt x="0" y="78324"/>
                    <a:pt x="78324" y="0"/>
                    <a:pt x="174941" y="0"/>
                  </a:cubicBezTo>
                  <a:cubicBezTo>
                    <a:pt x="271559" y="0"/>
                    <a:pt x="349883" y="78324"/>
                    <a:pt x="349883" y="174941"/>
                  </a:cubicBezTo>
                  <a:close/>
                </a:path>
              </a:pathLst>
            </a:custGeom>
            <a:noFill/>
            <a:ln w="10768" cap="flat">
              <a:solidFill>
                <a:schemeClr val="tx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1" name="Полилиния: фигура 80">
              <a:extLst>
                <a:ext uri="{FF2B5EF4-FFF2-40B4-BE49-F238E27FC236}">
                  <a16:creationId xmlns:a16="http://schemas.microsoft.com/office/drawing/2014/main" id="{53C457EB-84AC-4298-AE88-F7E7E10C0F95}"/>
                </a:ext>
              </a:extLst>
            </p:cNvPr>
            <p:cNvSpPr/>
            <p:nvPr/>
          </p:nvSpPr>
          <p:spPr>
            <a:xfrm>
              <a:off x="6689451" y="3304427"/>
              <a:ext cx="124033" cy="124033"/>
            </a:xfrm>
            <a:custGeom>
              <a:avLst/>
              <a:gdLst>
                <a:gd name="connsiteX0" fmla="*/ 124034 w 124033"/>
                <a:gd name="connsiteY0" fmla="*/ 62017 h 124033"/>
                <a:gd name="connsiteX1" fmla="*/ 62017 w 124033"/>
                <a:gd name="connsiteY1" fmla="*/ 124034 h 124033"/>
                <a:gd name="connsiteX2" fmla="*/ 0 w 124033"/>
                <a:gd name="connsiteY2" fmla="*/ 62017 h 124033"/>
                <a:gd name="connsiteX3" fmla="*/ 62017 w 124033"/>
                <a:gd name="connsiteY3" fmla="*/ 0 h 124033"/>
                <a:gd name="connsiteX4" fmla="*/ 124034 w 124033"/>
                <a:gd name="connsiteY4" fmla="*/ 62017 h 124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4033" h="124033">
                  <a:moveTo>
                    <a:pt x="124034" y="62017"/>
                  </a:moveTo>
                  <a:cubicBezTo>
                    <a:pt x="124034" y="96315"/>
                    <a:pt x="96315" y="124034"/>
                    <a:pt x="62017" y="124034"/>
                  </a:cubicBezTo>
                  <a:cubicBezTo>
                    <a:pt x="27719" y="124034"/>
                    <a:pt x="0" y="96315"/>
                    <a:pt x="0" y="62017"/>
                  </a:cubicBezTo>
                  <a:cubicBezTo>
                    <a:pt x="0" y="27719"/>
                    <a:pt x="27719" y="0"/>
                    <a:pt x="62017" y="0"/>
                  </a:cubicBezTo>
                  <a:cubicBezTo>
                    <a:pt x="96315" y="0"/>
                    <a:pt x="124034" y="27719"/>
                    <a:pt x="124034" y="62017"/>
                  </a:cubicBezTo>
                  <a:close/>
                </a:path>
              </a:pathLst>
            </a:custGeom>
            <a:noFill/>
            <a:ln w="10768" cap="flat">
              <a:solidFill>
                <a:schemeClr val="tx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2" name="Полилиния: фигура 81">
              <a:extLst>
                <a:ext uri="{FF2B5EF4-FFF2-40B4-BE49-F238E27FC236}">
                  <a16:creationId xmlns:a16="http://schemas.microsoft.com/office/drawing/2014/main" id="{51A509C1-5DA4-4A72-8327-02D9752F65C0}"/>
                </a:ext>
              </a:extLst>
            </p:cNvPr>
            <p:cNvSpPr/>
            <p:nvPr/>
          </p:nvSpPr>
          <p:spPr>
            <a:xfrm>
              <a:off x="6646201" y="3436873"/>
              <a:ext cx="210533" cy="124465"/>
            </a:xfrm>
            <a:custGeom>
              <a:avLst/>
              <a:gdLst>
                <a:gd name="connsiteX0" fmla="*/ 105267 w 210533"/>
                <a:gd name="connsiteY0" fmla="*/ 124465 h 124465"/>
                <a:gd name="connsiteX1" fmla="*/ 210534 w 210533"/>
                <a:gd name="connsiteY1" fmla="*/ 89089 h 124465"/>
                <a:gd name="connsiteX2" fmla="*/ 105267 w 210533"/>
                <a:gd name="connsiteY2" fmla="*/ 0 h 124465"/>
                <a:gd name="connsiteX3" fmla="*/ 0 w 210533"/>
                <a:gd name="connsiteY3" fmla="*/ 89089 h 124465"/>
                <a:gd name="connsiteX4" fmla="*/ 105267 w 210533"/>
                <a:gd name="connsiteY4" fmla="*/ 124465 h 1244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10533" h="124465">
                  <a:moveTo>
                    <a:pt x="105267" y="124465"/>
                  </a:moveTo>
                  <a:cubicBezTo>
                    <a:pt x="144850" y="124465"/>
                    <a:pt x="181197" y="111199"/>
                    <a:pt x="210534" y="89089"/>
                  </a:cubicBezTo>
                  <a:cubicBezTo>
                    <a:pt x="202121" y="38504"/>
                    <a:pt x="158224" y="0"/>
                    <a:pt x="105267" y="0"/>
                  </a:cubicBezTo>
                  <a:cubicBezTo>
                    <a:pt x="52310" y="0"/>
                    <a:pt x="8521" y="38612"/>
                    <a:pt x="0" y="89089"/>
                  </a:cubicBezTo>
                  <a:cubicBezTo>
                    <a:pt x="29337" y="111199"/>
                    <a:pt x="65684" y="124465"/>
                    <a:pt x="105267" y="124465"/>
                  </a:cubicBezTo>
                  <a:close/>
                </a:path>
              </a:pathLst>
            </a:custGeom>
            <a:noFill/>
            <a:ln w="10768" cap="flat">
              <a:solidFill>
                <a:schemeClr val="tx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83" name="Рисунок 2">
            <a:extLst>
              <a:ext uri="{FF2B5EF4-FFF2-40B4-BE49-F238E27FC236}">
                <a16:creationId xmlns:a16="http://schemas.microsoft.com/office/drawing/2014/main" id="{08640A5A-A127-43A2-9632-E378C3D71D5B}"/>
              </a:ext>
            </a:extLst>
          </p:cNvPr>
          <p:cNvGrpSpPr/>
          <p:nvPr/>
        </p:nvGrpSpPr>
        <p:grpSpPr>
          <a:xfrm>
            <a:off x="10496529" y="1541746"/>
            <a:ext cx="748947" cy="814523"/>
            <a:chOff x="10496529" y="1541746"/>
            <a:chExt cx="748947" cy="814523"/>
          </a:xfrm>
          <a:noFill/>
        </p:grpSpPr>
        <p:grpSp>
          <p:nvGrpSpPr>
            <p:cNvPr id="84" name="Рисунок 2">
              <a:extLst>
                <a:ext uri="{FF2B5EF4-FFF2-40B4-BE49-F238E27FC236}">
                  <a16:creationId xmlns:a16="http://schemas.microsoft.com/office/drawing/2014/main" id="{08640A5A-A127-43A2-9632-E378C3D71D5B}"/>
                </a:ext>
              </a:extLst>
            </p:cNvPr>
            <p:cNvGrpSpPr/>
            <p:nvPr/>
          </p:nvGrpSpPr>
          <p:grpSpPr>
            <a:xfrm>
              <a:off x="10496529" y="1700941"/>
              <a:ext cx="748947" cy="655329"/>
              <a:chOff x="10496529" y="1700941"/>
              <a:chExt cx="748947" cy="655329"/>
            </a:xfrm>
            <a:noFill/>
          </p:grpSpPr>
          <p:sp>
            <p:nvSpPr>
              <p:cNvPr id="85" name="Полилиния: фигура 84">
                <a:extLst>
                  <a:ext uri="{FF2B5EF4-FFF2-40B4-BE49-F238E27FC236}">
                    <a16:creationId xmlns:a16="http://schemas.microsoft.com/office/drawing/2014/main" id="{CFBEBD0A-2EFB-449A-8DB2-6E6F5369984D}"/>
                  </a:ext>
                </a:extLst>
              </p:cNvPr>
              <p:cNvSpPr/>
              <p:nvPr/>
            </p:nvSpPr>
            <p:spPr>
              <a:xfrm>
                <a:off x="10496529" y="1700941"/>
                <a:ext cx="748947" cy="50368"/>
              </a:xfrm>
              <a:custGeom>
                <a:avLst/>
                <a:gdLst>
                  <a:gd name="connsiteX0" fmla="*/ 0 w 748947"/>
                  <a:gd name="connsiteY0" fmla="*/ 0 h 50368"/>
                  <a:gd name="connsiteX1" fmla="*/ 748948 w 748947"/>
                  <a:gd name="connsiteY1" fmla="*/ 0 h 50368"/>
                  <a:gd name="connsiteX2" fmla="*/ 748948 w 748947"/>
                  <a:gd name="connsiteY2" fmla="*/ 50368 h 50368"/>
                  <a:gd name="connsiteX3" fmla="*/ 0 w 748947"/>
                  <a:gd name="connsiteY3" fmla="*/ 50368 h 503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48947" h="50368">
                    <a:moveTo>
                      <a:pt x="0" y="0"/>
                    </a:moveTo>
                    <a:lnTo>
                      <a:pt x="748948" y="0"/>
                    </a:lnTo>
                    <a:lnTo>
                      <a:pt x="748948" y="50368"/>
                    </a:lnTo>
                    <a:lnTo>
                      <a:pt x="0" y="50368"/>
                    </a:lnTo>
                    <a:close/>
                  </a:path>
                </a:pathLst>
              </a:custGeom>
              <a:noFill/>
              <a:ln w="10768" cap="flat">
                <a:solidFill>
                  <a:srgbClr val="26323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86" name="Полилиния: фигура 85">
                <a:extLst>
                  <a:ext uri="{FF2B5EF4-FFF2-40B4-BE49-F238E27FC236}">
                    <a16:creationId xmlns:a16="http://schemas.microsoft.com/office/drawing/2014/main" id="{990A3CDB-6508-43A1-B26F-76A7576431F9}"/>
                  </a:ext>
                </a:extLst>
              </p:cNvPr>
              <p:cNvSpPr/>
              <p:nvPr/>
            </p:nvSpPr>
            <p:spPr>
              <a:xfrm>
                <a:off x="10496529" y="1801786"/>
                <a:ext cx="370698" cy="50368"/>
              </a:xfrm>
              <a:custGeom>
                <a:avLst/>
                <a:gdLst>
                  <a:gd name="connsiteX0" fmla="*/ 0 w 370698"/>
                  <a:gd name="connsiteY0" fmla="*/ 0 h 50368"/>
                  <a:gd name="connsiteX1" fmla="*/ 370699 w 370698"/>
                  <a:gd name="connsiteY1" fmla="*/ 0 h 50368"/>
                  <a:gd name="connsiteX2" fmla="*/ 370699 w 370698"/>
                  <a:gd name="connsiteY2" fmla="*/ 50368 h 50368"/>
                  <a:gd name="connsiteX3" fmla="*/ 0 w 370698"/>
                  <a:gd name="connsiteY3" fmla="*/ 50368 h 503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70698" h="50368">
                    <a:moveTo>
                      <a:pt x="0" y="0"/>
                    </a:moveTo>
                    <a:lnTo>
                      <a:pt x="370699" y="0"/>
                    </a:lnTo>
                    <a:lnTo>
                      <a:pt x="370699" y="50368"/>
                    </a:lnTo>
                    <a:lnTo>
                      <a:pt x="0" y="50368"/>
                    </a:lnTo>
                    <a:close/>
                  </a:path>
                </a:pathLst>
              </a:custGeom>
              <a:noFill/>
              <a:ln w="10768" cap="flat">
                <a:solidFill>
                  <a:srgbClr val="26323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87" name="Полилиния: фигура 86">
                <a:extLst>
                  <a:ext uri="{FF2B5EF4-FFF2-40B4-BE49-F238E27FC236}">
                    <a16:creationId xmlns:a16="http://schemas.microsoft.com/office/drawing/2014/main" id="{F0878FD4-FD76-4CBF-BFC8-D169D0322FFC}"/>
                  </a:ext>
                </a:extLst>
              </p:cNvPr>
              <p:cNvSpPr/>
              <p:nvPr/>
            </p:nvSpPr>
            <p:spPr>
              <a:xfrm>
                <a:off x="10496529" y="1902630"/>
                <a:ext cx="506488" cy="50368"/>
              </a:xfrm>
              <a:custGeom>
                <a:avLst/>
                <a:gdLst>
                  <a:gd name="connsiteX0" fmla="*/ 0 w 506488"/>
                  <a:gd name="connsiteY0" fmla="*/ 0 h 50368"/>
                  <a:gd name="connsiteX1" fmla="*/ 506489 w 506488"/>
                  <a:gd name="connsiteY1" fmla="*/ 0 h 50368"/>
                  <a:gd name="connsiteX2" fmla="*/ 506489 w 506488"/>
                  <a:gd name="connsiteY2" fmla="*/ 50368 h 50368"/>
                  <a:gd name="connsiteX3" fmla="*/ 0 w 506488"/>
                  <a:gd name="connsiteY3" fmla="*/ 50368 h 503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06488" h="50368">
                    <a:moveTo>
                      <a:pt x="0" y="0"/>
                    </a:moveTo>
                    <a:lnTo>
                      <a:pt x="506489" y="0"/>
                    </a:lnTo>
                    <a:lnTo>
                      <a:pt x="506489" y="50368"/>
                    </a:lnTo>
                    <a:lnTo>
                      <a:pt x="0" y="50368"/>
                    </a:lnTo>
                    <a:close/>
                  </a:path>
                </a:pathLst>
              </a:custGeom>
              <a:noFill/>
              <a:ln w="10768" cap="flat">
                <a:solidFill>
                  <a:srgbClr val="26323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88" name="Полилиния: фигура 87">
                <a:extLst>
                  <a:ext uri="{FF2B5EF4-FFF2-40B4-BE49-F238E27FC236}">
                    <a16:creationId xmlns:a16="http://schemas.microsoft.com/office/drawing/2014/main" id="{22D242DE-0716-487A-AFFC-413BC2396849}"/>
                  </a:ext>
                </a:extLst>
              </p:cNvPr>
              <p:cNvSpPr/>
              <p:nvPr/>
            </p:nvSpPr>
            <p:spPr>
              <a:xfrm>
                <a:off x="10496529" y="2003475"/>
                <a:ext cx="312456" cy="50368"/>
              </a:xfrm>
              <a:custGeom>
                <a:avLst/>
                <a:gdLst>
                  <a:gd name="connsiteX0" fmla="*/ 0 w 312456"/>
                  <a:gd name="connsiteY0" fmla="*/ 0 h 50368"/>
                  <a:gd name="connsiteX1" fmla="*/ 312457 w 312456"/>
                  <a:gd name="connsiteY1" fmla="*/ 0 h 50368"/>
                  <a:gd name="connsiteX2" fmla="*/ 312457 w 312456"/>
                  <a:gd name="connsiteY2" fmla="*/ 50368 h 50368"/>
                  <a:gd name="connsiteX3" fmla="*/ 0 w 312456"/>
                  <a:gd name="connsiteY3" fmla="*/ 50368 h 503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12456" h="50368">
                    <a:moveTo>
                      <a:pt x="0" y="0"/>
                    </a:moveTo>
                    <a:lnTo>
                      <a:pt x="312457" y="0"/>
                    </a:lnTo>
                    <a:lnTo>
                      <a:pt x="312457" y="50368"/>
                    </a:lnTo>
                    <a:lnTo>
                      <a:pt x="0" y="50368"/>
                    </a:lnTo>
                    <a:close/>
                  </a:path>
                </a:pathLst>
              </a:custGeom>
              <a:noFill/>
              <a:ln w="10768" cap="flat">
                <a:solidFill>
                  <a:srgbClr val="26323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89" name="Полилиния: фигура 88">
                <a:extLst>
                  <a:ext uri="{FF2B5EF4-FFF2-40B4-BE49-F238E27FC236}">
                    <a16:creationId xmlns:a16="http://schemas.microsoft.com/office/drawing/2014/main" id="{BC2F977D-6765-4615-80A4-CAC48A24C379}"/>
                  </a:ext>
                </a:extLst>
              </p:cNvPr>
              <p:cNvSpPr/>
              <p:nvPr/>
            </p:nvSpPr>
            <p:spPr>
              <a:xfrm>
                <a:off x="10496529" y="2104212"/>
                <a:ext cx="573682" cy="50368"/>
              </a:xfrm>
              <a:custGeom>
                <a:avLst/>
                <a:gdLst>
                  <a:gd name="connsiteX0" fmla="*/ 0 w 573682"/>
                  <a:gd name="connsiteY0" fmla="*/ 0 h 50368"/>
                  <a:gd name="connsiteX1" fmla="*/ 573683 w 573682"/>
                  <a:gd name="connsiteY1" fmla="*/ 0 h 50368"/>
                  <a:gd name="connsiteX2" fmla="*/ 573683 w 573682"/>
                  <a:gd name="connsiteY2" fmla="*/ 50368 h 50368"/>
                  <a:gd name="connsiteX3" fmla="*/ 0 w 573682"/>
                  <a:gd name="connsiteY3" fmla="*/ 50368 h 503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73682" h="50368">
                    <a:moveTo>
                      <a:pt x="0" y="0"/>
                    </a:moveTo>
                    <a:lnTo>
                      <a:pt x="573683" y="0"/>
                    </a:lnTo>
                    <a:lnTo>
                      <a:pt x="573683" y="50368"/>
                    </a:lnTo>
                    <a:lnTo>
                      <a:pt x="0" y="50368"/>
                    </a:lnTo>
                    <a:close/>
                  </a:path>
                </a:pathLst>
              </a:custGeom>
              <a:noFill/>
              <a:ln w="10768" cap="flat">
                <a:solidFill>
                  <a:srgbClr val="26323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90" name="Полилиния: фигура 89">
                <a:extLst>
                  <a:ext uri="{FF2B5EF4-FFF2-40B4-BE49-F238E27FC236}">
                    <a16:creationId xmlns:a16="http://schemas.microsoft.com/office/drawing/2014/main" id="{8F9814E4-5F15-4C5F-B73B-AD5489E158B0}"/>
                  </a:ext>
                </a:extLst>
              </p:cNvPr>
              <p:cNvSpPr/>
              <p:nvPr/>
            </p:nvSpPr>
            <p:spPr>
              <a:xfrm>
                <a:off x="10496529" y="2205057"/>
                <a:ext cx="398309" cy="50368"/>
              </a:xfrm>
              <a:custGeom>
                <a:avLst/>
                <a:gdLst>
                  <a:gd name="connsiteX0" fmla="*/ 0 w 398309"/>
                  <a:gd name="connsiteY0" fmla="*/ 0 h 50368"/>
                  <a:gd name="connsiteX1" fmla="*/ 398310 w 398309"/>
                  <a:gd name="connsiteY1" fmla="*/ 0 h 50368"/>
                  <a:gd name="connsiteX2" fmla="*/ 398310 w 398309"/>
                  <a:gd name="connsiteY2" fmla="*/ 50368 h 50368"/>
                  <a:gd name="connsiteX3" fmla="*/ 0 w 398309"/>
                  <a:gd name="connsiteY3" fmla="*/ 50368 h 503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98309" h="50368">
                    <a:moveTo>
                      <a:pt x="0" y="0"/>
                    </a:moveTo>
                    <a:lnTo>
                      <a:pt x="398310" y="0"/>
                    </a:lnTo>
                    <a:lnTo>
                      <a:pt x="398310" y="50368"/>
                    </a:lnTo>
                    <a:lnTo>
                      <a:pt x="0" y="50368"/>
                    </a:lnTo>
                    <a:close/>
                  </a:path>
                </a:pathLst>
              </a:custGeom>
              <a:noFill/>
              <a:ln w="10768" cap="flat">
                <a:solidFill>
                  <a:srgbClr val="26323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91" name="Полилиния: фигура 90">
                <a:extLst>
                  <a:ext uri="{FF2B5EF4-FFF2-40B4-BE49-F238E27FC236}">
                    <a16:creationId xmlns:a16="http://schemas.microsoft.com/office/drawing/2014/main" id="{3595247D-F290-4248-8C7E-C91D753910D9}"/>
                  </a:ext>
                </a:extLst>
              </p:cNvPr>
              <p:cNvSpPr/>
              <p:nvPr/>
            </p:nvSpPr>
            <p:spPr>
              <a:xfrm>
                <a:off x="10496529" y="2305902"/>
                <a:ext cx="446736" cy="50368"/>
              </a:xfrm>
              <a:custGeom>
                <a:avLst/>
                <a:gdLst>
                  <a:gd name="connsiteX0" fmla="*/ 0 w 446736"/>
                  <a:gd name="connsiteY0" fmla="*/ 0 h 50368"/>
                  <a:gd name="connsiteX1" fmla="*/ 446737 w 446736"/>
                  <a:gd name="connsiteY1" fmla="*/ 0 h 50368"/>
                  <a:gd name="connsiteX2" fmla="*/ 446737 w 446736"/>
                  <a:gd name="connsiteY2" fmla="*/ 50368 h 50368"/>
                  <a:gd name="connsiteX3" fmla="*/ 0 w 446736"/>
                  <a:gd name="connsiteY3" fmla="*/ 50368 h 503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46736" h="50368">
                    <a:moveTo>
                      <a:pt x="0" y="0"/>
                    </a:moveTo>
                    <a:lnTo>
                      <a:pt x="446737" y="0"/>
                    </a:lnTo>
                    <a:lnTo>
                      <a:pt x="446737" y="50368"/>
                    </a:lnTo>
                    <a:lnTo>
                      <a:pt x="0" y="50368"/>
                    </a:lnTo>
                    <a:close/>
                  </a:path>
                </a:pathLst>
              </a:custGeom>
              <a:noFill/>
              <a:ln w="10768" cap="flat">
                <a:solidFill>
                  <a:srgbClr val="26323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</p:grpSp>
        <p:sp>
          <p:nvSpPr>
            <p:cNvPr id="92" name="Полилиния: фигура 91">
              <a:extLst>
                <a:ext uri="{FF2B5EF4-FFF2-40B4-BE49-F238E27FC236}">
                  <a16:creationId xmlns:a16="http://schemas.microsoft.com/office/drawing/2014/main" id="{0E169353-FA2B-44A9-805C-44058D283C9F}"/>
                </a:ext>
              </a:extLst>
            </p:cNvPr>
            <p:cNvSpPr/>
            <p:nvPr/>
          </p:nvSpPr>
          <p:spPr>
            <a:xfrm>
              <a:off x="10503108" y="1605165"/>
              <a:ext cx="376846" cy="10785"/>
            </a:xfrm>
            <a:custGeom>
              <a:avLst/>
              <a:gdLst>
                <a:gd name="connsiteX0" fmla="*/ 0 w 376846"/>
                <a:gd name="connsiteY0" fmla="*/ 0 h 10785"/>
                <a:gd name="connsiteX1" fmla="*/ 376847 w 376846"/>
                <a:gd name="connsiteY1" fmla="*/ 0 h 107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76846" h="10785">
                  <a:moveTo>
                    <a:pt x="0" y="0"/>
                  </a:moveTo>
                  <a:lnTo>
                    <a:pt x="376847" y="0"/>
                  </a:lnTo>
                </a:path>
              </a:pathLst>
            </a:custGeom>
            <a:ln w="10768" cap="flat">
              <a:solidFill>
                <a:srgbClr val="263238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3" name="Полилиния: фигура 92">
              <a:extLst>
                <a:ext uri="{FF2B5EF4-FFF2-40B4-BE49-F238E27FC236}">
                  <a16:creationId xmlns:a16="http://schemas.microsoft.com/office/drawing/2014/main" id="{7C737A93-E2FC-4D01-89B5-25E2AB5278E2}"/>
                </a:ext>
              </a:extLst>
            </p:cNvPr>
            <p:cNvSpPr/>
            <p:nvPr/>
          </p:nvSpPr>
          <p:spPr>
            <a:xfrm>
              <a:off x="10503108" y="1541746"/>
              <a:ext cx="376846" cy="10785"/>
            </a:xfrm>
            <a:custGeom>
              <a:avLst/>
              <a:gdLst>
                <a:gd name="connsiteX0" fmla="*/ 0 w 376846"/>
                <a:gd name="connsiteY0" fmla="*/ 0 h 10785"/>
                <a:gd name="connsiteX1" fmla="*/ 376847 w 376846"/>
                <a:gd name="connsiteY1" fmla="*/ 0 h 107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76846" h="10785">
                  <a:moveTo>
                    <a:pt x="0" y="0"/>
                  </a:moveTo>
                  <a:lnTo>
                    <a:pt x="376847" y="0"/>
                  </a:lnTo>
                </a:path>
              </a:pathLst>
            </a:custGeom>
            <a:ln w="10768" cap="flat">
              <a:solidFill>
                <a:srgbClr val="263238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94" name="Рисунок 2">
            <a:extLst>
              <a:ext uri="{FF2B5EF4-FFF2-40B4-BE49-F238E27FC236}">
                <a16:creationId xmlns:a16="http://schemas.microsoft.com/office/drawing/2014/main" id="{08640A5A-A127-43A2-9632-E378C3D71D5B}"/>
              </a:ext>
            </a:extLst>
          </p:cNvPr>
          <p:cNvGrpSpPr/>
          <p:nvPr/>
        </p:nvGrpSpPr>
        <p:grpSpPr>
          <a:xfrm>
            <a:off x="8102788" y="1088538"/>
            <a:ext cx="890130" cy="737299"/>
            <a:chOff x="8102788" y="1088538"/>
            <a:chExt cx="890130" cy="737299"/>
          </a:xfrm>
          <a:noFill/>
        </p:grpSpPr>
        <p:sp>
          <p:nvSpPr>
            <p:cNvPr id="95" name="Полилиния: фигура 94">
              <a:extLst>
                <a:ext uri="{FF2B5EF4-FFF2-40B4-BE49-F238E27FC236}">
                  <a16:creationId xmlns:a16="http://schemas.microsoft.com/office/drawing/2014/main" id="{C53F89F2-394C-4789-9482-D49BAD2625E8}"/>
                </a:ext>
              </a:extLst>
            </p:cNvPr>
            <p:cNvSpPr/>
            <p:nvPr/>
          </p:nvSpPr>
          <p:spPr>
            <a:xfrm>
              <a:off x="8102788" y="1088538"/>
              <a:ext cx="529677" cy="737299"/>
            </a:xfrm>
            <a:custGeom>
              <a:avLst/>
              <a:gdLst>
                <a:gd name="connsiteX0" fmla="*/ 0 w 529677"/>
                <a:gd name="connsiteY0" fmla="*/ 737299 h 737299"/>
                <a:gd name="connsiteX1" fmla="*/ 425921 w 529677"/>
                <a:gd name="connsiteY1" fmla="*/ 0 h 737299"/>
                <a:gd name="connsiteX2" fmla="*/ 529678 w 529677"/>
                <a:gd name="connsiteY2" fmla="*/ 0 h 7372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529677" h="737299">
                  <a:moveTo>
                    <a:pt x="0" y="737299"/>
                  </a:moveTo>
                  <a:lnTo>
                    <a:pt x="425921" y="0"/>
                  </a:lnTo>
                  <a:lnTo>
                    <a:pt x="529678" y="0"/>
                  </a:lnTo>
                </a:path>
              </a:pathLst>
            </a:custGeom>
            <a:noFill/>
            <a:ln w="10768" cap="flat">
              <a:solidFill>
                <a:srgbClr val="263238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grpSp>
          <p:nvGrpSpPr>
            <p:cNvPr id="993" name="Рисунок 2">
              <a:extLst>
                <a:ext uri="{FF2B5EF4-FFF2-40B4-BE49-F238E27FC236}">
                  <a16:creationId xmlns:a16="http://schemas.microsoft.com/office/drawing/2014/main" id="{08640A5A-A127-43A2-9632-E378C3D71D5B}"/>
                </a:ext>
              </a:extLst>
            </p:cNvPr>
            <p:cNvGrpSpPr/>
            <p:nvPr/>
          </p:nvGrpSpPr>
          <p:grpSpPr>
            <a:xfrm>
              <a:off x="8730829" y="1094039"/>
              <a:ext cx="262088" cy="131044"/>
              <a:chOff x="8730829" y="1094039"/>
              <a:chExt cx="262088" cy="131044"/>
            </a:xfrm>
          </p:grpSpPr>
          <p:sp>
            <p:nvSpPr>
              <p:cNvPr id="994" name="Полилиния: фигура 993">
                <a:extLst>
                  <a:ext uri="{FF2B5EF4-FFF2-40B4-BE49-F238E27FC236}">
                    <a16:creationId xmlns:a16="http://schemas.microsoft.com/office/drawing/2014/main" id="{6A9BBA83-9785-465B-B5BC-DAB964870CCA}"/>
                  </a:ext>
                </a:extLst>
              </p:cNvPr>
              <p:cNvSpPr/>
              <p:nvPr/>
            </p:nvSpPr>
            <p:spPr>
              <a:xfrm>
                <a:off x="8730829" y="1094039"/>
                <a:ext cx="262088" cy="10785"/>
              </a:xfrm>
              <a:custGeom>
                <a:avLst/>
                <a:gdLst>
                  <a:gd name="connsiteX0" fmla="*/ 0 w 262088"/>
                  <a:gd name="connsiteY0" fmla="*/ 0 h 10785"/>
                  <a:gd name="connsiteX1" fmla="*/ 262089 w 262088"/>
                  <a:gd name="connsiteY1" fmla="*/ 0 h 107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62088" h="10785">
                    <a:moveTo>
                      <a:pt x="0" y="0"/>
                    </a:moveTo>
                    <a:lnTo>
                      <a:pt x="262089" y="0"/>
                    </a:lnTo>
                  </a:path>
                </a:pathLst>
              </a:custGeom>
              <a:ln w="10768" cap="flat">
                <a:solidFill>
                  <a:srgbClr val="26323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995" name="Полилиния: фигура 994">
                <a:extLst>
                  <a:ext uri="{FF2B5EF4-FFF2-40B4-BE49-F238E27FC236}">
                    <a16:creationId xmlns:a16="http://schemas.microsoft.com/office/drawing/2014/main" id="{8BDA1910-A115-43E5-A6DE-274E1477BF92}"/>
                  </a:ext>
                </a:extLst>
              </p:cNvPr>
              <p:cNvSpPr/>
              <p:nvPr/>
            </p:nvSpPr>
            <p:spPr>
              <a:xfrm>
                <a:off x="8730829" y="1159507"/>
                <a:ext cx="262088" cy="10785"/>
              </a:xfrm>
              <a:custGeom>
                <a:avLst/>
                <a:gdLst>
                  <a:gd name="connsiteX0" fmla="*/ 0 w 262088"/>
                  <a:gd name="connsiteY0" fmla="*/ 0 h 10785"/>
                  <a:gd name="connsiteX1" fmla="*/ 262089 w 262088"/>
                  <a:gd name="connsiteY1" fmla="*/ 0 h 107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62088" h="10785">
                    <a:moveTo>
                      <a:pt x="0" y="0"/>
                    </a:moveTo>
                    <a:lnTo>
                      <a:pt x="262089" y="0"/>
                    </a:lnTo>
                  </a:path>
                </a:pathLst>
              </a:custGeom>
              <a:ln w="10768" cap="flat">
                <a:solidFill>
                  <a:srgbClr val="26323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996" name="Полилиния: фигура 995">
                <a:extLst>
                  <a:ext uri="{FF2B5EF4-FFF2-40B4-BE49-F238E27FC236}">
                    <a16:creationId xmlns:a16="http://schemas.microsoft.com/office/drawing/2014/main" id="{B17BAA47-F2B4-43FD-A64F-541CA1C2D76F}"/>
                  </a:ext>
                </a:extLst>
              </p:cNvPr>
              <p:cNvSpPr/>
              <p:nvPr/>
            </p:nvSpPr>
            <p:spPr>
              <a:xfrm>
                <a:off x="8730829" y="1225083"/>
                <a:ext cx="262088" cy="10785"/>
              </a:xfrm>
              <a:custGeom>
                <a:avLst/>
                <a:gdLst>
                  <a:gd name="connsiteX0" fmla="*/ 0 w 262088"/>
                  <a:gd name="connsiteY0" fmla="*/ 0 h 10785"/>
                  <a:gd name="connsiteX1" fmla="*/ 262089 w 262088"/>
                  <a:gd name="connsiteY1" fmla="*/ 0 h 107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62088" h="10785">
                    <a:moveTo>
                      <a:pt x="0" y="0"/>
                    </a:moveTo>
                    <a:lnTo>
                      <a:pt x="262089" y="0"/>
                    </a:lnTo>
                  </a:path>
                </a:pathLst>
              </a:custGeom>
              <a:ln w="10768" cap="flat">
                <a:solidFill>
                  <a:srgbClr val="26323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</p:grpSp>
      </p:grpSp>
      <p:grpSp>
        <p:nvGrpSpPr>
          <p:cNvPr id="997" name="Рисунок 2">
            <a:extLst>
              <a:ext uri="{FF2B5EF4-FFF2-40B4-BE49-F238E27FC236}">
                <a16:creationId xmlns:a16="http://schemas.microsoft.com/office/drawing/2014/main" id="{08640A5A-A127-43A2-9632-E378C3D71D5B}"/>
              </a:ext>
            </a:extLst>
          </p:cNvPr>
          <p:cNvGrpSpPr/>
          <p:nvPr/>
        </p:nvGrpSpPr>
        <p:grpSpPr>
          <a:xfrm>
            <a:off x="8114652" y="3955226"/>
            <a:ext cx="2103179" cy="1304510"/>
            <a:chOff x="8114652" y="3955226"/>
            <a:chExt cx="2103179" cy="1304510"/>
          </a:xfrm>
        </p:grpSpPr>
        <p:grpSp>
          <p:nvGrpSpPr>
            <p:cNvPr id="998" name="Рисунок 2">
              <a:extLst>
                <a:ext uri="{FF2B5EF4-FFF2-40B4-BE49-F238E27FC236}">
                  <a16:creationId xmlns:a16="http://schemas.microsoft.com/office/drawing/2014/main" id="{08640A5A-A127-43A2-9632-E378C3D71D5B}"/>
                </a:ext>
              </a:extLst>
            </p:cNvPr>
            <p:cNvGrpSpPr/>
            <p:nvPr/>
          </p:nvGrpSpPr>
          <p:grpSpPr>
            <a:xfrm>
              <a:off x="8776129" y="4615516"/>
              <a:ext cx="960883" cy="433039"/>
              <a:chOff x="8776129" y="4615516"/>
              <a:chExt cx="960883" cy="433039"/>
            </a:xfrm>
            <a:solidFill>
              <a:srgbClr val="21A038"/>
            </a:solidFill>
          </p:grpSpPr>
          <p:grpSp>
            <p:nvGrpSpPr>
              <p:cNvPr id="999" name="Рисунок 2">
                <a:extLst>
                  <a:ext uri="{FF2B5EF4-FFF2-40B4-BE49-F238E27FC236}">
                    <a16:creationId xmlns:a16="http://schemas.microsoft.com/office/drawing/2014/main" id="{08640A5A-A127-43A2-9632-E378C3D71D5B}"/>
                  </a:ext>
                </a:extLst>
              </p:cNvPr>
              <p:cNvGrpSpPr/>
              <p:nvPr/>
            </p:nvGrpSpPr>
            <p:grpSpPr>
              <a:xfrm>
                <a:off x="8776129" y="4615516"/>
                <a:ext cx="960883" cy="57379"/>
                <a:chOff x="8776129" y="4615516"/>
                <a:chExt cx="960883" cy="57379"/>
              </a:xfrm>
              <a:solidFill>
                <a:srgbClr val="21A038"/>
              </a:solidFill>
            </p:grpSpPr>
            <p:sp>
              <p:nvSpPr>
                <p:cNvPr id="1000" name="Полилиния: фигура 999">
                  <a:extLst>
                    <a:ext uri="{FF2B5EF4-FFF2-40B4-BE49-F238E27FC236}">
                      <a16:creationId xmlns:a16="http://schemas.microsoft.com/office/drawing/2014/main" id="{68896591-C55E-4F11-9FA9-2F3C2E986ABE}"/>
                    </a:ext>
                  </a:extLst>
                </p:cNvPr>
                <p:cNvSpPr/>
                <p:nvPr/>
              </p:nvSpPr>
              <p:spPr>
                <a:xfrm>
                  <a:off x="8880425" y="4652079"/>
                  <a:ext cx="856587" cy="10785"/>
                </a:xfrm>
                <a:custGeom>
                  <a:avLst/>
                  <a:gdLst>
                    <a:gd name="connsiteX0" fmla="*/ 0 w 856587"/>
                    <a:gd name="connsiteY0" fmla="*/ 0 h 10785"/>
                    <a:gd name="connsiteX1" fmla="*/ 856587 w 856587"/>
                    <a:gd name="connsiteY1" fmla="*/ 0 h 1078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856587" h="10785">
                      <a:moveTo>
                        <a:pt x="0" y="0"/>
                      </a:moveTo>
                      <a:lnTo>
                        <a:pt x="856587" y="0"/>
                      </a:lnTo>
                    </a:path>
                  </a:pathLst>
                </a:custGeom>
                <a:ln w="10768" cap="flat">
                  <a:solidFill>
                    <a:srgbClr val="263238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1001" name="Полилиния: фигура 1000">
                  <a:extLst>
                    <a:ext uri="{FF2B5EF4-FFF2-40B4-BE49-F238E27FC236}">
                      <a16:creationId xmlns:a16="http://schemas.microsoft.com/office/drawing/2014/main" id="{0587EB39-A881-42FC-9B57-14CFD07FFDFF}"/>
                    </a:ext>
                  </a:extLst>
                </p:cNvPr>
                <p:cNvSpPr/>
                <p:nvPr/>
              </p:nvSpPr>
              <p:spPr>
                <a:xfrm>
                  <a:off x="8776129" y="4615516"/>
                  <a:ext cx="57379" cy="57379"/>
                </a:xfrm>
                <a:custGeom>
                  <a:avLst/>
                  <a:gdLst>
                    <a:gd name="connsiteX0" fmla="*/ 0 w 57379"/>
                    <a:gd name="connsiteY0" fmla="*/ 0 h 57379"/>
                    <a:gd name="connsiteX1" fmla="*/ 57379 w 57379"/>
                    <a:gd name="connsiteY1" fmla="*/ 0 h 57379"/>
                    <a:gd name="connsiteX2" fmla="*/ 57379 w 57379"/>
                    <a:gd name="connsiteY2" fmla="*/ 57379 h 57379"/>
                    <a:gd name="connsiteX3" fmla="*/ 0 w 57379"/>
                    <a:gd name="connsiteY3" fmla="*/ 57379 h 5737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57379" h="57379">
                      <a:moveTo>
                        <a:pt x="0" y="0"/>
                      </a:moveTo>
                      <a:lnTo>
                        <a:pt x="57379" y="0"/>
                      </a:lnTo>
                      <a:lnTo>
                        <a:pt x="57379" y="57379"/>
                      </a:lnTo>
                      <a:lnTo>
                        <a:pt x="0" y="57379"/>
                      </a:lnTo>
                      <a:close/>
                    </a:path>
                  </a:pathLst>
                </a:custGeom>
                <a:solidFill>
                  <a:srgbClr val="21A038"/>
                </a:solidFill>
                <a:ln w="10768" cap="flat">
                  <a:solidFill>
                    <a:srgbClr val="000000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</p:grpSp>
          <p:grpSp>
            <p:nvGrpSpPr>
              <p:cNvPr id="1002" name="Рисунок 2">
                <a:extLst>
                  <a:ext uri="{FF2B5EF4-FFF2-40B4-BE49-F238E27FC236}">
                    <a16:creationId xmlns:a16="http://schemas.microsoft.com/office/drawing/2014/main" id="{08640A5A-A127-43A2-9632-E378C3D71D5B}"/>
                  </a:ext>
                </a:extLst>
              </p:cNvPr>
              <p:cNvGrpSpPr/>
              <p:nvPr/>
            </p:nvGrpSpPr>
            <p:grpSpPr>
              <a:xfrm>
                <a:off x="8776129" y="4740736"/>
                <a:ext cx="960883" cy="57379"/>
                <a:chOff x="8776129" y="4740736"/>
                <a:chExt cx="960883" cy="57379"/>
              </a:xfrm>
              <a:solidFill>
                <a:srgbClr val="21A038"/>
              </a:solidFill>
            </p:grpSpPr>
            <p:sp>
              <p:nvSpPr>
                <p:cNvPr id="1003" name="Полилиния: фигура 1002">
                  <a:extLst>
                    <a:ext uri="{FF2B5EF4-FFF2-40B4-BE49-F238E27FC236}">
                      <a16:creationId xmlns:a16="http://schemas.microsoft.com/office/drawing/2014/main" id="{4479E6A6-7C36-46A0-91B7-8BFC24C31A24}"/>
                    </a:ext>
                  </a:extLst>
                </p:cNvPr>
                <p:cNvSpPr/>
                <p:nvPr/>
              </p:nvSpPr>
              <p:spPr>
                <a:xfrm>
                  <a:off x="8880425" y="4777299"/>
                  <a:ext cx="856587" cy="10785"/>
                </a:xfrm>
                <a:custGeom>
                  <a:avLst/>
                  <a:gdLst>
                    <a:gd name="connsiteX0" fmla="*/ 0 w 856587"/>
                    <a:gd name="connsiteY0" fmla="*/ 0 h 10785"/>
                    <a:gd name="connsiteX1" fmla="*/ 856587 w 856587"/>
                    <a:gd name="connsiteY1" fmla="*/ 0 h 1078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856587" h="10785">
                      <a:moveTo>
                        <a:pt x="0" y="0"/>
                      </a:moveTo>
                      <a:lnTo>
                        <a:pt x="856587" y="0"/>
                      </a:lnTo>
                    </a:path>
                  </a:pathLst>
                </a:custGeom>
                <a:ln w="10768" cap="flat">
                  <a:solidFill>
                    <a:srgbClr val="263238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1004" name="Полилиния: фигура 1003">
                  <a:extLst>
                    <a:ext uri="{FF2B5EF4-FFF2-40B4-BE49-F238E27FC236}">
                      <a16:creationId xmlns:a16="http://schemas.microsoft.com/office/drawing/2014/main" id="{78347F90-C516-4C4B-8572-0FA9A62DD849}"/>
                    </a:ext>
                  </a:extLst>
                </p:cNvPr>
                <p:cNvSpPr/>
                <p:nvPr/>
              </p:nvSpPr>
              <p:spPr>
                <a:xfrm>
                  <a:off x="8776129" y="4740736"/>
                  <a:ext cx="57379" cy="57379"/>
                </a:xfrm>
                <a:custGeom>
                  <a:avLst/>
                  <a:gdLst>
                    <a:gd name="connsiteX0" fmla="*/ 0 w 57379"/>
                    <a:gd name="connsiteY0" fmla="*/ 0 h 57379"/>
                    <a:gd name="connsiteX1" fmla="*/ 57379 w 57379"/>
                    <a:gd name="connsiteY1" fmla="*/ 0 h 57379"/>
                    <a:gd name="connsiteX2" fmla="*/ 57379 w 57379"/>
                    <a:gd name="connsiteY2" fmla="*/ 57379 h 57379"/>
                    <a:gd name="connsiteX3" fmla="*/ 0 w 57379"/>
                    <a:gd name="connsiteY3" fmla="*/ 57379 h 5737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57379" h="57379">
                      <a:moveTo>
                        <a:pt x="0" y="0"/>
                      </a:moveTo>
                      <a:lnTo>
                        <a:pt x="57379" y="0"/>
                      </a:lnTo>
                      <a:lnTo>
                        <a:pt x="57379" y="57379"/>
                      </a:lnTo>
                      <a:lnTo>
                        <a:pt x="0" y="57379"/>
                      </a:lnTo>
                      <a:close/>
                    </a:path>
                  </a:pathLst>
                </a:custGeom>
                <a:solidFill>
                  <a:srgbClr val="21A038"/>
                </a:solidFill>
                <a:ln w="10768" cap="flat">
                  <a:solidFill>
                    <a:srgbClr val="000000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</p:grpSp>
          <p:grpSp>
            <p:nvGrpSpPr>
              <p:cNvPr id="1005" name="Рисунок 2">
                <a:extLst>
                  <a:ext uri="{FF2B5EF4-FFF2-40B4-BE49-F238E27FC236}">
                    <a16:creationId xmlns:a16="http://schemas.microsoft.com/office/drawing/2014/main" id="{08640A5A-A127-43A2-9632-E378C3D71D5B}"/>
                  </a:ext>
                </a:extLst>
              </p:cNvPr>
              <p:cNvGrpSpPr/>
              <p:nvPr/>
            </p:nvGrpSpPr>
            <p:grpSpPr>
              <a:xfrm>
                <a:off x="8776129" y="4865956"/>
                <a:ext cx="960883" cy="57379"/>
                <a:chOff x="8776129" y="4865956"/>
                <a:chExt cx="960883" cy="57379"/>
              </a:xfrm>
              <a:solidFill>
                <a:srgbClr val="21A038"/>
              </a:solidFill>
            </p:grpSpPr>
            <p:sp>
              <p:nvSpPr>
                <p:cNvPr id="1006" name="Полилиния: фигура 1005">
                  <a:extLst>
                    <a:ext uri="{FF2B5EF4-FFF2-40B4-BE49-F238E27FC236}">
                      <a16:creationId xmlns:a16="http://schemas.microsoft.com/office/drawing/2014/main" id="{15C8A66A-815A-4F4C-8C3D-51BA357EF99A}"/>
                    </a:ext>
                  </a:extLst>
                </p:cNvPr>
                <p:cNvSpPr/>
                <p:nvPr/>
              </p:nvSpPr>
              <p:spPr>
                <a:xfrm>
                  <a:off x="8880425" y="4902627"/>
                  <a:ext cx="856587" cy="10785"/>
                </a:xfrm>
                <a:custGeom>
                  <a:avLst/>
                  <a:gdLst>
                    <a:gd name="connsiteX0" fmla="*/ 0 w 856587"/>
                    <a:gd name="connsiteY0" fmla="*/ 0 h 10785"/>
                    <a:gd name="connsiteX1" fmla="*/ 856587 w 856587"/>
                    <a:gd name="connsiteY1" fmla="*/ 0 h 1078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856587" h="10785">
                      <a:moveTo>
                        <a:pt x="0" y="0"/>
                      </a:moveTo>
                      <a:lnTo>
                        <a:pt x="856587" y="0"/>
                      </a:lnTo>
                    </a:path>
                  </a:pathLst>
                </a:custGeom>
                <a:ln w="10768" cap="flat">
                  <a:solidFill>
                    <a:srgbClr val="263238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1007" name="Полилиния: фигура 1006">
                  <a:extLst>
                    <a:ext uri="{FF2B5EF4-FFF2-40B4-BE49-F238E27FC236}">
                      <a16:creationId xmlns:a16="http://schemas.microsoft.com/office/drawing/2014/main" id="{E7990EFF-1761-478A-AB95-86868DA84A99}"/>
                    </a:ext>
                  </a:extLst>
                </p:cNvPr>
                <p:cNvSpPr/>
                <p:nvPr/>
              </p:nvSpPr>
              <p:spPr>
                <a:xfrm>
                  <a:off x="8776129" y="4865956"/>
                  <a:ext cx="57379" cy="57379"/>
                </a:xfrm>
                <a:custGeom>
                  <a:avLst/>
                  <a:gdLst>
                    <a:gd name="connsiteX0" fmla="*/ 0 w 57379"/>
                    <a:gd name="connsiteY0" fmla="*/ 0 h 57379"/>
                    <a:gd name="connsiteX1" fmla="*/ 57379 w 57379"/>
                    <a:gd name="connsiteY1" fmla="*/ 0 h 57379"/>
                    <a:gd name="connsiteX2" fmla="*/ 57379 w 57379"/>
                    <a:gd name="connsiteY2" fmla="*/ 57379 h 57379"/>
                    <a:gd name="connsiteX3" fmla="*/ 0 w 57379"/>
                    <a:gd name="connsiteY3" fmla="*/ 57379 h 5737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57379" h="57379">
                      <a:moveTo>
                        <a:pt x="0" y="0"/>
                      </a:moveTo>
                      <a:lnTo>
                        <a:pt x="57379" y="0"/>
                      </a:lnTo>
                      <a:lnTo>
                        <a:pt x="57379" y="57379"/>
                      </a:lnTo>
                      <a:lnTo>
                        <a:pt x="0" y="57379"/>
                      </a:lnTo>
                      <a:close/>
                    </a:path>
                  </a:pathLst>
                </a:custGeom>
                <a:solidFill>
                  <a:srgbClr val="21A038"/>
                </a:solidFill>
                <a:ln w="10768" cap="flat">
                  <a:solidFill>
                    <a:srgbClr val="000000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</p:grpSp>
          <p:grpSp>
            <p:nvGrpSpPr>
              <p:cNvPr id="1008" name="Рисунок 2">
                <a:extLst>
                  <a:ext uri="{FF2B5EF4-FFF2-40B4-BE49-F238E27FC236}">
                    <a16:creationId xmlns:a16="http://schemas.microsoft.com/office/drawing/2014/main" id="{08640A5A-A127-43A2-9632-E378C3D71D5B}"/>
                  </a:ext>
                </a:extLst>
              </p:cNvPr>
              <p:cNvGrpSpPr/>
              <p:nvPr/>
            </p:nvGrpSpPr>
            <p:grpSpPr>
              <a:xfrm>
                <a:off x="8776129" y="4991176"/>
                <a:ext cx="960883" cy="57379"/>
                <a:chOff x="8776129" y="4991176"/>
                <a:chExt cx="960883" cy="57379"/>
              </a:xfrm>
              <a:solidFill>
                <a:srgbClr val="21A038"/>
              </a:solidFill>
            </p:grpSpPr>
            <p:sp>
              <p:nvSpPr>
                <p:cNvPr id="1009" name="Полилиния: фигура 1008">
                  <a:extLst>
                    <a:ext uri="{FF2B5EF4-FFF2-40B4-BE49-F238E27FC236}">
                      <a16:creationId xmlns:a16="http://schemas.microsoft.com/office/drawing/2014/main" id="{A0549E0D-383C-4178-9912-CB3AB260A5C1}"/>
                    </a:ext>
                  </a:extLst>
                </p:cNvPr>
                <p:cNvSpPr/>
                <p:nvPr/>
              </p:nvSpPr>
              <p:spPr>
                <a:xfrm>
                  <a:off x="8880425" y="5027847"/>
                  <a:ext cx="856587" cy="10785"/>
                </a:xfrm>
                <a:custGeom>
                  <a:avLst/>
                  <a:gdLst>
                    <a:gd name="connsiteX0" fmla="*/ 0 w 856587"/>
                    <a:gd name="connsiteY0" fmla="*/ 0 h 10785"/>
                    <a:gd name="connsiteX1" fmla="*/ 856587 w 856587"/>
                    <a:gd name="connsiteY1" fmla="*/ 0 h 1078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856587" h="10785">
                      <a:moveTo>
                        <a:pt x="0" y="0"/>
                      </a:moveTo>
                      <a:lnTo>
                        <a:pt x="856587" y="0"/>
                      </a:lnTo>
                    </a:path>
                  </a:pathLst>
                </a:custGeom>
                <a:ln w="10768" cap="flat">
                  <a:solidFill>
                    <a:srgbClr val="263238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1010" name="Полилиния: фигура 1009">
                  <a:extLst>
                    <a:ext uri="{FF2B5EF4-FFF2-40B4-BE49-F238E27FC236}">
                      <a16:creationId xmlns:a16="http://schemas.microsoft.com/office/drawing/2014/main" id="{00850306-6AFE-471E-B38F-1C20B04227CC}"/>
                    </a:ext>
                  </a:extLst>
                </p:cNvPr>
                <p:cNvSpPr/>
                <p:nvPr/>
              </p:nvSpPr>
              <p:spPr>
                <a:xfrm>
                  <a:off x="8776129" y="4991176"/>
                  <a:ext cx="57379" cy="57379"/>
                </a:xfrm>
                <a:custGeom>
                  <a:avLst/>
                  <a:gdLst>
                    <a:gd name="connsiteX0" fmla="*/ 0 w 57379"/>
                    <a:gd name="connsiteY0" fmla="*/ 0 h 57379"/>
                    <a:gd name="connsiteX1" fmla="*/ 57379 w 57379"/>
                    <a:gd name="connsiteY1" fmla="*/ 0 h 57379"/>
                    <a:gd name="connsiteX2" fmla="*/ 57379 w 57379"/>
                    <a:gd name="connsiteY2" fmla="*/ 57379 h 57379"/>
                    <a:gd name="connsiteX3" fmla="*/ 0 w 57379"/>
                    <a:gd name="connsiteY3" fmla="*/ 57379 h 5737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57379" h="57379">
                      <a:moveTo>
                        <a:pt x="0" y="0"/>
                      </a:moveTo>
                      <a:lnTo>
                        <a:pt x="57379" y="0"/>
                      </a:lnTo>
                      <a:lnTo>
                        <a:pt x="57379" y="57379"/>
                      </a:lnTo>
                      <a:lnTo>
                        <a:pt x="0" y="57379"/>
                      </a:lnTo>
                      <a:close/>
                    </a:path>
                  </a:pathLst>
                </a:custGeom>
                <a:solidFill>
                  <a:srgbClr val="21A038"/>
                </a:solidFill>
                <a:ln w="10768" cap="flat">
                  <a:solidFill>
                    <a:srgbClr val="000000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</p:grpSp>
        </p:grpSp>
        <p:sp>
          <p:nvSpPr>
            <p:cNvPr id="1011" name="Полилиния: фигура 1010">
              <a:extLst>
                <a:ext uri="{FF2B5EF4-FFF2-40B4-BE49-F238E27FC236}">
                  <a16:creationId xmlns:a16="http://schemas.microsoft.com/office/drawing/2014/main" id="{47F046C3-F0B2-43D7-985C-0D59F1E63B28}"/>
                </a:ext>
              </a:extLst>
            </p:cNvPr>
            <p:cNvSpPr/>
            <p:nvPr/>
          </p:nvSpPr>
          <p:spPr>
            <a:xfrm>
              <a:off x="8114652" y="3955226"/>
              <a:ext cx="2103179" cy="1304510"/>
            </a:xfrm>
            <a:custGeom>
              <a:avLst/>
              <a:gdLst>
                <a:gd name="connsiteX0" fmla="*/ 0 w 2103179"/>
                <a:gd name="connsiteY0" fmla="*/ 0 h 1304510"/>
                <a:gd name="connsiteX1" fmla="*/ 2103180 w 2103179"/>
                <a:gd name="connsiteY1" fmla="*/ 0 h 1304510"/>
                <a:gd name="connsiteX2" fmla="*/ 2103180 w 2103179"/>
                <a:gd name="connsiteY2" fmla="*/ 1304511 h 1304510"/>
                <a:gd name="connsiteX3" fmla="*/ 0 w 2103179"/>
                <a:gd name="connsiteY3" fmla="*/ 1304511 h 13045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103179" h="1304510">
                  <a:moveTo>
                    <a:pt x="0" y="0"/>
                  </a:moveTo>
                  <a:lnTo>
                    <a:pt x="2103180" y="0"/>
                  </a:lnTo>
                  <a:lnTo>
                    <a:pt x="2103180" y="1304511"/>
                  </a:lnTo>
                  <a:lnTo>
                    <a:pt x="0" y="1304511"/>
                  </a:lnTo>
                  <a:close/>
                </a:path>
              </a:pathLst>
            </a:custGeom>
            <a:noFill/>
            <a:ln w="10768" cap="flat">
              <a:solidFill>
                <a:srgbClr val="263238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12" name="Полилиния: фигура 1011">
              <a:extLst>
                <a:ext uri="{FF2B5EF4-FFF2-40B4-BE49-F238E27FC236}">
                  <a16:creationId xmlns:a16="http://schemas.microsoft.com/office/drawing/2014/main" id="{94C3D30B-CC4D-41D5-80B0-EF3F8D57727E}"/>
                </a:ext>
              </a:extLst>
            </p:cNvPr>
            <p:cNvSpPr/>
            <p:nvPr/>
          </p:nvSpPr>
          <p:spPr>
            <a:xfrm>
              <a:off x="8114652" y="3955226"/>
              <a:ext cx="2103179" cy="104835"/>
            </a:xfrm>
            <a:custGeom>
              <a:avLst/>
              <a:gdLst>
                <a:gd name="connsiteX0" fmla="*/ 0 w 2103179"/>
                <a:gd name="connsiteY0" fmla="*/ 0 h 104835"/>
                <a:gd name="connsiteX1" fmla="*/ 2103180 w 2103179"/>
                <a:gd name="connsiteY1" fmla="*/ 0 h 104835"/>
                <a:gd name="connsiteX2" fmla="*/ 2103180 w 2103179"/>
                <a:gd name="connsiteY2" fmla="*/ 104836 h 104835"/>
                <a:gd name="connsiteX3" fmla="*/ 0 w 2103179"/>
                <a:gd name="connsiteY3" fmla="*/ 104836 h 1048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103179" h="104835">
                  <a:moveTo>
                    <a:pt x="0" y="0"/>
                  </a:moveTo>
                  <a:lnTo>
                    <a:pt x="2103180" y="0"/>
                  </a:lnTo>
                  <a:lnTo>
                    <a:pt x="2103180" y="104836"/>
                  </a:lnTo>
                  <a:lnTo>
                    <a:pt x="0" y="104836"/>
                  </a:lnTo>
                  <a:close/>
                </a:path>
              </a:pathLst>
            </a:custGeom>
            <a:noFill/>
            <a:ln w="10768" cap="flat">
              <a:solidFill>
                <a:srgbClr val="263238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13" name="Полилиния: фигура 1012">
              <a:extLst>
                <a:ext uri="{FF2B5EF4-FFF2-40B4-BE49-F238E27FC236}">
                  <a16:creationId xmlns:a16="http://schemas.microsoft.com/office/drawing/2014/main" id="{C964FB08-3B7B-4BC4-AB53-ECFEA96B8991}"/>
                </a:ext>
              </a:extLst>
            </p:cNvPr>
            <p:cNvSpPr/>
            <p:nvPr/>
          </p:nvSpPr>
          <p:spPr>
            <a:xfrm>
              <a:off x="8665577" y="4067395"/>
              <a:ext cx="10785" cy="1181231"/>
            </a:xfrm>
            <a:custGeom>
              <a:avLst/>
              <a:gdLst>
                <a:gd name="connsiteX0" fmla="*/ 0 w 10785"/>
                <a:gd name="connsiteY0" fmla="*/ 0 h 1181231"/>
                <a:gd name="connsiteX1" fmla="*/ 0 w 10785"/>
                <a:gd name="connsiteY1" fmla="*/ 1181232 h 11812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785" h="1181231">
                  <a:moveTo>
                    <a:pt x="0" y="0"/>
                  </a:moveTo>
                  <a:lnTo>
                    <a:pt x="0" y="1181232"/>
                  </a:lnTo>
                </a:path>
              </a:pathLst>
            </a:custGeom>
            <a:ln w="10768" cap="flat">
              <a:solidFill>
                <a:srgbClr val="263238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grpSp>
          <p:nvGrpSpPr>
            <p:cNvPr id="1014" name="Рисунок 2">
              <a:extLst>
                <a:ext uri="{FF2B5EF4-FFF2-40B4-BE49-F238E27FC236}">
                  <a16:creationId xmlns:a16="http://schemas.microsoft.com/office/drawing/2014/main" id="{08640A5A-A127-43A2-9632-E378C3D71D5B}"/>
                </a:ext>
              </a:extLst>
            </p:cNvPr>
            <p:cNvGrpSpPr/>
            <p:nvPr/>
          </p:nvGrpSpPr>
          <p:grpSpPr>
            <a:xfrm>
              <a:off x="8765559" y="4154758"/>
              <a:ext cx="363041" cy="363041"/>
              <a:chOff x="8765559" y="4154758"/>
              <a:chExt cx="363041" cy="363041"/>
            </a:xfrm>
            <a:noFill/>
          </p:grpSpPr>
          <p:sp>
            <p:nvSpPr>
              <p:cNvPr id="1015" name="Полилиния: фигура 1014">
                <a:extLst>
                  <a:ext uri="{FF2B5EF4-FFF2-40B4-BE49-F238E27FC236}">
                    <a16:creationId xmlns:a16="http://schemas.microsoft.com/office/drawing/2014/main" id="{1479C985-A88B-4EDD-A040-36300E181632}"/>
                  </a:ext>
                </a:extLst>
              </p:cNvPr>
              <p:cNvSpPr/>
              <p:nvPr/>
            </p:nvSpPr>
            <p:spPr>
              <a:xfrm>
                <a:off x="8765559" y="4154758"/>
                <a:ext cx="363041" cy="363041"/>
              </a:xfrm>
              <a:custGeom>
                <a:avLst/>
                <a:gdLst>
                  <a:gd name="connsiteX0" fmla="*/ 363041 w 363041"/>
                  <a:gd name="connsiteY0" fmla="*/ 181521 h 363041"/>
                  <a:gd name="connsiteX1" fmla="*/ 181520 w 363041"/>
                  <a:gd name="connsiteY1" fmla="*/ 363041 h 363041"/>
                  <a:gd name="connsiteX2" fmla="*/ 0 w 363041"/>
                  <a:gd name="connsiteY2" fmla="*/ 181521 h 363041"/>
                  <a:gd name="connsiteX3" fmla="*/ 181520 w 363041"/>
                  <a:gd name="connsiteY3" fmla="*/ 0 h 363041"/>
                  <a:gd name="connsiteX4" fmla="*/ 363041 w 363041"/>
                  <a:gd name="connsiteY4" fmla="*/ 181521 h 3630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63041" h="363041">
                    <a:moveTo>
                      <a:pt x="363041" y="181521"/>
                    </a:moveTo>
                    <a:cubicBezTo>
                      <a:pt x="363041" y="281772"/>
                      <a:pt x="281772" y="363041"/>
                      <a:pt x="181520" y="363041"/>
                    </a:cubicBezTo>
                    <a:cubicBezTo>
                      <a:pt x="81269" y="363041"/>
                      <a:pt x="0" y="281772"/>
                      <a:pt x="0" y="181521"/>
                    </a:cubicBezTo>
                    <a:cubicBezTo>
                      <a:pt x="0" y="81269"/>
                      <a:pt x="81269" y="0"/>
                      <a:pt x="181520" y="0"/>
                    </a:cubicBezTo>
                    <a:cubicBezTo>
                      <a:pt x="281772" y="0"/>
                      <a:pt x="363041" y="81269"/>
                      <a:pt x="363041" y="181521"/>
                    </a:cubicBezTo>
                    <a:close/>
                  </a:path>
                </a:pathLst>
              </a:custGeom>
              <a:noFill/>
              <a:ln w="10768" cap="flat">
                <a:solidFill>
                  <a:srgbClr val="26323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016" name="Полилиния: фигура 1015">
                <a:extLst>
                  <a:ext uri="{FF2B5EF4-FFF2-40B4-BE49-F238E27FC236}">
                    <a16:creationId xmlns:a16="http://schemas.microsoft.com/office/drawing/2014/main" id="{5A6FF841-3F14-42CB-93D4-C2C896968033}"/>
                  </a:ext>
                </a:extLst>
              </p:cNvPr>
              <p:cNvSpPr/>
              <p:nvPr/>
            </p:nvSpPr>
            <p:spPr>
              <a:xfrm>
                <a:off x="8882690" y="4251181"/>
                <a:ext cx="128779" cy="128779"/>
              </a:xfrm>
              <a:custGeom>
                <a:avLst/>
                <a:gdLst>
                  <a:gd name="connsiteX0" fmla="*/ 128779 w 128779"/>
                  <a:gd name="connsiteY0" fmla="*/ 64390 h 128779"/>
                  <a:gd name="connsiteX1" fmla="*/ 64390 w 128779"/>
                  <a:gd name="connsiteY1" fmla="*/ 128779 h 128779"/>
                  <a:gd name="connsiteX2" fmla="*/ 0 w 128779"/>
                  <a:gd name="connsiteY2" fmla="*/ 64390 h 128779"/>
                  <a:gd name="connsiteX3" fmla="*/ 64390 w 128779"/>
                  <a:gd name="connsiteY3" fmla="*/ 0 h 128779"/>
                  <a:gd name="connsiteX4" fmla="*/ 128779 w 128779"/>
                  <a:gd name="connsiteY4" fmla="*/ 64390 h 1287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8779" h="128779">
                    <a:moveTo>
                      <a:pt x="128779" y="64390"/>
                    </a:moveTo>
                    <a:cubicBezTo>
                      <a:pt x="128779" y="99874"/>
                      <a:pt x="99982" y="128779"/>
                      <a:pt x="64390" y="128779"/>
                    </a:cubicBezTo>
                    <a:cubicBezTo>
                      <a:pt x="28797" y="128779"/>
                      <a:pt x="0" y="99982"/>
                      <a:pt x="0" y="64390"/>
                    </a:cubicBezTo>
                    <a:cubicBezTo>
                      <a:pt x="0" y="28797"/>
                      <a:pt x="28797" y="0"/>
                      <a:pt x="64390" y="0"/>
                    </a:cubicBezTo>
                    <a:cubicBezTo>
                      <a:pt x="99982" y="0"/>
                      <a:pt x="128779" y="28797"/>
                      <a:pt x="128779" y="64390"/>
                    </a:cubicBezTo>
                    <a:close/>
                  </a:path>
                </a:pathLst>
              </a:custGeom>
              <a:noFill/>
              <a:ln w="10768" cap="flat">
                <a:solidFill>
                  <a:srgbClr val="26323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017" name="Полилиния: фигура 1016">
                <a:extLst>
                  <a:ext uri="{FF2B5EF4-FFF2-40B4-BE49-F238E27FC236}">
                    <a16:creationId xmlns:a16="http://schemas.microsoft.com/office/drawing/2014/main" id="{BBF4945C-08C2-48C9-AF0A-C4579B615F43}"/>
                  </a:ext>
                </a:extLst>
              </p:cNvPr>
              <p:cNvSpPr/>
              <p:nvPr/>
            </p:nvSpPr>
            <p:spPr>
              <a:xfrm>
                <a:off x="8837930" y="4388589"/>
                <a:ext cx="218299" cy="129210"/>
              </a:xfrm>
              <a:custGeom>
                <a:avLst/>
                <a:gdLst>
                  <a:gd name="connsiteX0" fmla="*/ 109150 w 218299"/>
                  <a:gd name="connsiteY0" fmla="*/ 129211 h 129210"/>
                  <a:gd name="connsiteX1" fmla="*/ 218299 w 218299"/>
                  <a:gd name="connsiteY1" fmla="*/ 92432 h 129210"/>
                  <a:gd name="connsiteX2" fmla="*/ 109150 w 218299"/>
                  <a:gd name="connsiteY2" fmla="*/ 0 h 129210"/>
                  <a:gd name="connsiteX3" fmla="*/ 0 w 218299"/>
                  <a:gd name="connsiteY3" fmla="*/ 92432 h 129210"/>
                  <a:gd name="connsiteX4" fmla="*/ 109150 w 218299"/>
                  <a:gd name="connsiteY4" fmla="*/ 129211 h 1292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18299" h="129210">
                    <a:moveTo>
                      <a:pt x="109150" y="129211"/>
                    </a:moveTo>
                    <a:cubicBezTo>
                      <a:pt x="150243" y="129211"/>
                      <a:pt x="187884" y="115405"/>
                      <a:pt x="218299" y="92432"/>
                    </a:cubicBezTo>
                    <a:cubicBezTo>
                      <a:pt x="209563" y="40014"/>
                      <a:pt x="164048" y="0"/>
                      <a:pt x="109150" y="0"/>
                    </a:cubicBezTo>
                    <a:cubicBezTo>
                      <a:pt x="54251" y="0"/>
                      <a:pt x="8736" y="40014"/>
                      <a:pt x="0" y="92432"/>
                    </a:cubicBezTo>
                    <a:cubicBezTo>
                      <a:pt x="30415" y="115405"/>
                      <a:pt x="68165" y="129211"/>
                      <a:pt x="109150" y="129211"/>
                    </a:cubicBezTo>
                    <a:close/>
                  </a:path>
                </a:pathLst>
              </a:custGeom>
              <a:noFill/>
              <a:ln w="10768" cap="flat">
                <a:solidFill>
                  <a:srgbClr val="26323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</p:grpSp>
        <p:grpSp>
          <p:nvGrpSpPr>
            <p:cNvPr id="1018" name="Рисунок 2">
              <a:extLst>
                <a:ext uri="{FF2B5EF4-FFF2-40B4-BE49-F238E27FC236}">
                  <a16:creationId xmlns:a16="http://schemas.microsoft.com/office/drawing/2014/main" id="{08640A5A-A127-43A2-9632-E378C3D71D5B}"/>
                </a:ext>
              </a:extLst>
            </p:cNvPr>
            <p:cNvGrpSpPr/>
            <p:nvPr/>
          </p:nvGrpSpPr>
          <p:grpSpPr>
            <a:xfrm>
              <a:off x="8307066" y="4235650"/>
              <a:ext cx="174725" cy="174725"/>
              <a:chOff x="8307066" y="4235650"/>
              <a:chExt cx="174725" cy="174725"/>
            </a:xfrm>
            <a:noFill/>
          </p:grpSpPr>
          <p:sp>
            <p:nvSpPr>
              <p:cNvPr id="1019" name="Полилиния: фигура 1018">
                <a:extLst>
                  <a:ext uri="{FF2B5EF4-FFF2-40B4-BE49-F238E27FC236}">
                    <a16:creationId xmlns:a16="http://schemas.microsoft.com/office/drawing/2014/main" id="{5CC03324-F05C-4C36-A8DC-F78FD5E48042}"/>
                  </a:ext>
                </a:extLst>
              </p:cNvPr>
              <p:cNvSpPr/>
              <p:nvPr/>
            </p:nvSpPr>
            <p:spPr>
              <a:xfrm>
                <a:off x="8307066" y="4235650"/>
                <a:ext cx="174725" cy="174725"/>
              </a:xfrm>
              <a:custGeom>
                <a:avLst/>
                <a:gdLst>
                  <a:gd name="connsiteX0" fmla="*/ 174726 w 174725"/>
                  <a:gd name="connsiteY0" fmla="*/ 87363 h 174725"/>
                  <a:gd name="connsiteX1" fmla="*/ 87363 w 174725"/>
                  <a:gd name="connsiteY1" fmla="*/ 174726 h 174725"/>
                  <a:gd name="connsiteX2" fmla="*/ 0 w 174725"/>
                  <a:gd name="connsiteY2" fmla="*/ 87363 h 174725"/>
                  <a:gd name="connsiteX3" fmla="*/ 87363 w 174725"/>
                  <a:gd name="connsiteY3" fmla="*/ 0 h 174725"/>
                  <a:gd name="connsiteX4" fmla="*/ 174726 w 174725"/>
                  <a:gd name="connsiteY4" fmla="*/ 87363 h 1747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4725" h="174725">
                    <a:moveTo>
                      <a:pt x="174726" y="87363"/>
                    </a:moveTo>
                    <a:cubicBezTo>
                      <a:pt x="174726" y="135612"/>
                      <a:pt x="135612" y="174726"/>
                      <a:pt x="87363" y="174726"/>
                    </a:cubicBezTo>
                    <a:cubicBezTo>
                      <a:pt x="39113" y="174726"/>
                      <a:pt x="0" y="135612"/>
                      <a:pt x="0" y="87363"/>
                    </a:cubicBezTo>
                    <a:cubicBezTo>
                      <a:pt x="0" y="39114"/>
                      <a:pt x="39113" y="0"/>
                      <a:pt x="87363" y="0"/>
                    </a:cubicBezTo>
                    <a:cubicBezTo>
                      <a:pt x="135612" y="0"/>
                      <a:pt x="174726" y="39114"/>
                      <a:pt x="174726" y="87363"/>
                    </a:cubicBezTo>
                    <a:close/>
                  </a:path>
                </a:pathLst>
              </a:custGeom>
              <a:noFill/>
              <a:ln w="10768" cap="flat">
                <a:solidFill>
                  <a:srgbClr val="26323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020" name="Полилиния: фигура 1019">
                <a:extLst>
                  <a:ext uri="{FF2B5EF4-FFF2-40B4-BE49-F238E27FC236}">
                    <a16:creationId xmlns:a16="http://schemas.microsoft.com/office/drawing/2014/main" id="{F99EE8CE-14AD-4BFB-8815-BBF399524044}"/>
                  </a:ext>
                </a:extLst>
              </p:cNvPr>
              <p:cNvSpPr/>
              <p:nvPr/>
            </p:nvSpPr>
            <p:spPr>
              <a:xfrm>
                <a:off x="8363474" y="4282027"/>
                <a:ext cx="61908" cy="61908"/>
              </a:xfrm>
              <a:custGeom>
                <a:avLst/>
                <a:gdLst>
                  <a:gd name="connsiteX0" fmla="*/ 61909 w 61908"/>
                  <a:gd name="connsiteY0" fmla="*/ 30954 h 61908"/>
                  <a:gd name="connsiteX1" fmla="*/ 30954 w 61908"/>
                  <a:gd name="connsiteY1" fmla="*/ 61909 h 61908"/>
                  <a:gd name="connsiteX2" fmla="*/ 0 w 61908"/>
                  <a:gd name="connsiteY2" fmla="*/ 30954 h 61908"/>
                  <a:gd name="connsiteX3" fmla="*/ 30954 w 61908"/>
                  <a:gd name="connsiteY3" fmla="*/ 0 h 61908"/>
                  <a:gd name="connsiteX4" fmla="*/ 61909 w 61908"/>
                  <a:gd name="connsiteY4" fmla="*/ 30954 h 619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1908" h="61908">
                    <a:moveTo>
                      <a:pt x="61909" y="30954"/>
                    </a:moveTo>
                    <a:cubicBezTo>
                      <a:pt x="61909" y="47996"/>
                      <a:pt x="48103" y="61909"/>
                      <a:pt x="30954" y="61909"/>
                    </a:cubicBezTo>
                    <a:cubicBezTo>
                      <a:pt x="13805" y="61909"/>
                      <a:pt x="0" y="48103"/>
                      <a:pt x="0" y="30954"/>
                    </a:cubicBezTo>
                    <a:cubicBezTo>
                      <a:pt x="0" y="13805"/>
                      <a:pt x="13805" y="0"/>
                      <a:pt x="30954" y="0"/>
                    </a:cubicBezTo>
                    <a:cubicBezTo>
                      <a:pt x="48103" y="0"/>
                      <a:pt x="61909" y="13805"/>
                      <a:pt x="61909" y="30954"/>
                    </a:cubicBezTo>
                    <a:close/>
                  </a:path>
                </a:pathLst>
              </a:custGeom>
              <a:noFill/>
              <a:ln w="10768" cap="flat">
                <a:solidFill>
                  <a:srgbClr val="26323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021" name="Полилиния: фигура 1020">
                <a:extLst>
                  <a:ext uri="{FF2B5EF4-FFF2-40B4-BE49-F238E27FC236}">
                    <a16:creationId xmlns:a16="http://schemas.microsoft.com/office/drawing/2014/main" id="{F650EAE2-C9B6-4FFE-B35A-D859F6A3331C}"/>
                  </a:ext>
                </a:extLst>
              </p:cNvPr>
              <p:cNvSpPr/>
              <p:nvPr/>
            </p:nvSpPr>
            <p:spPr>
              <a:xfrm>
                <a:off x="8341903" y="4348143"/>
                <a:ext cx="105051" cy="62124"/>
              </a:xfrm>
              <a:custGeom>
                <a:avLst/>
                <a:gdLst>
                  <a:gd name="connsiteX0" fmla="*/ 52526 w 105051"/>
                  <a:gd name="connsiteY0" fmla="*/ 62125 h 62124"/>
                  <a:gd name="connsiteX1" fmla="*/ 105051 w 105051"/>
                  <a:gd name="connsiteY1" fmla="*/ 44436 h 62124"/>
                  <a:gd name="connsiteX2" fmla="*/ 52526 w 105051"/>
                  <a:gd name="connsiteY2" fmla="*/ 0 h 62124"/>
                  <a:gd name="connsiteX3" fmla="*/ 0 w 105051"/>
                  <a:gd name="connsiteY3" fmla="*/ 44436 h 62124"/>
                  <a:gd name="connsiteX4" fmla="*/ 52526 w 105051"/>
                  <a:gd name="connsiteY4" fmla="*/ 62125 h 621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05051" h="62124">
                    <a:moveTo>
                      <a:pt x="52526" y="62125"/>
                    </a:moveTo>
                    <a:cubicBezTo>
                      <a:pt x="72263" y="62125"/>
                      <a:pt x="90383" y="55545"/>
                      <a:pt x="105051" y="44436"/>
                    </a:cubicBezTo>
                    <a:cubicBezTo>
                      <a:pt x="100845" y="19198"/>
                      <a:pt x="78950" y="0"/>
                      <a:pt x="52526" y="0"/>
                    </a:cubicBezTo>
                    <a:cubicBezTo>
                      <a:pt x="26101" y="0"/>
                      <a:pt x="4206" y="19198"/>
                      <a:pt x="0" y="44436"/>
                    </a:cubicBezTo>
                    <a:cubicBezTo>
                      <a:pt x="14668" y="55437"/>
                      <a:pt x="32788" y="62125"/>
                      <a:pt x="52526" y="62125"/>
                    </a:cubicBezTo>
                    <a:close/>
                  </a:path>
                </a:pathLst>
              </a:custGeom>
              <a:noFill/>
              <a:ln w="10768" cap="flat">
                <a:solidFill>
                  <a:srgbClr val="26323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</p:grpSp>
        <p:grpSp>
          <p:nvGrpSpPr>
            <p:cNvPr id="1022" name="Рисунок 2">
              <a:extLst>
                <a:ext uri="{FF2B5EF4-FFF2-40B4-BE49-F238E27FC236}">
                  <a16:creationId xmlns:a16="http://schemas.microsoft.com/office/drawing/2014/main" id="{08640A5A-A127-43A2-9632-E378C3D71D5B}"/>
                </a:ext>
              </a:extLst>
            </p:cNvPr>
            <p:cNvGrpSpPr/>
            <p:nvPr/>
          </p:nvGrpSpPr>
          <p:grpSpPr>
            <a:xfrm>
              <a:off x="8307066" y="4601279"/>
              <a:ext cx="174725" cy="174725"/>
              <a:chOff x="8307066" y="4601279"/>
              <a:chExt cx="174725" cy="174725"/>
            </a:xfrm>
            <a:noFill/>
          </p:grpSpPr>
          <p:sp>
            <p:nvSpPr>
              <p:cNvPr id="1023" name="Полилиния: фигура 1022">
                <a:extLst>
                  <a:ext uri="{FF2B5EF4-FFF2-40B4-BE49-F238E27FC236}">
                    <a16:creationId xmlns:a16="http://schemas.microsoft.com/office/drawing/2014/main" id="{924C97C7-6330-482D-A2E9-CD14A7E690A9}"/>
                  </a:ext>
                </a:extLst>
              </p:cNvPr>
              <p:cNvSpPr/>
              <p:nvPr/>
            </p:nvSpPr>
            <p:spPr>
              <a:xfrm>
                <a:off x="8307066" y="4601279"/>
                <a:ext cx="174725" cy="174725"/>
              </a:xfrm>
              <a:custGeom>
                <a:avLst/>
                <a:gdLst>
                  <a:gd name="connsiteX0" fmla="*/ 174726 w 174725"/>
                  <a:gd name="connsiteY0" fmla="*/ 87363 h 174725"/>
                  <a:gd name="connsiteX1" fmla="*/ 87363 w 174725"/>
                  <a:gd name="connsiteY1" fmla="*/ 174726 h 174725"/>
                  <a:gd name="connsiteX2" fmla="*/ 0 w 174725"/>
                  <a:gd name="connsiteY2" fmla="*/ 87363 h 174725"/>
                  <a:gd name="connsiteX3" fmla="*/ 87363 w 174725"/>
                  <a:gd name="connsiteY3" fmla="*/ 0 h 174725"/>
                  <a:gd name="connsiteX4" fmla="*/ 174726 w 174725"/>
                  <a:gd name="connsiteY4" fmla="*/ 87363 h 1747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4725" h="174725">
                    <a:moveTo>
                      <a:pt x="174726" y="87363"/>
                    </a:moveTo>
                    <a:cubicBezTo>
                      <a:pt x="174726" y="135612"/>
                      <a:pt x="135612" y="174726"/>
                      <a:pt x="87363" y="174726"/>
                    </a:cubicBezTo>
                    <a:cubicBezTo>
                      <a:pt x="39113" y="174726"/>
                      <a:pt x="0" y="135612"/>
                      <a:pt x="0" y="87363"/>
                    </a:cubicBezTo>
                    <a:cubicBezTo>
                      <a:pt x="0" y="39114"/>
                      <a:pt x="39113" y="0"/>
                      <a:pt x="87363" y="0"/>
                    </a:cubicBezTo>
                    <a:cubicBezTo>
                      <a:pt x="135612" y="0"/>
                      <a:pt x="174726" y="39114"/>
                      <a:pt x="174726" y="87363"/>
                    </a:cubicBezTo>
                    <a:close/>
                  </a:path>
                </a:pathLst>
              </a:custGeom>
              <a:noFill/>
              <a:ln w="10768" cap="flat">
                <a:solidFill>
                  <a:srgbClr val="26323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800" name="Полилиния: фигура 799">
                <a:extLst>
                  <a:ext uri="{FF2B5EF4-FFF2-40B4-BE49-F238E27FC236}">
                    <a16:creationId xmlns:a16="http://schemas.microsoft.com/office/drawing/2014/main" id="{48B4AD68-5BFB-4C49-A7C2-236F4CE2D7A7}"/>
                  </a:ext>
                </a:extLst>
              </p:cNvPr>
              <p:cNvSpPr/>
              <p:nvPr/>
            </p:nvSpPr>
            <p:spPr>
              <a:xfrm>
                <a:off x="8363474" y="4647657"/>
                <a:ext cx="61908" cy="61909"/>
              </a:xfrm>
              <a:custGeom>
                <a:avLst/>
                <a:gdLst>
                  <a:gd name="connsiteX0" fmla="*/ 61909 w 61908"/>
                  <a:gd name="connsiteY0" fmla="*/ 30954 h 61909"/>
                  <a:gd name="connsiteX1" fmla="*/ 30954 w 61908"/>
                  <a:gd name="connsiteY1" fmla="*/ 61909 h 61909"/>
                  <a:gd name="connsiteX2" fmla="*/ 0 w 61908"/>
                  <a:gd name="connsiteY2" fmla="*/ 30954 h 61909"/>
                  <a:gd name="connsiteX3" fmla="*/ 30954 w 61908"/>
                  <a:gd name="connsiteY3" fmla="*/ 0 h 61909"/>
                  <a:gd name="connsiteX4" fmla="*/ 61909 w 61908"/>
                  <a:gd name="connsiteY4" fmla="*/ 30954 h 619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1908" h="61909">
                    <a:moveTo>
                      <a:pt x="61909" y="30954"/>
                    </a:moveTo>
                    <a:cubicBezTo>
                      <a:pt x="61909" y="47996"/>
                      <a:pt x="48103" y="61909"/>
                      <a:pt x="30954" y="61909"/>
                    </a:cubicBezTo>
                    <a:cubicBezTo>
                      <a:pt x="13805" y="61909"/>
                      <a:pt x="0" y="48104"/>
                      <a:pt x="0" y="30954"/>
                    </a:cubicBezTo>
                    <a:cubicBezTo>
                      <a:pt x="0" y="13805"/>
                      <a:pt x="13805" y="0"/>
                      <a:pt x="30954" y="0"/>
                    </a:cubicBezTo>
                    <a:cubicBezTo>
                      <a:pt x="48103" y="0"/>
                      <a:pt x="61909" y="13805"/>
                      <a:pt x="61909" y="30954"/>
                    </a:cubicBezTo>
                    <a:close/>
                  </a:path>
                </a:pathLst>
              </a:custGeom>
              <a:noFill/>
              <a:ln w="10768" cap="flat">
                <a:solidFill>
                  <a:srgbClr val="26323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801" name="Полилиния: фигура 800">
                <a:extLst>
                  <a:ext uri="{FF2B5EF4-FFF2-40B4-BE49-F238E27FC236}">
                    <a16:creationId xmlns:a16="http://schemas.microsoft.com/office/drawing/2014/main" id="{EDC08005-4145-4FE2-AFAA-5C870B1BCEAD}"/>
                  </a:ext>
                </a:extLst>
              </p:cNvPr>
              <p:cNvSpPr/>
              <p:nvPr/>
            </p:nvSpPr>
            <p:spPr>
              <a:xfrm>
                <a:off x="8341903" y="4713772"/>
                <a:ext cx="105051" cy="62124"/>
              </a:xfrm>
              <a:custGeom>
                <a:avLst/>
                <a:gdLst>
                  <a:gd name="connsiteX0" fmla="*/ 52526 w 105051"/>
                  <a:gd name="connsiteY0" fmla="*/ 62125 h 62124"/>
                  <a:gd name="connsiteX1" fmla="*/ 105051 w 105051"/>
                  <a:gd name="connsiteY1" fmla="*/ 44436 h 62124"/>
                  <a:gd name="connsiteX2" fmla="*/ 52526 w 105051"/>
                  <a:gd name="connsiteY2" fmla="*/ 0 h 62124"/>
                  <a:gd name="connsiteX3" fmla="*/ 0 w 105051"/>
                  <a:gd name="connsiteY3" fmla="*/ 44436 h 62124"/>
                  <a:gd name="connsiteX4" fmla="*/ 52526 w 105051"/>
                  <a:gd name="connsiteY4" fmla="*/ 62125 h 621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05051" h="62124">
                    <a:moveTo>
                      <a:pt x="52526" y="62125"/>
                    </a:moveTo>
                    <a:cubicBezTo>
                      <a:pt x="72263" y="62125"/>
                      <a:pt x="90383" y="55545"/>
                      <a:pt x="105051" y="44436"/>
                    </a:cubicBezTo>
                    <a:cubicBezTo>
                      <a:pt x="100845" y="19198"/>
                      <a:pt x="78950" y="0"/>
                      <a:pt x="52526" y="0"/>
                    </a:cubicBezTo>
                    <a:cubicBezTo>
                      <a:pt x="26101" y="0"/>
                      <a:pt x="4206" y="19198"/>
                      <a:pt x="0" y="44436"/>
                    </a:cubicBezTo>
                    <a:cubicBezTo>
                      <a:pt x="14668" y="55438"/>
                      <a:pt x="32788" y="62125"/>
                      <a:pt x="52526" y="62125"/>
                    </a:cubicBezTo>
                    <a:close/>
                  </a:path>
                </a:pathLst>
              </a:custGeom>
              <a:noFill/>
              <a:ln w="10768" cap="flat">
                <a:solidFill>
                  <a:srgbClr val="26323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</p:grpSp>
        <p:grpSp>
          <p:nvGrpSpPr>
            <p:cNvPr id="802" name="Рисунок 2">
              <a:extLst>
                <a:ext uri="{FF2B5EF4-FFF2-40B4-BE49-F238E27FC236}">
                  <a16:creationId xmlns:a16="http://schemas.microsoft.com/office/drawing/2014/main" id="{08640A5A-A127-43A2-9632-E378C3D71D5B}"/>
                </a:ext>
              </a:extLst>
            </p:cNvPr>
            <p:cNvGrpSpPr/>
            <p:nvPr/>
          </p:nvGrpSpPr>
          <p:grpSpPr>
            <a:xfrm>
              <a:off x="8307066" y="4966909"/>
              <a:ext cx="174725" cy="174725"/>
              <a:chOff x="8307066" y="4966909"/>
              <a:chExt cx="174725" cy="174725"/>
            </a:xfrm>
            <a:noFill/>
          </p:grpSpPr>
          <p:sp>
            <p:nvSpPr>
              <p:cNvPr id="803" name="Полилиния: фигура 802">
                <a:extLst>
                  <a:ext uri="{FF2B5EF4-FFF2-40B4-BE49-F238E27FC236}">
                    <a16:creationId xmlns:a16="http://schemas.microsoft.com/office/drawing/2014/main" id="{6163F09D-026A-4B57-B53E-CDA925876EBC}"/>
                  </a:ext>
                </a:extLst>
              </p:cNvPr>
              <p:cNvSpPr/>
              <p:nvPr/>
            </p:nvSpPr>
            <p:spPr>
              <a:xfrm>
                <a:off x="8307066" y="4966909"/>
                <a:ext cx="174725" cy="174725"/>
              </a:xfrm>
              <a:custGeom>
                <a:avLst/>
                <a:gdLst>
                  <a:gd name="connsiteX0" fmla="*/ 174726 w 174725"/>
                  <a:gd name="connsiteY0" fmla="*/ 87363 h 174725"/>
                  <a:gd name="connsiteX1" fmla="*/ 87363 w 174725"/>
                  <a:gd name="connsiteY1" fmla="*/ 174726 h 174725"/>
                  <a:gd name="connsiteX2" fmla="*/ 0 w 174725"/>
                  <a:gd name="connsiteY2" fmla="*/ 87363 h 174725"/>
                  <a:gd name="connsiteX3" fmla="*/ 87363 w 174725"/>
                  <a:gd name="connsiteY3" fmla="*/ 0 h 174725"/>
                  <a:gd name="connsiteX4" fmla="*/ 174726 w 174725"/>
                  <a:gd name="connsiteY4" fmla="*/ 87363 h 1747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4725" h="174725">
                    <a:moveTo>
                      <a:pt x="174726" y="87363"/>
                    </a:moveTo>
                    <a:cubicBezTo>
                      <a:pt x="174726" y="135612"/>
                      <a:pt x="135612" y="174726"/>
                      <a:pt x="87363" y="174726"/>
                    </a:cubicBezTo>
                    <a:cubicBezTo>
                      <a:pt x="39113" y="174726"/>
                      <a:pt x="0" y="135612"/>
                      <a:pt x="0" y="87363"/>
                    </a:cubicBezTo>
                    <a:cubicBezTo>
                      <a:pt x="0" y="39114"/>
                      <a:pt x="39113" y="0"/>
                      <a:pt x="87363" y="0"/>
                    </a:cubicBezTo>
                    <a:cubicBezTo>
                      <a:pt x="135612" y="0"/>
                      <a:pt x="174726" y="39114"/>
                      <a:pt x="174726" y="87363"/>
                    </a:cubicBezTo>
                    <a:close/>
                  </a:path>
                </a:pathLst>
              </a:custGeom>
              <a:noFill/>
              <a:ln w="10768" cap="flat">
                <a:solidFill>
                  <a:srgbClr val="26323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804" name="Полилиния: фигура 803">
                <a:extLst>
                  <a:ext uri="{FF2B5EF4-FFF2-40B4-BE49-F238E27FC236}">
                    <a16:creationId xmlns:a16="http://schemas.microsoft.com/office/drawing/2014/main" id="{817A9D10-1D95-4EDA-A015-A1D119037892}"/>
                  </a:ext>
                </a:extLst>
              </p:cNvPr>
              <p:cNvSpPr/>
              <p:nvPr/>
            </p:nvSpPr>
            <p:spPr>
              <a:xfrm>
                <a:off x="8363474" y="5013395"/>
                <a:ext cx="61908" cy="61909"/>
              </a:xfrm>
              <a:custGeom>
                <a:avLst/>
                <a:gdLst>
                  <a:gd name="connsiteX0" fmla="*/ 61909 w 61908"/>
                  <a:gd name="connsiteY0" fmla="*/ 30954 h 61909"/>
                  <a:gd name="connsiteX1" fmla="*/ 30954 w 61908"/>
                  <a:gd name="connsiteY1" fmla="*/ 61909 h 61909"/>
                  <a:gd name="connsiteX2" fmla="*/ 0 w 61908"/>
                  <a:gd name="connsiteY2" fmla="*/ 30954 h 61909"/>
                  <a:gd name="connsiteX3" fmla="*/ 30954 w 61908"/>
                  <a:gd name="connsiteY3" fmla="*/ 0 h 61909"/>
                  <a:gd name="connsiteX4" fmla="*/ 61909 w 61908"/>
                  <a:gd name="connsiteY4" fmla="*/ 30954 h 619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1908" h="61909">
                    <a:moveTo>
                      <a:pt x="61909" y="30954"/>
                    </a:moveTo>
                    <a:cubicBezTo>
                      <a:pt x="61909" y="47996"/>
                      <a:pt x="48103" y="61909"/>
                      <a:pt x="30954" y="61909"/>
                    </a:cubicBezTo>
                    <a:cubicBezTo>
                      <a:pt x="13805" y="61909"/>
                      <a:pt x="0" y="48103"/>
                      <a:pt x="0" y="30954"/>
                    </a:cubicBezTo>
                    <a:cubicBezTo>
                      <a:pt x="0" y="13805"/>
                      <a:pt x="13805" y="0"/>
                      <a:pt x="30954" y="0"/>
                    </a:cubicBezTo>
                    <a:cubicBezTo>
                      <a:pt x="48103" y="0"/>
                      <a:pt x="61909" y="13805"/>
                      <a:pt x="61909" y="30954"/>
                    </a:cubicBezTo>
                    <a:close/>
                  </a:path>
                </a:pathLst>
              </a:custGeom>
              <a:noFill/>
              <a:ln w="10768" cap="flat">
                <a:solidFill>
                  <a:srgbClr val="26323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805" name="Полилиния: фигура 804">
                <a:extLst>
                  <a:ext uri="{FF2B5EF4-FFF2-40B4-BE49-F238E27FC236}">
                    <a16:creationId xmlns:a16="http://schemas.microsoft.com/office/drawing/2014/main" id="{12CE96DB-CAB5-4371-8B81-98B75A3E89BC}"/>
                  </a:ext>
                </a:extLst>
              </p:cNvPr>
              <p:cNvSpPr/>
              <p:nvPr/>
            </p:nvSpPr>
            <p:spPr>
              <a:xfrm>
                <a:off x="8341903" y="5079402"/>
                <a:ext cx="105051" cy="62124"/>
              </a:xfrm>
              <a:custGeom>
                <a:avLst/>
                <a:gdLst>
                  <a:gd name="connsiteX0" fmla="*/ 52526 w 105051"/>
                  <a:gd name="connsiteY0" fmla="*/ 62125 h 62124"/>
                  <a:gd name="connsiteX1" fmla="*/ 105051 w 105051"/>
                  <a:gd name="connsiteY1" fmla="*/ 44437 h 62124"/>
                  <a:gd name="connsiteX2" fmla="*/ 52526 w 105051"/>
                  <a:gd name="connsiteY2" fmla="*/ 0 h 62124"/>
                  <a:gd name="connsiteX3" fmla="*/ 0 w 105051"/>
                  <a:gd name="connsiteY3" fmla="*/ 44437 h 62124"/>
                  <a:gd name="connsiteX4" fmla="*/ 52526 w 105051"/>
                  <a:gd name="connsiteY4" fmla="*/ 62125 h 621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05051" h="62124">
                    <a:moveTo>
                      <a:pt x="52526" y="62125"/>
                    </a:moveTo>
                    <a:cubicBezTo>
                      <a:pt x="72263" y="62125"/>
                      <a:pt x="90383" y="55546"/>
                      <a:pt x="105051" y="44437"/>
                    </a:cubicBezTo>
                    <a:cubicBezTo>
                      <a:pt x="100845" y="19198"/>
                      <a:pt x="78950" y="0"/>
                      <a:pt x="52526" y="0"/>
                    </a:cubicBezTo>
                    <a:cubicBezTo>
                      <a:pt x="26101" y="0"/>
                      <a:pt x="4206" y="19198"/>
                      <a:pt x="0" y="44437"/>
                    </a:cubicBezTo>
                    <a:cubicBezTo>
                      <a:pt x="14668" y="55438"/>
                      <a:pt x="32788" y="62125"/>
                      <a:pt x="52526" y="62125"/>
                    </a:cubicBezTo>
                    <a:close/>
                  </a:path>
                </a:pathLst>
              </a:custGeom>
              <a:noFill/>
              <a:ln w="10768" cap="flat">
                <a:solidFill>
                  <a:srgbClr val="26323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</p:grpSp>
        <p:sp>
          <p:nvSpPr>
            <p:cNvPr id="806" name="Полилиния: фигура 805">
              <a:extLst>
                <a:ext uri="{FF2B5EF4-FFF2-40B4-BE49-F238E27FC236}">
                  <a16:creationId xmlns:a16="http://schemas.microsoft.com/office/drawing/2014/main" id="{DACFB15A-2C2B-4E5B-9794-439CB67F4F6F}"/>
                </a:ext>
              </a:extLst>
            </p:cNvPr>
            <p:cNvSpPr/>
            <p:nvPr/>
          </p:nvSpPr>
          <p:spPr>
            <a:xfrm>
              <a:off x="9226317" y="4232845"/>
              <a:ext cx="459679" cy="10785"/>
            </a:xfrm>
            <a:custGeom>
              <a:avLst/>
              <a:gdLst>
                <a:gd name="connsiteX0" fmla="*/ 0 w 459679"/>
                <a:gd name="connsiteY0" fmla="*/ 0 h 10785"/>
                <a:gd name="connsiteX1" fmla="*/ 459679 w 459679"/>
                <a:gd name="connsiteY1" fmla="*/ 0 h 107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59679" h="10785">
                  <a:moveTo>
                    <a:pt x="0" y="0"/>
                  </a:moveTo>
                  <a:lnTo>
                    <a:pt x="459679" y="0"/>
                  </a:lnTo>
                </a:path>
              </a:pathLst>
            </a:custGeom>
            <a:ln w="10768" cap="flat">
              <a:solidFill>
                <a:srgbClr val="263238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07" name="Полилиния: фигура 806">
              <a:extLst>
                <a:ext uri="{FF2B5EF4-FFF2-40B4-BE49-F238E27FC236}">
                  <a16:creationId xmlns:a16="http://schemas.microsoft.com/office/drawing/2014/main" id="{F1147A5D-18DE-428C-9D59-E50BFECC6B1F}"/>
                </a:ext>
              </a:extLst>
            </p:cNvPr>
            <p:cNvSpPr/>
            <p:nvPr/>
          </p:nvSpPr>
          <p:spPr>
            <a:xfrm>
              <a:off x="9226317" y="4338544"/>
              <a:ext cx="459679" cy="10785"/>
            </a:xfrm>
            <a:custGeom>
              <a:avLst/>
              <a:gdLst>
                <a:gd name="connsiteX0" fmla="*/ 0 w 459679"/>
                <a:gd name="connsiteY0" fmla="*/ 0 h 10785"/>
                <a:gd name="connsiteX1" fmla="*/ 459679 w 459679"/>
                <a:gd name="connsiteY1" fmla="*/ 0 h 107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59679" h="10785">
                  <a:moveTo>
                    <a:pt x="0" y="0"/>
                  </a:moveTo>
                  <a:lnTo>
                    <a:pt x="459679" y="0"/>
                  </a:lnTo>
                </a:path>
              </a:pathLst>
            </a:custGeom>
            <a:ln w="10768" cap="flat">
              <a:solidFill>
                <a:srgbClr val="263238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08" name="Полилиния: фигура 807">
              <a:extLst>
                <a:ext uri="{FF2B5EF4-FFF2-40B4-BE49-F238E27FC236}">
                  <a16:creationId xmlns:a16="http://schemas.microsoft.com/office/drawing/2014/main" id="{89636773-03B3-4AC4-8B67-BB6B6DEADA54}"/>
                </a:ext>
              </a:extLst>
            </p:cNvPr>
            <p:cNvSpPr/>
            <p:nvPr/>
          </p:nvSpPr>
          <p:spPr>
            <a:xfrm>
              <a:off x="9226317" y="4444242"/>
              <a:ext cx="459679" cy="10785"/>
            </a:xfrm>
            <a:custGeom>
              <a:avLst/>
              <a:gdLst>
                <a:gd name="connsiteX0" fmla="*/ 0 w 459679"/>
                <a:gd name="connsiteY0" fmla="*/ 0 h 10785"/>
                <a:gd name="connsiteX1" fmla="*/ 459679 w 459679"/>
                <a:gd name="connsiteY1" fmla="*/ 0 h 107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59679" h="10785">
                  <a:moveTo>
                    <a:pt x="0" y="0"/>
                  </a:moveTo>
                  <a:lnTo>
                    <a:pt x="459679" y="0"/>
                  </a:lnTo>
                </a:path>
              </a:pathLst>
            </a:custGeom>
            <a:ln w="10768" cap="flat">
              <a:solidFill>
                <a:srgbClr val="263238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809" name="Рисунок 2">
            <a:extLst>
              <a:ext uri="{FF2B5EF4-FFF2-40B4-BE49-F238E27FC236}">
                <a16:creationId xmlns:a16="http://schemas.microsoft.com/office/drawing/2014/main" id="{08640A5A-A127-43A2-9632-E378C3D71D5B}"/>
              </a:ext>
            </a:extLst>
          </p:cNvPr>
          <p:cNvGrpSpPr/>
          <p:nvPr/>
        </p:nvGrpSpPr>
        <p:grpSpPr>
          <a:xfrm>
            <a:off x="8807299" y="1457404"/>
            <a:ext cx="1445369" cy="2130682"/>
            <a:chOff x="8807299" y="1457404"/>
            <a:chExt cx="1445369" cy="2130682"/>
          </a:xfrm>
        </p:grpSpPr>
        <p:sp>
          <p:nvSpPr>
            <p:cNvPr id="810" name="Полилиния: фигура 809">
              <a:extLst>
                <a:ext uri="{FF2B5EF4-FFF2-40B4-BE49-F238E27FC236}">
                  <a16:creationId xmlns:a16="http://schemas.microsoft.com/office/drawing/2014/main" id="{CA0551C9-854E-4753-A279-12E208113C8E}"/>
                </a:ext>
              </a:extLst>
            </p:cNvPr>
            <p:cNvSpPr/>
            <p:nvPr/>
          </p:nvSpPr>
          <p:spPr>
            <a:xfrm>
              <a:off x="8807299" y="1457404"/>
              <a:ext cx="1445369" cy="2130682"/>
            </a:xfrm>
            <a:custGeom>
              <a:avLst/>
              <a:gdLst>
                <a:gd name="connsiteX0" fmla="*/ 0 w 1445369"/>
                <a:gd name="connsiteY0" fmla="*/ 0 h 2130682"/>
                <a:gd name="connsiteX1" fmla="*/ 1445370 w 1445369"/>
                <a:gd name="connsiteY1" fmla="*/ 0 h 2130682"/>
                <a:gd name="connsiteX2" fmla="*/ 1445370 w 1445369"/>
                <a:gd name="connsiteY2" fmla="*/ 2130683 h 2130682"/>
                <a:gd name="connsiteX3" fmla="*/ 0 w 1445369"/>
                <a:gd name="connsiteY3" fmla="*/ 2130683 h 21306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45369" h="2130682">
                  <a:moveTo>
                    <a:pt x="0" y="0"/>
                  </a:moveTo>
                  <a:lnTo>
                    <a:pt x="1445370" y="0"/>
                  </a:lnTo>
                  <a:lnTo>
                    <a:pt x="1445370" y="2130683"/>
                  </a:lnTo>
                  <a:lnTo>
                    <a:pt x="0" y="2130683"/>
                  </a:lnTo>
                  <a:close/>
                </a:path>
              </a:pathLst>
            </a:custGeom>
            <a:noFill/>
            <a:ln w="10768" cap="flat">
              <a:solidFill>
                <a:srgbClr val="263238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11" name="Полилиния: фигура 810">
              <a:extLst>
                <a:ext uri="{FF2B5EF4-FFF2-40B4-BE49-F238E27FC236}">
                  <a16:creationId xmlns:a16="http://schemas.microsoft.com/office/drawing/2014/main" id="{843A427D-9DA5-47D2-9D6C-B8B057BC8577}"/>
                </a:ext>
              </a:extLst>
            </p:cNvPr>
            <p:cNvSpPr/>
            <p:nvPr/>
          </p:nvSpPr>
          <p:spPr>
            <a:xfrm>
              <a:off x="9030451" y="1663623"/>
              <a:ext cx="925830" cy="925830"/>
            </a:xfrm>
            <a:custGeom>
              <a:avLst/>
              <a:gdLst>
                <a:gd name="connsiteX0" fmla="*/ 925830 w 925830"/>
                <a:gd name="connsiteY0" fmla="*/ 462915 h 925830"/>
                <a:gd name="connsiteX1" fmla="*/ 462915 w 925830"/>
                <a:gd name="connsiteY1" fmla="*/ 925830 h 925830"/>
                <a:gd name="connsiteX2" fmla="*/ 0 w 925830"/>
                <a:gd name="connsiteY2" fmla="*/ 462915 h 925830"/>
                <a:gd name="connsiteX3" fmla="*/ 462915 w 925830"/>
                <a:gd name="connsiteY3" fmla="*/ 0 h 925830"/>
                <a:gd name="connsiteX4" fmla="*/ 925830 w 925830"/>
                <a:gd name="connsiteY4" fmla="*/ 462915 h 925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25830" h="925830">
                  <a:moveTo>
                    <a:pt x="925830" y="462915"/>
                  </a:moveTo>
                  <a:cubicBezTo>
                    <a:pt x="925830" y="718576"/>
                    <a:pt x="718576" y="925830"/>
                    <a:pt x="462915" y="925830"/>
                  </a:cubicBezTo>
                  <a:cubicBezTo>
                    <a:pt x="207254" y="925830"/>
                    <a:pt x="0" y="718576"/>
                    <a:pt x="0" y="462915"/>
                  </a:cubicBezTo>
                  <a:cubicBezTo>
                    <a:pt x="0" y="207254"/>
                    <a:pt x="207254" y="0"/>
                    <a:pt x="462915" y="0"/>
                  </a:cubicBezTo>
                  <a:cubicBezTo>
                    <a:pt x="718576" y="0"/>
                    <a:pt x="925830" y="207254"/>
                    <a:pt x="925830" y="462915"/>
                  </a:cubicBezTo>
                  <a:close/>
                </a:path>
              </a:pathLst>
            </a:custGeom>
            <a:solidFill>
              <a:srgbClr val="FFFFFF"/>
            </a:solidFill>
            <a:ln w="10768" cap="flat">
              <a:solidFill>
                <a:srgbClr val="263238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12" name="Полилиния: фигура 811">
              <a:extLst>
                <a:ext uri="{FF2B5EF4-FFF2-40B4-BE49-F238E27FC236}">
                  <a16:creationId xmlns:a16="http://schemas.microsoft.com/office/drawing/2014/main" id="{4309E98A-87DA-4C6E-9A74-DAF8093CC1A8}"/>
                </a:ext>
              </a:extLst>
            </p:cNvPr>
            <p:cNvSpPr/>
            <p:nvPr/>
          </p:nvSpPr>
          <p:spPr>
            <a:xfrm>
              <a:off x="9013950" y="2738725"/>
              <a:ext cx="975335" cy="10785"/>
            </a:xfrm>
            <a:custGeom>
              <a:avLst/>
              <a:gdLst>
                <a:gd name="connsiteX0" fmla="*/ 0 w 975335"/>
                <a:gd name="connsiteY0" fmla="*/ 0 h 10785"/>
                <a:gd name="connsiteX1" fmla="*/ 975336 w 975335"/>
                <a:gd name="connsiteY1" fmla="*/ 0 h 107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75335" h="10785">
                  <a:moveTo>
                    <a:pt x="0" y="0"/>
                  </a:moveTo>
                  <a:lnTo>
                    <a:pt x="975336" y="0"/>
                  </a:lnTo>
                </a:path>
              </a:pathLst>
            </a:custGeom>
            <a:ln w="10768" cap="flat">
              <a:solidFill>
                <a:srgbClr val="263238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13" name="Полилиния: фигура 812">
              <a:extLst>
                <a:ext uri="{FF2B5EF4-FFF2-40B4-BE49-F238E27FC236}">
                  <a16:creationId xmlns:a16="http://schemas.microsoft.com/office/drawing/2014/main" id="{F5A362F1-6569-497F-A3A3-54FDAC194B08}"/>
                </a:ext>
              </a:extLst>
            </p:cNvPr>
            <p:cNvSpPr/>
            <p:nvPr/>
          </p:nvSpPr>
          <p:spPr>
            <a:xfrm>
              <a:off x="9013950" y="2837844"/>
              <a:ext cx="975335" cy="10785"/>
            </a:xfrm>
            <a:custGeom>
              <a:avLst/>
              <a:gdLst>
                <a:gd name="connsiteX0" fmla="*/ 0 w 975335"/>
                <a:gd name="connsiteY0" fmla="*/ 0 h 10785"/>
                <a:gd name="connsiteX1" fmla="*/ 975336 w 975335"/>
                <a:gd name="connsiteY1" fmla="*/ 0 h 107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75335" h="10785">
                  <a:moveTo>
                    <a:pt x="0" y="0"/>
                  </a:moveTo>
                  <a:lnTo>
                    <a:pt x="975336" y="0"/>
                  </a:lnTo>
                </a:path>
              </a:pathLst>
            </a:custGeom>
            <a:ln w="10768" cap="flat">
              <a:solidFill>
                <a:srgbClr val="263238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grpSp>
          <p:nvGrpSpPr>
            <p:cNvPr id="814" name="Рисунок 2">
              <a:extLst>
                <a:ext uri="{FF2B5EF4-FFF2-40B4-BE49-F238E27FC236}">
                  <a16:creationId xmlns:a16="http://schemas.microsoft.com/office/drawing/2014/main" id="{08640A5A-A127-43A2-9632-E378C3D71D5B}"/>
                </a:ext>
              </a:extLst>
            </p:cNvPr>
            <p:cNvGrpSpPr/>
            <p:nvPr/>
          </p:nvGrpSpPr>
          <p:grpSpPr>
            <a:xfrm>
              <a:off x="9028402" y="2968241"/>
              <a:ext cx="960883" cy="433147"/>
              <a:chOff x="9028402" y="2968241"/>
              <a:chExt cx="960883" cy="433147"/>
            </a:xfrm>
            <a:solidFill>
              <a:srgbClr val="21A038"/>
            </a:solidFill>
          </p:grpSpPr>
          <p:grpSp>
            <p:nvGrpSpPr>
              <p:cNvPr id="815" name="Рисунок 2">
                <a:extLst>
                  <a:ext uri="{FF2B5EF4-FFF2-40B4-BE49-F238E27FC236}">
                    <a16:creationId xmlns:a16="http://schemas.microsoft.com/office/drawing/2014/main" id="{08640A5A-A127-43A2-9632-E378C3D71D5B}"/>
                  </a:ext>
                </a:extLst>
              </p:cNvPr>
              <p:cNvGrpSpPr/>
              <p:nvPr/>
            </p:nvGrpSpPr>
            <p:grpSpPr>
              <a:xfrm>
                <a:off x="9028402" y="2968241"/>
                <a:ext cx="960883" cy="57379"/>
                <a:chOff x="9028402" y="2968241"/>
                <a:chExt cx="960883" cy="57379"/>
              </a:xfrm>
              <a:solidFill>
                <a:srgbClr val="21A038"/>
              </a:solidFill>
            </p:grpSpPr>
            <p:sp>
              <p:nvSpPr>
                <p:cNvPr id="816" name="Полилиния: фигура 815">
                  <a:extLst>
                    <a:ext uri="{FF2B5EF4-FFF2-40B4-BE49-F238E27FC236}">
                      <a16:creationId xmlns:a16="http://schemas.microsoft.com/office/drawing/2014/main" id="{3B8FB3B2-9642-4559-90AA-BCE1C099F240}"/>
                    </a:ext>
                  </a:extLst>
                </p:cNvPr>
                <p:cNvSpPr/>
                <p:nvPr/>
              </p:nvSpPr>
              <p:spPr>
                <a:xfrm>
                  <a:off x="9132806" y="3004912"/>
                  <a:ext cx="856479" cy="10785"/>
                </a:xfrm>
                <a:custGeom>
                  <a:avLst/>
                  <a:gdLst>
                    <a:gd name="connsiteX0" fmla="*/ 0 w 856479"/>
                    <a:gd name="connsiteY0" fmla="*/ 0 h 10785"/>
                    <a:gd name="connsiteX1" fmla="*/ 856479 w 856479"/>
                    <a:gd name="connsiteY1" fmla="*/ 0 h 1078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856479" h="10785">
                      <a:moveTo>
                        <a:pt x="0" y="0"/>
                      </a:moveTo>
                      <a:lnTo>
                        <a:pt x="856479" y="0"/>
                      </a:lnTo>
                    </a:path>
                  </a:pathLst>
                </a:custGeom>
                <a:ln w="10768" cap="flat">
                  <a:solidFill>
                    <a:srgbClr val="263238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818" name="Полилиния: фигура 817">
                  <a:extLst>
                    <a:ext uri="{FF2B5EF4-FFF2-40B4-BE49-F238E27FC236}">
                      <a16:creationId xmlns:a16="http://schemas.microsoft.com/office/drawing/2014/main" id="{B3EB58E7-95E7-4563-9B52-397C52C57459}"/>
                    </a:ext>
                  </a:extLst>
                </p:cNvPr>
                <p:cNvSpPr/>
                <p:nvPr/>
              </p:nvSpPr>
              <p:spPr>
                <a:xfrm>
                  <a:off x="9028402" y="2968241"/>
                  <a:ext cx="57379" cy="57379"/>
                </a:xfrm>
                <a:custGeom>
                  <a:avLst/>
                  <a:gdLst>
                    <a:gd name="connsiteX0" fmla="*/ 0 w 57379"/>
                    <a:gd name="connsiteY0" fmla="*/ 0 h 57379"/>
                    <a:gd name="connsiteX1" fmla="*/ 57379 w 57379"/>
                    <a:gd name="connsiteY1" fmla="*/ 0 h 57379"/>
                    <a:gd name="connsiteX2" fmla="*/ 57379 w 57379"/>
                    <a:gd name="connsiteY2" fmla="*/ 57379 h 57379"/>
                    <a:gd name="connsiteX3" fmla="*/ 0 w 57379"/>
                    <a:gd name="connsiteY3" fmla="*/ 57379 h 5737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57379" h="57379">
                      <a:moveTo>
                        <a:pt x="0" y="0"/>
                      </a:moveTo>
                      <a:lnTo>
                        <a:pt x="57379" y="0"/>
                      </a:lnTo>
                      <a:lnTo>
                        <a:pt x="57379" y="57379"/>
                      </a:lnTo>
                      <a:lnTo>
                        <a:pt x="0" y="57379"/>
                      </a:lnTo>
                      <a:close/>
                    </a:path>
                  </a:pathLst>
                </a:custGeom>
                <a:solidFill>
                  <a:srgbClr val="21A038"/>
                </a:solidFill>
                <a:ln w="10768" cap="flat">
                  <a:solidFill>
                    <a:srgbClr val="000000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</p:grpSp>
          <p:grpSp>
            <p:nvGrpSpPr>
              <p:cNvPr id="819" name="Рисунок 2">
                <a:extLst>
                  <a:ext uri="{FF2B5EF4-FFF2-40B4-BE49-F238E27FC236}">
                    <a16:creationId xmlns:a16="http://schemas.microsoft.com/office/drawing/2014/main" id="{08640A5A-A127-43A2-9632-E378C3D71D5B}"/>
                  </a:ext>
                </a:extLst>
              </p:cNvPr>
              <p:cNvGrpSpPr/>
              <p:nvPr/>
            </p:nvGrpSpPr>
            <p:grpSpPr>
              <a:xfrm>
                <a:off x="9028402" y="3093461"/>
                <a:ext cx="960883" cy="57379"/>
                <a:chOff x="9028402" y="3093461"/>
                <a:chExt cx="960883" cy="57379"/>
              </a:xfrm>
              <a:solidFill>
                <a:srgbClr val="21A038"/>
              </a:solidFill>
            </p:grpSpPr>
            <p:sp>
              <p:nvSpPr>
                <p:cNvPr id="820" name="Полилиния: фигура 819">
                  <a:extLst>
                    <a:ext uri="{FF2B5EF4-FFF2-40B4-BE49-F238E27FC236}">
                      <a16:creationId xmlns:a16="http://schemas.microsoft.com/office/drawing/2014/main" id="{3B175509-AEDD-4B6C-A229-6D41E3FA33EE}"/>
                    </a:ext>
                  </a:extLst>
                </p:cNvPr>
                <p:cNvSpPr/>
                <p:nvPr/>
              </p:nvSpPr>
              <p:spPr>
                <a:xfrm>
                  <a:off x="9132806" y="3130132"/>
                  <a:ext cx="856479" cy="10785"/>
                </a:xfrm>
                <a:custGeom>
                  <a:avLst/>
                  <a:gdLst>
                    <a:gd name="connsiteX0" fmla="*/ 0 w 856479"/>
                    <a:gd name="connsiteY0" fmla="*/ 0 h 10785"/>
                    <a:gd name="connsiteX1" fmla="*/ 856479 w 856479"/>
                    <a:gd name="connsiteY1" fmla="*/ 0 h 1078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856479" h="10785">
                      <a:moveTo>
                        <a:pt x="0" y="0"/>
                      </a:moveTo>
                      <a:lnTo>
                        <a:pt x="856479" y="0"/>
                      </a:lnTo>
                    </a:path>
                  </a:pathLst>
                </a:custGeom>
                <a:ln w="10768" cap="flat">
                  <a:solidFill>
                    <a:srgbClr val="263238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821" name="Полилиния: фигура 820">
                  <a:extLst>
                    <a:ext uri="{FF2B5EF4-FFF2-40B4-BE49-F238E27FC236}">
                      <a16:creationId xmlns:a16="http://schemas.microsoft.com/office/drawing/2014/main" id="{0BA26F3E-1477-4F4E-9BF3-DD3C5B61EDE5}"/>
                    </a:ext>
                  </a:extLst>
                </p:cNvPr>
                <p:cNvSpPr/>
                <p:nvPr/>
              </p:nvSpPr>
              <p:spPr>
                <a:xfrm>
                  <a:off x="9028402" y="3093461"/>
                  <a:ext cx="57379" cy="57379"/>
                </a:xfrm>
                <a:custGeom>
                  <a:avLst/>
                  <a:gdLst>
                    <a:gd name="connsiteX0" fmla="*/ 0 w 57379"/>
                    <a:gd name="connsiteY0" fmla="*/ 0 h 57379"/>
                    <a:gd name="connsiteX1" fmla="*/ 57379 w 57379"/>
                    <a:gd name="connsiteY1" fmla="*/ 0 h 57379"/>
                    <a:gd name="connsiteX2" fmla="*/ 57379 w 57379"/>
                    <a:gd name="connsiteY2" fmla="*/ 57379 h 57379"/>
                    <a:gd name="connsiteX3" fmla="*/ 0 w 57379"/>
                    <a:gd name="connsiteY3" fmla="*/ 57379 h 5737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57379" h="57379">
                      <a:moveTo>
                        <a:pt x="0" y="0"/>
                      </a:moveTo>
                      <a:lnTo>
                        <a:pt x="57379" y="0"/>
                      </a:lnTo>
                      <a:lnTo>
                        <a:pt x="57379" y="57379"/>
                      </a:lnTo>
                      <a:lnTo>
                        <a:pt x="0" y="57379"/>
                      </a:lnTo>
                      <a:close/>
                    </a:path>
                  </a:pathLst>
                </a:custGeom>
                <a:solidFill>
                  <a:srgbClr val="21A038"/>
                </a:solidFill>
                <a:ln w="10768" cap="flat">
                  <a:solidFill>
                    <a:srgbClr val="000000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</p:grpSp>
          <p:grpSp>
            <p:nvGrpSpPr>
              <p:cNvPr id="822" name="Рисунок 2">
                <a:extLst>
                  <a:ext uri="{FF2B5EF4-FFF2-40B4-BE49-F238E27FC236}">
                    <a16:creationId xmlns:a16="http://schemas.microsoft.com/office/drawing/2014/main" id="{08640A5A-A127-43A2-9632-E378C3D71D5B}"/>
                  </a:ext>
                </a:extLst>
              </p:cNvPr>
              <p:cNvGrpSpPr/>
              <p:nvPr/>
            </p:nvGrpSpPr>
            <p:grpSpPr>
              <a:xfrm>
                <a:off x="9028402" y="3218789"/>
                <a:ext cx="960883" cy="57379"/>
                <a:chOff x="9028402" y="3218789"/>
                <a:chExt cx="960883" cy="57379"/>
              </a:xfrm>
              <a:solidFill>
                <a:srgbClr val="21A038"/>
              </a:solidFill>
            </p:grpSpPr>
            <p:sp>
              <p:nvSpPr>
                <p:cNvPr id="823" name="Полилиния: фигура 822">
                  <a:extLst>
                    <a:ext uri="{FF2B5EF4-FFF2-40B4-BE49-F238E27FC236}">
                      <a16:creationId xmlns:a16="http://schemas.microsoft.com/office/drawing/2014/main" id="{3B13828B-613E-4A76-8D1F-C5F0E64D72FD}"/>
                    </a:ext>
                  </a:extLst>
                </p:cNvPr>
                <p:cNvSpPr/>
                <p:nvPr/>
              </p:nvSpPr>
              <p:spPr>
                <a:xfrm>
                  <a:off x="9132806" y="3255352"/>
                  <a:ext cx="856479" cy="10785"/>
                </a:xfrm>
                <a:custGeom>
                  <a:avLst/>
                  <a:gdLst>
                    <a:gd name="connsiteX0" fmla="*/ 0 w 856479"/>
                    <a:gd name="connsiteY0" fmla="*/ 0 h 10785"/>
                    <a:gd name="connsiteX1" fmla="*/ 856479 w 856479"/>
                    <a:gd name="connsiteY1" fmla="*/ 0 h 1078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856479" h="10785">
                      <a:moveTo>
                        <a:pt x="0" y="0"/>
                      </a:moveTo>
                      <a:lnTo>
                        <a:pt x="856479" y="0"/>
                      </a:lnTo>
                    </a:path>
                  </a:pathLst>
                </a:custGeom>
                <a:ln w="10768" cap="flat">
                  <a:solidFill>
                    <a:srgbClr val="263238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824" name="Полилиния: фигура 823">
                  <a:extLst>
                    <a:ext uri="{FF2B5EF4-FFF2-40B4-BE49-F238E27FC236}">
                      <a16:creationId xmlns:a16="http://schemas.microsoft.com/office/drawing/2014/main" id="{2202F8F0-6FCC-471B-98F9-FE70509E6636}"/>
                    </a:ext>
                  </a:extLst>
                </p:cNvPr>
                <p:cNvSpPr/>
                <p:nvPr/>
              </p:nvSpPr>
              <p:spPr>
                <a:xfrm>
                  <a:off x="9028402" y="3218789"/>
                  <a:ext cx="57379" cy="57379"/>
                </a:xfrm>
                <a:custGeom>
                  <a:avLst/>
                  <a:gdLst>
                    <a:gd name="connsiteX0" fmla="*/ 0 w 57379"/>
                    <a:gd name="connsiteY0" fmla="*/ 0 h 57379"/>
                    <a:gd name="connsiteX1" fmla="*/ 57379 w 57379"/>
                    <a:gd name="connsiteY1" fmla="*/ 0 h 57379"/>
                    <a:gd name="connsiteX2" fmla="*/ 57379 w 57379"/>
                    <a:gd name="connsiteY2" fmla="*/ 57379 h 57379"/>
                    <a:gd name="connsiteX3" fmla="*/ 0 w 57379"/>
                    <a:gd name="connsiteY3" fmla="*/ 57379 h 5737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57379" h="57379">
                      <a:moveTo>
                        <a:pt x="0" y="0"/>
                      </a:moveTo>
                      <a:lnTo>
                        <a:pt x="57379" y="0"/>
                      </a:lnTo>
                      <a:lnTo>
                        <a:pt x="57379" y="57379"/>
                      </a:lnTo>
                      <a:lnTo>
                        <a:pt x="0" y="57379"/>
                      </a:lnTo>
                      <a:close/>
                    </a:path>
                  </a:pathLst>
                </a:custGeom>
                <a:solidFill>
                  <a:srgbClr val="21A038"/>
                </a:solidFill>
                <a:ln w="10768" cap="flat">
                  <a:solidFill>
                    <a:srgbClr val="000000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</p:grpSp>
          <p:grpSp>
            <p:nvGrpSpPr>
              <p:cNvPr id="825" name="Рисунок 2">
                <a:extLst>
                  <a:ext uri="{FF2B5EF4-FFF2-40B4-BE49-F238E27FC236}">
                    <a16:creationId xmlns:a16="http://schemas.microsoft.com/office/drawing/2014/main" id="{08640A5A-A127-43A2-9632-E378C3D71D5B}"/>
                  </a:ext>
                </a:extLst>
              </p:cNvPr>
              <p:cNvGrpSpPr/>
              <p:nvPr/>
            </p:nvGrpSpPr>
            <p:grpSpPr>
              <a:xfrm>
                <a:off x="9028402" y="3344009"/>
                <a:ext cx="960883" cy="57379"/>
                <a:chOff x="9028402" y="3344009"/>
                <a:chExt cx="960883" cy="57379"/>
              </a:xfrm>
              <a:solidFill>
                <a:srgbClr val="21A038"/>
              </a:solidFill>
            </p:grpSpPr>
            <p:sp>
              <p:nvSpPr>
                <p:cNvPr id="826" name="Полилиния: фигура 825">
                  <a:extLst>
                    <a:ext uri="{FF2B5EF4-FFF2-40B4-BE49-F238E27FC236}">
                      <a16:creationId xmlns:a16="http://schemas.microsoft.com/office/drawing/2014/main" id="{D1DD3604-8CF6-43FE-9B3C-091488B62156}"/>
                    </a:ext>
                  </a:extLst>
                </p:cNvPr>
                <p:cNvSpPr/>
                <p:nvPr/>
              </p:nvSpPr>
              <p:spPr>
                <a:xfrm>
                  <a:off x="9132806" y="3380572"/>
                  <a:ext cx="856479" cy="10785"/>
                </a:xfrm>
                <a:custGeom>
                  <a:avLst/>
                  <a:gdLst>
                    <a:gd name="connsiteX0" fmla="*/ 0 w 856479"/>
                    <a:gd name="connsiteY0" fmla="*/ 0 h 10785"/>
                    <a:gd name="connsiteX1" fmla="*/ 856479 w 856479"/>
                    <a:gd name="connsiteY1" fmla="*/ 0 h 1078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856479" h="10785">
                      <a:moveTo>
                        <a:pt x="0" y="0"/>
                      </a:moveTo>
                      <a:lnTo>
                        <a:pt x="856479" y="0"/>
                      </a:lnTo>
                    </a:path>
                  </a:pathLst>
                </a:custGeom>
                <a:ln w="10768" cap="flat">
                  <a:solidFill>
                    <a:srgbClr val="263238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827" name="Полилиния: фигура 826">
                  <a:extLst>
                    <a:ext uri="{FF2B5EF4-FFF2-40B4-BE49-F238E27FC236}">
                      <a16:creationId xmlns:a16="http://schemas.microsoft.com/office/drawing/2014/main" id="{7A7C1DEE-1369-45D8-9700-41677AE43CC0}"/>
                    </a:ext>
                  </a:extLst>
                </p:cNvPr>
                <p:cNvSpPr/>
                <p:nvPr/>
              </p:nvSpPr>
              <p:spPr>
                <a:xfrm>
                  <a:off x="9028402" y="3344009"/>
                  <a:ext cx="57379" cy="57379"/>
                </a:xfrm>
                <a:custGeom>
                  <a:avLst/>
                  <a:gdLst>
                    <a:gd name="connsiteX0" fmla="*/ 0 w 57379"/>
                    <a:gd name="connsiteY0" fmla="*/ 0 h 57379"/>
                    <a:gd name="connsiteX1" fmla="*/ 57379 w 57379"/>
                    <a:gd name="connsiteY1" fmla="*/ 0 h 57379"/>
                    <a:gd name="connsiteX2" fmla="*/ 57379 w 57379"/>
                    <a:gd name="connsiteY2" fmla="*/ 57379 h 57379"/>
                    <a:gd name="connsiteX3" fmla="*/ 0 w 57379"/>
                    <a:gd name="connsiteY3" fmla="*/ 57379 h 5737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57379" h="57379">
                      <a:moveTo>
                        <a:pt x="0" y="0"/>
                      </a:moveTo>
                      <a:lnTo>
                        <a:pt x="57379" y="0"/>
                      </a:lnTo>
                      <a:lnTo>
                        <a:pt x="57379" y="57379"/>
                      </a:lnTo>
                      <a:lnTo>
                        <a:pt x="0" y="57379"/>
                      </a:lnTo>
                      <a:close/>
                    </a:path>
                  </a:pathLst>
                </a:custGeom>
                <a:solidFill>
                  <a:srgbClr val="21A038"/>
                </a:solidFill>
                <a:ln w="10768" cap="flat">
                  <a:solidFill>
                    <a:srgbClr val="000000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</p:grpSp>
        </p:grpSp>
        <p:grpSp>
          <p:nvGrpSpPr>
            <p:cNvPr id="828" name="Рисунок 2">
              <a:extLst>
                <a:ext uri="{FF2B5EF4-FFF2-40B4-BE49-F238E27FC236}">
                  <a16:creationId xmlns:a16="http://schemas.microsoft.com/office/drawing/2014/main" id="{08640A5A-A127-43A2-9632-E378C3D71D5B}"/>
                </a:ext>
              </a:extLst>
            </p:cNvPr>
            <p:cNvGrpSpPr/>
            <p:nvPr/>
          </p:nvGrpSpPr>
          <p:grpSpPr>
            <a:xfrm>
              <a:off x="9167644" y="1719900"/>
              <a:ext cx="649936" cy="869552"/>
              <a:chOff x="9167644" y="1719900"/>
              <a:chExt cx="649936" cy="869552"/>
            </a:xfrm>
          </p:grpSpPr>
          <p:sp>
            <p:nvSpPr>
              <p:cNvPr id="829" name="Полилиния: фигура 828">
                <a:extLst>
                  <a:ext uri="{FF2B5EF4-FFF2-40B4-BE49-F238E27FC236}">
                    <a16:creationId xmlns:a16="http://schemas.microsoft.com/office/drawing/2014/main" id="{DB593B51-21C5-4E82-A873-9011A75B354B}"/>
                  </a:ext>
                </a:extLst>
              </p:cNvPr>
              <p:cNvSpPr/>
              <p:nvPr/>
            </p:nvSpPr>
            <p:spPr>
              <a:xfrm>
                <a:off x="9189968" y="1719900"/>
                <a:ext cx="588522" cy="631795"/>
              </a:xfrm>
              <a:custGeom>
                <a:avLst/>
                <a:gdLst>
                  <a:gd name="connsiteX0" fmla="*/ 201044 w 588522"/>
                  <a:gd name="connsiteY0" fmla="*/ 99574 h 631795"/>
                  <a:gd name="connsiteX1" fmla="*/ 395507 w 588522"/>
                  <a:gd name="connsiteY1" fmla="*/ 131 h 631795"/>
                  <a:gd name="connsiteX2" fmla="*/ 557614 w 588522"/>
                  <a:gd name="connsiteY2" fmla="*/ 194594 h 631795"/>
                  <a:gd name="connsiteX3" fmla="*/ 538200 w 588522"/>
                  <a:gd name="connsiteY3" fmla="*/ 265887 h 631795"/>
                  <a:gd name="connsiteX4" fmla="*/ 479850 w 588522"/>
                  <a:gd name="connsiteY4" fmla="*/ 216165 h 631795"/>
                  <a:gd name="connsiteX5" fmla="*/ 571096 w 588522"/>
                  <a:gd name="connsiteY5" fmla="*/ 357024 h 631795"/>
                  <a:gd name="connsiteX6" fmla="*/ 546829 w 588522"/>
                  <a:gd name="connsiteY6" fmla="*/ 581363 h 631795"/>
                  <a:gd name="connsiteX7" fmla="*/ 477693 w 588522"/>
                  <a:gd name="connsiteY7" fmla="*/ 596463 h 631795"/>
                  <a:gd name="connsiteX8" fmla="*/ 482007 w 588522"/>
                  <a:gd name="connsiteY8" fmla="*/ 538113 h 631795"/>
                  <a:gd name="connsiteX9" fmla="*/ 378251 w 588522"/>
                  <a:gd name="connsiteY9" fmla="*/ 620191 h 631795"/>
                  <a:gd name="connsiteX10" fmla="*/ 99552 w 588522"/>
                  <a:gd name="connsiteY10" fmla="*/ 609406 h 631795"/>
                  <a:gd name="connsiteX11" fmla="*/ 64931 w 588522"/>
                  <a:gd name="connsiteY11" fmla="*/ 540271 h 631795"/>
                  <a:gd name="connsiteX12" fmla="*/ 60616 w 588522"/>
                  <a:gd name="connsiteY12" fmla="*/ 596463 h 631795"/>
                  <a:gd name="connsiteX13" fmla="*/ 110 w 588522"/>
                  <a:gd name="connsiteY13" fmla="*/ 503600 h 631795"/>
                  <a:gd name="connsiteX14" fmla="*/ 43359 w 588522"/>
                  <a:gd name="connsiteY14" fmla="*/ 348072 h 631795"/>
                  <a:gd name="connsiteX15" fmla="*/ 73559 w 588522"/>
                  <a:gd name="connsiteY15" fmla="*/ 235687 h 631795"/>
                  <a:gd name="connsiteX16" fmla="*/ 110338 w 588522"/>
                  <a:gd name="connsiteY16" fmla="*/ 112516 h 631795"/>
                  <a:gd name="connsiteX17" fmla="*/ 201044 w 588522"/>
                  <a:gd name="connsiteY17" fmla="*/ 99574 h 6317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588522" h="631795">
                    <a:moveTo>
                      <a:pt x="201044" y="99574"/>
                    </a:moveTo>
                    <a:cubicBezTo>
                      <a:pt x="201044" y="99574"/>
                      <a:pt x="261551" y="-4183"/>
                      <a:pt x="395507" y="131"/>
                    </a:cubicBezTo>
                    <a:cubicBezTo>
                      <a:pt x="529464" y="4445"/>
                      <a:pt x="561928" y="151344"/>
                      <a:pt x="557614" y="194594"/>
                    </a:cubicBezTo>
                    <a:cubicBezTo>
                      <a:pt x="553300" y="237844"/>
                      <a:pt x="538200" y="265887"/>
                      <a:pt x="538200" y="265887"/>
                    </a:cubicBezTo>
                    <a:lnTo>
                      <a:pt x="479850" y="216165"/>
                    </a:lnTo>
                    <a:cubicBezTo>
                      <a:pt x="479850" y="216165"/>
                      <a:pt x="538631" y="270632"/>
                      <a:pt x="571096" y="357024"/>
                    </a:cubicBezTo>
                    <a:cubicBezTo>
                      <a:pt x="603560" y="443416"/>
                      <a:pt x="587921" y="555370"/>
                      <a:pt x="546829" y="581363"/>
                    </a:cubicBezTo>
                    <a:cubicBezTo>
                      <a:pt x="505736" y="607357"/>
                      <a:pt x="477693" y="596463"/>
                      <a:pt x="477693" y="596463"/>
                    </a:cubicBezTo>
                    <a:lnTo>
                      <a:pt x="482007" y="538113"/>
                    </a:lnTo>
                    <a:cubicBezTo>
                      <a:pt x="482007" y="538113"/>
                      <a:pt x="443072" y="607249"/>
                      <a:pt x="378251" y="620191"/>
                    </a:cubicBezTo>
                    <a:cubicBezTo>
                      <a:pt x="313429" y="633134"/>
                      <a:pt x="127595" y="641762"/>
                      <a:pt x="99552" y="609406"/>
                    </a:cubicBezTo>
                    <a:cubicBezTo>
                      <a:pt x="71510" y="577049"/>
                      <a:pt x="64931" y="540271"/>
                      <a:pt x="64931" y="540271"/>
                    </a:cubicBezTo>
                    <a:lnTo>
                      <a:pt x="60616" y="596463"/>
                    </a:lnTo>
                    <a:cubicBezTo>
                      <a:pt x="60616" y="596463"/>
                      <a:pt x="2267" y="553213"/>
                      <a:pt x="110" y="503600"/>
                    </a:cubicBezTo>
                    <a:cubicBezTo>
                      <a:pt x="-2048" y="453878"/>
                      <a:pt x="28152" y="384743"/>
                      <a:pt x="43359" y="348072"/>
                    </a:cubicBezTo>
                    <a:cubicBezTo>
                      <a:pt x="58459" y="311294"/>
                      <a:pt x="69245" y="291880"/>
                      <a:pt x="73559" y="235687"/>
                    </a:cubicBezTo>
                    <a:cubicBezTo>
                      <a:pt x="77873" y="179494"/>
                      <a:pt x="71402" y="149295"/>
                      <a:pt x="110338" y="112516"/>
                    </a:cubicBezTo>
                    <a:cubicBezTo>
                      <a:pt x="149273" y="75737"/>
                      <a:pt x="201044" y="99574"/>
                      <a:pt x="201044" y="99574"/>
                    </a:cubicBezTo>
                    <a:close/>
                  </a:path>
                </a:pathLst>
              </a:custGeom>
              <a:solidFill>
                <a:srgbClr val="263238"/>
              </a:solidFill>
              <a:ln w="10768" cap="rnd">
                <a:solidFill>
                  <a:srgbClr val="263238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grpSp>
            <p:nvGrpSpPr>
              <p:cNvPr id="830" name="Рисунок 2">
                <a:extLst>
                  <a:ext uri="{FF2B5EF4-FFF2-40B4-BE49-F238E27FC236}">
                    <a16:creationId xmlns:a16="http://schemas.microsoft.com/office/drawing/2014/main" id="{08640A5A-A127-43A2-9632-E378C3D71D5B}"/>
                  </a:ext>
                </a:extLst>
              </p:cNvPr>
              <p:cNvGrpSpPr/>
              <p:nvPr/>
            </p:nvGrpSpPr>
            <p:grpSpPr>
              <a:xfrm>
                <a:off x="9167644" y="1865853"/>
                <a:ext cx="649936" cy="723600"/>
                <a:chOff x="9167644" y="1865853"/>
                <a:chExt cx="649936" cy="723600"/>
              </a:xfrm>
            </p:grpSpPr>
            <p:sp>
              <p:nvSpPr>
                <p:cNvPr id="831" name="Полилиния: фигура 830">
                  <a:extLst>
                    <a:ext uri="{FF2B5EF4-FFF2-40B4-BE49-F238E27FC236}">
                      <a16:creationId xmlns:a16="http://schemas.microsoft.com/office/drawing/2014/main" id="{A07A38F4-2BDF-4953-AD65-1B4EA25D8B80}"/>
                    </a:ext>
                  </a:extLst>
                </p:cNvPr>
                <p:cNvSpPr/>
                <p:nvPr/>
              </p:nvSpPr>
              <p:spPr>
                <a:xfrm>
                  <a:off x="9167644" y="2236551"/>
                  <a:ext cx="649936" cy="352902"/>
                </a:xfrm>
                <a:custGeom>
                  <a:avLst/>
                  <a:gdLst>
                    <a:gd name="connsiteX0" fmla="*/ 133201 w 649936"/>
                    <a:gd name="connsiteY0" fmla="*/ 172137 h 352902"/>
                    <a:gd name="connsiteX1" fmla="*/ 0 w 649936"/>
                    <a:gd name="connsiteY1" fmla="*/ 218839 h 352902"/>
                    <a:gd name="connsiteX2" fmla="*/ 325723 w 649936"/>
                    <a:gd name="connsiteY2" fmla="*/ 352903 h 352902"/>
                    <a:gd name="connsiteX3" fmla="*/ 649936 w 649936"/>
                    <a:gd name="connsiteY3" fmla="*/ 220349 h 352902"/>
                    <a:gd name="connsiteX4" fmla="*/ 602588 w 649936"/>
                    <a:gd name="connsiteY4" fmla="*/ 202984 h 352902"/>
                    <a:gd name="connsiteX5" fmla="*/ 423548 w 649936"/>
                    <a:gd name="connsiteY5" fmla="*/ 108287 h 352902"/>
                    <a:gd name="connsiteX6" fmla="*/ 400575 w 649936"/>
                    <a:gd name="connsiteY6" fmla="*/ 21571 h 352902"/>
                    <a:gd name="connsiteX7" fmla="*/ 240625 w 649936"/>
                    <a:gd name="connsiteY7" fmla="*/ 0 h 352902"/>
                    <a:gd name="connsiteX8" fmla="*/ 248499 w 649936"/>
                    <a:gd name="connsiteY8" fmla="*/ 99119 h 352902"/>
                    <a:gd name="connsiteX9" fmla="*/ 133093 w 649936"/>
                    <a:gd name="connsiteY9" fmla="*/ 172245 h 35290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649936" h="352902">
                      <a:moveTo>
                        <a:pt x="133201" y="172137"/>
                      </a:moveTo>
                      <a:cubicBezTo>
                        <a:pt x="97286" y="187560"/>
                        <a:pt x="39367" y="201258"/>
                        <a:pt x="0" y="218839"/>
                      </a:cubicBezTo>
                      <a:cubicBezTo>
                        <a:pt x="83588" y="301671"/>
                        <a:pt x="198670" y="352903"/>
                        <a:pt x="325723" y="352903"/>
                      </a:cubicBezTo>
                      <a:cubicBezTo>
                        <a:pt x="452777" y="352903"/>
                        <a:pt x="566348" y="302319"/>
                        <a:pt x="649936" y="220349"/>
                      </a:cubicBezTo>
                      <a:cubicBezTo>
                        <a:pt x="639798" y="215064"/>
                        <a:pt x="625130" y="209239"/>
                        <a:pt x="602588" y="202984"/>
                      </a:cubicBezTo>
                      <a:cubicBezTo>
                        <a:pt x="533345" y="183786"/>
                        <a:pt x="435088" y="127485"/>
                        <a:pt x="423548" y="108287"/>
                      </a:cubicBezTo>
                      <a:cubicBezTo>
                        <a:pt x="412007" y="89088"/>
                        <a:pt x="400575" y="21571"/>
                        <a:pt x="400575" y="21571"/>
                      </a:cubicBezTo>
                      <a:lnTo>
                        <a:pt x="240625" y="0"/>
                      </a:lnTo>
                      <a:cubicBezTo>
                        <a:pt x="240625" y="0"/>
                        <a:pt x="248499" y="83696"/>
                        <a:pt x="248499" y="99119"/>
                      </a:cubicBezTo>
                      <a:cubicBezTo>
                        <a:pt x="248499" y="114542"/>
                        <a:pt x="186913" y="149164"/>
                        <a:pt x="133093" y="172245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10768" cap="rnd">
                  <a:solidFill>
                    <a:srgbClr val="263238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1024" name="Полилиния: фигура 1023">
                  <a:extLst>
                    <a:ext uri="{FF2B5EF4-FFF2-40B4-BE49-F238E27FC236}">
                      <a16:creationId xmlns:a16="http://schemas.microsoft.com/office/drawing/2014/main" id="{71D4F632-C50F-4168-B6E3-5C5D88637ED9}"/>
                    </a:ext>
                  </a:extLst>
                </p:cNvPr>
                <p:cNvSpPr/>
                <p:nvPr/>
              </p:nvSpPr>
              <p:spPr>
                <a:xfrm>
                  <a:off x="9296871" y="1865853"/>
                  <a:ext cx="360004" cy="414889"/>
                </a:xfrm>
                <a:custGeom>
                  <a:avLst/>
                  <a:gdLst>
                    <a:gd name="connsiteX0" fmla="*/ 70413 w 360004"/>
                    <a:gd name="connsiteY0" fmla="*/ 184755 h 414889"/>
                    <a:gd name="connsiteX1" fmla="*/ 113663 w 360004"/>
                    <a:gd name="connsiteY1" fmla="*/ 35699 h 414889"/>
                    <a:gd name="connsiteX2" fmla="*/ 234677 w 360004"/>
                    <a:gd name="connsiteY2" fmla="*/ 16285 h 414889"/>
                    <a:gd name="connsiteX3" fmla="*/ 325383 w 360004"/>
                    <a:gd name="connsiteY3" fmla="*/ 187020 h 414889"/>
                    <a:gd name="connsiteX4" fmla="*/ 360005 w 360004"/>
                    <a:gd name="connsiteY4" fmla="*/ 282040 h 414889"/>
                    <a:gd name="connsiteX5" fmla="*/ 271455 w 360004"/>
                    <a:gd name="connsiteY5" fmla="*/ 392268 h 414889"/>
                    <a:gd name="connsiteX6" fmla="*/ 111506 w 360004"/>
                    <a:gd name="connsiteY6" fmla="*/ 370697 h 414889"/>
                    <a:gd name="connsiteX7" fmla="*/ 72570 w 360004"/>
                    <a:gd name="connsiteY7" fmla="*/ 308033 h 414889"/>
                    <a:gd name="connsiteX8" fmla="*/ 5592 w 360004"/>
                    <a:gd name="connsiteY8" fmla="*/ 245369 h 414889"/>
                    <a:gd name="connsiteX9" fmla="*/ 25006 w 360004"/>
                    <a:gd name="connsiteY9" fmla="*/ 169763 h 414889"/>
                    <a:gd name="connsiteX10" fmla="*/ 70413 w 360004"/>
                    <a:gd name="connsiteY10" fmla="*/ 184863 h 41488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360004" h="414889">
                      <a:moveTo>
                        <a:pt x="70413" y="184755"/>
                      </a:moveTo>
                      <a:cubicBezTo>
                        <a:pt x="70413" y="184755"/>
                        <a:pt x="83356" y="87469"/>
                        <a:pt x="113663" y="35699"/>
                      </a:cubicBezTo>
                      <a:cubicBezTo>
                        <a:pt x="143862" y="-16180"/>
                        <a:pt x="208684" y="-1080"/>
                        <a:pt x="234677" y="16285"/>
                      </a:cubicBezTo>
                      <a:cubicBezTo>
                        <a:pt x="260562" y="33542"/>
                        <a:pt x="301655" y="126513"/>
                        <a:pt x="325383" y="187020"/>
                      </a:cubicBezTo>
                      <a:cubicBezTo>
                        <a:pt x="349111" y="247526"/>
                        <a:pt x="360005" y="282040"/>
                        <a:pt x="360005" y="282040"/>
                      </a:cubicBezTo>
                      <a:cubicBezTo>
                        <a:pt x="360005" y="282040"/>
                        <a:pt x="322363" y="360667"/>
                        <a:pt x="271455" y="392268"/>
                      </a:cubicBezTo>
                      <a:cubicBezTo>
                        <a:pt x="217096" y="425919"/>
                        <a:pt x="157991" y="424625"/>
                        <a:pt x="111506" y="370697"/>
                      </a:cubicBezTo>
                      <a:cubicBezTo>
                        <a:pt x="85513" y="340498"/>
                        <a:pt x="72570" y="308033"/>
                        <a:pt x="72570" y="308033"/>
                      </a:cubicBezTo>
                      <a:cubicBezTo>
                        <a:pt x="72570" y="308033"/>
                        <a:pt x="18534" y="290777"/>
                        <a:pt x="5592" y="245369"/>
                      </a:cubicBezTo>
                      <a:cubicBezTo>
                        <a:pt x="-7351" y="199962"/>
                        <a:pt x="3435" y="176234"/>
                        <a:pt x="25006" y="169763"/>
                      </a:cubicBezTo>
                      <a:cubicBezTo>
                        <a:pt x="46577" y="163291"/>
                        <a:pt x="70413" y="184863"/>
                        <a:pt x="70413" y="184863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10768" cap="rnd">
                  <a:solidFill>
                    <a:srgbClr val="263238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1025" name="Полилиния: фигура 1024">
                  <a:extLst>
                    <a:ext uri="{FF2B5EF4-FFF2-40B4-BE49-F238E27FC236}">
                      <a16:creationId xmlns:a16="http://schemas.microsoft.com/office/drawing/2014/main" id="{5B67C27D-63F9-4886-B7F6-332762B45690}"/>
                    </a:ext>
                  </a:extLst>
                </p:cNvPr>
                <p:cNvSpPr/>
                <p:nvPr/>
              </p:nvSpPr>
              <p:spPr>
                <a:xfrm>
                  <a:off x="9522919" y="2018251"/>
                  <a:ext cx="35313" cy="100447"/>
                </a:xfrm>
                <a:custGeom>
                  <a:avLst/>
                  <a:gdLst>
                    <a:gd name="connsiteX0" fmla="*/ 12943 w 35313"/>
                    <a:gd name="connsiteY0" fmla="*/ 0 h 100447"/>
                    <a:gd name="connsiteX1" fmla="*/ 28042 w 35313"/>
                    <a:gd name="connsiteY1" fmla="*/ 56193 h 100447"/>
                    <a:gd name="connsiteX2" fmla="*/ 0 w 35313"/>
                    <a:gd name="connsiteY2" fmla="*/ 99443 h 10044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35313" h="100447">
                      <a:moveTo>
                        <a:pt x="12943" y="0"/>
                      </a:moveTo>
                      <a:cubicBezTo>
                        <a:pt x="12943" y="0"/>
                        <a:pt x="10786" y="32464"/>
                        <a:pt x="28042" y="56193"/>
                      </a:cubicBezTo>
                      <a:cubicBezTo>
                        <a:pt x="45299" y="79921"/>
                        <a:pt x="30200" y="105914"/>
                        <a:pt x="0" y="99443"/>
                      </a:cubicBezTo>
                    </a:path>
                  </a:pathLst>
                </a:custGeom>
                <a:noFill/>
                <a:ln w="10768" cap="rnd">
                  <a:solidFill>
                    <a:srgbClr val="263238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1026" name="Полилиния: фигура 1025">
                  <a:extLst>
                    <a:ext uri="{FF2B5EF4-FFF2-40B4-BE49-F238E27FC236}">
                      <a16:creationId xmlns:a16="http://schemas.microsoft.com/office/drawing/2014/main" id="{466D0530-5AEE-4802-90F6-70B1D9126C89}"/>
                    </a:ext>
                  </a:extLst>
                </p:cNvPr>
                <p:cNvSpPr/>
                <p:nvPr/>
              </p:nvSpPr>
              <p:spPr>
                <a:xfrm>
                  <a:off x="9442890" y="2121900"/>
                  <a:ext cx="108070" cy="43276"/>
                </a:xfrm>
                <a:custGeom>
                  <a:avLst/>
                  <a:gdLst>
                    <a:gd name="connsiteX0" fmla="*/ 108071 w 108070"/>
                    <a:gd name="connsiteY0" fmla="*/ 34622 h 43276"/>
                    <a:gd name="connsiteX1" fmla="*/ 0 w 108070"/>
                    <a:gd name="connsiteY1" fmla="*/ 0 h 4327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08070" h="43276">
                      <a:moveTo>
                        <a:pt x="108071" y="34622"/>
                      </a:moveTo>
                      <a:cubicBezTo>
                        <a:pt x="108071" y="34622"/>
                        <a:pt x="34621" y="69243"/>
                        <a:pt x="0" y="0"/>
                      </a:cubicBezTo>
                    </a:path>
                  </a:pathLst>
                </a:custGeom>
                <a:noFill/>
                <a:ln w="10768" cap="rnd">
                  <a:solidFill>
                    <a:srgbClr val="263238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1027" name="Полилиния: фигура 1026">
                  <a:extLst>
                    <a:ext uri="{FF2B5EF4-FFF2-40B4-BE49-F238E27FC236}">
                      <a16:creationId xmlns:a16="http://schemas.microsoft.com/office/drawing/2014/main" id="{8C299958-3B15-45C9-AE72-F17C999401F5}"/>
                    </a:ext>
                  </a:extLst>
                </p:cNvPr>
                <p:cNvSpPr/>
                <p:nvPr/>
              </p:nvSpPr>
              <p:spPr>
                <a:xfrm>
                  <a:off x="9455833" y="2035508"/>
                  <a:ext cx="17256" cy="34513"/>
                </a:xfrm>
                <a:custGeom>
                  <a:avLst/>
                  <a:gdLst>
                    <a:gd name="connsiteX0" fmla="*/ 0 w 17256"/>
                    <a:gd name="connsiteY0" fmla="*/ 17257 h 34513"/>
                    <a:gd name="connsiteX1" fmla="*/ 8629 w 17256"/>
                    <a:gd name="connsiteY1" fmla="*/ 34514 h 34513"/>
                    <a:gd name="connsiteX2" fmla="*/ 17257 w 17256"/>
                    <a:gd name="connsiteY2" fmla="*/ 17257 h 34513"/>
                    <a:gd name="connsiteX3" fmla="*/ 8629 w 17256"/>
                    <a:gd name="connsiteY3" fmla="*/ 0 h 34513"/>
                    <a:gd name="connsiteX4" fmla="*/ 0 w 17256"/>
                    <a:gd name="connsiteY4" fmla="*/ 17257 h 3451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7256" h="34513">
                      <a:moveTo>
                        <a:pt x="0" y="17257"/>
                      </a:moveTo>
                      <a:cubicBezTo>
                        <a:pt x="0" y="26856"/>
                        <a:pt x="3883" y="34514"/>
                        <a:pt x="8629" y="34514"/>
                      </a:cubicBezTo>
                      <a:cubicBezTo>
                        <a:pt x="13374" y="34514"/>
                        <a:pt x="17257" y="26748"/>
                        <a:pt x="17257" y="17257"/>
                      </a:cubicBezTo>
                      <a:cubicBezTo>
                        <a:pt x="17257" y="7766"/>
                        <a:pt x="13374" y="0"/>
                        <a:pt x="8629" y="0"/>
                      </a:cubicBezTo>
                      <a:cubicBezTo>
                        <a:pt x="3883" y="0"/>
                        <a:pt x="0" y="7766"/>
                        <a:pt x="0" y="17257"/>
                      </a:cubicBezTo>
                      <a:close/>
                    </a:path>
                  </a:pathLst>
                </a:custGeom>
                <a:solidFill>
                  <a:srgbClr val="263238"/>
                </a:solidFill>
                <a:ln w="10768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1028" name="Полилиния: фигура 1027">
                  <a:extLst>
                    <a:ext uri="{FF2B5EF4-FFF2-40B4-BE49-F238E27FC236}">
                      <a16:creationId xmlns:a16="http://schemas.microsoft.com/office/drawing/2014/main" id="{2A9FCBE2-1BF1-4F64-8F6A-4BF05C029438}"/>
                    </a:ext>
                  </a:extLst>
                </p:cNvPr>
                <p:cNvSpPr/>
                <p:nvPr/>
              </p:nvSpPr>
              <p:spPr>
                <a:xfrm>
                  <a:off x="9561747" y="2035508"/>
                  <a:ext cx="17256" cy="34513"/>
                </a:xfrm>
                <a:custGeom>
                  <a:avLst/>
                  <a:gdLst>
                    <a:gd name="connsiteX0" fmla="*/ 0 w 17256"/>
                    <a:gd name="connsiteY0" fmla="*/ 17257 h 34513"/>
                    <a:gd name="connsiteX1" fmla="*/ 8628 w 17256"/>
                    <a:gd name="connsiteY1" fmla="*/ 34514 h 34513"/>
                    <a:gd name="connsiteX2" fmla="*/ 17257 w 17256"/>
                    <a:gd name="connsiteY2" fmla="*/ 17257 h 34513"/>
                    <a:gd name="connsiteX3" fmla="*/ 8628 w 17256"/>
                    <a:gd name="connsiteY3" fmla="*/ 0 h 34513"/>
                    <a:gd name="connsiteX4" fmla="*/ 0 w 17256"/>
                    <a:gd name="connsiteY4" fmla="*/ 17257 h 3451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7256" h="34513">
                      <a:moveTo>
                        <a:pt x="0" y="17257"/>
                      </a:moveTo>
                      <a:cubicBezTo>
                        <a:pt x="0" y="26856"/>
                        <a:pt x="3883" y="34514"/>
                        <a:pt x="8628" y="34514"/>
                      </a:cubicBezTo>
                      <a:cubicBezTo>
                        <a:pt x="13374" y="34514"/>
                        <a:pt x="17257" y="26748"/>
                        <a:pt x="17257" y="17257"/>
                      </a:cubicBezTo>
                      <a:cubicBezTo>
                        <a:pt x="17257" y="7766"/>
                        <a:pt x="13374" y="0"/>
                        <a:pt x="8628" y="0"/>
                      </a:cubicBezTo>
                      <a:cubicBezTo>
                        <a:pt x="3883" y="0"/>
                        <a:pt x="0" y="7766"/>
                        <a:pt x="0" y="17257"/>
                      </a:cubicBezTo>
                      <a:close/>
                    </a:path>
                  </a:pathLst>
                </a:custGeom>
                <a:solidFill>
                  <a:srgbClr val="263238"/>
                </a:solidFill>
                <a:ln w="10768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1029" name="Полилиния: фигура 1028">
                  <a:extLst>
                    <a:ext uri="{FF2B5EF4-FFF2-40B4-BE49-F238E27FC236}">
                      <a16:creationId xmlns:a16="http://schemas.microsoft.com/office/drawing/2014/main" id="{3C5516E4-5C81-498A-B799-4C8DC31DF98B}"/>
                    </a:ext>
                  </a:extLst>
                </p:cNvPr>
                <p:cNvSpPr/>
                <p:nvPr/>
              </p:nvSpPr>
              <p:spPr>
                <a:xfrm>
                  <a:off x="9432105" y="1971099"/>
                  <a:ext cx="49721" cy="12531"/>
                </a:xfrm>
                <a:custGeom>
                  <a:avLst/>
                  <a:gdLst>
                    <a:gd name="connsiteX0" fmla="*/ 49721 w 49721"/>
                    <a:gd name="connsiteY0" fmla="*/ 6060 h 12531"/>
                    <a:gd name="connsiteX1" fmla="*/ 0 w 49721"/>
                    <a:gd name="connsiteY1" fmla="*/ 12531 h 1253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9721" h="12531">
                      <a:moveTo>
                        <a:pt x="49721" y="6060"/>
                      </a:moveTo>
                      <a:cubicBezTo>
                        <a:pt x="49721" y="6060"/>
                        <a:pt x="25993" y="-11197"/>
                        <a:pt x="0" y="12531"/>
                      </a:cubicBezTo>
                    </a:path>
                  </a:pathLst>
                </a:custGeom>
                <a:noFill/>
                <a:ln w="10768" cap="rnd">
                  <a:solidFill>
                    <a:srgbClr val="263238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1030" name="Полилиния: фигура 1029">
                  <a:extLst>
                    <a:ext uri="{FF2B5EF4-FFF2-40B4-BE49-F238E27FC236}">
                      <a16:creationId xmlns:a16="http://schemas.microsoft.com/office/drawing/2014/main" id="{F76DB137-99BD-4791-AF5C-FC58BBD68AC1}"/>
                    </a:ext>
                  </a:extLst>
                </p:cNvPr>
                <p:cNvSpPr/>
                <p:nvPr/>
              </p:nvSpPr>
              <p:spPr>
                <a:xfrm>
                  <a:off x="9544490" y="1969582"/>
                  <a:ext cx="41092" cy="11890"/>
                </a:xfrm>
                <a:custGeom>
                  <a:avLst/>
                  <a:gdLst>
                    <a:gd name="connsiteX0" fmla="*/ 0 w 41092"/>
                    <a:gd name="connsiteY0" fmla="*/ 11891 h 11890"/>
                    <a:gd name="connsiteX1" fmla="*/ 41093 w 41092"/>
                    <a:gd name="connsiteY1" fmla="*/ 3262 h 118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1092" h="11890">
                      <a:moveTo>
                        <a:pt x="0" y="11891"/>
                      </a:moveTo>
                      <a:cubicBezTo>
                        <a:pt x="0" y="11891"/>
                        <a:pt x="17257" y="-7523"/>
                        <a:pt x="41093" y="3262"/>
                      </a:cubicBezTo>
                    </a:path>
                  </a:pathLst>
                </a:custGeom>
                <a:noFill/>
                <a:ln w="10768" cap="rnd">
                  <a:solidFill>
                    <a:srgbClr val="263238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</p:grpSp>
          <p:sp>
            <p:nvSpPr>
              <p:cNvPr id="1031" name="Полилиния: фигура 1030">
                <a:extLst>
                  <a:ext uri="{FF2B5EF4-FFF2-40B4-BE49-F238E27FC236}">
                    <a16:creationId xmlns:a16="http://schemas.microsoft.com/office/drawing/2014/main" id="{F6D245AF-161C-4F87-893B-370FE8F1548F}"/>
                  </a:ext>
                </a:extLst>
              </p:cNvPr>
              <p:cNvSpPr/>
              <p:nvPr/>
            </p:nvSpPr>
            <p:spPr>
              <a:xfrm>
                <a:off x="9167644" y="2391539"/>
                <a:ext cx="649936" cy="197914"/>
              </a:xfrm>
              <a:custGeom>
                <a:avLst/>
                <a:gdLst>
                  <a:gd name="connsiteX0" fmla="*/ 500233 w 649936"/>
                  <a:gd name="connsiteY0" fmla="*/ 5285 h 197914"/>
                  <a:gd name="connsiteX1" fmla="*/ 332626 w 649936"/>
                  <a:gd name="connsiteY1" fmla="*/ 164156 h 197914"/>
                  <a:gd name="connsiteX2" fmla="*/ 170196 w 649936"/>
                  <a:gd name="connsiteY2" fmla="*/ 0 h 197914"/>
                  <a:gd name="connsiteX3" fmla="*/ 133201 w 649936"/>
                  <a:gd name="connsiteY3" fmla="*/ 17149 h 197914"/>
                  <a:gd name="connsiteX4" fmla="*/ 0 w 649936"/>
                  <a:gd name="connsiteY4" fmla="*/ 63850 h 197914"/>
                  <a:gd name="connsiteX5" fmla="*/ 325723 w 649936"/>
                  <a:gd name="connsiteY5" fmla="*/ 197915 h 197914"/>
                  <a:gd name="connsiteX6" fmla="*/ 649936 w 649936"/>
                  <a:gd name="connsiteY6" fmla="*/ 65360 h 197914"/>
                  <a:gd name="connsiteX7" fmla="*/ 602588 w 649936"/>
                  <a:gd name="connsiteY7" fmla="*/ 47996 h 197914"/>
                  <a:gd name="connsiteX8" fmla="*/ 500233 w 649936"/>
                  <a:gd name="connsiteY8" fmla="*/ 5285 h 1979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649936" h="197914">
                    <a:moveTo>
                      <a:pt x="500233" y="5285"/>
                    </a:moveTo>
                    <a:lnTo>
                      <a:pt x="332626" y="164156"/>
                    </a:lnTo>
                    <a:lnTo>
                      <a:pt x="170196" y="0"/>
                    </a:lnTo>
                    <a:cubicBezTo>
                      <a:pt x="158008" y="6040"/>
                      <a:pt x="145389" y="11864"/>
                      <a:pt x="133201" y="17149"/>
                    </a:cubicBezTo>
                    <a:cubicBezTo>
                      <a:pt x="97286" y="32572"/>
                      <a:pt x="39367" y="46270"/>
                      <a:pt x="0" y="63850"/>
                    </a:cubicBezTo>
                    <a:cubicBezTo>
                      <a:pt x="83588" y="146683"/>
                      <a:pt x="198670" y="197915"/>
                      <a:pt x="325723" y="197915"/>
                    </a:cubicBezTo>
                    <a:cubicBezTo>
                      <a:pt x="452777" y="197915"/>
                      <a:pt x="566348" y="147330"/>
                      <a:pt x="649936" y="65360"/>
                    </a:cubicBezTo>
                    <a:cubicBezTo>
                      <a:pt x="639798" y="60075"/>
                      <a:pt x="625130" y="54251"/>
                      <a:pt x="602588" y="47996"/>
                    </a:cubicBezTo>
                    <a:cubicBezTo>
                      <a:pt x="570878" y="39152"/>
                      <a:pt x="533021" y="22542"/>
                      <a:pt x="500233" y="5285"/>
                    </a:cubicBezTo>
                    <a:close/>
                  </a:path>
                </a:pathLst>
              </a:custGeom>
              <a:solidFill>
                <a:srgbClr val="21A038"/>
              </a:solidFill>
              <a:ln w="10768" cap="flat">
                <a:solidFill>
                  <a:srgbClr val="000000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</p:grpSp>
      </p:grpSp>
      <p:grpSp>
        <p:nvGrpSpPr>
          <p:cNvPr id="1032" name="Рисунок 2">
            <a:extLst>
              <a:ext uri="{FF2B5EF4-FFF2-40B4-BE49-F238E27FC236}">
                <a16:creationId xmlns:a16="http://schemas.microsoft.com/office/drawing/2014/main" id="{08640A5A-A127-43A2-9632-E378C3D71D5B}"/>
              </a:ext>
            </a:extLst>
          </p:cNvPr>
          <p:cNvGrpSpPr/>
          <p:nvPr/>
        </p:nvGrpSpPr>
        <p:grpSpPr>
          <a:xfrm>
            <a:off x="7142659" y="1457404"/>
            <a:ext cx="1445369" cy="2130682"/>
            <a:chOff x="7142659" y="1457404"/>
            <a:chExt cx="1445369" cy="2130682"/>
          </a:xfrm>
        </p:grpSpPr>
        <p:grpSp>
          <p:nvGrpSpPr>
            <p:cNvPr id="1033" name="Рисунок 2">
              <a:extLst>
                <a:ext uri="{FF2B5EF4-FFF2-40B4-BE49-F238E27FC236}">
                  <a16:creationId xmlns:a16="http://schemas.microsoft.com/office/drawing/2014/main" id="{08640A5A-A127-43A2-9632-E378C3D71D5B}"/>
                </a:ext>
              </a:extLst>
            </p:cNvPr>
            <p:cNvGrpSpPr/>
            <p:nvPr/>
          </p:nvGrpSpPr>
          <p:grpSpPr>
            <a:xfrm>
              <a:off x="7142659" y="1457404"/>
              <a:ext cx="1445369" cy="2130682"/>
              <a:chOff x="7142659" y="1457404"/>
              <a:chExt cx="1445369" cy="2130682"/>
            </a:xfrm>
          </p:grpSpPr>
          <p:sp>
            <p:nvSpPr>
              <p:cNvPr id="1034" name="Полилиния: фигура 1033">
                <a:extLst>
                  <a:ext uri="{FF2B5EF4-FFF2-40B4-BE49-F238E27FC236}">
                    <a16:creationId xmlns:a16="http://schemas.microsoft.com/office/drawing/2014/main" id="{5964C616-182F-4913-AF01-3DB0E1BC7D21}"/>
                  </a:ext>
                </a:extLst>
              </p:cNvPr>
              <p:cNvSpPr/>
              <p:nvPr/>
            </p:nvSpPr>
            <p:spPr>
              <a:xfrm>
                <a:off x="7142659" y="1457404"/>
                <a:ext cx="1445369" cy="2130682"/>
              </a:xfrm>
              <a:custGeom>
                <a:avLst/>
                <a:gdLst>
                  <a:gd name="connsiteX0" fmla="*/ 0 w 1445369"/>
                  <a:gd name="connsiteY0" fmla="*/ 0 h 2130682"/>
                  <a:gd name="connsiteX1" fmla="*/ 1445370 w 1445369"/>
                  <a:gd name="connsiteY1" fmla="*/ 0 h 2130682"/>
                  <a:gd name="connsiteX2" fmla="*/ 1445370 w 1445369"/>
                  <a:gd name="connsiteY2" fmla="*/ 2130683 h 2130682"/>
                  <a:gd name="connsiteX3" fmla="*/ 0 w 1445369"/>
                  <a:gd name="connsiteY3" fmla="*/ 2130683 h 21306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445369" h="2130682">
                    <a:moveTo>
                      <a:pt x="0" y="0"/>
                    </a:moveTo>
                    <a:lnTo>
                      <a:pt x="1445370" y="0"/>
                    </a:lnTo>
                    <a:lnTo>
                      <a:pt x="1445370" y="2130683"/>
                    </a:lnTo>
                    <a:lnTo>
                      <a:pt x="0" y="2130683"/>
                    </a:lnTo>
                    <a:close/>
                  </a:path>
                </a:pathLst>
              </a:custGeom>
              <a:noFill/>
              <a:ln w="10768" cap="flat">
                <a:solidFill>
                  <a:srgbClr val="26323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035" name="Полилиния: фигура 1034">
                <a:extLst>
                  <a:ext uri="{FF2B5EF4-FFF2-40B4-BE49-F238E27FC236}">
                    <a16:creationId xmlns:a16="http://schemas.microsoft.com/office/drawing/2014/main" id="{CAA82E7D-5746-4C71-98A9-C9E3FAA009E0}"/>
                  </a:ext>
                </a:extLst>
              </p:cNvPr>
              <p:cNvSpPr/>
              <p:nvPr/>
            </p:nvSpPr>
            <p:spPr>
              <a:xfrm>
                <a:off x="7349310" y="2738725"/>
                <a:ext cx="975335" cy="10785"/>
              </a:xfrm>
              <a:custGeom>
                <a:avLst/>
                <a:gdLst>
                  <a:gd name="connsiteX0" fmla="*/ 0 w 975335"/>
                  <a:gd name="connsiteY0" fmla="*/ 0 h 10785"/>
                  <a:gd name="connsiteX1" fmla="*/ 975336 w 975335"/>
                  <a:gd name="connsiteY1" fmla="*/ 0 h 107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75335" h="10785">
                    <a:moveTo>
                      <a:pt x="0" y="0"/>
                    </a:moveTo>
                    <a:lnTo>
                      <a:pt x="975336" y="0"/>
                    </a:lnTo>
                  </a:path>
                </a:pathLst>
              </a:custGeom>
              <a:ln w="10768" cap="flat">
                <a:solidFill>
                  <a:srgbClr val="26323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036" name="Полилиния: фигура 1035">
                <a:extLst>
                  <a:ext uri="{FF2B5EF4-FFF2-40B4-BE49-F238E27FC236}">
                    <a16:creationId xmlns:a16="http://schemas.microsoft.com/office/drawing/2014/main" id="{30844F5F-FCFF-4DE6-B384-DCB412CE3939}"/>
                  </a:ext>
                </a:extLst>
              </p:cNvPr>
              <p:cNvSpPr/>
              <p:nvPr/>
            </p:nvSpPr>
            <p:spPr>
              <a:xfrm>
                <a:off x="7349310" y="2837844"/>
                <a:ext cx="975335" cy="10785"/>
              </a:xfrm>
              <a:custGeom>
                <a:avLst/>
                <a:gdLst>
                  <a:gd name="connsiteX0" fmla="*/ 0 w 975335"/>
                  <a:gd name="connsiteY0" fmla="*/ 0 h 10785"/>
                  <a:gd name="connsiteX1" fmla="*/ 975336 w 975335"/>
                  <a:gd name="connsiteY1" fmla="*/ 0 h 107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75335" h="10785">
                    <a:moveTo>
                      <a:pt x="0" y="0"/>
                    </a:moveTo>
                    <a:lnTo>
                      <a:pt x="975336" y="0"/>
                    </a:lnTo>
                  </a:path>
                </a:pathLst>
              </a:custGeom>
              <a:ln w="10768" cap="flat">
                <a:solidFill>
                  <a:srgbClr val="26323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grpSp>
            <p:nvGrpSpPr>
              <p:cNvPr id="1037" name="Рисунок 2">
                <a:extLst>
                  <a:ext uri="{FF2B5EF4-FFF2-40B4-BE49-F238E27FC236}">
                    <a16:creationId xmlns:a16="http://schemas.microsoft.com/office/drawing/2014/main" id="{08640A5A-A127-43A2-9632-E378C3D71D5B}"/>
                  </a:ext>
                </a:extLst>
              </p:cNvPr>
              <p:cNvGrpSpPr/>
              <p:nvPr/>
            </p:nvGrpSpPr>
            <p:grpSpPr>
              <a:xfrm>
                <a:off x="7363763" y="2968241"/>
                <a:ext cx="960883" cy="57379"/>
                <a:chOff x="7363763" y="2968241"/>
                <a:chExt cx="960883" cy="57379"/>
              </a:xfrm>
              <a:solidFill>
                <a:srgbClr val="21A038"/>
              </a:solidFill>
            </p:grpSpPr>
            <p:sp>
              <p:nvSpPr>
                <p:cNvPr id="1038" name="Полилиния: фигура 1037">
                  <a:extLst>
                    <a:ext uri="{FF2B5EF4-FFF2-40B4-BE49-F238E27FC236}">
                      <a16:creationId xmlns:a16="http://schemas.microsoft.com/office/drawing/2014/main" id="{E3E478F5-FAE4-43A1-8093-5FCD12ABF90D}"/>
                    </a:ext>
                  </a:extLst>
                </p:cNvPr>
                <p:cNvSpPr/>
                <p:nvPr/>
              </p:nvSpPr>
              <p:spPr>
                <a:xfrm>
                  <a:off x="7468059" y="3004912"/>
                  <a:ext cx="856587" cy="10785"/>
                </a:xfrm>
                <a:custGeom>
                  <a:avLst/>
                  <a:gdLst>
                    <a:gd name="connsiteX0" fmla="*/ 0 w 856587"/>
                    <a:gd name="connsiteY0" fmla="*/ 0 h 10785"/>
                    <a:gd name="connsiteX1" fmla="*/ 856587 w 856587"/>
                    <a:gd name="connsiteY1" fmla="*/ 0 h 1078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856587" h="10785">
                      <a:moveTo>
                        <a:pt x="0" y="0"/>
                      </a:moveTo>
                      <a:lnTo>
                        <a:pt x="856587" y="0"/>
                      </a:lnTo>
                    </a:path>
                  </a:pathLst>
                </a:custGeom>
                <a:ln w="10768" cap="flat">
                  <a:solidFill>
                    <a:srgbClr val="263238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1039" name="Полилиния: фигура 1038">
                  <a:extLst>
                    <a:ext uri="{FF2B5EF4-FFF2-40B4-BE49-F238E27FC236}">
                      <a16:creationId xmlns:a16="http://schemas.microsoft.com/office/drawing/2014/main" id="{E49A71CD-BFAA-4F56-8E95-31EFB15D608C}"/>
                    </a:ext>
                  </a:extLst>
                </p:cNvPr>
                <p:cNvSpPr/>
                <p:nvPr/>
              </p:nvSpPr>
              <p:spPr>
                <a:xfrm>
                  <a:off x="7363763" y="2968241"/>
                  <a:ext cx="57379" cy="57379"/>
                </a:xfrm>
                <a:custGeom>
                  <a:avLst/>
                  <a:gdLst>
                    <a:gd name="connsiteX0" fmla="*/ 0 w 57379"/>
                    <a:gd name="connsiteY0" fmla="*/ 0 h 57379"/>
                    <a:gd name="connsiteX1" fmla="*/ 57379 w 57379"/>
                    <a:gd name="connsiteY1" fmla="*/ 0 h 57379"/>
                    <a:gd name="connsiteX2" fmla="*/ 57379 w 57379"/>
                    <a:gd name="connsiteY2" fmla="*/ 57379 h 57379"/>
                    <a:gd name="connsiteX3" fmla="*/ 0 w 57379"/>
                    <a:gd name="connsiteY3" fmla="*/ 57379 h 5737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57379" h="57379">
                      <a:moveTo>
                        <a:pt x="0" y="0"/>
                      </a:moveTo>
                      <a:lnTo>
                        <a:pt x="57379" y="0"/>
                      </a:lnTo>
                      <a:lnTo>
                        <a:pt x="57379" y="57379"/>
                      </a:lnTo>
                      <a:lnTo>
                        <a:pt x="0" y="57379"/>
                      </a:lnTo>
                      <a:close/>
                    </a:path>
                  </a:pathLst>
                </a:custGeom>
                <a:solidFill>
                  <a:srgbClr val="21A038"/>
                </a:solidFill>
                <a:ln w="10768" cap="flat">
                  <a:solidFill>
                    <a:srgbClr val="000000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</p:grpSp>
          <p:grpSp>
            <p:nvGrpSpPr>
              <p:cNvPr id="1040" name="Рисунок 2">
                <a:extLst>
                  <a:ext uri="{FF2B5EF4-FFF2-40B4-BE49-F238E27FC236}">
                    <a16:creationId xmlns:a16="http://schemas.microsoft.com/office/drawing/2014/main" id="{08640A5A-A127-43A2-9632-E378C3D71D5B}"/>
                  </a:ext>
                </a:extLst>
              </p:cNvPr>
              <p:cNvGrpSpPr/>
              <p:nvPr/>
            </p:nvGrpSpPr>
            <p:grpSpPr>
              <a:xfrm>
                <a:off x="7363763" y="3093461"/>
                <a:ext cx="960883" cy="57379"/>
                <a:chOff x="7363763" y="3093461"/>
                <a:chExt cx="960883" cy="57379"/>
              </a:xfrm>
              <a:solidFill>
                <a:srgbClr val="21A038"/>
              </a:solidFill>
            </p:grpSpPr>
            <p:sp>
              <p:nvSpPr>
                <p:cNvPr id="1041" name="Полилиния: фигура 1040">
                  <a:extLst>
                    <a:ext uri="{FF2B5EF4-FFF2-40B4-BE49-F238E27FC236}">
                      <a16:creationId xmlns:a16="http://schemas.microsoft.com/office/drawing/2014/main" id="{54A89174-6728-4A58-BBC2-7BA956EB8F43}"/>
                    </a:ext>
                  </a:extLst>
                </p:cNvPr>
                <p:cNvSpPr/>
                <p:nvPr/>
              </p:nvSpPr>
              <p:spPr>
                <a:xfrm>
                  <a:off x="7468059" y="3130132"/>
                  <a:ext cx="856587" cy="10785"/>
                </a:xfrm>
                <a:custGeom>
                  <a:avLst/>
                  <a:gdLst>
                    <a:gd name="connsiteX0" fmla="*/ 0 w 856587"/>
                    <a:gd name="connsiteY0" fmla="*/ 0 h 10785"/>
                    <a:gd name="connsiteX1" fmla="*/ 856587 w 856587"/>
                    <a:gd name="connsiteY1" fmla="*/ 0 h 1078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856587" h="10785">
                      <a:moveTo>
                        <a:pt x="0" y="0"/>
                      </a:moveTo>
                      <a:lnTo>
                        <a:pt x="856587" y="0"/>
                      </a:lnTo>
                    </a:path>
                  </a:pathLst>
                </a:custGeom>
                <a:ln w="10768" cap="flat">
                  <a:solidFill>
                    <a:srgbClr val="263238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1042" name="Полилиния: фигура 1041">
                  <a:extLst>
                    <a:ext uri="{FF2B5EF4-FFF2-40B4-BE49-F238E27FC236}">
                      <a16:creationId xmlns:a16="http://schemas.microsoft.com/office/drawing/2014/main" id="{FCA1C5ED-99ED-4D8B-988D-258938E1EABC}"/>
                    </a:ext>
                  </a:extLst>
                </p:cNvPr>
                <p:cNvSpPr/>
                <p:nvPr/>
              </p:nvSpPr>
              <p:spPr>
                <a:xfrm>
                  <a:off x="7363763" y="3093461"/>
                  <a:ext cx="57379" cy="57379"/>
                </a:xfrm>
                <a:custGeom>
                  <a:avLst/>
                  <a:gdLst>
                    <a:gd name="connsiteX0" fmla="*/ 0 w 57379"/>
                    <a:gd name="connsiteY0" fmla="*/ 0 h 57379"/>
                    <a:gd name="connsiteX1" fmla="*/ 57379 w 57379"/>
                    <a:gd name="connsiteY1" fmla="*/ 0 h 57379"/>
                    <a:gd name="connsiteX2" fmla="*/ 57379 w 57379"/>
                    <a:gd name="connsiteY2" fmla="*/ 57379 h 57379"/>
                    <a:gd name="connsiteX3" fmla="*/ 0 w 57379"/>
                    <a:gd name="connsiteY3" fmla="*/ 57379 h 5737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57379" h="57379">
                      <a:moveTo>
                        <a:pt x="0" y="0"/>
                      </a:moveTo>
                      <a:lnTo>
                        <a:pt x="57379" y="0"/>
                      </a:lnTo>
                      <a:lnTo>
                        <a:pt x="57379" y="57379"/>
                      </a:lnTo>
                      <a:lnTo>
                        <a:pt x="0" y="57379"/>
                      </a:lnTo>
                      <a:close/>
                    </a:path>
                  </a:pathLst>
                </a:custGeom>
                <a:solidFill>
                  <a:srgbClr val="21A038"/>
                </a:solidFill>
                <a:ln w="10768" cap="flat">
                  <a:solidFill>
                    <a:srgbClr val="000000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</p:grpSp>
          <p:grpSp>
            <p:nvGrpSpPr>
              <p:cNvPr id="1043" name="Рисунок 2">
                <a:extLst>
                  <a:ext uri="{FF2B5EF4-FFF2-40B4-BE49-F238E27FC236}">
                    <a16:creationId xmlns:a16="http://schemas.microsoft.com/office/drawing/2014/main" id="{08640A5A-A127-43A2-9632-E378C3D71D5B}"/>
                  </a:ext>
                </a:extLst>
              </p:cNvPr>
              <p:cNvGrpSpPr/>
              <p:nvPr/>
            </p:nvGrpSpPr>
            <p:grpSpPr>
              <a:xfrm>
                <a:off x="7363763" y="3218789"/>
                <a:ext cx="960883" cy="57379"/>
                <a:chOff x="7363763" y="3218789"/>
                <a:chExt cx="960883" cy="57379"/>
              </a:xfrm>
              <a:solidFill>
                <a:srgbClr val="21A038"/>
              </a:solidFill>
            </p:grpSpPr>
            <p:sp>
              <p:nvSpPr>
                <p:cNvPr id="1044" name="Полилиния: фигура 1043">
                  <a:extLst>
                    <a:ext uri="{FF2B5EF4-FFF2-40B4-BE49-F238E27FC236}">
                      <a16:creationId xmlns:a16="http://schemas.microsoft.com/office/drawing/2014/main" id="{25D737C2-23B2-4DFB-B608-76F923FF4B82}"/>
                    </a:ext>
                  </a:extLst>
                </p:cNvPr>
                <p:cNvSpPr/>
                <p:nvPr/>
              </p:nvSpPr>
              <p:spPr>
                <a:xfrm>
                  <a:off x="7468059" y="3255352"/>
                  <a:ext cx="856587" cy="10785"/>
                </a:xfrm>
                <a:custGeom>
                  <a:avLst/>
                  <a:gdLst>
                    <a:gd name="connsiteX0" fmla="*/ 0 w 856587"/>
                    <a:gd name="connsiteY0" fmla="*/ 0 h 10785"/>
                    <a:gd name="connsiteX1" fmla="*/ 856587 w 856587"/>
                    <a:gd name="connsiteY1" fmla="*/ 0 h 1078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856587" h="10785">
                      <a:moveTo>
                        <a:pt x="0" y="0"/>
                      </a:moveTo>
                      <a:lnTo>
                        <a:pt x="856587" y="0"/>
                      </a:lnTo>
                    </a:path>
                  </a:pathLst>
                </a:custGeom>
                <a:ln w="10768" cap="flat">
                  <a:solidFill>
                    <a:srgbClr val="263238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1045" name="Полилиния: фигура 1044">
                  <a:extLst>
                    <a:ext uri="{FF2B5EF4-FFF2-40B4-BE49-F238E27FC236}">
                      <a16:creationId xmlns:a16="http://schemas.microsoft.com/office/drawing/2014/main" id="{A1085A87-8547-42A9-BF0A-A881978A20A6}"/>
                    </a:ext>
                  </a:extLst>
                </p:cNvPr>
                <p:cNvSpPr/>
                <p:nvPr/>
              </p:nvSpPr>
              <p:spPr>
                <a:xfrm>
                  <a:off x="7363763" y="3218789"/>
                  <a:ext cx="57379" cy="57379"/>
                </a:xfrm>
                <a:custGeom>
                  <a:avLst/>
                  <a:gdLst>
                    <a:gd name="connsiteX0" fmla="*/ 0 w 57379"/>
                    <a:gd name="connsiteY0" fmla="*/ 0 h 57379"/>
                    <a:gd name="connsiteX1" fmla="*/ 57379 w 57379"/>
                    <a:gd name="connsiteY1" fmla="*/ 0 h 57379"/>
                    <a:gd name="connsiteX2" fmla="*/ 57379 w 57379"/>
                    <a:gd name="connsiteY2" fmla="*/ 57379 h 57379"/>
                    <a:gd name="connsiteX3" fmla="*/ 0 w 57379"/>
                    <a:gd name="connsiteY3" fmla="*/ 57379 h 5737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57379" h="57379">
                      <a:moveTo>
                        <a:pt x="0" y="0"/>
                      </a:moveTo>
                      <a:lnTo>
                        <a:pt x="57379" y="0"/>
                      </a:lnTo>
                      <a:lnTo>
                        <a:pt x="57379" y="57379"/>
                      </a:lnTo>
                      <a:lnTo>
                        <a:pt x="0" y="57379"/>
                      </a:lnTo>
                      <a:close/>
                    </a:path>
                  </a:pathLst>
                </a:custGeom>
                <a:solidFill>
                  <a:srgbClr val="21A038"/>
                </a:solidFill>
                <a:ln w="10768" cap="flat">
                  <a:solidFill>
                    <a:srgbClr val="000000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</p:grpSp>
          <p:grpSp>
            <p:nvGrpSpPr>
              <p:cNvPr id="1046" name="Рисунок 2">
                <a:extLst>
                  <a:ext uri="{FF2B5EF4-FFF2-40B4-BE49-F238E27FC236}">
                    <a16:creationId xmlns:a16="http://schemas.microsoft.com/office/drawing/2014/main" id="{08640A5A-A127-43A2-9632-E378C3D71D5B}"/>
                  </a:ext>
                </a:extLst>
              </p:cNvPr>
              <p:cNvGrpSpPr/>
              <p:nvPr/>
            </p:nvGrpSpPr>
            <p:grpSpPr>
              <a:xfrm>
                <a:off x="7363763" y="3344009"/>
                <a:ext cx="960883" cy="57379"/>
                <a:chOff x="7363763" y="3344009"/>
                <a:chExt cx="960883" cy="57379"/>
              </a:xfrm>
              <a:solidFill>
                <a:srgbClr val="21A038"/>
              </a:solidFill>
            </p:grpSpPr>
            <p:sp>
              <p:nvSpPr>
                <p:cNvPr id="1047" name="Полилиния: фигура 1046">
                  <a:extLst>
                    <a:ext uri="{FF2B5EF4-FFF2-40B4-BE49-F238E27FC236}">
                      <a16:creationId xmlns:a16="http://schemas.microsoft.com/office/drawing/2014/main" id="{B2EF3C17-A850-44EA-91EA-285D1A41B9D5}"/>
                    </a:ext>
                  </a:extLst>
                </p:cNvPr>
                <p:cNvSpPr/>
                <p:nvPr/>
              </p:nvSpPr>
              <p:spPr>
                <a:xfrm>
                  <a:off x="7468059" y="3380572"/>
                  <a:ext cx="856587" cy="10785"/>
                </a:xfrm>
                <a:custGeom>
                  <a:avLst/>
                  <a:gdLst>
                    <a:gd name="connsiteX0" fmla="*/ 0 w 856587"/>
                    <a:gd name="connsiteY0" fmla="*/ 0 h 10785"/>
                    <a:gd name="connsiteX1" fmla="*/ 856587 w 856587"/>
                    <a:gd name="connsiteY1" fmla="*/ 0 h 1078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856587" h="10785">
                      <a:moveTo>
                        <a:pt x="0" y="0"/>
                      </a:moveTo>
                      <a:lnTo>
                        <a:pt x="856587" y="0"/>
                      </a:lnTo>
                    </a:path>
                  </a:pathLst>
                </a:custGeom>
                <a:ln w="10768" cap="flat">
                  <a:solidFill>
                    <a:srgbClr val="263238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1048" name="Полилиния: фигура 1047">
                  <a:extLst>
                    <a:ext uri="{FF2B5EF4-FFF2-40B4-BE49-F238E27FC236}">
                      <a16:creationId xmlns:a16="http://schemas.microsoft.com/office/drawing/2014/main" id="{0306A870-6537-415D-AA2A-166CA0C066D5}"/>
                    </a:ext>
                  </a:extLst>
                </p:cNvPr>
                <p:cNvSpPr/>
                <p:nvPr/>
              </p:nvSpPr>
              <p:spPr>
                <a:xfrm>
                  <a:off x="7363763" y="3344009"/>
                  <a:ext cx="57379" cy="57379"/>
                </a:xfrm>
                <a:custGeom>
                  <a:avLst/>
                  <a:gdLst>
                    <a:gd name="connsiteX0" fmla="*/ 0 w 57379"/>
                    <a:gd name="connsiteY0" fmla="*/ 0 h 57379"/>
                    <a:gd name="connsiteX1" fmla="*/ 57379 w 57379"/>
                    <a:gd name="connsiteY1" fmla="*/ 0 h 57379"/>
                    <a:gd name="connsiteX2" fmla="*/ 57379 w 57379"/>
                    <a:gd name="connsiteY2" fmla="*/ 57379 h 57379"/>
                    <a:gd name="connsiteX3" fmla="*/ 0 w 57379"/>
                    <a:gd name="connsiteY3" fmla="*/ 57379 h 5737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57379" h="57379">
                      <a:moveTo>
                        <a:pt x="0" y="0"/>
                      </a:moveTo>
                      <a:lnTo>
                        <a:pt x="57379" y="0"/>
                      </a:lnTo>
                      <a:lnTo>
                        <a:pt x="57379" y="57379"/>
                      </a:lnTo>
                      <a:lnTo>
                        <a:pt x="0" y="57379"/>
                      </a:lnTo>
                      <a:close/>
                    </a:path>
                  </a:pathLst>
                </a:custGeom>
                <a:solidFill>
                  <a:srgbClr val="21A038"/>
                </a:solidFill>
                <a:ln w="10768" cap="flat">
                  <a:solidFill>
                    <a:srgbClr val="000000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</p:grpSp>
        </p:grpSp>
        <p:grpSp>
          <p:nvGrpSpPr>
            <p:cNvPr id="1049" name="Рисунок 2">
              <a:extLst>
                <a:ext uri="{FF2B5EF4-FFF2-40B4-BE49-F238E27FC236}">
                  <a16:creationId xmlns:a16="http://schemas.microsoft.com/office/drawing/2014/main" id="{08640A5A-A127-43A2-9632-E378C3D71D5B}"/>
                </a:ext>
              </a:extLst>
            </p:cNvPr>
            <p:cNvGrpSpPr/>
            <p:nvPr/>
          </p:nvGrpSpPr>
          <p:grpSpPr>
            <a:xfrm>
              <a:off x="7365812" y="1663623"/>
              <a:ext cx="925830" cy="925830"/>
              <a:chOff x="7365812" y="1663623"/>
              <a:chExt cx="925830" cy="925830"/>
            </a:xfrm>
          </p:grpSpPr>
          <p:sp>
            <p:nvSpPr>
              <p:cNvPr id="1050" name="Полилиния: фигура 1049">
                <a:extLst>
                  <a:ext uri="{FF2B5EF4-FFF2-40B4-BE49-F238E27FC236}">
                    <a16:creationId xmlns:a16="http://schemas.microsoft.com/office/drawing/2014/main" id="{A3E56874-5367-4BA7-90B0-47C54014B447}"/>
                  </a:ext>
                </a:extLst>
              </p:cNvPr>
              <p:cNvSpPr/>
              <p:nvPr/>
            </p:nvSpPr>
            <p:spPr>
              <a:xfrm>
                <a:off x="7365812" y="1663623"/>
                <a:ext cx="925830" cy="925830"/>
              </a:xfrm>
              <a:custGeom>
                <a:avLst/>
                <a:gdLst>
                  <a:gd name="connsiteX0" fmla="*/ 925830 w 925830"/>
                  <a:gd name="connsiteY0" fmla="*/ 462915 h 925830"/>
                  <a:gd name="connsiteX1" fmla="*/ 462915 w 925830"/>
                  <a:gd name="connsiteY1" fmla="*/ 925830 h 925830"/>
                  <a:gd name="connsiteX2" fmla="*/ 0 w 925830"/>
                  <a:gd name="connsiteY2" fmla="*/ 462915 h 925830"/>
                  <a:gd name="connsiteX3" fmla="*/ 462915 w 925830"/>
                  <a:gd name="connsiteY3" fmla="*/ 0 h 925830"/>
                  <a:gd name="connsiteX4" fmla="*/ 925830 w 925830"/>
                  <a:gd name="connsiteY4" fmla="*/ 462915 h 9258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925830" h="925830">
                    <a:moveTo>
                      <a:pt x="925830" y="462915"/>
                    </a:moveTo>
                    <a:cubicBezTo>
                      <a:pt x="925830" y="718576"/>
                      <a:pt x="718576" y="925830"/>
                      <a:pt x="462915" y="925830"/>
                    </a:cubicBezTo>
                    <a:cubicBezTo>
                      <a:pt x="207254" y="925830"/>
                      <a:pt x="0" y="718576"/>
                      <a:pt x="0" y="462915"/>
                    </a:cubicBezTo>
                    <a:cubicBezTo>
                      <a:pt x="0" y="207254"/>
                      <a:pt x="207254" y="0"/>
                      <a:pt x="462915" y="0"/>
                    </a:cubicBezTo>
                    <a:cubicBezTo>
                      <a:pt x="718576" y="0"/>
                      <a:pt x="925830" y="207254"/>
                      <a:pt x="925830" y="462915"/>
                    </a:cubicBezTo>
                    <a:close/>
                  </a:path>
                </a:pathLst>
              </a:custGeom>
              <a:solidFill>
                <a:srgbClr val="FFFFFF"/>
              </a:solidFill>
              <a:ln w="10768" cap="flat">
                <a:solidFill>
                  <a:srgbClr val="26323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051" name="Полилиния: фигура 1050">
                <a:extLst>
                  <a:ext uri="{FF2B5EF4-FFF2-40B4-BE49-F238E27FC236}">
                    <a16:creationId xmlns:a16="http://schemas.microsoft.com/office/drawing/2014/main" id="{18182A64-497D-4029-8539-C244986BDE68}"/>
                  </a:ext>
                </a:extLst>
              </p:cNvPr>
              <p:cNvSpPr/>
              <p:nvPr/>
            </p:nvSpPr>
            <p:spPr>
              <a:xfrm>
                <a:off x="7472373" y="2314422"/>
                <a:ext cx="706776" cy="275031"/>
              </a:xfrm>
              <a:custGeom>
                <a:avLst/>
                <a:gdLst>
                  <a:gd name="connsiteX0" fmla="*/ 115405 w 706776"/>
                  <a:gd name="connsiteY0" fmla="*/ 15315 h 275031"/>
                  <a:gd name="connsiteX1" fmla="*/ 0 w 706776"/>
                  <a:gd name="connsiteY1" fmla="*/ 107640 h 275031"/>
                  <a:gd name="connsiteX2" fmla="*/ 356354 w 706776"/>
                  <a:gd name="connsiteY2" fmla="*/ 275031 h 275031"/>
                  <a:gd name="connsiteX3" fmla="*/ 706776 w 706776"/>
                  <a:gd name="connsiteY3" fmla="*/ 114434 h 275031"/>
                  <a:gd name="connsiteX4" fmla="*/ 531296 w 706776"/>
                  <a:gd name="connsiteY4" fmla="*/ 0 h 275031"/>
                  <a:gd name="connsiteX5" fmla="*/ 115405 w 706776"/>
                  <a:gd name="connsiteY5" fmla="*/ 15315 h 2750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706776" h="275031">
                    <a:moveTo>
                      <a:pt x="115405" y="15315"/>
                    </a:moveTo>
                    <a:lnTo>
                      <a:pt x="0" y="107640"/>
                    </a:lnTo>
                    <a:cubicBezTo>
                      <a:pt x="84882" y="209886"/>
                      <a:pt x="213014" y="275031"/>
                      <a:pt x="356354" y="275031"/>
                    </a:cubicBezTo>
                    <a:cubicBezTo>
                      <a:pt x="499694" y="275031"/>
                      <a:pt x="621894" y="212691"/>
                      <a:pt x="706776" y="114434"/>
                    </a:cubicBezTo>
                    <a:lnTo>
                      <a:pt x="531296" y="0"/>
                    </a:lnTo>
                    <a:lnTo>
                      <a:pt x="115405" y="15315"/>
                    </a:lnTo>
                    <a:close/>
                  </a:path>
                </a:pathLst>
              </a:custGeom>
              <a:solidFill>
                <a:srgbClr val="263238"/>
              </a:solidFill>
              <a:ln w="10768" cap="rnd">
                <a:solidFill>
                  <a:srgbClr val="263238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grpSp>
            <p:nvGrpSpPr>
              <p:cNvPr id="1052" name="Рисунок 2">
                <a:extLst>
                  <a:ext uri="{FF2B5EF4-FFF2-40B4-BE49-F238E27FC236}">
                    <a16:creationId xmlns:a16="http://schemas.microsoft.com/office/drawing/2014/main" id="{08640A5A-A127-43A2-9632-E378C3D71D5B}"/>
                  </a:ext>
                </a:extLst>
              </p:cNvPr>
              <p:cNvGrpSpPr/>
              <p:nvPr/>
            </p:nvGrpSpPr>
            <p:grpSpPr>
              <a:xfrm>
                <a:off x="7566006" y="1690846"/>
                <a:ext cx="473911" cy="868192"/>
                <a:chOff x="7566006" y="1690846"/>
                <a:chExt cx="473911" cy="868192"/>
              </a:xfrm>
            </p:grpSpPr>
            <p:grpSp>
              <p:nvGrpSpPr>
                <p:cNvPr id="1053" name="Рисунок 2">
                  <a:extLst>
                    <a:ext uri="{FF2B5EF4-FFF2-40B4-BE49-F238E27FC236}">
                      <a16:creationId xmlns:a16="http://schemas.microsoft.com/office/drawing/2014/main" id="{08640A5A-A127-43A2-9632-E378C3D71D5B}"/>
                    </a:ext>
                  </a:extLst>
                </p:cNvPr>
                <p:cNvGrpSpPr/>
                <p:nvPr/>
              </p:nvGrpSpPr>
              <p:grpSpPr>
                <a:xfrm>
                  <a:off x="7566006" y="2193469"/>
                  <a:ext cx="473911" cy="365569"/>
                  <a:chOff x="7566006" y="2193469"/>
                  <a:chExt cx="473911" cy="365569"/>
                </a:xfrm>
              </p:grpSpPr>
              <p:sp>
                <p:nvSpPr>
                  <p:cNvPr id="1054" name="Полилиния: фигура 1053">
                    <a:extLst>
                      <a:ext uri="{FF2B5EF4-FFF2-40B4-BE49-F238E27FC236}">
                        <a16:creationId xmlns:a16="http://schemas.microsoft.com/office/drawing/2014/main" id="{89B680B8-C74F-42E4-8F7D-64355B6C3E14}"/>
                      </a:ext>
                    </a:extLst>
                  </p:cNvPr>
                  <p:cNvSpPr/>
                  <p:nvPr/>
                </p:nvSpPr>
                <p:spPr>
                  <a:xfrm>
                    <a:off x="7566006" y="2193577"/>
                    <a:ext cx="473911" cy="365461"/>
                  </a:xfrm>
                  <a:custGeom>
                    <a:avLst/>
                    <a:gdLst>
                      <a:gd name="connsiteX0" fmla="*/ 166730 w 473911"/>
                      <a:gd name="connsiteY0" fmla="*/ 5332 h 365461"/>
                      <a:gd name="connsiteX1" fmla="*/ 36656 w 473911"/>
                      <a:gd name="connsiteY1" fmla="*/ 60015 h 365461"/>
                      <a:gd name="connsiteX2" fmla="*/ 8398 w 473911"/>
                      <a:gd name="connsiteY2" fmla="*/ 165605 h 365461"/>
                      <a:gd name="connsiteX3" fmla="*/ 121538 w 473911"/>
                      <a:gd name="connsiteY3" fmla="*/ 265479 h 365461"/>
                      <a:gd name="connsiteX4" fmla="*/ 208362 w 473911"/>
                      <a:gd name="connsiteY4" fmla="*/ 365461 h 365461"/>
                      <a:gd name="connsiteX5" fmla="*/ 215696 w 473911"/>
                      <a:gd name="connsiteY5" fmla="*/ 267313 h 365461"/>
                      <a:gd name="connsiteX6" fmla="*/ 172338 w 473911"/>
                      <a:gd name="connsiteY6" fmla="*/ 142956 h 365461"/>
                      <a:gd name="connsiteX7" fmla="*/ 270378 w 473911"/>
                      <a:gd name="connsiteY7" fmla="*/ 63790 h 365461"/>
                      <a:gd name="connsiteX8" fmla="*/ 345769 w 473911"/>
                      <a:gd name="connsiteY8" fmla="*/ 165605 h 365461"/>
                      <a:gd name="connsiteX9" fmla="*/ 362703 w 473911"/>
                      <a:gd name="connsiteY9" fmla="*/ 269254 h 365461"/>
                      <a:gd name="connsiteX10" fmla="*/ 379636 w 473911"/>
                      <a:gd name="connsiteY10" fmla="*/ 353274 h 365461"/>
                      <a:gd name="connsiteX11" fmla="*/ 464410 w 473911"/>
                      <a:gd name="connsiteY11" fmla="*/ 218454 h 365461"/>
                      <a:gd name="connsiteX12" fmla="*/ 398403 w 473911"/>
                      <a:gd name="connsiteY12" fmla="*/ 29923 h 365461"/>
                      <a:gd name="connsiteX13" fmla="*/ 166514 w 473911"/>
                      <a:gd name="connsiteY13" fmla="*/ 5440 h 36546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</a:cxnLst>
                    <a:rect l="l" t="t" r="r" b="b"/>
                    <a:pathLst>
                      <a:path w="473911" h="365461">
                        <a:moveTo>
                          <a:pt x="166730" y="5332"/>
                        </a:moveTo>
                        <a:cubicBezTo>
                          <a:pt x="166730" y="5332"/>
                          <a:pt x="64914" y="18490"/>
                          <a:pt x="36656" y="60015"/>
                        </a:cubicBezTo>
                        <a:cubicBezTo>
                          <a:pt x="8398" y="101431"/>
                          <a:pt x="-12310" y="141014"/>
                          <a:pt x="8398" y="165605"/>
                        </a:cubicBezTo>
                        <a:cubicBezTo>
                          <a:pt x="29106" y="190088"/>
                          <a:pt x="87564" y="242938"/>
                          <a:pt x="121538" y="265479"/>
                        </a:cubicBezTo>
                        <a:cubicBezTo>
                          <a:pt x="155513" y="288021"/>
                          <a:pt x="208362" y="365461"/>
                          <a:pt x="208362" y="365461"/>
                        </a:cubicBezTo>
                        <a:cubicBezTo>
                          <a:pt x="208362" y="365461"/>
                          <a:pt x="215696" y="308837"/>
                          <a:pt x="215696" y="267313"/>
                        </a:cubicBezTo>
                        <a:cubicBezTo>
                          <a:pt x="215696" y="225788"/>
                          <a:pt x="179888" y="180597"/>
                          <a:pt x="172338" y="142956"/>
                        </a:cubicBezTo>
                        <a:cubicBezTo>
                          <a:pt x="164788" y="105206"/>
                          <a:pt x="227021" y="44915"/>
                          <a:pt x="270378" y="63790"/>
                        </a:cubicBezTo>
                        <a:cubicBezTo>
                          <a:pt x="313736" y="82664"/>
                          <a:pt x="347711" y="139181"/>
                          <a:pt x="345769" y="165605"/>
                        </a:cubicBezTo>
                        <a:cubicBezTo>
                          <a:pt x="343828" y="192030"/>
                          <a:pt x="353319" y="224063"/>
                          <a:pt x="362703" y="269254"/>
                        </a:cubicBezTo>
                        <a:cubicBezTo>
                          <a:pt x="372086" y="314446"/>
                          <a:pt x="379636" y="353274"/>
                          <a:pt x="379636" y="353274"/>
                        </a:cubicBezTo>
                        <a:cubicBezTo>
                          <a:pt x="379636" y="353274"/>
                          <a:pt x="443702" y="288129"/>
                          <a:pt x="464410" y="218454"/>
                        </a:cubicBezTo>
                        <a:cubicBezTo>
                          <a:pt x="485119" y="148672"/>
                          <a:pt x="475735" y="77056"/>
                          <a:pt x="398403" y="29923"/>
                        </a:cubicBezTo>
                        <a:cubicBezTo>
                          <a:pt x="321070" y="-17210"/>
                          <a:pt x="166514" y="5440"/>
                          <a:pt x="166514" y="5440"/>
                        </a:cubicBezTo>
                        <a:close/>
                      </a:path>
                    </a:pathLst>
                  </a:custGeom>
                  <a:solidFill>
                    <a:srgbClr val="21A038"/>
                  </a:solidFill>
                  <a:ln w="10768" cap="flat">
                    <a:solidFill>
                      <a:srgbClr val="000000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ru-RU"/>
                  </a:p>
                </p:txBody>
              </p:sp>
              <p:sp>
                <p:nvSpPr>
                  <p:cNvPr id="1055" name="Полилиния: фигура 1054">
                    <a:extLst>
                      <a:ext uri="{FF2B5EF4-FFF2-40B4-BE49-F238E27FC236}">
                        <a16:creationId xmlns:a16="http://schemas.microsoft.com/office/drawing/2014/main" id="{809B85A5-7510-4C88-88B3-96C5C1F9BFB5}"/>
                      </a:ext>
                    </a:extLst>
                  </p:cNvPr>
                  <p:cNvSpPr/>
                  <p:nvPr/>
                </p:nvSpPr>
                <p:spPr>
                  <a:xfrm>
                    <a:off x="7591876" y="2193469"/>
                    <a:ext cx="412115" cy="277343"/>
                  </a:xfrm>
                  <a:custGeom>
                    <a:avLst/>
                    <a:gdLst>
                      <a:gd name="connsiteX0" fmla="*/ 405968 w 412115"/>
                      <a:gd name="connsiteY0" fmla="*/ 55808 h 277343"/>
                      <a:gd name="connsiteX1" fmla="*/ 372641 w 412115"/>
                      <a:gd name="connsiteY1" fmla="*/ 29923 h 277343"/>
                      <a:gd name="connsiteX2" fmla="*/ 140752 w 412115"/>
                      <a:gd name="connsiteY2" fmla="*/ 5440 h 277343"/>
                      <a:gd name="connsiteX3" fmla="*/ 10678 w 412115"/>
                      <a:gd name="connsiteY3" fmla="*/ 60123 h 277343"/>
                      <a:gd name="connsiteX4" fmla="*/ 1187 w 412115"/>
                      <a:gd name="connsiteY4" fmla="*/ 74467 h 277343"/>
                      <a:gd name="connsiteX5" fmla="*/ 18228 w 412115"/>
                      <a:gd name="connsiteY5" fmla="*/ 146731 h 277343"/>
                      <a:gd name="connsiteX6" fmla="*/ 189610 w 412115"/>
                      <a:gd name="connsiteY6" fmla="*/ 264940 h 277343"/>
                      <a:gd name="connsiteX7" fmla="*/ 146360 w 412115"/>
                      <a:gd name="connsiteY7" fmla="*/ 142956 h 277343"/>
                      <a:gd name="connsiteX8" fmla="*/ 244401 w 412115"/>
                      <a:gd name="connsiteY8" fmla="*/ 63790 h 277343"/>
                      <a:gd name="connsiteX9" fmla="*/ 319792 w 412115"/>
                      <a:gd name="connsiteY9" fmla="*/ 165605 h 277343"/>
                      <a:gd name="connsiteX10" fmla="*/ 336725 w 412115"/>
                      <a:gd name="connsiteY10" fmla="*/ 269254 h 277343"/>
                      <a:gd name="connsiteX11" fmla="*/ 338343 w 412115"/>
                      <a:gd name="connsiteY11" fmla="*/ 277343 h 277343"/>
                      <a:gd name="connsiteX12" fmla="*/ 348050 w 412115"/>
                      <a:gd name="connsiteY12" fmla="*/ 267313 h 277343"/>
                      <a:gd name="connsiteX13" fmla="*/ 412116 w 412115"/>
                      <a:gd name="connsiteY13" fmla="*/ 99598 h 277343"/>
                      <a:gd name="connsiteX14" fmla="*/ 405860 w 412115"/>
                      <a:gd name="connsiteY14" fmla="*/ 55701 h 27734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</a:cxnLst>
                    <a:rect l="l" t="t" r="r" b="b"/>
                    <a:pathLst>
                      <a:path w="412115" h="277343">
                        <a:moveTo>
                          <a:pt x="405968" y="55808"/>
                        </a:moveTo>
                        <a:cubicBezTo>
                          <a:pt x="396585" y="46641"/>
                          <a:pt x="385691" y="37904"/>
                          <a:pt x="372641" y="29923"/>
                        </a:cubicBezTo>
                        <a:cubicBezTo>
                          <a:pt x="295309" y="-17210"/>
                          <a:pt x="140752" y="5440"/>
                          <a:pt x="140752" y="5440"/>
                        </a:cubicBezTo>
                        <a:cubicBezTo>
                          <a:pt x="140752" y="5440"/>
                          <a:pt x="38936" y="18598"/>
                          <a:pt x="10678" y="60123"/>
                        </a:cubicBezTo>
                        <a:cubicBezTo>
                          <a:pt x="7335" y="64976"/>
                          <a:pt x="4207" y="69722"/>
                          <a:pt x="1187" y="74467"/>
                        </a:cubicBezTo>
                        <a:cubicBezTo>
                          <a:pt x="-2157" y="94744"/>
                          <a:pt x="971" y="119227"/>
                          <a:pt x="18228" y="146731"/>
                        </a:cubicBezTo>
                        <a:cubicBezTo>
                          <a:pt x="60507" y="214032"/>
                          <a:pt x="148086" y="246173"/>
                          <a:pt x="189610" y="264940"/>
                        </a:cubicBezTo>
                        <a:cubicBezTo>
                          <a:pt x="188208" y="224171"/>
                          <a:pt x="153802" y="179950"/>
                          <a:pt x="146360" y="142956"/>
                        </a:cubicBezTo>
                        <a:cubicBezTo>
                          <a:pt x="138810" y="105206"/>
                          <a:pt x="201043" y="44915"/>
                          <a:pt x="244401" y="63790"/>
                        </a:cubicBezTo>
                        <a:cubicBezTo>
                          <a:pt x="287759" y="82664"/>
                          <a:pt x="321733" y="139181"/>
                          <a:pt x="319792" y="165605"/>
                        </a:cubicBezTo>
                        <a:cubicBezTo>
                          <a:pt x="317850" y="192030"/>
                          <a:pt x="327342" y="224063"/>
                          <a:pt x="336725" y="269254"/>
                        </a:cubicBezTo>
                        <a:cubicBezTo>
                          <a:pt x="337264" y="271843"/>
                          <a:pt x="337804" y="274647"/>
                          <a:pt x="338343" y="277343"/>
                        </a:cubicBezTo>
                        <a:cubicBezTo>
                          <a:pt x="341578" y="274216"/>
                          <a:pt x="344814" y="270980"/>
                          <a:pt x="348050" y="267313"/>
                        </a:cubicBezTo>
                        <a:cubicBezTo>
                          <a:pt x="397016" y="212630"/>
                          <a:pt x="412116" y="152339"/>
                          <a:pt x="412116" y="99598"/>
                        </a:cubicBezTo>
                        <a:cubicBezTo>
                          <a:pt x="412116" y="84067"/>
                          <a:pt x="409743" y="69290"/>
                          <a:pt x="405860" y="55701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 w="10768" cap="rnd">
                    <a:solidFill>
                      <a:srgbClr val="263238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ru-RU"/>
                  </a:p>
                </p:txBody>
              </p:sp>
            </p:grpSp>
            <p:grpSp>
              <p:nvGrpSpPr>
                <p:cNvPr id="1056" name="Рисунок 2">
                  <a:extLst>
                    <a:ext uri="{FF2B5EF4-FFF2-40B4-BE49-F238E27FC236}">
                      <a16:creationId xmlns:a16="http://schemas.microsoft.com/office/drawing/2014/main" id="{08640A5A-A127-43A2-9632-E378C3D71D5B}"/>
                    </a:ext>
                  </a:extLst>
                </p:cNvPr>
                <p:cNvGrpSpPr/>
                <p:nvPr/>
              </p:nvGrpSpPr>
              <p:grpSpPr>
                <a:xfrm>
                  <a:off x="7715695" y="2125460"/>
                  <a:ext cx="197425" cy="329176"/>
                  <a:chOff x="7715695" y="2125460"/>
                  <a:chExt cx="197425" cy="329176"/>
                </a:xfrm>
              </p:grpSpPr>
              <p:sp>
                <p:nvSpPr>
                  <p:cNvPr id="1057" name="Полилиния: фигура 1056">
                    <a:extLst>
                      <a:ext uri="{FF2B5EF4-FFF2-40B4-BE49-F238E27FC236}">
                        <a16:creationId xmlns:a16="http://schemas.microsoft.com/office/drawing/2014/main" id="{CF11CAFE-191D-4575-9076-2165413DA6D2}"/>
                      </a:ext>
                    </a:extLst>
                  </p:cNvPr>
                  <p:cNvSpPr/>
                  <p:nvPr/>
                </p:nvSpPr>
                <p:spPr>
                  <a:xfrm>
                    <a:off x="7715695" y="2125460"/>
                    <a:ext cx="197425" cy="329176"/>
                  </a:xfrm>
                  <a:custGeom>
                    <a:avLst/>
                    <a:gdLst>
                      <a:gd name="connsiteX0" fmla="*/ 0 w 197425"/>
                      <a:gd name="connsiteY0" fmla="*/ 0 h 329176"/>
                      <a:gd name="connsiteX1" fmla="*/ 15100 w 197425"/>
                      <a:gd name="connsiteY1" fmla="*/ 173431 h 329176"/>
                      <a:gd name="connsiteX2" fmla="*/ 103649 w 197425"/>
                      <a:gd name="connsiteY2" fmla="*/ 326155 h 329176"/>
                      <a:gd name="connsiteX3" fmla="*/ 195973 w 197425"/>
                      <a:gd name="connsiteY3" fmla="*/ 216789 h 329176"/>
                      <a:gd name="connsiteX4" fmla="*/ 169549 w 197425"/>
                      <a:gd name="connsiteY4" fmla="*/ 92432 h 329176"/>
                      <a:gd name="connsiteX5" fmla="*/ 167715 w 197425"/>
                      <a:gd name="connsiteY5" fmla="*/ 67949 h 329176"/>
                      <a:gd name="connsiteX6" fmla="*/ 0 w 197425"/>
                      <a:gd name="connsiteY6" fmla="*/ 108 h 32917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197425" h="329176">
                        <a:moveTo>
                          <a:pt x="0" y="0"/>
                        </a:moveTo>
                        <a:cubicBezTo>
                          <a:pt x="0" y="0"/>
                          <a:pt x="11325" y="135682"/>
                          <a:pt x="15100" y="173431"/>
                        </a:cubicBezTo>
                        <a:cubicBezTo>
                          <a:pt x="18875" y="211181"/>
                          <a:pt x="39583" y="307280"/>
                          <a:pt x="103649" y="326155"/>
                        </a:cubicBezTo>
                        <a:cubicBezTo>
                          <a:pt x="167715" y="345029"/>
                          <a:pt x="205464" y="271472"/>
                          <a:pt x="195973" y="216789"/>
                        </a:cubicBezTo>
                        <a:cubicBezTo>
                          <a:pt x="186482" y="162107"/>
                          <a:pt x="169549" y="111199"/>
                          <a:pt x="169549" y="92432"/>
                        </a:cubicBezTo>
                        <a:cubicBezTo>
                          <a:pt x="169549" y="73665"/>
                          <a:pt x="167715" y="67949"/>
                          <a:pt x="167715" y="67949"/>
                        </a:cubicBezTo>
                        <a:lnTo>
                          <a:pt x="0" y="108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 w="10768" cap="rnd">
                    <a:solidFill>
                      <a:srgbClr val="263238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ru-RU"/>
                  </a:p>
                </p:txBody>
              </p:sp>
              <p:sp>
                <p:nvSpPr>
                  <p:cNvPr id="1058" name="Полилиния: фигура 1057">
                    <a:extLst>
                      <a:ext uri="{FF2B5EF4-FFF2-40B4-BE49-F238E27FC236}">
                        <a16:creationId xmlns:a16="http://schemas.microsoft.com/office/drawing/2014/main" id="{1F1620D4-4568-41E8-A16B-90265739D137}"/>
                      </a:ext>
                    </a:extLst>
                  </p:cNvPr>
                  <p:cNvSpPr/>
                  <p:nvPr/>
                </p:nvSpPr>
                <p:spPr>
                  <a:xfrm>
                    <a:off x="7715803" y="2125460"/>
                    <a:ext cx="169548" cy="154664"/>
                  </a:xfrm>
                  <a:custGeom>
                    <a:avLst/>
                    <a:gdLst>
                      <a:gd name="connsiteX0" fmla="*/ 167715 w 169548"/>
                      <a:gd name="connsiteY0" fmla="*/ 67841 h 154664"/>
                      <a:gd name="connsiteX1" fmla="*/ 0 w 169548"/>
                      <a:gd name="connsiteY1" fmla="*/ 0 h 154664"/>
                      <a:gd name="connsiteX2" fmla="*/ 13266 w 169548"/>
                      <a:gd name="connsiteY2" fmla="*/ 154665 h 154664"/>
                      <a:gd name="connsiteX3" fmla="*/ 169549 w 169548"/>
                      <a:gd name="connsiteY3" fmla="*/ 88765 h 154664"/>
                      <a:gd name="connsiteX4" fmla="*/ 167715 w 169548"/>
                      <a:gd name="connsiteY4" fmla="*/ 67949 h 15466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169548" h="154664">
                        <a:moveTo>
                          <a:pt x="167715" y="67841"/>
                        </a:moveTo>
                        <a:lnTo>
                          <a:pt x="0" y="0"/>
                        </a:lnTo>
                        <a:cubicBezTo>
                          <a:pt x="0" y="0"/>
                          <a:pt x="8628" y="103218"/>
                          <a:pt x="13266" y="154665"/>
                        </a:cubicBezTo>
                        <a:lnTo>
                          <a:pt x="169549" y="88765"/>
                        </a:lnTo>
                        <a:cubicBezTo>
                          <a:pt x="169333" y="72910"/>
                          <a:pt x="167715" y="67949"/>
                          <a:pt x="167715" y="67949"/>
                        </a:cubicBezTo>
                        <a:close/>
                      </a:path>
                    </a:pathLst>
                  </a:custGeom>
                  <a:solidFill>
                    <a:srgbClr val="263238"/>
                  </a:solidFill>
                  <a:ln w="10768" cap="rnd">
                    <a:solidFill>
                      <a:srgbClr val="263238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ru-RU"/>
                  </a:p>
                </p:txBody>
              </p:sp>
            </p:grpSp>
            <p:grpSp>
              <p:nvGrpSpPr>
                <p:cNvPr id="1059" name="Рисунок 2">
                  <a:extLst>
                    <a:ext uri="{FF2B5EF4-FFF2-40B4-BE49-F238E27FC236}">
                      <a16:creationId xmlns:a16="http://schemas.microsoft.com/office/drawing/2014/main" id="{08640A5A-A127-43A2-9632-E378C3D71D5B}"/>
                    </a:ext>
                  </a:extLst>
                </p:cNvPr>
                <p:cNvGrpSpPr/>
                <p:nvPr/>
              </p:nvGrpSpPr>
              <p:grpSpPr>
                <a:xfrm>
                  <a:off x="7573607" y="1690846"/>
                  <a:ext cx="451274" cy="540502"/>
                  <a:chOff x="7573607" y="1690846"/>
                  <a:chExt cx="451274" cy="540502"/>
                </a:xfrm>
              </p:grpSpPr>
              <p:grpSp>
                <p:nvGrpSpPr>
                  <p:cNvPr id="1060" name="Рисунок 2">
                    <a:extLst>
                      <a:ext uri="{FF2B5EF4-FFF2-40B4-BE49-F238E27FC236}">
                        <a16:creationId xmlns:a16="http://schemas.microsoft.com/office/drawing/2014/main" id="{08640A5A-A127-43A2-9632-E378C3D71D5B}"/>
                      </a:ext>
                    </a:extLst>
                  </p:cNvPr>
                  <p:cNvGrpSpPr/>
                  <p:nvPr/>
                </p:nvGrpSpPr>
                <p:grpSpPr>
                  <a:xfrm>
                    <a:off x="7604851" y="1813542"/>
                    <a:ext cx="348449" cy="417806"/>
                    <a:chOff x="7604851" y="1813542"/>
                    <a:chExt cx="348449" cy="417806"/>
                  </a:xfrm>
                </p:grpSpPr>
                <p:sp>
                  <p:nvSpPr>
                    <p:cNvPr id="1061" name="Полилиния: фигура 1060">
                      <a:extLst>
                        <a:ext uri="{FF2B5EF4-FFF2-40B4-BE49-F238E27FC236}">
                          <a16:creationId xmlns:a16="http://schemas.microsoft.com/office/drawing/2014/main" id="{8C4F6076-6160-458A-89D0-5CAA54D806B4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7604851" y="1813542"/>
                      <a:ext cx="348449" cy="417743"/>
                    </a:xfrm>
                    <a:custGeom>
                      <a:avLst/>
                      <a:gdLst>
                        <a:gd name="connsiteX0" fmla="*/ 318358 w 348449"/>
                        <a:gd name="connsiteY0" fmla="*/ 57810 h 417743"/>
                        <a:gd name="connsiteX1" fmla="*/ 348449 w 348449"/>
                        <a:gd name="connsiteY1" fmla="*/ 253568 h 417743"/>
                        <a:gd name="connsiteX2" fmla="*/ 308327 w 348449"/>
                        <a:gd name="connsiteY2" fmla="*/ 391623 h 417743"/>
                        <a:gd name="connsiteX3" fmla="*/ 207914 w 348449"/>
                        <a:gd name="connsiteY3" fmla="*/ 414165 h 417743"/>
                        <a:gd name="connsiteX4" fmla="*/ 97470 w 348449"/>
                        <a:gd name="connsiteY4" fmla="*/ 311271 h 417743"/>
                        <a:gd name="connsiteX5" fmla="*/ 77409 w 348449"/>
                        <a:gd name="connsiteY5" fmla="*/ 258529 h 417743"/>
                        <a:gd name="connsiteX6" fmla="*/ 14637 w 348449"/>
                        <a:gd name="connsiteY6" fmla="*/ 233399 h 417743"/>
                        <a:gd name="connsiteX7" fmla="*/ 29737 w 348449"/>
                        <a:gd name="connsiteY7" fmla="*/ 153047 h 417743"/>
                        <a:gd name="connsiteX8" fmla="*/ 54867 w 348449"/>
                        <a:gd name="connsiteY8" fmla="*/ 160597 h 417743"/>
                        <a:gd name="connsiteX9" fmla="*/ 24775 w 348449"/>
                        <a:gd name="connsiteY9" fmla="*/ 47672 h 417743"/>
                        <a:gd name="connsiteX10" fmla="*/ 258282 w 348449"/>
                        <a:gd name="connsiteY10" fmla="*/ 0 h 417743"/>
                        <a:gd name="connsiteX11" fmla="*/ 318573 w 348449"/>
                        <a:gd name="connsiteY11" fmla="*/ 57703 h 41774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</a:cxnLst>
                      <a:rect l="l" t="t" r="r" b="b"/>
                      <a:pathLst>
                        <a:path w="348449" h="417743">
                          <a:moveTo>
                            <a:pt x="318358" y="57810"/>
                          </a:moveTo>
                          <a:cubicBezTo>
                            <a:pt x="318358" y="57810"/>
                            <a:pt x="348449" y="223476"/>
                            <a:pt x="348449" y="253568"/>
                          </a:cubicBezTo>
                          <a:cubicBezTo>
                            <a:pt x="348449" y="283660"/>
                            <a:pt x="320838" y="371562"/>
                            <a:pt x="308327" y="391623"/>
                          </a:cubicBezTo>
                          <a:cubicBezTo>
                            <a:pt x="295816" y="411684"/>
                            <a:pt x="233044" y="424303"/>
                            <a:pt x="207914" y="414165"/>
                          </a:cubicBezTo>
                          <a:cubicBezTo>
                            <a:pt x="182784" y="404134"/>
                            <a:pt x="112570" y="338882"/>
                            <a:pt x="97470" y="311271"/>
                          </a:cubicBezTo>
                          <a:cubicBezTo>
                            <a:pt x="82370" y="283660"/>
                            <a:pt x="77409" y="258529"/>
                            <a:pt x="77409" y="258529"/>
                          </a:cubicBezTo>
                          <a:cubicBezTo>
                            <a:pt x="77409" y="258529"/>
                            <a:pt x="42248" y="273629"/>
                            <a:pt x="14637" y="233399"/>
                          </a:cubicBezTo>
                          <a:cubicBezTo>
                            <a:pt x="-12974" y="193169"/>
                            <a:pt x="2126" y="155527"/>
                            <a:pt x="29737" y="153047"/>
                          </a:cubicBezTo>
                          <a:lnTo>
                            <a:pt x="54867" y="160597"/>
                          </a:lnTo>
                          <a:cubicBezTo>
                            <a:pt x="54867" y="160597"/>
                            <a:pt x="9676" y="82725"/>
                            <a:pt x="24775" y="47672"/>
                          </a:cubicBezTo>
                          <a:cubicBezTo>
                            <a:pt x="39875" y="12511"/>
                            <a:pt x="220533" y="0"/>
                            <a:pt x="258282" y="0"/>
                          </a:cubicBezTo>
                          <a:cubicBezTo>
                            <a:pt x="296032" y="0"/>
                            <a:pt x="318573" y="57703"/>
                            <a:pt x="318573" y="57703"/>
                          </a:cubicBez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10768" cap="rnd">
                      <a:solidFill>
                        <a:srgbClr val="263238"/>
                      </a:solidFill>
                      <a:prstDash val="solid"/>
                      <a:round/>
                    </a:ln>
                  </p:spPr>
                  <p:txBody>
                    <a:bodyPr rtlCol="0" anchor="ctr"/>
                    <a:lstStyle/>
                    <a:p>
                      <a:endParaRPr lang="ru-RU"/>
                    </a:p>
                  </p:txBody>
                </p:sp>
                <p:sp>
                  <p:nvSpPr>
                    <p:cNvPr id="1062" name="Полилиния: фигура 1061">
                      <a:extLst>
                        <a:ext uri="{FF2B5EF4-FFF2-40B4-BE49-F238E27FC236}">
                          <a16:creationId xmlns:a16="http://schemas.microsoft.com/office/drawing/2014/main" id="{B1AACB2C-EE1C-423B-9A09-F383533EF55B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7739403" y="1911201"/>
                      <a:ext cx="61925" cy="42148"/>
                    </a:xfrm>
                    <a:custGeom>
                      <a:avLst/>
                      <a:gdLst>
                        <a:gd name="connsiteX0" fmla="*/ 46506 w 61925"/>
                        <a:gd name="connsiteY0" fmla="*/ 921 h 42148"/>
                        <a:gd name="connsiteX1" fmla="*/ 6492 w 61925"/>
                        <a:gd name="connsiteY1" fmla="*/ 18609 h 42148"/>
                        <a:gd name="connsiteX2" fmla="*/ 1315 w 61925"/>
                        <a:gd name="connsiteY2" fmla="*/ 33817 h 42148"/>
                        <a:gd name="connsiteX3" fmla="*/ 2825 w 61925"/>
                        <a:gd name="connsiteY3" fmla="*/ 36514 h 42148"/>
                        <a:gd name="connsiteX4" fmla="*/ 17493 w 61925"/>
                        <a:gd name="connsiteY4" fmla="*/ 40936 h 42148"/>
                        <a:gd name="connsiteX5" fmla="*/ 56105 w 61925"/>
                        <a:gd name="connsiteY5" fmla="*/ 20551 h 42148"/>
                        <a:gd name="connsiteX6" fmla="*/ 60527 w 61925"/>
                        <a:gd name="connsiteY6" fmla="*/ 5559 h 42148"/>
                        <a:gd name="connsiteX7" fmla="*/ 60527 w 61925"/>
                        <a:gd name="connsiteY7" fmla="*/ 5559 h 42148"/>
                        <a:gd name="connsiteX8" fmla="*/ 46614 w 61925"/>
                        <a:gd name="connsiteY8" fmla="*/ 921 h 42148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1925" h="42148">
                          <a:moveTo>
                            <a:pt x="46506" y="921"/>
                          </a:moveTo>
                          <a:lnTo>
                            <a:pt x="6492" y="18609"/>
                          </a:lnTo>
                          <a:cubicBezTo>
                            <a:pt x="667" y="21198"/>
                            <a:pt x="-1705" y="28209"/>
                            <a:pt x="1315" y="33817"/>
                          </a:cubicBezTo>
                          <a:lnTo>
                            <a:pt x="2825" y="36514"/>
                          </a:lnTo>
                          <a:cubicBezTo>
                            <a:pt x="5737" y="41691"/>
                            <a:pt x="12208" y="43632"/>
                            <a:pt x="17493" y="40936"/>
                          </a:cubicBezTo>
                          <a:lnTo>
                            <a:pt x="56105" y="20551"/>
                          </a:lnTo>
                          <a:cubicBezTo>
                            <a:pt x="61498" y="17639"/>
                            <a:pt x="63547" y="10952"/>
                            <a:pt x="60527" y="5559"/>
                          </a:cubicBezTo>
                          <a:lnTo>
                            <a:pt x="60527" y="5559"/>
                          </a:lnTo>
                          <a:cubicBezTo>
                            <a:pt x="57723" y="705"/>
                            <a:pt x="51791" y="-1344"/>
                            <a:pt x="46614" y="921"/>
                          </a:cubicBezTo>
                          <a:close/>
                        </a:path>
                      </a:pathLst>
                    </a:custGeom>
                    <a:solidFill>
                      <a:srgbClr val="263238"/>
                    </a:solidFill>
                    <a:ln w="10768" cap="rnd">
                      <a:solidFill>
                        <a:srgbClr val="263238"/>
                      </a:solidFill>
                      <a:prstDash val="solid"/>
                      <a:round/>
                    </a:ln>
                  </p:spPr>
                  <p:txBody>
                    <a:bodyPr rtlCol="0" anchor="ctr"/>
                    <a:lstStyle/>
                    <a:p>
                      <a:endParaRPr lang="ru-RU"/>
                    </a:p>
                  </p:txBody>
                </p:sp>
                <p:sp>
                  <p:nvSpPr>
                    <p:cNvPr id="1063" name="Полилиния: фигура 1062">
                      <a:extLst>
                        <a:ext uri="{FF2B5EF4-FFF2-40B4-BE49-F238E27FC236}">
                          <a16:creationId xmlns:a16="http://schemas.microsoft.com/office/drawing/2014/main" id="{4DC14C3D-36DF-46BC-AE8E-D8566A8AA572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7859813" y="1896858"/>
                      <a:ext cx="48511" cy="25422"/>
                    </a:xfrm>
                    <a:custGeom>
                      <a:avLst/>
                      <a:gdLst>
                        <a:gd name="connsiteX0" fmla="*/ 516 w 48511"/>
                        <a:gd name="connsiteY0" fmla="*/ 6528 h 25422"/>
                        <a:gd name="connsiteX1" fmla="*/ 300 w 48511"/>
                        <a:gd name="connsiteY1" fmla="*/ 7175 h 25422"/>
                        <a:gd name="connsiteX2" fmla="*/ 6879 w 48511"/>
                        <a:gd name="connsiteY2" fmla="*/ 18176 h 25422"/>
                        <a:gd name="connsiteX3" fmla="*/ 37726 w 48511"/>
                        <a:gd name="connsiteY3" fmla="*/ 25187 h 25422"/>
                        <a:gd name="connsiteX4" fmla="*/ 48512 w 48511"/>
                        <a:gd name="connsiteY4" fmla="*/ 16558 h 25422"/>
                        <a:gd name="connsiteX5" fmla="*/ 48512 w 48511"/>
                        <a:gd name="connsiteY5" fmla="*/ 16558 h 25422"/>
                        <a:gd name="connsiteX6" fmla="*/ 41825 w 48511"/>
                        <a:gd name="connsiteY6" fmla="*/ 7930 h 25422"/>
                        <a:gd name="connsiteX7" fmla="*/ 11086 w 48511"/>
                        <a:gd name="connsiteY7" fmla="*/ 272 h 25422"/>
                        <a:gd name="connsiteX8" fmla="*/ 408 w 48511"/>
                        <a:gd name="connsiteY8" fmla="*/ 6528 h 25422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48511" h="25422">
                          <a:moveTo>
                            <a:pt x="516" y="6528"/>
                          </a:moveTo>
                          <a:lnTo>
                            <a:pt x="300" y="7175"/>
                          </a:lnTo>
                          <a:cubicBezTo>
                            <a:pt x="-994" y="12028"/>
                            <a:pt x="2026" y="16990"/>
                            <a:pt x="6879" y="18176"/>
                          </a:cubicBezTo>
                          <a:lnTo>
                            <a:pt x="37726" y="25187"/>
                          </a:lnTo>
                          <a:cubicBezTo>
                            <a:pt x="43227" y="26481"/>
                            <a:pt x="48512" y="22275"/>
                            <a:pt x="48512" y="16558"/>
                          </a:cubicBezTo>
                          <a:lnTo>
                            <a:pt x="48512" y="16558"/>
                          </a:lnTo>
                          <a:cubicBezTo>
                            <a:pt x="48512" y="12460"/>
                            <a:pt x="45707" y="8900"/>
                            <a:pt x="41825" y="7930"/>
                          </a:cubicBezTo>
                          <a:lnTo>
                            <a:pt x="11086" y="272"/>
                          </a:lnTo>
                          <a:cubicBezTo>
                            <a:pt x="6448" y="-914"/>
                            <a:pt x="1702" y="1890"/>
                            <a:pt x="408" y="6528"/>
                          </a:cubicBezTo>
                          <a:close/>
                        </a:path>
                      </a:pathLst>
                    </a:custGeom>
                    <a:solidFill>
                      <a:srgbClr val="263238"/>
                    </a:solidFill>
                    <a:ln w="10768" cap="rnd">
                      <a:solidFill>
                        <a:srgbClr val="263238"/>
                      </a:solidFill>
                      <a:prstDash val="solid"/>
                      <a:round/>
                    </a:ln>
                  </p:spPr>
                  <p:txBody>
                    <a:bodyPr rtlCol="0" anchor="ctr"/>
                    <a:lstStyle/>
                    <a:p>
                      <a:endParaRPr lang="ru-RU"/>
                    </a:p>
                  </p:txBody>
                </p:sp>
                <p:sp>
                  <p:nvSpPr>
                    <p:cNvPr id="1064" name="Полилиния: фигура 1063">
                      <a:extLst>
                        <a:ext uri="{FF2B5EF4-FFF2-40B4-BE49-F238E27FC236}">
                          <a16:creationId xmlns:a16="http://schemas.microsoft.com/office/drawing/2014/main" id="{50C6441F-F107-4D49-9679-2C9BC220B2E7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7741250" y="2042831"/>
                      <a:ext cx="201480" cy="188517"/>
                    </a:xfrm>
                    <a:custGeom>
                      <a:avLst/>
                      <a:gdLst>
                        <a:gd name="connsiteX0" fmla="*/ 201480 w 201480"/>
                        <a:gd name="connsiteY0" fmla="*/ 79609 h 188517"/>
                        <a:gd name="connsiteX1" fmla="*/ 185086 w 201480"/>
                        <a:gd name="connsiteY1" fmla="*/ 14141 h 188517"/>
                        <a:gd name="connsiteX2" fmla="*/ 88556 w 201480"/>
                        <a:gd name="connsiteY2" fmla="*/ 12523 h 188517"/>
                        <a:gd name="connsiteX3" fmla="*/ 222 w 201480"/>
                        <a:gd name="connsiteY3" fmla="*/ 7669 h 188517"/>
                        <a:gd name="connsiteX4" fmla="*/ 6478 w 201480"/>
                        <a:gd name="connsiteY4" fmla="*/ 134507 h 188517"/>
                        <a:gd name="connsiteX5" fmla="*/ 71407 w 201480"/>
                        <a:gd name="connsiteY5" fmla="*/ 184984 h 188517"/>
                        <a:gd name="connsiteX6" fmla="*/ 171820 w 201480"/>
                        <a:gd name="connsiteY6" fmla="*/ 162442 h 188517"/>
                        <a:gd name="connsiteX7" fmla="*/ 201480 w 201480"/>
                        <a:gd name="connsiteY7" fmla="*/ 80040 h 188517"/>
                        <a:gd name="connsiteX8" fmla="*/ 201480 w 201480"/>
                        <a:gd name="connsiteY8" fmla="*/ 79717 h 188517"/>
                        <a:gd name="connsiteX9" fmla="*/ 181851 w 201480"/>
                        <a:gd name="connsiteY9" fmla="*/ 89424 h 188517"/>
                        <a:gd name="connsiteX10" fmla="*/ 140974 w 201480"/>
                        <a:gd name="connsiteY10" fmla="*/ 136880 h 188517"/>
                        <a:gd name="connsiteX11" fmla="*/ 114765 w 201480"/>
                        <a:gd name="connsiteY11" fmla="*/ 97621 h 188517"/>
                        <a:gd name="connsiteX12" fmla="*/ 90174 w 201480"/>
                        <a:gd name="connsiteY12" fmla="*/ 125447 h 188517"/>
                        <a:gd name="connsiteX13" fmla="*/ 42717 w 201480"/>
                        <a:gd name="connsiteY13" fmla="*/ 135262 h 188517"/>
                        <a:gd name="connsiteX14" fmla="*/ 18126 w 201480"/>
                        <a:gd name="connsiteY14" fmla="*/ 24063 h 188517"/>
                        <a:gd name="connsiteX15" fmla="*/ 137522 w 201480"/>
                        <a:gd name="connsiteY15" fmla="*/ 30643 h 188517"/>
                        <a:gd name="connsiteX16" fmla="*/ 175164 w 201480"/>
                        <a:gd name="connsiteY16" fmla="*/ 29025 h 188517"/>
                        <a:gd name="connsiteX17" fmla="*/ 181743 w 201480"/>
                        <a:gd name="connsiteY17" fmla="*/ 89532 h 188517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</a:cxnLst>
                      <a:rect l="l" t="t" r="r" b="b"/>
                      <a:pathLst>
                        <a:path w="201480" h="188517">
                          <a:moveTo>
                            <a:pt x="201480" y="79609"/>
                          </a:moveTo>
                          <a:cubicBezTo>
                            <a:pt x="201480" y="79609"/>
                            <a:pt x="196627" y="22338"/>
                            <a:pt x="185086" y="14141"/>
                          </a:cubicBezTo>
                          <a:cubicBezTo>
                            <a:pt x="173654" y="5944"/>
                            <a:pt x="88556" y="12523"/>
                            <a:pt x="88556" y="12523"/>
                          </a:cubicBezTo>
                          <a:cubicBezTo>
                            <a:pt x="88556" y="12523"/>
                            <a:pt x="1840" y="-12068"/>
                            <a:pt x="222" y="7669"/>
                          </a:cubicBezTo>
                          <a:cubicBezTo>
                            <a:pt x="-964" y="22122"/>
                            <a:pt x="2811" y="98699"/>
                            <a:pt x="6478" y="134507"/>
                          </a:cubicBezTo>
                          <a:cubicBezTo>
                            <a:pt x="30745" y="157696"/>
                            <a:pt x="57709" y="179591"/>
                            <a:pt x="71407" y="184984"/>
                          </a:cubicBezTo>
                          <a:cubicBezTo>
                            <a:pt x="96537" y="195014"/>
                            <a:pt x="159309" y="182503"/>
                            <a:pt x="171820" y="162442"/>
                          </a:cubicBezTo>
                          <a:cubicBezTo>
                            <a:pt x="179370" y="150362"/>
                            <a:pt x="192313" y="113799"/>
                            <a:pt x="201480" y="80040"/>
                          </a:cubicBezTo>
                          <a:cubicBezTo>
                            <a:pt x="201480" y="79825"/>
                            <a:pt x="201480" y="79717"/>
                            <a:pt x="201480" y="79717"/>
                          </a:cubicBezTo>
                          <a:close/>
                          <a:moveTo>
                            <a:pt x="181851" y="89424"/>
                          </a:moveTo>
                          <a:cubicBezTo>
                            <a:pt x="172036" y="122104"/>
                            <a:pt x="150788" y="141734"/>
                            <a:pt x="140974" y="136880"/>
                          </a:cubicBezTo>
                          <a:cubicBezTo>
                            <a:pt x="131159" y="132027"/>
                            <a:pt x="122962" y="100856"/>
                            <a:pt x="114765" y="97621"/>
                          </a:cubicBezTo>
                          <a:cubicBezTo>
                            <a:pt x="106568" y="94385"/>
                            <a:pt x="99988" y="110671"/>
                            <a:pt x="90174" y="125447"/>
                          </a:cubicBezTo>
                          <a:cubicBezTo>
                            <a:pt x="80359" y="140224"/>
                            <a:pt x="54150" y="145077"/>
                            <a:pt x="42717" y="135262"/>
                          </a:cubicBezTo>
                          <a:cubicBezTo>
                            <a:pt x="31285" y="125447"/>
                            <a:pt x="18126" y="35496"/>
                            <a:pt x="18126" y="24063"/>
                          </a:cubicBezTo>
                          <a:cubicBezTo>
                            <a:pt x="18126" y="12631"/>
                            <a:pt x="137522" y="30643"/>
                            <a:pt x="137522" y="30643"/>
                          </a:cubicBezTo>
                          <a:cubicBezTo>
                            <a:pt x="137522" y="30643"/>
                            <a:pt x="166967" y="27407"/>
                            <a:pt x="175164" y="29025"/>
                          </a:cubicBezTo>
                          <a:cubicBezTo>
                            <a:pt x="183361" y="30643"/>
                            <a:pt x="191558" y="56851"/>
                            <a:pt x="181743" y="89532"/>
                          </a:cubicBezTo>
                          <a:close/>
                        </a:path>
                      </a:pathLst>
                    </a:custGeom>
                    <a:solidFill>
                      <a:srgbClr val="808080"/>
                    </a:solidFill>
                    <a:ln w="10768" cap="rnd">
                      <a:solidFill>
                        <a:srgbClr val="545454"/>
                      </a:solidFill>
                      <a:prstDash val="solid"/>
                      <a:round/>
                    </a:ln>
                  </p:spPr>
                  <p:txBody>
                    <a:bodyPr rtlCol="0" anchor="ctr"/>
                    <a:lstStyle/>
                    <a:p>
                      <a:endParaRPr lang="ru-RU"/>
                    </a:p>
                  </p:txBody>
                </p:sp>
                <p:sp>
                  <p:nvSpPr>
                    <p:cNvPr id="1065" name="Полилиния: фигура 1064">
                      <a:extLst>
                        <a:ext uri="{FF2B5EF4-FFF2-40B4-BE49-F238E27FC236}">
                          <a16:creationId xmlns:a16="http://schemas.microsoft.com/office/drawing/2014/main" id="{051FB971-E720-44BC-9DC1-A286AEB80882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7779222" y="2074983"/>
                      <a:ext cx="98148" cy="23673"/>
                    </a:xfrm>
                    <a:custGeom>
                      <a:avLst/>
                      <a:gdLst>
                        <a:gd name="connsiteX0" fmla="*/ 0 w 98148"/>
                        <a:gd name="connsiteY0" fmla="*/ 0 h 23673"/>
                        <a:gd name="connsiteX1" fmla="*/ 98148 w 98148"/>
                        <a:gd name="connsiteY1" fmla="*/ 21248 h 2367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8148" h="23673">
                          <a:moveTo>
                            <a:pt x="0" y="0"/>
                          </a:moveTo>
                          <a:cubicBezTo>
                            <a:pt x="0" y="0"/>
                            <a:pt x="47456" y="32680"/>
                            <a:pt x="98148" y="21248"/>
                          </a:cubicBezTo>
                        </a:path>
                      </a:pathLst>
                    </a:custGeom>
                    <a:noFill/>
                    <a:ln w="10768" cap="rnd">
                      <a:solidFill>
                        <a:srgbClr val="263238"/>
                      </a:solidFill>
                      <a:prstDash val="solid"/>
                      <a:round/>
                    </a:ln>
                  </p:spPr>
                  <p:txBody>
                    <a:bodyPr rtlCol="0" anchor="ctr"/>
                    <a:lstStyle/>
                    <a:p>
                      <a:endParaRPr lang="ru-RU"/>
                    </a:p>
                  </p:txBody>
                </p:sp>
                <p:sp>
                  <p:nvSpPr>
                    <p:cNvPr id="1066" name="Полилиния: фигура 1065">
                      <a:extLst>
                        <a:ext uri="{FF2B5EF4-FFF2-40B4-BE49-F238E27FC236}">
                          <a16:creationId xmlns:a16="http://schemas.microsoft.com/office/drawing/2014/main" id="{8C32DE80-B14D-4449-BC4D-BC1CB3490EA9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7816863" y="1937576"/>
                      <a:ext cx="58990" cy="132026"/>
                    </a:xfrm>
                    <a:custGeom>
                      <a:avLst/>
                      <a:gdLst>
                        <a:gd name="connsiteX0" fmla="*/ 34298 w 58990"/>
                        <a:gd name="connsiteY0" fmla="*/ 0 h 132026"/>
                        <a:gd name="connsiteX1" fmla="*/ 58889 w 58990"/>
                        <a:gd name="connsiteY1" fmla="*/ 107963 h 132026"/>
                        <a:gd name="connsiteX2" fmla="*/ 22865 w 58990"/>
                        <a:gd name="connsiteY2" fmla="*/ 127593 h 132026"/>
                        <a:gd name="connsiteX3" fmla="*/ 0 w 58990"/>
                        <a:gd name="connsiteY3" fmla="*/ 98148 h 132026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</a:cxnLst>
                      <a:rect l="l" t="t" r="r" b="b"/>
                      <a:pathLst>
                        <a:path w="58990" h="132026">
                          <a:moveTo>
                            <a:pt x="34298" y="0"/>
                          </a:moveTo>
                          <a:cubicBezTo>
                            <a:pt x="34298" y="0"/>
                            <a:pt x="57163" y="99766"/>
                            <a:pt x="58889" y="107963"/>
                          </a:cubicBezTo>
                          <a:cubicBezTo>
                            <a:pt x="60507" y="116160"/>
                            <a:pt x="42495" y="142369"/>
                            <a:pt x="22865" y="127593"/>
                          </a:cubicBezTo>
                          <a:cubicBezTo>
                            <a:pt x="3236" y="112817"/>
                            <a:pt x="0" y="98148"/>
                            <a:pt x="0" y="98148"/>
                          </a:cubicBezTo>
                        </a:path>
                      </a:pathLst>
                    </a:custGeom>
                    <a:solidFill>
                      <a:srgbClr val="FFFFFF"/>
                    </a:solidFill>
                    <a:ln w="10768" cap="rnd">
                      <a:solidFill>
                        <a:srgbClr val="263238"/>
                      </a:solidFill>
                      <a:prstDash val="solid"/>
                      <a:round/>
                    </a:ln>
                  </p:spPr>
                  <p:txBody>
                    <a:bodyPr rtlCol="0" anchor="ctr"/>
                    <a:lstStyle/>
                    <a:p>
                      <a:endParaRPr lang="ru-RU"/>
                    </a:p>
                  </p:txBody>
                </p:sp>
                <p:sp>
                  <p:nvSpPr>
                    <p:cNvPr id="1067" name="Полилиния: фигура 1066">
                      <a:extLst>
                        <a:ext uri="{FF2B5EF4-FFF2-40B4-BE49-F238E27FC236}">
                          <a16:creationId xmlns:a16="http://schemas.microsoft.com/office/drawing/2014/main" id="{39681863-A74A-4C15-8019-E32DCFFE6721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7784572" y="1972480"/>
                      <a:ext cx="17018" cy="31575"/>
                    </a:xfrm>
                    <a:custGeom>
                      <a:avLst/>
                      <a:gdLst>
                        <a:gd name="connsiteX0" fmla="*/ 15574 w 17018"/>
                        <a:gd name="connsiteY0" fmla="*/ 13631 h 31575"/>
                        <a:gd name="connsiteX1" fmla="*/ 13309 w 17018"/>
                        <a:gd name="connsiteY1" fmla="*/ 31427 h 31575"/>
                        <a:gd name="connsiteX2" fmla="*/ 1445 w 17018"/>
                        <a:gd name="connsiteY2" fmla="*/ 17945 h 31575"/>
                        <a:gd name="connsiteX3" fmla="*/ 3710 w 17018"/>
                        <a:gd name="connsiteY3" fmla="*/ 149 h 31575"/>
                        <a:gd name="connsiteX4" fmla="*/ 15574 w 17018"/>
                        <a:gd name="connsiteY4" fmla="*/ 13631 h 31575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17018" h="31575">
                          <a:moveTo>
                            <a:pt x="15574" y="13631"/>
                          </a:moveTo>
                          <a:cubicBezTo>
                            <a:pt x="18162" y="22259"/>
                            <a:pt x="17192" y="30240"/>
                            <a:pt x="13309" y="31427"/>
                          </a:cubicBezTo>
                          <a:cubicBezTo>
                            <a:pt x="9426" y="32613"/>
                            <a:pt x="4141" y="26573"/>
                            <a:pt x="1445" y="17945"/>
                          </a:cubicBezTo>
                          <a:cubicBezTo>
                            <a:pt x="-1144" y="9316"/>
                            <a:pt x="-173" y="1335"/>
                            <a:pt x="3710" y="149"/>
                          </a:cubicBezTo>
                          <a:cubicBezTo>
                            <a:pt x="7592" y="-1038"/>
                            <a:pt x="12877" y="5002"/>
                            <a:pt x="15574" y="13631"/>
                          </a:cubicBezTo>
                          <a:close/>
                        </a:path>
                      </a:pathLst>
                    </a:custGeom>
                    <a:solidFill>
                      <a:srgbClr val="263238"/>
                    </a:solidFill>
                    <a:ln w="10768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ru-RU"/>
                    </a:p>
                  </p:txBody>
                </p:sp>
                <p:sp>
                  <p:nvSpPr>
                    <p:cNvPr id="1068" name="Полилиния: фигура 1067">
                      <a:extLst>
                        <a:ext uri="{FF2B5EF4-FFF2-40B4-BE49-F238E27FC236}">
                          <a16:creationId xmlns:a16="http://schemas.microsoft.com/office/drawing/2014/main" id="{FD3C2CC2-F2D6-4FD8-A397-5529FDC35337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7882079" y="1957294"/>
                      <a:ext cx="15065" cy="32610"/>
                    </a:xfrm>
                    <a:custGeom>
                      <a:avLst/>
                      <a:gdLst>
                        <a:gd name="connsiteX0" fmla="*/ 14813 w 15065"/>
                        <a:gd name="connsiteY0" fmla="*/ 15442 h 32610"/>
                        <a:gd name="connsiteX1" fmla="*/ 9420 w 15065"/>
                        <a:gd name="connsiteY1" fmla="*/ 32591 h 32610"/>
                        <a:gd name="connsiteX2" fmla="*/ 253 w 15065"/>
                        <a:gd name="connsiteY2" fmla="*/ 17168 h 32610"/>
                        <a:gd name="connsiteX3" fmla="*/ 5646 w 15065"/>
                        <a:gd name="connsiteY3" fmla="*/ 19 h 32610"/>
                        <a:gd name="connsiteX4" fmla="*/ 14813 w 15065"/>
                        <a:gd name="connsiteY4" fmla="*/ 15442 h 3261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15065" h="32610">
                          <a:moveTo>
                            <a:pt x="14813" y="15442"/>
                          </a:moveTo>
                          <a:cubicBezTo>
                            <a:pt x="15892" y="24394"/>
                            <a:pt x="13411" y="32052"/>
                            <a:pt x="9420" y="32591"/>
                          </a:cubicBezTo>
                          <a:cubicBezTo>
                            <a:pt x="5430" y="33023"/>
                            <a:pt x="1223" y="26120"/>
                            <a:pt x="253" y="17168"/>
                          </a:cubicBezTo>
                          <a:cubicBezTo>
                            <a:pt x="-826" y="8216"/>
                            <a:pt x="1655" y="558"/>
                            <a:pt x="5646" y="19"/>
                          </a:cubicBezTo>
                          <a:cubicBezTo>
                            <a:pt x="9636" y="-412"/>
                            <a:pt x="13843" y="6490"/>
                            <a:pt x="14813" y="15442"/>
                          </a:cubicBezTo>
                          <a:close/>
                        </a:path>
                      </a:pathLst>
                    </a:custGeom>
                    <a:solidFill>
                      <a:srgbClr val="263238"/>
                    </a:solidFill>
                    <a:ln w="10768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ru-RU"/>
                    </a:p>
                  </p:txBody>
                </p:sp>
              </p:grpSp>
              <p:sp>
                <p:nvSpPr>
                  <p:cNvPr id="1069" name="Полилиния: фигура 1068">
                    <a:extLst>
                      <a:ext uri="{FF2B5EF4-FFF2-40B4-BE49-F238E27FC236}">
                        <a16:creationId xmlns:a16="http://schemas.microsoft.com/office/drawing/2014/main" id="{E3A0C8D5-D81A-4DBE-AF9E-D03FE00CE55A}"/>
                      </a:ext>
                    </a:extLst>
                  </p:cNvPr>
                  <p:cNvSpPr/>
                  <p:nvPr/>
                </p:nvSpPr>
                <p:spPr>
                  <a:xfrm>
                    <a:off x="7573607" y="1690846"/>
                    <a:ext cx="451274" cy="351133"/>
                  </a:xfrm>
                  <a:custGeom>
                    <a:avLst/>
                    <a:gdLst>
                      <a:gd name="connsiteX0" fmla="*/ 45881 w 451274"/>
                      <a:gd name="connsiteY0" fmla="*/ 72543 h 351133"/>
                      <a:gd name="connsiteX1" fmla="*/ 5759 w 451274"/>
                      <a:gd name="connsiteY1" fmla="*/ 193018 h 351133"/>
                      <a:gd name="connsiteX2" fmla="*/ 93661 w 451274"/>
                      <a:gd name="connsiteY2" fmla="*/ 351134 h 351133"/>
                      <a:gd name="connsiteX3" fmla="*/ 106172 w 451274"/>
                      <a:gd name="connsiteY3" fmla="*/ 351134 h 351133"/>
                      <a:gd name="connsiteX4" fmla="*/ 103692 w 451274"/>
                      <a:gd name="connsiteY4" fmla="*/ 308423 h 351133"/>
                      <a:gd name="connsiteX5" fmla="*/ 136372 w 451274"/>
                      <a:gd name="connsiteY5" fmla="*/ 258162 h 351133"/>
                      <a:gd name="connsiteX6" fmla="*/ 111242 w 451274"/>
                      <a:gd name="connsiteY6" fmla="*/ 200460 h 351133"/>
                      <a:gd name="connsiteX7" fmla="*/ 204105 w 451274"/>
                      <a:gd name="connsiteY7" fmla="*/ 225590 h 351133"/>
                      <a:gd name="connsiteX8" fmla="*/ 294488 w 451274"/>
                      <a:gd name="connsiteY8" fmla="*/ 177918 h 351133"/>
                      <a:gd name="connsiteX9" fmla="*/ 392420 w 451274"/>
                      <a:gd name="connsiteY9" fmla="*/ 182987 h 351133"/>
                      <a:gd name="connsiteX10" fmla="*/ 421002 w 451274"/>
                      <a:gd name="connsiteY10" fmla="*/ 24224 h 351133"/>
                      <a:gd name="connsiteX11" fmla="*/ 279388 w 451274"/>
                      <a:gd name="connsiteY11" fmla="*/ 27352 h 351133"/>
                      <a:gd name="connsiteX12" fmla="*/ 158914 w 451274"/>
                      <a:gd name="connsiteY12" fmla="*/ 4810 h 351133"/>
                      <a:gd name="connsiteX13" fmla="*/ 45989 w 451274"/>
                      <a:gd name="connsiteY13" fmla="*/ 72543 h 35113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</a:cxnLst>
                    <a:rect l="l" t="t" r="r" b="b"/>
                    <a:pathLst>
                      <a:path w="451274" h="351133">
                        <a:moveTo>
                          <a:pt x="45881" y="72543"/>
                        </a:moveTo>
                        <a:cubicBezTo>
                          <a:pt x="45881" y="72543"/>
                          <a:pt x="-19371" y="137796"/>
                          <a:pt x="5759" y="193018"/>
                        </a:cubicBezTo>
                        <a:cubicBezTo>
                          <a:pt x="30889" y="248240"/>
                          <a:pt x="93661" y="351134"/>
                          <a:pt x="93661" y="351134"/>
                        </a:cubicBezTo>
                        <a:lnTo>
                          <a:pt x="106172" y="351134"/>
                        </a:lnTo>
                        <a:lnTo>
                          <a:pt x="103692" y="308423"/>
                        </a:lnTo>
                        <a:cubicBezTo>
                          <a:pt x="103692" y="308423"/>
                          <a:pt x="143814" y="293323"/>
                          <a:pt x="136372" y="258162"/>
                        </a:cubicBezTo>
                        <a:cubicBezTo>
                          <a:pt x="128822" y="223001"/>
                          <a:pt x="111242" y="200460"/>
                          <a:pt x="111242" y="200460"/>
                        </a:cubicBezTo>
                        <a:cubicBezTo>
                          <a:pt x="111242" y="200460"/>
                          <a:pt x="153952" y="233140"/>
                          <a:pt x="204105" y="225590"/>
                        </a:cubicBezTo>
                        <a:cubicBezTo>
                          <a:pt x="254258" y="218040"/>
                          <a:pt x="276907" y="157857"/>
                          <a:pt x="294488" y="177918"/>
                        </a:cubicBezTo>
                        <a:cubicBezTo>
                          <a:pt x="312068" y="197979"/>
                          <a:pt x="339679" y="210598"/>
                          <a:pt x="392420" y="182987"/>
                        </a:cubicBezTo>
                        <a:cubicBezTo>
                          <a:pt x="445162" y="155376"/>
                          <a:pt x="478813" y="61866"/>
                          <a:pt x="421002" y="24224"/>
                        </a:cubicBezTo>
                        <a:cubicBezTo>
                          <a:pt x="363300" y="-13418"/>
                          <a:pt x="309587" y="19802"/>
                          <a:pt x="279388" y="27352"/>
                        </a:cubicBezTo>
                        <a:cubicBezTo>
                          <a:pt x="249296" y="34902"/>
                          <a:pt x="226647" y="-15359"/>
                          <a:pt x="158914" y="4810"/>
                        </a:cubicBezTo>
                        <a:cubicBezTo>
                          <a:pt x="91180" y="24871"/>
                          <a:pt x="45989" y="72543"/>
                          <a:pt x="45989" y="72543"/>
                        </a:cubicBezTo>
                        <a:close/>
                      </a:path>
                    </a:pathLst>
                  </a:custGeom>
                  <a:solidFill>
                    <a:srgbClr val="263238"/>
                  </a:solidFill>
                  <a:ln w="10768" cap="rnd">
                    <a:solidFill>
                      <a:srgbClr val="263238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ru-RU"/>
                  </a:p>
                </p:txBody>
              </p:sp>
            </p:grpSp>
          </p:grpSp>
        </p:grpSp>
      </p:grpSp>
    </p:spTree>
    <p:extLst>
      <p:ext uri="{BB962C8B-B14F-4D97-AF65-F5344CB8AC3E}">
        <p14:creationId xmlns:p14="http://schemas.microsoft.com/office/powerpoint/2010/main" val="1429960893"/>
      </p:ext>
    </p:extLst>
  </p:cSld>
  <p:clrMapOvr>
    <a:masterClrMapping/>
  </p:clrMapOvr>
  <p:transition spd="slow">
    <p:push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path" presetSubtype="0" repeatCount="indefinite" accel="50000" decel="50000" autoRev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91667E-6 7.40741E-7 L -0.07656 -0.00162 " pathEditMode="relative" rAng="0" ptsTypes="AA">
                                      <p:cBhvr>
                                        <p:cTn id="6" dur="1250" fill="hold"/>
                                        <p:tgtEl>
                                          <p:spTgt spid="99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3828" y="-93"/>
                                    </p:animMotion>
                                  </p:childTnLst>
                                </p:cTn>
                              </p:par>
                              <p:par>
                                <p:cTn id="7" presetID="6" presetClass="emph" presetSubtype="0" repeatCount="indefinite" autoRev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8" dur="500" fill="hold"/>
                                        <p:tgtEl>
                                          <p:spTgt spid="67"/>
                                        </p:tgtEl>
                                      </p:cBhvr>
                                      <p:by x="90000" y="90000"/>
                                    </p:animScale>
                                  </p:childTnLst>
                                </p:cTn>
                              </p:par>
                              <p:par>
                                <p:cTn id="9" presetID="6" presetClass="emph" presetSubtype="0" repeatCount="indefinite" autoRev="1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animScale>
                                      <p:cBhvr>
                                        <p:cTn id="10" dur="500" fill="hold"/>
                                        <p:tgtEl>
                                          <p:spTgt spid="71"/>
                                        </p:tgtEl>
                                      </p:cBhvr>
                                      <p:by x="90000" y="90000"/>
                                    </p:animScale>
                                  </p:childTnLst>
                                </p:cTn>
                              </p:par>
                              <p:par>
                                <p:cTn id="11" presetID="6" presetClass="emph" presetSubtype="0" repeatCount="indefinite" autoRev="1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animScale>
                                      <p:cBhvr>
                                        <p:cTn id="12" dur="500" fill="hold"/>
                                        <p:tgtEl>
                                          <p:spTgt spid="75"/>
                                        </p:tgtEl>
                                      </p:cBhvr>
                                      <p:by x="90000" y="90000"/>
                                    </p:animScale>
                                  </p:childTnLst>
                                </p:cTn>
                              </p:par>
                              <p:par>
                                <p:cTn id="13" presetID="6" presetClass="emph" presetSubtype="0" repeatCount="indefinite" autoRev="1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animScale>
                                      <p:cBhvr>
                                        <p:cTn id="14" dur="500" fill="hold"/>
                                        <p:tgtEl>
                                          <p:spTgt spid="79"/>
                                        </p:tgtEl>
                                      </p:cBhvr>
                                      <p:by x="90000" y="9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25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42" presetClass="path" presetSubtype="0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1719 -0.00023 L 1.25E-6 -3.33333E-6 " pathEditMode="relative" rAng="0" ptsTypes="AA">
                                      <p:cBhvr>
                                        <p:cTn id="21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859" y="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Rounded Rectangle">
            <a:extLst>
              <a:ext uri="{FF2B5EF4-FFF2-40B4-BE49-F238E27FC236}">
                <a16:creationId xmlns:a16="http://schemas.microsoft.com/office/drawing/2014/main" id="{4A1A861F-77ED-4663-9389-8E9FD44BABD1}"/>
              </a:ext>
            </a:extLst>
          </p:cNvPr>
          <p:cNvSpPr/>
          <p:nvPr/>
        </p:nvSpPr>
        <p:spPr>
          <a:xfrm>
            <a:off x="0" y="2579435"/>
            <a:ext cx="12192000" cy="1785141"/>
          </a:xfrm>
          <a:prstGeom prst="roundRect">
            <a:avLst>
              <a:gd name="adj" fmla="val 0"/>
            </a:avLst>
          </a:prstGeom>
          <a:solidFill>
            <a:schemeClr val="bg1">
              <a:alpha val="96000"/>
            </a:schemeClr>
          </a:solidFill>
          <a:ln w="12700" cap="flat">
            <a:noFill/>
            <a:prstDash val="solid"/>
            <a:miter/>
          </a:ln>
          <a:effectLst>
            <a:outerShdw blurRad="1003300" sx="102000" sy="102000" algn="ctr" rotWithShape="0">
              <a:schemeClr val="tx1">
                <a:alpha val="20000"/>
              </a:schemeClr>
            </a:outerShdw>
          </a:effectLst>
        </p:spPr>
        <p:txBody>
          <a:bodyPr lIns="0" tIns="0" rIns="0" bIns="0" anchor="ctr"/>
          <a:lstStyle/>
          <a:p>
            <a:pPr marL="0" marR="0" lvl="0" indent="0" algn="ctr" defTabSz="309563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" pitchFamily="2" charset="0"/>
              <a:ea typeface="Roboto" pitchFamily="2" charset="0"/>
              <a:cs typeface="Poppins Bold"/>
              <a:sym typeface="Poppins Bold"/>
            </a:endParaRPr>
          </a:p>
        </p:txBody>
      </p:sp>
      <p:sp>
        <p:nvSpPr>
          <p:cNvPr id="41" name="Заголовок">
            <a:extLst>
              <a:ext uri="{FF2B5EF4-FFF2-40B4-BE49-F238E27FC236}">
                <a16:creationId xmlns:a16="http://schemas.microsoft.com/office/drawing/2014/main" id="{C2DC1C9A-4F65-42B1-86E3-6E4D91075984}"/>
              </a:ext>
            </a:extLst>
          </p:cNvPr>
          <p:cNvSpPr txBox="1"/>
          <p:nvPr/>
        </p:nvSpPr>
        <p:spPr>
          <a:xfrm>
            <a:off x="507067" y="376044"/>
            <a:ext cx="5192693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4400" b="1" dirty="0">
                <a:solidFill>
                  <a:srgbClr val="0D0D0D">
                    <a:lumMod val="75000"/>
                    <a:lumOff val="25000"/>
                  </a:srgbClr>
                </a:solidFill>
                <a:latin typeface="SB Sans Text Medium" panose="020B0603040504020204" pitchFamily="34" charset="-52"/>
                <a:ea typeface="Roboto" pitchFamily="2" charset="0"/>
                <a:cs typeface="SB Sans Text Medium" panose="020B0603040504020204" pitchFamily="34" charset="-52"/>
              </a:rPr>
              <a:t>Кто участвует?</a:t>
            </a:r>
          </a:p>
        </p:txBody>
      </p:sp>
      <p:grpSp>
        <p:nvGrpSpPr>
          <p:cNvPr id="42" name="CDIConf_Black">
            <a:extLst>
              <a:ext uri="{FF2B5EF4-FFF2-40B4-BE49-F238E27FC236}">
                <a16:creationId xmlns:a16="http://schemas.microsoft.com/office/drawing/2014/main" id="{F3F1710A-CB9B-4080-B969-0477C48F22E5}"/>
              </a:ext>
            </a:extLst>
          </p:cNvPr>
          <p:cNvGrpSpPr/>
          <p:nvPr/>
        </p:nvGrpSpPr>
        <p:grpSpPr>
          <a:xfrm>
            <a:off x="9284984" y="6140223"/>
            <a:ext cx="2270483" cy="296171"/>
            <a:chOff x="7406975" y="5855999"/>
            <a:chExt cx="2270483" cy="296171"/>
          </a:xfrm>
        </p:grpSpPr>
        <p:sp>
          <p:nvSpPr>
            <p:cNvPr id="45" name="Полилиния: фигура 44">
              <a:extLst>
                <a:ext uri="{FF2B5EF4-FFF2-40B4-BE49-F238E27FC236}">
                  <a16:creationId xmlns:a16="http://schemas.microsoft.com/office/drawing/2014/main" id="{13A11B35-F320-4F31-908D-85B2D024FD4B}"/>
                </a:ext>
              </a:extLst>
            </p:cNvPr>
            <p:cNvSpPr/>
            <p:nvPr/>
          </p:nvSpPr>
          <p:spPr>
            <a:xfrm>
              <a:off x="7406975" y="5878280"/>
              <a:ext cx="1394458" cy="273890"/>
            </a:xfrm>
            <a:custGeom>
              <a:avLst/>
              <a:gdLst>
                <a:gd name="connsiteX0" fmla="*/ 157354 w 1394458"/>
                <a:gd name="connsiteY0" fmla="*/ 188093 h 273890"/>
                <a:gd name="connsiteX1" fmla="*/ 200773 w 1394458"/>
                <a:gd name="connsiteY1" fmla="*/ 188093 h 273890"/>
                <a:gd name="connsiteX2" fmla="*/ 186877 w 1394458"/>
                <a:gd name="connsiteY2" fmla="*/ 232383 h 273890"/>
                <a:gd name="connsiteX3" fmla="*/ 153706 w 1394458"/>
                <a:gd name="connsiteY3" fmla="*/ 262777 h 273890"/>
                <a:gd name="connsiteX4" fmla="*/ 101775 w 1394458"/>
                <a:gd name="connsiteY4" fmla="*/ 273891 h 273890"/>
                <a:gd name="connsiteX5" fmla="*/ 59572 w 1394458"/>
                <a:gd name="connsiteY5" fmla="*/ 265554 h 273890"/>
                <a:gd name="connsiteX6" fmla="*/ 27442 w 1394458"/>
                <a:gd name="connsiteY6" fmla="*/ 241585 h 273890"/>
                <a:gd name="connsiteX7" fmla="*/ 6950 w 1394458"/>
                <a:gd name="connsiteY7" fmla="*/ 203896 h 273890"/>
                <a:gd name="connsiteX8" fmla="*/ 0 w 1394458"/>
                <a:gd name="connsiteY8" fmla="*/ 154577 h 273890"/>
                <a:gd name="connsiteX9" fmla="*/ 0 w 1394458"/>
                <a:gd name="connsiteY9" fmla="*/ 133560 h 273890"/>
                <a:gd name="connsiteX10" fmla="*/ 7121 w 1394458"/>
                <a:gd name="connsiteY10" fmla="*/ 84236 h 273890"/>
                <a:gd name="connsiteX11" fmla="*/ 27962 w 1394458"/>
                <a:gd name="connsiteY11" fmla="*/ 46552 h 273890"/>
                <a:gd name="connsiteX12" fmla="*/ 60438 w 1394458"/>
                <a:gd name="connsiteY12" fmla="*/ 22408 h 273890"/>
                <a:gd name="connsiteX13" fmla="*/ 103336 w 1394458"/>
                <a:gd name="connsiteY13" fmla="*/ 14071 h 273890"/>
                <a:gd name="connsiteX14" fmla="*/ 154397 w 1394458"/>
                <a:gd name="connsiteY14" fmla="*/ 25185 h 273890"/>
                <a:gd name="connsiteX15" fmla="*/ 186702 w 1394458"/>
                <a:gd name="connsiteY15" fmla="*/ 55924 h 273890"/>
                <a:gd name="connsiteX16" fmla="*/ 200943 w 1394458"/>
                <a:gd name="connsiteY16" fmla="*/ 100905 h 273890"/>
                <a:gd name="connsiteX17" fmla="*/ 157524 w 1394458"/>
                <a:gd name="connsiteY17" fmla="*/ 100905 h 273890"/>
                <a:gd name="connsiteX18" fmla="*/ 149883 w 1394458"/>
                <a:gd name="connsiteY18" fmla="*/ 72943 h 273890"/>
                <a:gd name="connsiteX19" fmla="*/ 132865 w 1394458"/>
                <a:gd name="connsiteY19" fmla="*/ 55229 h 273890"/>
                <a:gd name="connsiteX20" fmla="*/ 103341 w 1394458"/>
                <a:gd name="connsiteY20" fmla="*/ 48974 h 273890"/>
                <a:gd name="connsiteX21" fmla="*/ 77291 w 1394458"/>
                <a:gd name="connsiteY21" fmla="*/ 54533 h 273890"/>
                <a:gd name="connsiteX22" fmla="*/ 58706 w 1394458"/>
                <a:gd name="connsiteY22" fmla="*/ 70861 h 273890"/>
                <a:gd name="connsiteX23" fmla="*/ 47417 w 1394458"/>
                <a:gd name="connsiteY23" fmla="*/ 97432 h 273890"/>
                <a:gd name="connsiteX24" fmla="*/ 43769 w 1394458"/>
                <a:gd name="connsiteY24" fmla="*/ 133210 h 273890"/>
                <a:gd name="connsiteX25" fmla="*/ 43769 w 1394458"/>
                <a:gd name="connsiteY25" fmla="*/ 154572 h 273890"/>
                <a:gd name="connsiteX26" fmla="*/ 47067 w 1394458"/>
                <a:gd name="connsiteY26" fmla="*/ 189304 h 273890"/>
                <a:gd name="connsiteX27" fmla="*/ 57490 w 1394458"/>
                <a:gd name="connsiteY27" fmla="*/ 215875 h 273890"/>
                <a:gd name="connsiteX28" fmla="*/ 75550 w 1394458"/>
                <a:gd name="connsiteY28" fmla="*/ 233069 h 273890"/>
                <a:gd name="connsiteX29" fmla="*/ 101775 w 1394458"/>
                <a:gd name="connsiteY29" fmla="*/ 239149 h 273890"/>
                <a:gd name="connsiteX30" fmla="*/ 131824 w 1394458"/>
                <a:gd name="connsiteY30" fmla="*/ 233244 h 273890"/>
                <a:gd name="connsiteX31" fmla="*/ 149363 w 1394458"/>
                <a:gd name="connsiteY31" fmla="*/ 216050 h 273890"/>
                <a:gd name="connsiteX32" fmla="*/ 157354 w 1394458"/>
                <a:gd name="connsiteY32" fmla="*/ 188088 h 273890"/>
                <a:gd name="connsiteX33" fmla="*/ 313837 w 1394458"/>
                <a:gd name="connsiteY33" fmla="*/ 270418 h 273890"/>
                <a:gd name="connsiteX34" fmla="*/ 259825 w 1394458"/>
                <a:gd name="connsiteY34" fmla="*/ 270418 h 273890"/>
                <a:gd name="connsiteX35" fmla="*/ 260170 w 1394458"/>
                <a:gd name="connsiteY35" fmla="*/ 235856 h 273890"/>
                <a:gd name="connsiteX36" fmla="*/ 313837 w 1394458"/>
                <a:gd name="connsiteY36" fmla="*/ 235856 h 273890"/>
                <a:gd name="connsiteX37" fmla="*/ 353088 w 1394458"/>
                <a:gd name="connsiteY37" fmla="*/ 225608 h 273890"/>
                <a:gd name="connsiteX38" fmla="*/ 377057 w 1394458"/>
                <a:gd name="connsiteY38" fmla="*/ 196255 h 273890"/>
                <a:gd name="connsiteX39" fmla="*/ 385218 w 1394458"/>
                <a:gd name="connsiteY39" fmla="*/ 150754 h 273890"/>
                <a:gd name="connsiteX40" fmla="*/ 385218 w 1394458"/>
                <a:gd name="connsiteY40" fmla="*/ 137033 h 273890"/>
                <a:gd name="connsiteX41" fmla="*/ 380530 w 1394458"/>
                <a:gd name="connsiteY41" fmla="*/ 100734 h 273890"/>
                <a:gd name="connsiteX42" fmla="*/ 366984 w 1394458"/>
                <a:gd name="connsiteY42" fmla="*/ 74163 h 273890"/>
                <a:gd name="connsiteX43" fmla="*/ 345102 w 1394458"/>
                <a:gd name="connsiteY43" fmla="*/ 57840 h 273890"/>
                <a:gd name="connsiteX44" fmla="*/ 315403 w 1394458"/>
                <a:gd name="connsiteY44" fmla="*/ 52281 h 273890"/>
                <a:gd name="connsiteX45" fmla="*/ 258784 w 1394458"/>
                <a:gd name="connsiteY45" fmla="*/ 52281 h 273890"/>
                <a:gd name="connsiteX46" fmla="*/ 258784 w 1394458"/>
                <a:gd name="connsiteY46" fmla="*/ 17544 h 273890"/>
                <a:gd name="connsiteX47" fmla="*/ 315403 w 1394458"/>
                <a:gd name="connsiteY47" fmla="*/ 17544 h 273890"/>
                <a:gd name="connsiteX48" fmla="*/ 361429 w 1394458"/>
                <a:gd name="connsiteY48" fmla="*/ 26055 h 273890"/>
                <a:gd name="connsiteX49" fmla="*/ 397383 w 1394458"/>
                <a:gd name="connsiteY49" fmla="*/ 50195 h 273890"/>
                <a:gd name="connsiteX50" fmla="*/ 420826 w 1394458"/>
                <a:gd name="connsiteY50" fmla="*/ 88054 h 273890"/>
                <a:gd name="connsiteX51" fmla="*/ 428988 w 1394458"/>
                <a:gd name="connsiteY51" fmla="*/ 137378 h 273890"/>
                <a:gd name="connsiteX52" fmla="*/ 428988 w 1394458"/>
                <a:gd name="connsiteY52" fmla="*/ 150754 h 273890"/>
                <a:gd name="connsiteX53" fmla="*/ 420826 w 1394458"/>
                <a:gd name="connsiteY53" fmla="*/ 200078 h 273890"/>
                <a:gd name="connsiteX54" fmla="*/ 397383 w 1394458"/>
                <a:gd name="connsiteY54" fmla="*/ 237938 h 273890"/>
                <a:gd name="connsiteX55" fmla="*/ 360909 w 1394458"/>
                <a:gd name="connsiteY55" fmla="*/ 262077 h 273890"/>
                <a:gd name="connsiteX56" fmla="*/ 313842 w 1394458"/>
                <a:gd name="connsiteY56" fmla="*/ 270413 h 273890"/>
                <a:gd name="connsiteX57" fmla="*/ 283964 w 1394458"/>
                <a:gd name="connsiteY57" fmla="*/ 17544 h 273890"/>
                <a:gd name="connsiteX58" fmla="*/ 283964 w 1394458"/>
                <a:gd name="connsiteY58" fmla="*/ 270418 h 273890"/>
                <a:gd name="connsiteX59" fmla="*/ 240369 w 1394458"/>
                <a:gd name="connsiteY59" fmla="*/ 270418 h 273890"/>
                <a:gd name="connsiteX60" fmla="*/ 240369 w 1394458"/>
                <a:gd name="connsiteY60" fmla="*/ 17544 h 273890"/>
                <a:gd name="connsiteX61" fmla="*/ 283964 w 1394458"/>
                <a:gd name="connsiteY61" fmla="*/ 17544 h 273890"/>
                <a:gd name="connsiteX62" fmla="*/ 519299 w 1394458"/>
                <a:gd name="connsiteY62" fmla="*/ 17544 h 273890"/>
                <a:gd name="connsiteX63" fmla="*/ 519299 w 1394458"/>
                <a:gd name="connsiteY63" fmla="*/ 270418 h 273890"/>
                <a:gd name="connsiteX64" fmla="*/ 475705 w 1394458"/>
                <a:gd name="connsiteY64" fmla="*/ 270418 h 273890"/>
                <a:gd name="connsiteX65" fmla="*/ 475705 w 1394458"/>
                <a:gd name="connsiteY65" fmla="*/ 17544 h 273890"/>
                <a:gd name="connsiteX66" fmla="*/ 519299 w 1394458"/>
                <a:gd name="connsiteY66" fmla="*/ 17544 h 273890"/>
                <a:gd name="connsiteX67" fmla="*/ 811424 w 1394458"/>
                <a:gd name="connsiteY67" fmla="*/ 188093 h 273890"/>
                <a:gd name="connsiteX68" fmla="*/ 854843 w 1394458"/>
                <a:gd name="connsiteY68" fmla="*/ 188093 h 273890"/>
                <a:gd name="connsiteX69" fmla="*/ 840947 w 1394458"/>
                <a:gd name="connsiteY69" fmla="*/ 232383 h 273890"/>
                <a:gd name="connsiteX70" fmla="*/ 807776 w 1394458"/>
                <a:gd name="connsiteY70" fmla="*/ 262777 h 273890"/>
                <a:gd name="connsiteX71" fmla="*/ 755845 w 1394458"/>
                <a:gd name="connsiteY71" fmla="*/ 273891 h 273890"/>
                <a:gd name="connsiteX72" fmla="*/ 713642 w 1394458"/>
                <a:gd name="connsiteY72" fmla="*/ 265554 h 273890"/>
                <a:gd name="connsiteX73" fmla="*/ 681512 w 1394458"/>
                <a:gd name="connsiteY73" fmla="*/ 241585 h 273890"/>
                <a:gd name="connsiteX74" fmla="*/ 661021 w 1394458"/>
                <a:gd name="connsiteY74" fmla="*/ 203896 h 273890"/>
                <a:gd name="connsiteX75" fmla="*/ 654075 w 1394458"/>
                <a:gd name="connsiteY75" fmla="*/ 154572 h 273890"/>
                <a:gd name="connsiteX76" fmla="*/ 654075 w 1394458"/>
                <a:gd name="connsiteY76" fmla="*/ 133555 h 273890"/>
                <a:gd name="connsiteX77" fmla="*/ 661196 w 1394458"/>
                <a:gd name="connsiteY77" fmla="*/ 84231 h 273890"/>
                <a:gd name="connsiteX78" fmla="*/ 682037 w 1394458"/>
                <a:gd name="connsiteY78" fmla="*/ 46547 h 273890"/>
                <a:gd name="connsiteX79" fmla="*/ 714513 w 1394458"/>
                <a:gd name="connsiteY79" fmla="*/ 22403 h 273890"/>
                <a:gd name="connsiteX80" fmla="*/ 757411 w 1394458"/>
                <a:gd name="connsiteY80" fmla="*/ 14066 h 273890"/>
                <a:gd name="connsiteX81" fmla="*/ 808472 w 1394458"/>
                <a:gd name="connsiteY81" fmla="*/ 25180 h 273890"/>
                <a:gd name="connsiteX82" fmla="*/ 840777 w 1394458"/>
                <a:gd name="connsiteY82" fmla="*/ 55919 h 273890"/>
                <a:gd name="connsiteX83" fmla="*/ 855018 w 1394458"/>
                <a:gd name="connsiteY83" fmla="*/ 100900 h 273890"/>
                <a:gd name="connsiteX84" fmla="*/ 811599 w 1394458"/>
                <a:gd name="connsiteY84" fmla="*/ 100900 h 273890"/>
                <a:gd name="connsiteX85" fmla="*/ 803958 w 1394458"/>
                <a:gd name="connsiteY85" fmla="*/ 72938 h 273890"/>
                <a:gd name="connsiteX86" fmla="*/ 786940 w 1394458"/>
                <a:gd name="connsiteY86" fmla="*/ 55224 h 273890"/>
                <a:gd name="connsiteX87" fmla="*/ 757416 w 1394458"/>
                <a:gd name="connsiteY87" fmla="*/ 48969 h 273890"/>
                <a:gd name="connsiteX88" fmla="*/ 731366 w 1394458"/>
                <a:gd name="connsiteY88" fmla="*/ 54528 h 273890"/>
                <a:gd name="connsiteX89" fmla="*/ 712781 w 1394458"/>
                <a:gd name="connsiteY89" fmla="*/ 70856 h 273890"/>
                <a:gd name="connsiteX90" fmla="*/ 701492 w 1394458"/>
                <a:gd name="connsiteY90" fmla="*/ 97427 h 273890"/>
                <a:gd name="connsiteX91" fmla="*/ 697844 w 1394458"/>
                <a:gd name="connsiteY91" fmla="*/ 133205 h 273890"/>
                <a:gd name="connsiteX92" fmla="*/ 697844 w 1394458"/>
                <a:gd name="connsiteY92" fmla="*/ 154567 h 273890"/>
                <a:gd name="connsiteX93" fmla="*/ 701142 w 1394458"/>
                <a:gd name="connsiteY93" fmla="*/ 189299 h 273890"/>
                <a:gd name="connsiteX94" fmla="*/ 711565 w 1394458"/>
                <a:gd name="connsiteY94" fmla="*/ 215870 h 273890"/>
                <a:gd name="connsiteX95" fmla="*/ 729629 w 1394458"/>
                <a:gd name="connsiteY95" fmla="*/ 233064 h 273890"/>
                <a:gd name="connsiteX96" fmla="*/ 755855 w 1394458"/>
                <a:gd name="connsiteY96" fmla="*/ 239144 h 273890"/>
                <a:gd name="connsiteX97" fmla="*/ 785904 w 1394458"/>
                <a:gd name="connsiteY97" fmla="*/ 233239 h 273890"/>
                <a:gd name="connsiteX98" fmla="*/ 803443 w 1394458"/>
                <a:gd name="connsiteY98" fmla="*/ 216046 h 273890"/>
                <a:gd name="connsiteX99" fmla="*/ 811434 w 1394458"/>
                <a:gd name="connsiteY99" fmla="*/ 188084 h 273890"/>
                <a:gd name="connsiteX100" fmla="*/ 882285 w 1394458"/>
                <a:gd name="connsiteY100" fmla="*/ 178541 h 273890"/>
                <a:gd name="connsiteX101" fmla="*/ 882285 w 1394458"/>
                <a:gd name="connsiteY101" fmla="*/ 174548 h 273890"/>
                <a:gd name="connsiteX102" fmla="*/ 888190 w 1394458"/>
                <a:gd name="connsiteY102" fmla="*/ 136858 h 273890"/>
                <a:gd name="connsiteX103" fmla="*/ 905208 w 1394458"/>
                <a:gd name="connsiteY103" fmla="*/ 106464 h 273890"/>
                <a:gd name="connsiteX104" fmla="*/ 932650 w 1394458"/>
                <a:gd name="connsiteY104" fmla="*/ 86318 h 273890"/>
                <a:gd name="connsiteX105" fmla="*/ 969469 w 1394458"/>
                <a:gd name="connsiteY105" fmla="*/ 79022 h 273890"/>
                <a:gd name="connsiteX106" fmla="*/ 1006288 w 1394458"/>
                <a:gd name="connsiteY106" fmla="*/ 86318 h 273890"/>
                <a:gd name="connsiteX107" fmla="*/ 1033899 w 1394458"/>
                <a:gd name="connsiteY107" fmla="*/ 106464 h 273890"/>
                <a:gd name="connsiteX108" fmla="*/ 1051093 w 1394458"/>
                <a:gd name="connsiteY108" fmla="*/ 136858 h 273890"/>
                <a:gd name="connsiteX109" fmla="*/ 1056998 w 1394458"/>
                <a:gd name="connsiteY109" fmla="*/ 174548 h 273890"/>
                <a:gd name="connsiteX110" fmla="*/ 1056998 w 1394458"/>
                <a:gd name="connsiteY110" fmla="*/ 178541 h 273890"/>
                <a:gd name="connsiteX111" fmla="*/ 1051093 w 1394458"/>
                <a:gd name="connsiteY111" fmla="*/ 216230 h 273890"/>
                <a:gd name="connsiteX112" fmla="*/ 1033899 w 1394458"/>
                <a:gd name="connsiteY112" fmla="*/ 246624 h 273890"/>
                <a:gd name="connsiteX113" fmla="*/ 1006458 w 1394458"/>
                <a:gd name="connsiteY113" fmla="*/ 266770 h 273890"/>
                <a:gd name="connsiteX114" fmla="*/ 969814 w 1394458"/>
                <a:gd name="connsiteY114" fmla="*/ 273891 h 273890"/>
                <a:gd name="connsiteX115" fmla="*/ 932820 w 1394458"/>
                <a:gd name="connsiteY115" fmla="*/ 266770 h 273890"/>
                <a:gd name="connsiteX116" fmla="*/ 905378 w 1394458"/>
                <a:gd name="connsiteY116" fmla="*/ 246624 h 273890"/>
                <a:gd name="connsiteX117" fmla="*/ 888185 w 1394458"/>
                <a:gd name="connsiteY117" fmla="*/ 216230 h 273890"/>
                <a:gd name="connsiteX118" fmla="*/ 882280 w 1394458"/>
                <a:gd name="connsiteY118" fmla="*/ 178541 h 273890"/>
                <a:gd name="connsiteX119" fmla="*/ 924143 w 1394458"/>
                <a:gd name="connsiteY119" fmla="*/ 174548 h 273890"/>
                <a:gd name="connsiteX120" fmla="*/ 924143 w 1394458"/>
                <a:gd name="connsiteY120" fmla="*/ 178541 h 273890"/>
                <a:gd name="connsiteX121" fmla="*/ 926750 w 1394458"/>
                <a:gd name="connsiteY121" fmla="*/ 202510 h 273890"/>
                <a:gd name="connsiteX122" fmla="*/ 934911 w 1394458"/>
                <a:gd name="connsiteY122" fmla="*/ 222310 h 273890"/>
                <a:gd name="connsiteX123" fmla="*/ 949152 w 1394458"/>
                <a:gd name="connsiteY123" fmla="*/ 235681 h 273890"/>
                <a:gd name="connsiteX124" fmla="*/ 969819 w 1394458"/>
                <a:gd name="connsiteY124" fmla="*/ 240545 h 273890"/>
                <a:gd name="connsiteX125" fmla="*/ 989965 w 1394458"/>
                <a:gd name="connsiteY125" fmla="*/ 235681 h 273890"/>
                <a:gd name="connsiteX126" fmla="*/ 1004206 w 1394458"/>
                <a:gd name="connsiteY126" fmla="*/ 222310 h 273890"/>
                <a:gd name="connsiteX127" fmla="*/ 1012367 w 1394458"/>
                <a:gd name="connsiteY127" fmla="*/ 202510 h 273890"/>
                <a:gd name="connsiteX128" fmla="*/ 1015145 w 1394458"/>
                <a:gd name="connsiteY128" fmla="*/ 178541 h 273890"/>
                <a:gd name="connsiteX129" fmla="*/ 1015145 w 1394458"/>
                <a:gd name="connsiteY129" fmla="*/ 174548 h 273890"/>
                <a:gd name="connsiteX130" fmla="*/ 1012367 w 1394458"/>
                <a:gd name="connsiteY130" fmla="*/ 150929 h 273890"/>
                <a:gd name="connsiteX131" fmla="*/ 1004031 w 1394458"/>
                <a:gd name="connsiteY131" fmla="*/ 130958 h 273890"/>
                <a:gd name="connsiteX132" fmla="*/ 989790 w 1394458"/>
                <a:gd name="connsiteY132" fmla="*/ 117412 h 273890"/>
                <a:gd name="connsiteX133" fmla="*/ 969469 w 1394458"/>
                <a:gd name="connsiteY133" fmla="*/ 112378 h 273890"/>
                <a:gd name="connsiteX134" fmla="*/ 948977 w 1394458"/>
                <a:gd name="connsiteY134" fmla="*/ 117412 h 273890"/>
                <a:gd name="connsiteX135" fmla="*/ 934911 w 1394458"/>
                <a:gd name="connsiteY135" fmla="*/ 130958 h 273890"/>
                <a:gd name="connsiteX136" fmla="*/ 926750 w 1394458"/>
                <a:gd name="connsiteY136" fmla="*/ 150929 h 273890"/>
                <a:gd name="connsiteX137" fmla="*/ 924143 w 1394458"/>
                <a:gd name="connsiteY137" fmla="*/ 174548 h 273890"/>
                <a:gd name="connsiteX138" fmla="*/ 1133598 w 1394458"/>
                <a:gd name="connsiteY138" fmla="*/ 122617 h 273890"/>
                <a:gd name="connsiteX139" fmla="*/ 1133598 w 1394458"/>
                <a:gd name="connsiteY139" fmla="*/ 270418 h 273890"/>
                <a:gd name="connsiteX140" fmla="*/ 1091745 w 1394458"/>
                <a:gd name="connsiteY140" fmla="*/ 270418 h 273890"/>
                <a:gd name="connsiteX141" fmla="*/ 1091745 w 1394458"/>
                <a:gd name="connsiteY141" fmla="*/ 82495 h 273890"/>
                <a:gd name="connsiteX142" fmla="*/ 1131171 w 1394458"/>
                <a:gd name="connsiteY142" fmla="*/ 82495 h 273890"/>
                <a:gd name="connsiteX143" fmla="*/ 1133603 w 1394458"/>
                <a:gd name="connsiteY143" fmla="*/ 122617 h 273890"/>
                <a:gd name="connsiteX144" fmla="*/ 1126132 w 1394458"/>
                <a:gd name="connsiteY144" fmla="*/ 169509 h 273890"/>
                <a:gd name="connsiteX145" fmla="*/ 1112586 w 1394458"/>
                <a:gd name="connsiteY145" fmla="*/ 169334 h 273890"/>
                <a:gd name="connsiteX146" fmla="*/ 1118145 w 1394458"/>
                <a:gd name="connsiteY146" fmla="*/ 132690 h 273890"/>
                <a:gd name="connsiteX147" fmla="*/ 1133428 w 1394458"/>
                <a:gd name="connsiteY147" fmla="*/ 104032 h 273890"/>
                <a:gd name="connsiteX148" fmla="*/ 1157046 w 1394458"/>
                <a:gd name="connsiteY148" fmla="*/ 85623 h 273890"/>
                <a:gd name="connsiteX149" fmla="*/ 1187615 w 1394458"/>
                <a:gd name="connsiteY149" fmla="*/ 79022 h 273890"/>
                <a:gd name="connsiteX150" fmla="*/ 1212105 w 1394458"/>
                <a:gd name="connsiteY150" fmla="*/ 82840 h 273890"/>
                <a:gd name="connsiteX151" fmla="*/ 1231034 w 1394458"/>
                <a:gd name="connsiteY151" fmla="*/ 94825 h 273890"/>
                <a:gd name="connsiteX152" fmla="*/ 1243189 w 1394458"/>
                <a:gd name="connsiteY152" fmla="*/ 116532 h 273890"/>
                <a:gd name="connsiteX153" fmla="*/ 1247357 w 1394458"/>
                <a:gd name="connsiteY153" fmla="*/ 149013 h 273890"/>
                <a:gd name="connsiteX154" fmla="*/ 1247357 w 1394458"/>
                <a:gd name="connsiteY154" fmla="*/ 270413 h 273890"/>
                <a:gd name="connsiteX155" fmla="*/ 1205329 w 1394458"/>
                <a:gd name="connsiteY155" fmla="*/ 270413 h 273890"/>
                <a:gd name="connsiteX156" fmla="*/ 1205329 w 1394458"/>
                <a:gd name="connsiteY156" fmla="*/ 148837 h 273890"/>
                <a:gd name="connsiteX157" fmla="*/ 1201336 w 1394458"/>
                <a:gd name="connsiteY157" fmla="*/ 127476 h 273890"/>
                <a:gd name="connsiteX158" fmla="*/ 1190047 w 1394458"/>
                <a:gd name="connsiteY158" fmla="*/ 116187 h 273890"/>
                <a:gd name="connsiteX159" fmla="*/ 1171813 w 1394458"/>
                <a:gd name="connsiteY159" fmla="*/ 112714 h 273890"/>
                <a:gd name="connsiteX160" fmla="*/ 1152533 w 1394458"/>
                <a:gd name="connsiteY160" fmla="*/ 117228 h 273890"/>
                <a:gd name="connsiteX161" fmla="*/ 1138116 w 1394458"/>
                <a:gd name="connsiteY161" fmla="*/ 129557 h 273890"/>
                <a:gd name="connsiteX162" fmla="*/ 1129259 w 1394458"/>
                <a:gd name="connsiteY162" fmla="*/ 147621 h 273890"/>
                <a:gd name="connsiteX163" fmla="*/ 1126132 w 1394458"/>
                <a:gd name="connsiteY163" fmla="*/ 169504 h 273890"/>
                <a:gd name="connsiteX164" fmla="*/ 1346701 w 1394458"/>
                <a:gd name="connsiteY164" fmla="*/ 270418 h 273890"/>
                <a:gd name="connsiteX165" fmla="*/ 1304843 w 1394458"/>
                <a:gd name="connsiteY165" fmla="*/ 270418 h 273890"/>
                <a:gd name="connsiteX166" fmla="*/ 1304843 w 1394458"/>
                <a:gd name="connsiteY166" fmla="*/ 64436 h 273890"/>
                <a:gd name="connsiteX167" fmla="*/ 1312659 w 1394458"/>
                <a:gd name="connsiteY167" fmla="*/ 29178 h 273890"/>
                <a:gd name="connsiteX168" fmla="*/ 1335412 w 1394458"/>
                <a:gd name="connsiteY168" fmla="*/ 7471 h 273890"/>
                <a:gd name="connsiteX169" fmla="*/ 1370319 w 1394458"/>
                <a:gd name="connsiteY169" fmla="*/ 0 h 273890"/>
                <a:gd name="connsiteX170" fmla="*/ 1382649 w 1394458"/>
                <a:gd name="connsiteY170" fmla="*/ 871 h 273890"/>
                <a:gd name="connsiteX171" fmla="*/ 1394458 w 1394458"/>
                <a:gd name="connsiteY171" fmla="*/ 3127 h 273890"/>
                <a:gd name="connsiteX172" fmla="*/ 1393418 w 1394458"/>
                <a:gd name="connsiteY172" fmla="*/ 35433 h 273890"/>
                <a:gd name="connsiteX173" fmla="*/ 1385776 w 1394458"/>
                <a:gd name="connsiteY173" fmla="*/ 34217 h 273890"/>
                <a:gd name="connsiteX174" fmla="*/ 1377095 w 1394458"/>
                <a:gd name="connsiteY174" fmla="*/ 33872 h 273890"/>
                <a:gd name="connsiteX175" fmla="*/ 1360596 w 1394458"/>
                <a:gd name="connsiteY175" fmla="*/ 37519 h 273890"/>
                <a:gd name="connsiteX176" fmla="*/ 1350178 w 1394458"/>
                <a:gd name="connsiteY176" fmla="*/ 47767 h 273890"/>
                <a:gd name="connsiteX177" fmla="*/ 1346706 w 1394458"/>
                <a:gd name="connsiteY177" fmla="*/ 64441 h 273890"/>
                <a:gd name="connsiteX178" fmla="*/ 1346706 w 1394458"/>
                <a:gd name="connsiteY178" fmla="*/ 270423 h 273890"/>
                <a:gd name="connsiteX179" fmla="*/ 1385431 w 1394458"/>
                <a:gd name="connsiteY179" fmla="*/ 82500 h 273890"/>
                <a:gd name="connsiteX180" fmla="*/ 1385431 w 1394458"/>
                <a:gd name="connsiteY180" fmla="*/ 113069 h 273890"/>
                <a:gd name="connsiteX181" fmla="*/ 1276015 w 1394458"/>
                <a:gd name="connsiteY181" fmla="*/ 113069 h 273890"/>
                <a:gd name="connsiteX182" fmla="*/ 1276015 w 1394458"/>
                <a:gd name="connsiteY182" fmla="*/ 82500 h 273890"/>
                <a:gd name="connsiteX183" fmla="*/ 1385431 w 1394458"/>
                <a:gd name="connsiteY183" fmla="*/ 82500 h 2738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</a:cxnLst>
              <a:rect l="l" t="t" r="r" b="b"/>
              <a:pathLst>
                <a:path w="1394458" h="273890">
                  <a:moveTo>
                    <a:pt x="157354" y="188093"/>
                  </a:moveTo>
                  <a:lnTo>
                    <a:pt x="200773" y="188093"/>
                  </a:lnTo>
                  <a:cubicBezTo>
                    <a:pt x="199382" y="204650"/>
                    <a:pt x="194752" y="219411"/>
                    <a:pt x="186877" y="232383"/>
                  </a:cubicBezTo>
                  <a:cubicBezTo>
                    <a:pt x="179003" y="245233"/>
                    <a:pt x="167947" y="255365"/>
                    <a:pt x="153706" y="262777"/>
                  </a:cubicBezTo>
                  <a:cubicBezTo>
                    <a:pt x="139465" y="270185"/>
                    <a:pt x="122155" y="273891"/>
                    <a:pt x="101775" y="273891"/>
                  </a:cubicBezTo>
                  <a:cubicBezTo>
                    <a:pt x="86143" y="273891"/>
                    <a:pt x="72077" y="271114"/>
                    <a:pt x="59572" y="265554"/>
                  </a:cubicBezTo>
                  <a:cubicBezTo>
                    <a:pt x="47067" y="259878"/>
                    <a:pt x="36357" y="251892"/>
                    <a:pt x="27442" y="241585"/>
                  </a:cubicBezTo>
                  <a:cubicBezTo>
                    <a:pt x="18526" y="231162"/>
                    <a:pt x="11697" y="218604"/>
                    <a:pt x="6950" y="203896"/>
                  </a:cubicBezTo>
                  <a:cubicBezTo>
                    <a:pt x="2315" y="189192"/>
                    <a:pt x="0" y="172753"/>
                    <a:pt x="0" y="154577"/>
                  </a:cubicBezTo>
                  <a:lnTo>
                    <a:pt x="0" y="133560"/>
                  </a:lnTo>
                  <a:cubicBezTo>
                    <a:pt x="0" y="115379"/>
                    <a:pt x="2374" y="98940"/>
                    <a:pt x="7121" y="84236"/>
                  </a:cubicBezTo>
                  <a:cubicBezTo>
                    <a:pt x="11984" y="69533"/>
                    <a:pt x="18930" y="56970"/>
                    <a:pt x="27962" y="46552"/>
                  </a:cubicBezTo>
                  <a:cubicBezTo>
                    <a:pt x="36994" y="36017"/>
                    <a:pt x="47816" y="27967"/>
                    <a:pt x="60438" y="22408"/>
                  </a:cubicBezTo>
                  <a:cubicBezTo>
                    <a:pt x="73171" y="16848"/>
                    <a:pt x="87471" y="14071"/>
                    <a:pt x="103336" y="14071"/>
                  </a:cubicBezTo>
                  <a:cubicBezTo>
                    <a:pt x="123482" y="14071"/>
                    <a:pt x="140506" y="17777"/>
                    <a:pt x="154397" y="25185"/>
                  </a:cubicBezTo>
                  <a:cubicBezTo>
                    <a:pt x="168293" y="32597"/>
                    <a:pt x="179056" y="42840"/>
                    <a:pt x="186702" y="55924"/>
                  </a:cubicBezTo>
                  <a:cubicBezTo>
                    <a:pt x="194460" y="69008"/>
                    <a:pt x="199207" y="84003"/>
                    <a:pt x="200943" y="100905"/>
                  </a:cubicBezTo>
                  <a:lnTo>
                    <a:pt x="157524" y="100905"/>
                  </a:lnTo>
                  <a:cubicBezTo>
                    <a:pt x="156367" y="90019"/>
                    <a:pt x="153818" y="80700"/>
                    <a:pt x="149883" y="72943"/>
                  </a:cubicBezTo>
                  <a:cubicBezTo>
                    <a:pt x="146065" y="65185"/>
                    <a:pt x="140389" y="59280"/>
                    <a:pt x="132865" y="55229"/>
                  </a:cubicBezTo>
                  <a:cubicBezTo>
                    <a:pt x="125340" y="51060"/>
                    <a:pt x="115496" y="48974"/>
                    <a:pt x="103341" y="48974"/>
                  </a:cubicBezTo>
                  <a:cubicBezTo>
                    <a:pt x="93385" y="48974"/>
                    <a:pt x="84698" y="50827"/>
                    <a:pt x="77291" y="54533"/>
                  </a:cubicBezTo>
                  <a:cubicBezTo>
                    <a:pt x="69878" y="58239"/>
                    <a:pt x="63687" y="63682"/>
                    <a:pt x="58706" y="70861"/>
                  </a:cubicBezTo>
                  <a:cubicBezTo>
                    <a:pt x="53730" y="78040"/>
                    <a:pt x="49966" y="86897"/>
                    <a:pt x="47417" y="97432"/>
                  </a:cubicBezTo>
                  <a:cubicBezTo>
                    <a:pt x="44985" y="107850"/>
                    <a:pt x="43769" y="119776"/>
                    <a:pt x="43769" y="133210"/>
                  </a:cubicBezTo>
                  <a:lnTo>
                    <a:pt x="43769" y="154572"/>
                  </a:lnTo>
                  <a:cubicBezTo>
                    <a:pt x="43769" y="167305"/>
                    <a:pt x="44869" y="178886"/>
                    <a:pt x="47067" y="189304"/>
                  </a:cubicBezTo>
                  <a:cubicBezTo>
                    <a:pt x="49382" y="199611"/>
                    <a:pt x="52855" y="208468"/>
                    <a:pt x="57490" y="215875"/>
                  </a:cubicBezTo>
                  <a:cubicBezTo>
                    <a:pt x="62237" y="223288"/>
                    <a:pt x="68259" y="229017"/>
                    <a:pt x="75550" y="233069"/>
                  </a:cubicBezTo>
                  <a:cubicBezTo>
                    <a:pt x="82845" y="237120"/>
                    <a:pt x="91585" y="239149"/>
                    <a:pt x="101775" y="239149"/>
                  </a:cubicBezTo>
                  <a:cubicBezTo>
                    <a:pt x="114163" y="239149"/>
                    <a:pt x="124178" y="237179"/>
                    <a:pt x="131824" y="233244"/>
                  </a:cubicBezTo>
                  <a:cubicBezTo>
                    <a:pt x="139582" y="229309"/>
                    <a:pt x="145428" y="223575"/>
                    <a:pt x="149363" y="216050"/>
                  </a:cubicBezTo>
                  <a:cubicBezTo>
                    <a:pt x="153414" y="208409"/>
                    <a:pt x="156080" y="199090"/>
                    <a:pt x="157354" y="188088"/>
                  </a:cubicBezTo>
                  <a:close/>
                  <a:moveTo>
                    <a:pt x="313837" y="270418"/>
                  </a:moveTo>
                  <a:lnTo>
                    <a:pt x="259825" y="270418"/>
                  </a:lnTo>
                  <a:lnTo>
                    <a:pt x="260170" y="235856"/>
                  </a:lnTo>
                  <a:lnTo>
                    <a:pt x="313837" y="235856"/>
                  </a:lnTo>
                  <a:cubicBezTo>
                    <a:pt x="329469" y="235856"/>
                    <a:pt x="342553" y="232441"/>
                    <a:pt x="353088" y="225608"/>
                  </a:cubicBezTo>
                  <a:cubicBezTo>
                    <a:pt x="363740" y="218779"/>
                    <a:pt x="371731" y="208993"/>
                    <a:pt x="377057" y="196255"/>
                  </a:cubicBezTo>
                  <a:cubicBezTo>
                    <a:pt x="382499" y="183521"/>
                    <a:pt x="385218" y="168351"/>
                    <a:pt x="385218" y="150754"/>
                  </a:cubicBezTo>
                  <a:lnTo>
                    <a:pt x="385218" y="137033"/>
                  </a:lnTo>
                  <a:cubicBezTo>
                    <a:pt x="385218" y="123371"/>
                    <a:pt x="383657" y="111269"/>
                    <a:pt x="380530" y="100734"/>
                  </a:cubicBezTo>
                  <a:cubicBezTo>
                    <a:pt x="377519" y="90199"/>
                    <a:pt x="373005" y="81342"/>
                    <a:pt x="366984" y="74163"/>
                  </a:cubicBezTo>
                  <a:cubicBezTo>
                    <a:pt x="361079" y="66984"/>
                    <a:pt x="353784" y="61542"/>
                    <a:pt x="345102" y="57840"/>
                  </a:cubicBezTo>
                  <a:cubicBezTo>
                    <a:pt x="336532" y="54134"/>
                    <a:pt x="326634" y="52281"/>
                    <a:pt x="315403" y="52281"/>
                  </a:cubicBezTo>
                  <a:lnTo>
                    <a:pt x="258784" y="52281"/>
                  </a:lnTo>
                  <a:lnTo>
                    <a:pt x="258784" y="17544"/>
                  </a:lnTo>
                  <a:lnTo>
                    <a:pt x="315403" y="17544"/>
                  </a:lnTo>
                  <a:cubicBezTo>
                    <a:pt x="332193" y="17544"/>
                    <a:pt x="347534" y="20379"/>
                    <a:pt x="361429" y="26055"/>
                  </a:cubicBezTo>
                  <a:cubicBezTo>
                    <a:pt x="375325" y="31615"/>
                    <a:pt x="387310" y="39660"/>
                    <a:pt x="397383" y="50195"/>
                  </a:cubicBezTo>
                  <a:cubicBezTo>
                    <a:pt x="407572" y="60730"/>
                    <a:pt x="415389" y="73351"/>
                    <a:pt x="420826" y="88054"/>
                  </a:cubicBezTo>
                  <a:cubicBezTo>
                    <a:pt x="426269" y="102758"/>
                    <a:pt x="428988" y="119202"/>
                    <a:pt x="428988" y="137378"/>
                  </a:cubicBezTo>
                  <a:lnTo>
                    <a:pt x="428988" y="150754"/>
                  </a:lnTo>
                  <a:cubicBezTo>
                    <a:pt x="428988" y="168930"/>
                    <a:pt x="426269" y="185374"/>
                    <a:pt x="420826" y="200078"/>
                  </a:cubicBezTo>
                  <a:cubicBezTo>
                    <a:pt x="415384" y="214781"/>
                    <a:pt x="407568" y="227403"/>
                    <a:pt x="397383" y="237938"/>
                  </a:cubicBezTo>
                  <a:cubicBezTo>
                    <a:pt x="387193" y="248356"/>
                    <a:pt x="375038" y="256405"/>
                    <a:pt x="360909" y="262077"/>
                  </a:cubicBezTo>
                  <a:cubicBezTo>
                    <a:pt x="346896" y="267636"/>
                    <a:pt x="331211" y="270413"/>
                    <a:pt x="313842" y="270413"/>
                  </a:cubicBezTo>
                  <a:close/>
                  <a:moveTo>
                    <a:pt x="283964" y="17544"/>
                  </a:moveTo>
                  <a:lnTo>
                    <a:pt x="283964" y="270418"/>
                  </a:lnTo>
                  <a:lnTo>
                    <a:pt x="240369" y="270418"/>
                  </a:lnTo>
                  <a:lnTo>
                    <a:pt x="240369" y="17544"/>
                  </a:lnTo>
                  <a:lnTo>
                    <a:pt x="283964" y="17544"/>
                  </a:lnTo>
                  <a:close/>
                  <a:moveTo>
                    <a:pt x="519299" y="17544"/>
                  </a:moveTo>
                  <a:lnTo>
                    <a:pt x="519299" y="270418"/>
                  </a:lnTo>
                  <a:lnTo>
                    <a:pt x="475705" y="270418"/>
                  </a:lnTo>
                  <a:lnTo>
                    <a:pt x="475705" y="17544"/>
                  </a:lnTo>
                  <a:lnTo>
                    <a:pt x="519299" y="17544"/>
                  </a:lnTo>
                  <a:close/>
                  <a:moveTo>
                    <a:pt x="811424" y="188093"/>
                  </a:moveTo>
                  <a:lnTo>
                    <a:pt x="854843" y="188093"/>
                  </a:lnTo>
                  <a:cubicBezTo>
                    <a:pt x="853452" y="204650"/>
                    <a:pt x="848822" y="219411"/>
                    <a:pt x="840947" y="232383"/>
                  </a:cubicBezTo>
                  <a:cubicBezTo>
                    <a:pt x="833073" y="245233"/>
                    <a:pt x="822017" y="255365"/>
                    <a:pt x="807776" y="262777"/>
                  </a:cubicBezTo>
                  <a:cubicBezTo>
                    <a:pt x="793535" y="270185"/>
                    <a:pt x="776225" y="273891"/>
                    <a:pt x="755845" y="273891"/>
                  </a:cubicBezTo>
                  <a:cubicBezTo>
                    <a:pt x="740213" y="273891"/>
                    <a:pt x="726147" y="271114"/>
                    <a:pt x="713642" y="265554"/>
                  </a:cubicBezTo>
                  <a:cubicBezTo>
                    <a:pt x="701137" y="259878"/>
                    <a:pt x="690427" y="251892"/>
                    <a:pt x="681512" y="241585"/>
                  </a:cubicBezTo>
                  <a:cubicBezTo>
                    <a:pt x="672596" y="231162"/>
                    <a:pt x="665768" y="218604"/>
                    <a:pt x="661021" y="203896"/>
                  </a:cubicBezTo>
                  <a:cubicBezTo>
                    <a:pt x="656390" y="189192"/>
                    <a:pt x="654075" y="172748"/>
                    <a:pt x="654075" y="154572"/>
                  </a:cubicBezTo>
                  <a:lnTo>
                    <a:pt x="654075" y="133555"/>
                  </a:lnTo>
                  <a:cubicBezTo>
                    <a:pt x="654075" y="115374"/>
                    <a:pt x="656449" y="98935"/>
                    <a:pt x="661196" y="84231"/>
                  </a:cubicBezTo>
                  <a:cubicBezTo>
                    <a:pt x="666059" y="69528"/>
                    <a:pt x="673005" y="56965"/>
                    <a:pt x="682037" y="46547"/>
                  </a:cubicBezTo>
                  <a:cubicBezTo>
                    <a:pt x="691069" y="36012"/>
                    <a:pt x="701891" y="27962"/>
                    <a:pt x="714513" y="22403"/>
                  </a:cubicBezTo>
                  <a:cubicBezTo>
                    <a:pt x="727246" y="16843"/>
                    <a:pt x="741546" y="14066"/>
                    <a:pt x="757411" y="14066"/>
                  </a:cubicBezTo>
                  <a:cubicBezTo>
                    <a:pt x="777557" y="14066"/>
                    <a:pt x="794581" y="17772"/>
                    <a:pt x="808472" y="25180"/>
                  </a:cubicBezTo>
                  <a:cubicBezTo>
                    <a:pt x="822368" y="32592"/>
                    <a:pt x="833131" y="42836"/>
                    <a:pt x="840777" y="55919"/>
                  </a:cubicBezTo>
                  <a:cubicBezTo>
                    <a:pt x="848535" y="69003"/>
                    <a:pt x="853282" y="83998"/>
                    <a:pt x="855018" y="100900"/>
                  </a:cubicBezTo>
                  <a:lnTo>
                    <a:pt x="811599" y="100900"/>
                  </a:lnTo>
                  <a:cubicBezTo>
                    <a:pt x="810442" y="90015"/>
                    <a:pt x="807893" y="80695"/>
                    <a:pt x="803958" y="72938"/>
                  </a:cubicBezTo>
                  <a:cubicBezTo>
                    <a:pt x="800140" y="65180"/>
                    <a:pt x="794464" y="59275"/>
                    <a:pt x="786940" y="55224"/>
                  </a:cubicBezTo>
                  <a:cubicBezTo>
                    <a:pt x="779415" y="51055"/>
                    <a:pt x="769571" y="48969"/>
                    <a:pt x="757416" y="48969"/>
                  </a:cubicBezTo>
                  <a:cubicBezTo>
                    <a:pt x="747460" y="48969"/>
                    <a:pt x="738773" y="50822"/>
                    <a:pt x="731366" y="54528"/>
                  </a:cubicBezTo>
                  <a:cubicBezTo>
                    <a:pt x="723953" y="58234"/>
                    <a:pt x="717762" y="63677"/>
                    <a:pt x="712781" y="70856"/>
                  </a:cubicBezTo>
                  <a:cubicBezTo>
                    <a:pt x="707801" y="78035"/>
                    <a:pt x="704041" y="86892"/>
                    <a:pt x="701492" y="97427"/>
                  </a:cubicBezTo>
                  <a:cubicBezTo>
                    <a:pt x="699060" y="107845"/>
                    <a:pt x="697844" y="119771"/>
                    <a:pt x="697844" y="133205"/>
                  </a:cubicBezTo>
                  <a:lnTo>
                    <a:pt x="697844" y="154567"/>
                  </a:lnTo>
                  <a:cubicBezTo>
                    <a:pt x="697844" y="167300"/>
                    <a:pt x="698944" y="178881"/>
                    <a:pt x="701142" y="189299"/>
                  </a:cubicBezTo>
                  <a:cubicBezTo>
                    <a:pt x="703457" y="199606"/>
                    <a:pt x="706930" y="208463"/>
                    <a:pt x="711565" y="215870"/>
                  </a:cubicBezTo>
                  <a:cubicBezTo>
                    <a:pt x="716312" y="223283"/>
                    <a:pt x="722334" y="229012"/>
                    <a:pt x="729629" y="233064"/>
                  </a:cubicBezTo>
                  <a:cubicBezTo>
                    <a:pt x="736925" y="237116"/>
                    <a:pt x="745665" y="239144"/>
                    <a:pt x="755855" y="239144"/>
                  </a:cubicBezTo>
                  <a:cubicBezTo>
                    <a:pt x="768243" y="239144"/>
                    <a:pt x="778258" y="237174"/>
                    <a:pt x="785904" y="233239"/>
                  </a:cubicBezTo>
                  <a:cubicBezTo>
                    <a:pt x="793661" y="229304"/>
                    <a:pt x="799508" y="223570"/>
                    <a:pt x="803443" y="216046"/>
                  </a:cubicBezTo>
                  <a:cubicBezTo>
                    <a:pt x="807494" y="208405"/>
                    <a:pt x="810159" y="199085"/>
                    <a:pt x="811434" y="188084"/>
                  </a:cubicBezTo>
                  <a:close/>
                  <a:moveTo>
                    <a:pt x="882285" y="178541"/>
                  </a:moveTo>
                  <a:lnTo>
                    <a:pt x="882285" y="174548"/>
                  </a:lnTo>
                  <a:cubicBezTo>
                    <a:pt x="882285" y="161002"/>
                    <a:pt x="884255" y="148439"/>
                    <a:pt x="888190" y="136858"/>
                  </a:cubicBezTo>
                  <a:cubicBezTo>
                    <a:pt x="892124" y="125165"/>
                    <a:pt x="897800" y="115034"/>
                    <a:pt x="905208" y="106464"/>
                  </a:cubicBezTo>
                  <a:cubicBezTo>
                    <a:pt x="912732" y="97782"/>
                    <a:pt x="921881" y="91065"/>
                    <a:pt x="932650" y="86318"/>
                  </a:cubicBezTo>
                  <a:cubicBezTo>
                    <a:pt x="943535" y="81454"/>
                    <a:pt x="955806" y="79022"/>
                    <a:pt x="969469" y="79022"/>
                  </a:cubicBezTo>
                  <a:cubicBezTo>
                    <a:pt x="983131" y="79022"/>
                    <a:pt x="995519" y="81454"/>
                    <a:pt x="1006288" y="86318"/>
                  </a:cubicBezTo>
                  <a:cubicBezTo>
                    <a:pt x="1017173" y="91065"/>
                    <a:pt x="1026375" y="97782"/>
                    <a:pt x="1033899" y="106464"/>
                  </a:cubicBezTo>
                  <a:cubicBezTo>
                    <a:pt x="1041424" y="115034"/>
                    <a:pt x="1047158" y="125165"/>
                    <a:pt x="1051093" y="136858"/>
                  </a:cubicBezTo>
                  <a:cubicBezTo>
                    <a:pt x="1055028" y="148439"/>
                    <a:pt x="1056998" y="160997"/>
                    <a:pt x="1056998" y="174548"/>
                  </a:cubicBezTo>
                  <a:lnTo>
                    <a:pt x="1056998" y="178541"/>
                  </a:lnTo>
                  <a:cubicBezTo>
                    <a:pt x="1056998" y="192086"/>
                    <a:pt x="1055028" y="204650"/>
                    <a:pt x="1051093" y="216230"/>
                  </a:cubicBezTo>
                  <a:cubicBezTo>
                    <a:pt x="1047153" y="227806"/>
                    <a:pt x="1041424" y="237938"/>
                    <a:pt x="1033899" y="246624"/>
                  </a:cubicBezTo>
                  <a:cubicBezTo>
                    <a:pt x="1026375" y="255194"/>
                    <a:pt x="1017226" y="261906"/>
                    <a:pt x="1006458" y="266770"/>
                  </a:cubicBezTo>
                  <a:cubicBezTo>
                    <a:pt x="995689" y="271517"/>
                    <a:pt x="983476" y="273891"/>
                    <a:pt x="969814" y="273891"/>
                  </a:cubicBezTo>
                  <a:cubicBezTo>
                    <a:pt x="956151" y="273891"/>
                    <a:pt x="943705" y="271517"/>
                    <a:pt x="932820" y="266770"/>
                  </a:cubicBezTo>
                  <a:cubicBezTo>
                    <a:pt x="922051" y="261906"/>
                    <a:pt x="912907" y="255189"/>
                    <a:pt x="905378" y="246624"/>
                  </a:cubicBezTo>
                  <a:cubicBezTo>
                    <a:pt x="897854" y="237942"/>
                    <a:pt x="892119" y="227811"/>
                    <a:pt x="888185" y="216230"/>
                  </a:cubicBezTo>
                  <a:cubicBezTo>
                    <a:pt x="884245" y="204650"/>
                    <a:pt x="882280" y="192086"/>
                    <a:pt x="882280" y="178541"/>
                  </a:cubicBezTo>
                  <a:close/>
                  <a:moveTo>
                    <a:pt x="924143" y="174548"/>
                  </a:moveTo>
                  <a:lnTo>
                    <a:pt x="924143" y="178541"/>
                  </a:lnTo>
                  <a:cubicBezTo>
                    <a:pt x="924143" y="186994"/>
                    <a:pt x="925013" y="194980"/>
                    <a:pt x="926750" y="202510"/>
                  </a:cubicBezTo>
                  <a:cubicBezTo>
                    <a:pt x="928486" y="210034"/>
                    <a:pt x="931210" y="216634"/>
                    <a:pt x="934911" y="222310"/>
                  </a:cubicBezTo>
                  <a:cubicBezTo>
                    <a:pt x="938617" y="227981"/>
                    <a:pt x="943365" y="232441"/>
                    <a:pt x="949152" y="235681"/>
                  </a:cubicBezTo>
                  <a:cubicBezTo>
                    <a:pt x="954940" y="238925"/>
                    <a:pt x="961832" y="240545"/>
                    <a:pt x="969819" y="240545"/>
                  </a:cubicBezTo>
                  <a:cubicBezTo>
                    <a:pt x="977805" y="240545"/>
                    <a:pt x="984293" y="238925"/>
                    <a:pt x="989965" y="235681"/>
                  </a:cubicBezTo>
                  <a:cubicBezTo>
                    <a:pt x="995753" y="232441"/>
                    <a:pt x="1000500" y="227981"/>
                    <a:pt x="1004206" y="222310"/>
                  </a:cubicBezTo>
                  <a:cubicBezTo>
                    <a:pt x="1007912" y="216634"/>
                    <a:pt x="1010631" y="210039"/>
                    <a:pt x="1012367" y="202510"/>
                  </a:cubicBezTo>
                  <a:cubicBezTo>
                    <a:pt x="1014220" y="194985"/>
                    <a:pt x="1015145" y="186994"/>
                    <a:pt x="1015145" y="178541"/>
                  </a:cubicBezTo>
                  <a:lnTo>
                    <a:pt x="1015145" y="174548"/>
                  </a:lnTo>
                  <a:cubicBezTo>
                    <a:pt x="1015145" y="166211"/>
                    <a:pt x="1014220" y="158336"/>
                    <a:pt x="1012367" y="150929"/>
                  </a:cubicBezTo>
                  <a:cubicBezTo>
                    <a:pt x="1010631" y="143405"/>
                    <a:pt x="1007854" y="136746"/>
                    <a:pt x="1004031" y="130958"/>
                  </a:cubicBezTo>
                  <a:cubicBezTo>
                    <a:pt x="1000325" y="125170"/>
                    <a:pt x="995578" y="120652"/>
                    <a:pt x="989790" y="117412"/>
                  </a:cubicBezTo>
                  <a:cubicBezTo>
                    <a:pt x="984118" y="114056"/>
                    <a:pt x="977343" y="112378"/>
                    <a:pt x="969469" y="112378"/>
                  </a:cubicBezTo>
                  <a:cubicBezTo>
                    <a:pt x="961594" y="112378"/>
                    <a:pt x="954765" y="114056"/>
                    <a:pt x="948977" y="117412"/>
                  </a:cubicBezTo>
                  <a:cubicBezTo>
                    <a:pt x="943301" y="120657"/>
                    <a:pt x="938613" y="125170"/>
                    <a:pt x="934911" y="130958"/>
                  </a:cubicBezTo>
                  <a:cubicBezTo>
                    <a:pt x="931205" y="136746"/>
                    <a:pt x="928486" y="143405"/>
                    <a:pt x="926750" y="150929"/>
                  </a:cubicBezTo>
                  <a:cubicBezTo>
                    <a:pt x="925013" y="158341"/>
                    <a:pt x="924143" y="166211"/>
                    <a:pt x="924143" y="174548"/>
                  </a:cubicBezTo>
                  <a:close/>
                  <a:moveTo>
                    <a:pt x="1133598" y="122617"/>
                  </a:moveTo>
                  <a:lnTo>
                    <a:pt x="1133598" y="270418"/>
                  </a:lnTo>
                  <a:lnTo>
                    <a:pt x="1091745" y="270418"/>
                  </a:lnTo>
                  <a:lnTo>
                    <a:pt x="1091745" y="82495"/>
                  </a:lnTo>
                  <a:lnTo>
                    <a:pt x="1131171" y="82495"/>
                  </a:lnTo>
                  <a:lnTo>
                    <a:pt x="1133603" y="122617"/>
                  </a:lnTo>
                  <a:close/>
                  <a:moveTo>
                    <a:pt x="1126132" y="169509"/>
                  </a:moveTo>
                  <a:lnTo>
                    <a:pt x="1112586" y="169334"/>
                  </a:lnTo>
                  <a:cubicBezTo>
                    <a:pt x="1112703" y="156016"/>
                    <a:pt x="1114556" y="143803"/>
                    <a:pt x="1118145" y="132690"/>
                  </a:cubicBezTo>
                  <a:cubicBezTo>
                    <a:pt x="1121852" y="121576"/>
                    <a:pt x="1126944" y="112023"/>
                    <a:pt x="1133428" y="104032"/>
                  </a:cubicBezTo>
                  <a:cubicBezTo>
                    <a:pt x="1140028" y="96041"/>
                    <a:pt x="1147902" y="89908"/>
                    <a:pt x="1157046" y="85623"/>
                  </a:cubicBezTo>
                  <a:cubicBezTo>
                    <a:pt x="1166195" y="81226"/>
                    <a:pt x="1176385" y="79022"/>
                    <a:pt x="1187615" y="79022"/>
                  </a:cubicBezTo>
                  <a:cubicBezTo>
                    <a:pt x="1196647" y="79022"/>
                    <a:pt x="1204809" y="80297"/>
                    <a:pt x="1212105" y="82840"/>
                  </a:cubicBezTo>
                  <a:cubicBezTo>
                    <a:pt x="1219517" y="85272"/>
                    <a:pt x="1225825" y="89265"/>
                    <a:pt x="1231034" y="94825"/>
                  </a:cubicBezTo>
                  <a:cubicBezTo>
                    <a:pt x="1236360" y="100384"/>
                    <a:pt x="1240412" y="107617"/>
                    <a:pt x="1243189" y="116532"/>
                  </a:cubicBezTo>
                  <a:cubicBezTo>
                    <a:pt x="1245966" y="125331"/>
                    <a:pt x="1247357" y="136157"/>
                    <a:pt x="1247357" y="149013"/>
                  </a:cubicBezTo>
                  <a:lnTo>
                    <a:pt x="1247357" y="270413"/>
                  </a:lnTo>
                  <a:lnTo>
                    <a:pt x="1205329" y="270413"/>
                  </a:lnTo>
                  <a:lnTo>
                    <a:pt x="1205329" y="148837"/>
                  </a:lnTo>
                  <a:cubicBezTo>
                    <a:pt x="1205329" y="139805"/>
                    <a:pt x="1203996" y="132685"/>
                    <a:pt x="1201336" y="127476"/>
                  </a:cubicBezTo>
                  <a:cubicBezTo>
                    <a:pt x="1198787" y="122150"/>
                    <a:pt x="1195028" y="118385"/>
                    <a:pt x="1190047" y="116187"/>
                  </a:cubicBezTo>
                  <a:cubicBezTo>
                    <a:pt x="1185183" y="113872"/>
                    <a:pt x="1179104" y="112714"/>
                    <a:pt x="1171813" y="112714"/>
                  </a:cubicBezTo>
                  <a:cubicBezTo>
                    <a:pt x="1164522" y="112714"/>
                    <a:pt x="1158209" y="114217"/>
                    <a:pt x="1152533" y="117228"/>
                  </a:cubicBezTo>
                  <a:cubicBezTo>
                    <a:pt x="1146861" y="120238"/>
                    <a:pt x="1142056" y="124348"/>
                    <a:pt x="1138116" y="129557"/>
                  </a:cubicBezTo>
                  <a:cubicBezTo>
                    <a:pt x="1134293" y="134766"/>
                    <a:pt x="1131341" y="140788"/>
                    <a:pt x="1129259" y="147621"/>
                  </a:cubicBezTo>
                  <a:cubicBezTo>
                    <a:pt x="1127178" y="154450"/>
                    <a:pt x="1126132" y="161746"/>
                    <a:pt x="1126132" y="169504"/>
                  </a:cubicBezTo>
                  <a:close/>
                  <a:moveTo>
                    <a:pt x="1346701" y="270418"/>
                  </a:moveTo>
                  <a:lnTo>
                    <a:pt x="1304843" y="270418"/>
                  </a:lnTo>
                  <a:lnTo>
                    <a:pt x="1304843" y="64436"/>
                  </a:lnTo>
                  <a:cubicBezTo>
                    <a:pt x="1304843" y="50428"/>
                    <a:pt x="1307450" y="38672"/>
                    <a:pt x="1312659" y="29178"/>
                  </a:cubicBezTo>
                  <a:cubicBezTo>
                    <a:pt x="1317985" y="19567"/>
                    <a:pt x="1325567" y="12330"/>
                    <a:pt x="1335412" y="7471"/>
                  </a:cubicBezTo>
                  <a:cubicBezTo>
                    <a:pt x="1345256" y="2490"/>
                    <a:pt x="1356890" y="0"/>
                    <a:pt x="1370319" y="0"/>
                  </a:cubicBezTo>
                  <a:cubicBezTo>
                    <a:pt x="1374488" y="0"/>
                    <a:pt x="1378597" y="292"/>
                    <a:pt x="1382649" y="871"/>
                  </a:cubicBezTo>
                  <a:cubicBezTo>
                    <a:pt x="1386701" y="1333"/>
                    <a:pt x="1390640" y="2087"/>
                    <a:pt x="1394458" y="3127"/>
                  </a:cubicBezTo>
                  <a:lnTo>
                    <a:pt x="1393418" y="35433"/>
                  </a:lnTo>
                  <a:cubicBezTo>
                    <a:pt x="1391102" y="34854"/>
                    <a:pt x="1388554" y="34450"/>
                    <a:pt x="1385776" y="34217"/>
                  </a:cubicBezTo>
                  <a:cubicBezTo>
                    <a:pt x="1383116" y="33983"/>
                    <a:pt x="1380217" y="33872"/>
                    <a:pt x="1377095" y="33872"/>
                  </a:cubicBezTo>
                  <a:cubicBezTo>
                    <a:pt x="1370728" y="33872"/>
                    <a:pt x="1365227" y="35088"/>
                    <a:pt x="1360596" y="37519"/>
                  </a:cubicBezTo>
                  <a:cubicBezTo>
                    <a:pt x="1356083" y="39835"/>
                    <a:pt x="1352605" y="43249"/>
                    <a:pt x="1350178" y="47767"/>
                  </a:cubicBezTo>
                  <a:cubicBezTo>
                    <a:pt x="1347863" y="52286"/>
                    <a:pt x="1346706" y="57840"/>
                    <a:pt x="1346706" y="64441"/>
                  </a:cubicBezTo>
                  <a:lnTo>
                    <a:pt x="1346706" y="270423"/>
                  </a:lnTo>
                  <a:close/>
                  <a:moveTo>
                    <a:pt x="1385431" y="82500"/>
                  </a:moveTo>
                  <a:lnTo>
                    <a:pt x="1385431" y="113069"/>
                  </a:lnTo>
                  <a:lnTo>
                    <a:pt x="1276015" y="113069"/>
                  </a:lnTo>
                  <a:lnTo>
                    <a:pt x="1276015" y="82500"/>
                  </a:lnTo>
                  <a:lnTo>
                    <a:pt x="1385431" y="82500"/>
                  </a:lnTo>
                  <a:close/>
                </a:path>
              </a:pathLst>
            </a:custGeom>
            <a:solidFill>
              <a:srgbClr val="EE3431"/>
            </a:solidFill>
            <a:ln w="4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6" name="Полилиния: фигура 45">
              <a:extLst>
                <a:ext uri="{FF2B5EF4-FFF2-40B4-BE49-F238E27FC236}">
                  <a16:creationId xmlns:a16="http://schemas.microsoft.com/office/drawing/2014/main" id="{EB80AEA3-6D76-4813-B83E-E98064CA7762}"/>
                </a:ext>
              </a:extLst>
            </p:cNvPr>
            <p:cNvSpPr/>
            <p:nvPr/>
          </p:nvSpPr>
          <p:spPr>
            <a:xfrm>
              <a:off x="7406975" y="5855999"/>
              <a:ext cx="1394458" cy="273890"/>
            </a:xfrm>
            <a:custGeom>
              <a:avLst/>
              <a:gdLst>
                <a:gd name="connsiteX0" fmla="*/ 157354 w 1394458"/>
                <a:gd name="connsiteY0" fmla="*/ 188093 h 273890"/>
                <a:gd name="connsiteX1" fmla="*/ 200773 w 1394458"/>
                <a:gd name="connsiteY1" fmla="*/ 188093 h 273890"/>
                <a:gd name="connsiteX2" fmla="*/ 186877 w 1394458"/>
                <a:gd name="connsiteY2" fmla="*/ 232383 h 273890"/>
                <a:gd name="connsiteX3" fmla="*/ 153706 w 1394458"/>
                <a:gd name="connsiteY3" fmla="*/ 262777 h 273890"/>
                <a:gd name="connsiteX4" fmla="*/ 101775 w 1394458"/>
                <a:gd name="connsiteY4" fmla="*/ 273891 h 273890"/>
                <a:gd name="connsiteX5" fmla="*/ 59572 w 1394458"/>
                <a:gd name="connsiteY5" fmla="*/ 265554 h 273890"/>
                <a:gd name="connsiteX6" fmla="*/ 27442 w 1394458"/>
                <a:gd name="connsiteY6" fmla="*/ 241585 h 273890"/>
                <a:gd name="connsiteX7" fmla="*/ 6950 w 1394458"/>
                <a:gd name="connsiteY7" fmla="*/ 203901 h 273890"/>
                <a:gd name="connsiteX8" fmla="*/ 0 w 1394458"/>
                <a:gd name="connsiteY8" fmla="*/ 154572 h 273890"/>
                <a:gd name="connsiteX9" fmla="*/ 0 w 1394458"/>
                <a:gd name="connsiteY9" fmla="*/ 133555 h 273890"/>
                <a:gd name="connsiteX10" fmla="*/ 7121 w 1394458"/>
                <a:gd name="connsiteY10" fmla="*/ 84231 h 273890"/>
                <a:gd name="connsiteX11" fmla="*/ 27962 w 1394458"/>
                <a:gd name="connsiteY11" fmla="*/ 46542 h 273890"/>
                <a:gd name="connsiteX12" fmla="*/ 60438 w 1394458"/>
                <a:gd name="connsiteY12" fmla="*/ 22403 h 273890"/>
                <a:gd name="connsiteX13" fmla="*/ 103336 w 1394458"/>
                <a:gd name="connsiteY13" fmla="*/ 14066 h 273890"/>
                <a:gd name="connsiteX14" fmla="*/ 154397 w 1394458"/>
                <a:gd name="connsiteY14" fmla="*/ 25180 h 273890"/>
                <a:gd name="connsiteX15" fmla="*/ 186702 w 1394458"/>
                <a:gd name="connsiteY15" fmla="*/ 55919 h 273890"/>
                <a:gd name="connsiteX16" fmla="*/ 200943 w 1394458"/>
                <a:gd name="connsiteY16" fmla="*/ 100900 h 273890"/>
                <a:gd name="connsiteX17" fmla="*/ 157524 w 1394458"/>
                <a:gd name="connsiteY17" fmla="*/ 100900 h 273890"/>
                <a:gd name="connsiteX18" fmla="*/ 149883 w 1394458"/>
                <a:gd name="connsiteY18" fmla="*/ 72938 h 273890"/>
                <a:gd name="connsiteX19" fmla="*/ 132865 w 1394458"/>
                <a:gd name="connsiteY19" fmla="*/ 55224 h 273890"/>
                <a:gd name="connsiteX20" fmla="*/ 103341 w 1394458"/>
                <a:gd name="connsiteY20" fmla="*/ 48969 h 273890"/>
                <a:gd name="connsiteX21" fmla="*/ 77291 w 1394458"/>
                <a:gd name="connsiteY21" fmla="*/ 54528 h 273890"/>
                <a:gd name="connsiteX22" fmla="*/ 58706 w 1394458"/>
                <a:gd name="connsiteY22" fmla="*/ 70856 h 273890"/>
                <a:gd name="connsiteX23" fmla="*/ 47417 w 1394458"/>
                <a:gd name="connsiteY23" fmla="*/ 97427 h 273890"/>
                <a:gd name="connsiteX24" fmla="*/ 43769 w 1394458"/>
                <a:gd name="connsiteY24" fmla="*/ 133205 h 273890"/>
                <a:gd name="connsiteX25" fmla="*/ 43769 w 1394458"/>
                <a:gd name="connsiteY25" fmla="*/ 154567 h 273890"/>
                <a:gd name="connsiteX26" fmla="*/ 47067 w 1394458"/>
                <a:gd name="connsiteY26" fmla="*/ 189304 h 273890"/>
                <a:gd name="connsiteX27" fmla="*/ 57490 w 1394458"/>
                <a:gd name="connsiteY27" fmla="*/ 215875 h 273890"/>
                <a:gd name="connsiteX28" fmla="*/ 75550 w 1394458"/>
                <a:gd name="connsiteY28" fmla="*/ 233069 h 273890"/>
                <a:gd name="connsiteX29" fmla="*/ 101775 w 1394458"/>
                <a:gd name="connsiteY29" fmla="*/ 239149 h 273890"/>
                <a:gd name="connsiteX30" fmla="*/ 131824 w 1394458"/>
                <a:gd name="connsiteY30" fmla="*/ 233244 h 273890"/>
                <a:gd name="connsiteX31" fmla="*/ 149363 w 1394458"/>
                <a:gd name="connsiteY31" fmla="*/ 216050 h 273890"/>
                <a:gd name="connsiteX32" fmla="*/ 157354 w 1394458"/>
                <a:gd name="connsiteY32" fmla="*/ 188088 h 273890"/>
                <a:gd name="connsiteX33" fmla="*/ 313837 w 1394458"/>
                <a:gd name="connsiteY33" fmla="*/ 270418 h 273890"/>
                <a:gd name="connsiteX34" fmla="*/ 259825 w 1394458"/>
                <a:gd name="connsiteY34" fmla="*/ 270418 h 273890"/>
                <a:gd name="connsiteX35" fmla="*/ 260170 w 1394458"/>
                <a:gd name="connsiteY35" fmla="*/ 235856 h 273890"/>
                <a:gd name="connsiteX36" fmla="*/ 313837 w 1394458"/>
                <a:gd name="connsiteY36" fmla="*/ 235856 h 273890"/>
                <a:gd name="connsiteX37" fmla="*/ 353088 w 1394458"/>
                <a:gd name="connsiteY37" fmla="*/ 225608 h 273890"/>
                <a:gd name="connsiteX38" fmla="*/ 377057 w 1394458"/>
                <a:gd name="connsiteY38" fmla="*/ 196255 h 273890"/>
                <a:gd name="connsiteX39" fmla="*/ 385218 w 1394458"/>
                <a:gd name="connsiteY39" fmla="*/ 150754 h 273890"/>
                <a:gd name="connsiteX40" fmla="*/ 385218 w 1394458"/>
                <a:gd name="connsiteY40" fmla="*/ 137033 h 273890"/>
                <a:gd name="connsiteX41" fmla="*/ 380530 w 1394458"/>
                <a:gd name="connsiteY41" fmla="*/ 100734 h 273890"/>
                <a:gd name="connsiteX42" fmla="*/ 366984 w 1394458"/>
                <a:gd name="connsiteY42" fmla="*/ 74163 h 273890"/>
                <a:gd name="connsiteX43" fmla="*/ 345102 w 1394458"/>
                <a:gd name="connsiteY43" fmla="*/ 57840 h 273890"/>
                <a:gd name="connsiteX44" fmla="*/ 315403 w 1394458"/>
                <a:gd name="connsiteY44" fmla="*/ 52281 h 273890"/>
                <a:gd name="connsiteX45" fmla="*/ 258784 w 1394458"/>
                <a:gd name="connsiteY45" fmla="*/ 52281 h 273890"/>
                <a:gd name="connsiteX46" fmla="*/ 258784 w 1394458"/>
                <a:gd name="connsiteY46" fmla="*/ 17544 h 273890"/>
                <a:gd name="connsiteX47" fmla="*/ 315403 w 1394458"/>
                <a:gd name="connsiteY47" fmla="*/ 17544 h 273890"/>
                <a:gd name="connsiteX48" fmla="*/ 361429 w 1394458"/>
                <a:gd name="connsiteY48" fmla="*/ 26055 h 273890"/>
                <a:gd name="connsiteX49" fmla="*/ 397383 w 1394458"/>
                <a:gd name="connsiteY49" fmla="*/ 50195 h 273890"/>
                <a:gd name="connsiteX50" fmla="*/ 420826 w 1394458"/>
                <a:gd name="connsiteY50" fmla="*/ 88054 h 273890"/>
                <a:gd name="connsiteX51" fmla="*/ 428988 w 1394458"/>
                <a:gd name="connsiteY51" fmla="*/ 137378 h 273890"/>
                <a:gd name="connsiteX52" fmla="*/ 428988 w 1394458"/>
                <a:gd name="connsiteY52" fmla="*/ 150754 h 273890"/>
                <a:gd name="connsiteX53" fmla="*/ 420826 w 1394458"/>
                <a:gd name="connsiteY53" fmla="*/ 200078 h 273890"/>
                <a:gd name="connsiteX54" fmla="*/ 397383 w 1394458"/>
                <a:gd name="connsiteY54" fmla="*/ 237938 h 273890"/>
                <a:gd name="connsiteX55" fmla="*/ 360909 w 1394458"/>
                <a:gd name="connsiteY55" fmla="*/ 262077 h 273890"/>
                <a:gd name="connsiteX56" fmla="*/ 313842 w 1394458"/>
                <a:gd name="connsiteY56" fmla="*/ 270413 h 273890"/>
                <a:gd name="connsiteX57" fmla="*/ 283964 w 1394458"/>
                <a:gd name="connsiteY57" fmla="*/ 17544 h 273890"/>
                <a:gd name="connsiteX58" fmla="*/ 283964 w 1394458"/>
                <a:gd name="connsiteY58" fmla="*/ 270418 h 273890"/>
                <a:gd name="connsiteX59" fmla="*/ 240369 w 1394458"/>
                <a:gd name="connsiteY59" fmla="*/ 270418 h 273890"/>
                <a:gd name="connsiteX60" fmla="*/ 240369 w 1394458"/>
                <a:gd name="connsiteY60" fmla="*/ 17544 h 273890"/>
                <a:gd name="connsiteX61" fmla="*/ 283964 w 1394458"/>
                <a:gd name="connsiteY61" fmla="*/ 17544 h 273890"/>
                <a:gd name="connsiteX62" fmla="*/ 519299 w 1394458"/>
                <a:gd name="connsiteY62" fmla="*/ 17544 h 273890"/>
                <a:gd name="connsiteX63" fmla="*/ 519299 w 1394458"/>
                <a:gd name="connsiteY63" fmla="*/ 270418 h 273890"/>
                <a:gd name="connsiteX64" fmla="*/ 475705 w 1394458"/>
                <a:gd name="connsiteY64" fmla="*/ 270418 h 273890"/>
                <a:gd name="connsiteX65" fmla="*/ 475705 w 1394458"/>
                <a:gd name="connsiteY65" fmla="*/ 17544 h 273890"/>
                <a:gd name="connsiteX66" fmla="*/ 519299 w 1394458"/>
                <a:gd name="connsiteY66" fmla="*/ 17544 h 273890"/>
                <a:gd name="connsiteX67" fmla="*/ 811424 w 1394458"/>
                <a:gd name="connsiteY67" fmla="*/ 188093 h 273890"/>
                <a:gd name="connsiteX68" fmla="*/ 854843 w 1394458"/>
                <a:gd name="connsiteY68" fmla="*/ 188093 h 273890"/>
                <a:gd name="connsiteX69" fmla="*/ 840947 w 1394458"/>
                <a:gd name="connsiteY69" fmla="*/ 232383 h 273890"/>
                <a:gd name="connsiteX70" fmla="*/ 807776 w 1394458"/>
                <a:gd name="connsiteY70" fmla="*/ 262777 h 273890"/>
                <a:gd name="connsiteX71" fmla="*/ 755845 w 1394458"/>
                <a:gd name="connsiteY71" fmla="*/ 273891 h 273890"/>
                <a:gd name="connsiteX72" fmla="*/ 713642 w 1394458"/>
                <a:gd name="connsiteY72" fmla="*/ 265554 h 273890"/>
                <a:gd name="connsiteX73" fmla="*/ 681512 w 1394458"/>
                <a:gd name="connsiteY73" fmla="*/ 241585 h 273890"/>
                <a:gd name="connsiteX74" fmla="*/ 661021 w 1394458"/>
                <a:gd name="connsiteY74" fmla="*/ 203901 h 273890"/>
                <a:gd name="connsiteX75" fmla="*/ 654075 w 1394458"/>
                <a:gd name="connsiteY75" fmla="*/ 154577 h 273890"/>
                <a:gd name="connsiteX76" fmla="*/ 654075 w 1394458"/>
                <a:gd name="connsiteY76" fmla="*/ 133560 h 273890"/>
                <a:gd name="connsiteX77" fmla="*/ 661196 w 1394458"/>
                <a:gd name="connsiteY77" fmla="*/ 84236 h 273890"/>
                <a:gd name="connsiteX78" fmla="*/ 682037 w 1394458"/>
                <a:gd name="connsiteY78" fmla="*/ 46547 h 273890"/>
                <a:gd name="connsiteX79" fmla="*/ 714513 w 1394458"/>
                <a:gd name="connsiteY79" fmla="*/ 22408 h 273890"/>
                <a:gd name="connsiteX80" fmla="*/ 757411 w 1394458"/>
                <a:gd name="connsiteY80" fmla="*/ 14071 h 273890"/>
                <a:gd name="connsiteX81" fmla="*/ 808472 w 1394458"/>
                <a:gd name="connsiteY81" fmla="*/ 25185 h 273890"/>
                <a:gd name="connsiteX82" fmla="*/ 840777 w 1394458"/>
                <a:gd name="connsiteY82" fmla="*/ 55924 h 273890"/>
                <a:gd name="connsiteX83" fmla="*/ 855018 w 1394458"/>
                <a:gd name="connsiteY83" fmla="*/ 100905 h 273890"/>
                <a:gd name="connsiteX84" fmla="*/ 811599 w 1394458"/>
                <a:gd name="connsiteY84" fmla="*/ 100905 h 273890"/>
                <a:gd name="connsiteX85" fmla="*/ 803958 w 1394458"/>
                <a:gd name="connsiteY85" fmla="*/ 72943 h 273890"/>
                <a:gd name="connsiteX86" fmla="*/ 786940 w 1394458"/>
                <a:gd name="connsiteY86" fmla="*/ 55229 h 273890"/>
                <a:gd name="connsiteX87" fmla="*/ 757416 w 1394458"/>
                <a:gd name="connsiteY87" fmla="*/ 48974 h 273890"/>
                <a:gd name="connsiteX88" fmla="*/ 731366 w 1394458"/>
                <a:gd name="connsiteY88" fmla="*/ 54533 h 273890"/>
                <a:gd name="connsiteX89" fmla="*/ 712781 w 1394458"/>
                <a:gd name="connsiteY89" fmla="*/ 70861 h 273890"/>
                <a:gd name="connsiteX90" fmla="*/ 701492 w 1394458"/>
                <a:gd name="connsiteY90" fmla="*/ 97432 h 273890"/>
                <a:gd name="connsiteX91" fmla="*/ 697844 w 1394458"/>
                <a:gd name="connsiteY91" fmla="*/ 133210 h 273890"/>
                <a:gd name="connsiteX92" fmla="*/ 697844 w 1394458"/>
                <a:gd name="connsiteY92" fmla="*/ 154572 h 273890"/>
                <a:gd name="connsiteX93" fmla="*/ 701142 w 1394458"/>
                <a:gd name="connsiteY93" fmla="*/ 189309 h 273890"/>
                <a:gd name="connsiteX94" fmla="*/ 711565 w 1394458"/>
                <a:gd name="connsiteY94" fmla="*/ 215880 h 273890"/>
                <a:gd name="connsiteX95" fmla="*/ 729629 w 1394458"/>
                <a:gd name="connsiteY95" fmla="*/ 233074 h 273890"/>
                <a:gd name="connsiteX96" fmla="*/ 755855 w 1394458"/>
                <a:gd name="connsiteY96" fmla="*/ 239154 h 273890"/>
                <a:gd name="connsiteX97" fmla="*/ 785904 w 1394458"/>
                <a:gd name="connsiteY97" fmla="*/ 233249 h 273890"/>
                <a:gd name="connsiteX98" fmla="*/ 803443 w 1394458"/>
                <a:gd name="connsiteY98" fmla="*/ 216055 h 273890"/>
                <a:gd name="connsiteX99" fmla="*/ 811434 w 1394458"/>
                <a:gd name="connsiteY99" fmla="*/ 188093 h 273890"/>
                <a:gd name="connsiteX100" fmla="*/ 882285 w 1394458"/>
                <a:gd name="connsiteY100" fmla="*/ 178541 h 273890"/>
                <a:gd name="connsiteX101" fmla="*/ 882285 w 1394458"/>
                <a:gd name="connsiteY101" fmla="*/ 174548 h 273890"/>
                <a:gd name="connsiteX102" fmla="*/ 888190 w 1394458"/>
                <a:gd name="connsiteY102" fmla="*/ 136858 h 273890"/>
                <a:gd name="connsiteX103" fmla="*/ 905208 w 1394458"/>
                <a:gd name="connsiteY103" fmla="*/ 106464 h 273890"/>
                <a:gd name="connsiteX104" fmla="*/ 932650 w 1394458"/>
                <a:gd name="connsiteY104" fmla="*/ 86318 h 273890"/>
                <a:gd name="connsiteX105" fmla="*/ 969469 w 1394458"/>
                <a:gd name="connsiteY105" fmla="*/ 79022 h 273890"/>
                <a:gd name="connsiteX106" fmla="*/ 1006288 w 1394458"/>
                <a:gd name="connsiteY106" fmla="*/ 86318 h 273890"/>
                <a:gd name="connsiteX107" fmla="*/ 1033899 w 1394458"/>
                <a:gd name="connsiteY107" fmla="*/ 106464 h 273890"/>
                <a:gd name="connsiteX108" fmla="*/ 1051093 w 1394458"/>
                <a:gd name="connsiteY108" fmla="*/ 136858 h 273890"/>
                <a:gd name="connsiteX109" fmla="*/ 1056998 w 1394458"/>
                <a:gd name="connsiteY109" fmla="*/ 174548 h 273890"/>
                <a:gd name="connsiteX110" fmla="*/ 1056998 w 1394458"/>
                <a:gd name="connsiteY110" fmla="*/ 178541 h 273890"/>
                <a:gd name="connsiteX111" fmla="*/ 1051093 w 1394458"/>
                <a:gd name="connsiteY111" fmla="*/ 216226 h 273890"/>
                <a:gd name="connsiteX112" fmla="*/ 1033899 w 1394458"/>
                <a:gd name="connsiteY112" fmla="*/ 246619 h 273890"/>
                <a:gd name="connsiteX113" fmla="*/ 1006458 w 1394458"/>
                <a:gd name="connsiteY113" fmla="*/ 266765 h 273890"/>
                <a:gd name="connsiteX114" fmla="*/ 969814 w 1394458"/>
                <a:gd name="connsiteY114" fmla="*/ 273886 h 273890"/>
                <a:gd name="connsiteX115" fmla="*/ 932820 w 1394458"/>
                <a:gd name="connsiteY115" fmla="*/ 266765 h 273890"/>
                <a:gd name="connsiteX116" fmla="*/ 905378 w 1394458"/>
                <a:gd name="connsiteY116" fmla="*/ 246619 h 273890"/>
                <a:gd name="connsiteX117" fmla="*/ 888185 w 1394458"/>
                <a:gd name="connsiteY117" fmla="*/ 216226 h 273890"/>
                <a:gd name="connsiteX118" fmla="*/ 882280 w 1394458"/>
                <a:gd name="connsiteY118" fmla="*/ 178541 h 273890"/>
                <a:gd name="connsiteX119" fmla="*/ 924143 w 1394458"/>
                <a:gd name="connsiteY119" fmla="*/ 174548 h 273890"/>
                <a:gd name="connsiteX120" fmla="*/ 924143 w 1394458"/>
                <a:gd name="connsiteY120" fmla="*/ 178541 h 273890"/>
                <a:gd name="connsiteX121" fmla="*/ 926750 w 1394458"/>
                <a:gd name="connsiteY121" fmla="*/ 202510 h 273890"/>
                <a:gd name="connsiteX122" fmla="*/ 934911 w 1394458"/>
                <a:gd name="connsiteY122" fmla="*/ 222310 h 273890"/>
                <a:gd name="connsiteX123" fmla="*/ 949152 w 1394458"/>
                <a:gd name="connsiteY123" fmla="*/ 235681 h 273890"/>
                <a:gd name="connsiteX124" fmla="*/ 969819 w 1394458"/>
                <a:gd name="connsiteY124" fmla="*/ 240545 h 273890"/>
                <a:gd name="connsiteX125" fmla="*/ 989965 w 1394458"/>
                <a:gd name="connsiteY125" fmla="*/ 235681 h 273890"/>
                <a:gd name="connsiteX126" fmla="*/ 1004206 w 1394458"/>
                <a:gd name="connsiteY126" fmla="*/ 222310 h 273890"/>
                <a:gd name="connsiteX127" fmla="*/ 1012367 w 1394458"/>
                <a:gd name="connsiteY127" fmla="*/ 202510 h 273890"/>
                <a:gd name="connsiteX128" fmla="*/ 1015145 w 1394458"/>
                <a:gd name="connsiteY128" fmla="*/ 178541 h 273890"/>
                <a:gd name="connsiteX129" fmla="*/ 1015145 w 1394458"/>
                <a:gd name="connsiteY129" fmla="*/ 174548 h 273890"/>
                <a:gd name="connsiteX130" fmla="*/ 1012367 w 1394458"/>
                <a:gd name="connsiteY130" fmla="*/ 150929 h 273890"/>
                <a:gd name="connsiteX131" fmla="*/ 1004031 w 1394458"/>
                <a:gd name="connsiteY131" fmla="*/ 130958 h 273890"/>
                <a:gd name="connsiteX132" fmla="*/ 989790 w 1394458"/>
                <a:gd name="connsiteY132" fmla="*/ 117412 h 273890"/>
                <a:gd name="connsiteX133" fmla="*/ 969469 w 1394458"/>
                <a:gd name="connsiteY133" fmla="*/ 112373 h 273890"/>
                <a:gd name="connsiteX134" fmla="*/ 948977 w 1394458"/>
                <a:gd name="connsiteY134" fmla="*/ 117412 h 273890"/>
                <a:gd name="connsiteX135" fmla="*/ 934911 w 1394458"/>
                <a:gd name="connsiteY135" fmla="*/ 130958 h 273890"/>
                <a:gd name="connsiteX136" fmla="*/ 926750 w 1394458"/>
                <a:gd name="connsiteY136" fmla="*/ 150929 h 273890"/>
                <a:gd name="connsiteX137" fmla="*/ 924143 w 1394458"/>
                <a:gd name="connsiteY137" fmla="*/ 174548 h 273890"/>
                <a:gd name="connsiteX138" fmla="*/ 1133598 w 1394458"/>
                <a:gd name="connsiteY138" fmla="*/ 122617 h 273890"/>
                <a:gd name="connsiteX139" fmla="*/ 1133598 w 1394458"/>
                <a:gd name="connsiteY139" fmla="*/ 270418 h 273890"/>
                <a:gd name="connsiteX140" fmla="*/ 1091745 w 1394458"/>
                <a:gd name="connsiteY140" fmla="*/ 270418 h 273890"/>
                <a:gd name="connsiteX141" fmla="*/ 1091745 w 1394458"/>
                <a:gd name="connsiteY141" fmla="*/ 82495 h 273890"/>
                <a:gd name="connsiteX142" fmla="*/ 1131171 w 1394458"/>
                <a:gd name="connsiteY142" fmla="*/ 82495 h 273890"/>
                <a:gd name="connsiteX143" fmla="*/ 1133603 w 1394458"/>
                <a:gd name="connsiteY143" fmla="*/ 122617 h 273890"/>
                <a:gd name="connsiteX144" fmla="*/ 1126132 w 1394458"/>
                <a:gd name="connsiteY144" fmla="*/ 169509 h 273890"/>
                <a:gd name="connsiteX145" fmla="*/ 1112586 w 1394458"/>
                <a:gd name="connsiteY145" fmla="*/ 169334 h 273890"/>
                <a:gd name="connsiteX146" fmla="*/ 1118145 w 1394458"/>
                <a:gd name="connsiteY146" fmla="*/ 132690 h 273890"/>
                <a:gd name="connsiteX147" fmla="*/ 1133428 w 1394458"/>
                <a:gd name="connsiteY147" fmla="*/ 104032 h 273890"/>
                <a:gd name="connsiteX148" fmla="*/ 1157046 w 1394458"/>
                <a:gd name="connsiteY148" fmla="*/ 85623 h 273890"/>
                <a:gd name="connsiteX149" fmla="*/ 1187615 w 1394458"/>
                <a:gd name="connsiteY149" fmla="*/ 79022 h 273890"/>
                <a:gd name="connsiteX150" fmla="*/ 1212105 w 1394458"/>
                <a:gd name="connsiteY150" fmla="*/ 82840 h 273890"/>
                <a:gd name="connsiteX151" fmla="*/ 1231034 w 1394458"/>
                <a:gd name="connsiteY151" fmla="*/ 94825 h 273890"/>
                <a:gd name="connsiteX152" fmla="*/ 1243189 w 1394458"/>
                <a:gd name="connsiteY152" fmla="*/ 116532 h 273890"/>
                <a:gd name="connsiteX153" fmla="*/ 1247357 w 1394458"/>
                <a:gd name="connsiteY153" fmla="*/ 149008 h 273890"/>
                <a:gd name="connsiteX154" fmla="*/ 1247357 w 1394458"/>
                <a:gd name="connsiteY154" fmla="*/ 270408 h 273890"/>
                <a:gd name="connsiteX155" fmla="*/ 1205329 w 1394458"/>
                <a:gd name="connsiteY155" fmla="*/ 270408 h 273890"/>
                <a:gd name="connsiteX156" fmla="*/ 1205329 w 1394458"/>
                <a:gd name="connsiteY156" fmla="*/ 148833 h 273890"/>
                <a:gd name="connsiteX157" fmla="*/ 1201336 w 1394458"/>
                <a:gd name="connsiteY157" fmla="*/ 127471 h 273890"/>
                <a:gd name="connsiteX158" fmla="*/ 1190047 w 1394458"/>
                <a:gd name="connsiteY158" fmla="*/ 116182 h 273890"/>
                <a:gd name="connsiteX159" fmla="*/ 1171813 w 1394458"/>
                <a:gd name="connsiteY159" fmla="*/ 112709 h 273890"/>
                <a:gd name="connsiteX160" fmla="*/ 1152533 w 1394458"/>
                <a:gd name="connsiteY160" fmla="*/ 117223 h 273890"/>
                <a:gd name="connsiteX161" fmla="*/ 1138116 w 1394458"/>
                <a:gd name="connsiteY161" fmla="*/ 129552 h 273890"/>
                <a:gd name="connsiteX162" fmla="*/ 1129259 w 1394458"/>
                <a:gd name="connsiteY162" fmla="*/ 147617 h 273890"/>
                <a:gd name="connsiteX163" fmla="*/ 1126132 w 1394458"/>
                <a:gd name="connsiteY163" fmla="*/ 169499 h 273890"/>
                <a:gd name="connsiteX164" fmla="*/ 1346701 w 1394458"/>
                <a:gd name="connsiteY164" fmla="*/ 270418 h 273890"/>
                <a:gd name="connsiteX165" fmla="*/ 1304843 w 1394458"/>
                <a:gd name="connsiteY165" fmla="*/ 270418 h 273890"/>
                <a:gd name="connsiteX166" fmla="*/ 1304843 w 1394458"/>
                <a:gd name="connsiteY166" fmla="*/ 64436 h 273890"/>
                <a:gd name="connsiteX167" fmla="*/ 1312659 w 1394458"/>
                <a:gd name="connsiteY167" fmla="*/ 29178 h 273890"/>
                <a:gd name="connsiteX168" fmla="*/ 1335412 w 1394458"/>
                <a:gd name="connsiteY168" fmla="*/ 7471 h 273890"/>
                <a:gd name="connsiteX169" fmla="*/ 1370319 w 1394458"/>
                <a:gd name="connsiteY169" fmla="*/ 0 h 273890"/>
                <a:gd name="connsiteX170" fmla="*/ 1382649 w 1394458"/>
                <a:gd name="connsiteY170" fmla="*/ 871 h 273890"/>
                <a:gd name="connsiteX171" fmla="*/ 1394458 w 1394458"/>
                <a:gd name="connsiteY171" fmla="*/ 3127 h 273890"/>
                <a:gd name="connsiteX172" fmla="*/ 1393418 w 1394458"/>
                <a:gd name="connsiteY172" fmla="*/ 35433 h 273890"/>
                <a:gd name="connsiteX173" fmla="*/ 1385776 w 1394458"/>
                <a:gd name="connsiteY173" fmla="*/ 34217 h 273890"/>
                <a:gd name="connsiteX174" fmla="*/ 1377095 w 1394458"/>
                <a:gd name="connsiteY174" fmla="*/ 33867 h 273890"/>
                <a:gd name="connsiteX175" fmla="*/ 1360596 w 1394458"/>
                <a:gd name="connsiteY175" fmla="*/ 37515 h 273890"/>
                <a:gd name="connsiteX176" fmla="*/ 1350178 w 1394458"/>
                <a:gd name="connsiteY176" fmla="*/ 47763 h 273890"/>
                <a:gd name="connsiteX177" fmla="*/ 1346706 w 1394458"/>
                <a:gd name="connsiteY177" fmla="*/ 64436 h 273890"/>
                <a:gd name="connsiteX178" fmla="*/ 1346706 w 1394458"/>
                <a:gd name="connsiteY178" fmla="*/ 270418 h 273890"/>
                <a:gd name="connsiteX179" fmla="*/ 1385431 w 1394458"/>
                <a:gd name="connsiteY179" fmla="*/ 82500 h 273890"/>
                <a:gd name="connsiteX180" fmla="*/ 1385431 w 1394458"/>
                <a:gd name="connsiteY180" fmla="*/ 113069 h 273890"/>
                <a:gd name="connsiteX181" fmla="*/ 1276015 w 1394458"/>
                <a:gd name="connsiteY181" fmla="*/ 113069 h 273890"/>
                <a:gd name="connsiteX182" fmla="*/ 1276015 w 1394458"/>
                <a:gd name="connsiteY182" fmla="*/ 82500 h 273890"/>
                <a:gd name="connsiteX183" fmla="*/ 1385431 w 1394458"/>
                <a:gd name="connsiteY183" fmla="*/ 82500 h 2738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</a:cxnLst>
              <a:rect l="l" t="t" r="r" b="b"/>
              <a:pathLst>
                <a:path w="1394458" h="273890">
                  <a:moveTo>
                    <a:pt x="157354" y="188093"/>
                  </a:moveTo>
                  <a:lnTo>
                    <a:pt x="200773" y="188093"/>
                  </a:lnTo>
                  <a:cubicBezTo>
                    <a:pt x="199382" y="204650"/>
                    <a:pt x="194752" y="219411"/>
                    <a:pt x="186877" y="232383"/>
                  </a:cubicBezTo>
                  <a:cubicBezTo>
                    <a:pt x="179003" y="245233"/>
                    <a:pt x="167947" y="255365"/>
                    <a:pt x="153706" y="262777"/>
                  </a:cubicBezTo>
                  <a:cubicBezTo>
                    <a:pt x="139465" y="270185"/>
                    <a:pt x="122155" y="273891"/>
                    <a:pt x="101775" y="273891"/>
                  </a:cubicBezTo>
                  <a:cubicBezTo>
                    <a:pt x="86143" y="273891"/>
                    <a:pt x="72077" y="271114"/>
                    <a:pt x="59572" y="265554"/>
                  </a:cubicBezTo>
                  <a:cubicBezTo>
                    <a:pt x="47067" y="259878"/>
                    <a:pt x="36357" y="251892"/>
                    <a:pt x="27442" y="241585"/>
                  </a:cubicBezTo>
                  <a:cubicBezTo>
                    <a:pt x="18526" y="231167"/>
                    <a:pt x="11697" y="218604"/>
                    <a:pt x="6950" y="203901"/>
                  </a:cubicBezTo>
                  <a:cubicBezTo>
                    <a:pt x="2315" y="189192"/>
                    <a:pt x="0" y="172753"/>
                    <a:pt x="0" y="154572"/>
                  </a:cubicBezTo>
                  <a:lnTo>
                    <a:pt x="0" y="133555"/>
                  </a:lnTo>
                  <a:cubicBezTo>
                    <a:pt x="0" y="115379"/>
                    <a:pt x="2374" y="98935"/>
                    <a:pt x="7121" y="84231"/>
                  </a:cubicBezTo>
                  <a:cubicBezTo>
                    <a:pt x="11984" y="69528"/>
                    <a:pt x="18930" y="56965"/>
                    <a:pt x="27962" y="46542"/>
                  </a:cubicBezTo>
                  <a:cubicBezTo>
                    <a:pt x="36994" y="36007"/>
                    <a:pt x="47816" y="27957"/>
                    <a:pt x="60438" y="22403"/>
                  </a:cubicBezTo>
                  <a:cubicBezTo>
                    <a:pt x="73171" y="16843"/>
                    <a:pt x="87471" y="14066"/>
                    <a:pt x="103336" y="14066"/>
                  </a:cubicBezTo>
                  <a:cubicBezTo>
                    <a:pt x="123482" y="14066"/>
                    <a:pt x="140506" y="17772"/>
                    <a:pt x="154397" y="25180"/>
                  </a:cubicBezTo>
                  <a:cubicBezTo>
                    <a:pt x="168293" y="32592"/>
                    <a:pt x="179056" y="42836"/>
                    <a:pt x="186702" y="55919"/>
                  </a:cubicBezTo>
                  <a:cubicBezTo>
                    <a:pt x="194460" y="69003"/>
                    <a:pt x="199207" y="83998"/>
                    <a:pt x="200943" y="100900"/>
                  </a:cubicBezTo>
                  <a:lnTo>
                    <a:pt x="157524" y="100900"/>
                  </a:lnTo>
                  <a:cubicBezTo>
                    <a:pt x="156367" y="90015"/>
                    <a:pt x="153818" y="80695"/>
                    <a:pt x="149883" y="72938"/>
                  </a:cubicBezTo>
                  <a:cubicBezTo>
                    <a:pt x="146065" y="65180"/>
                    <a:pt x="140389" y="59275"/>
                    <a:pt x="132865" y="55224"/>
                  </a:cubicBezTo>
                  <a:cubicBezTo>
                    <a:pt x="125340" y="51055"/>
                    <a:pt x="115496" y="48969"/>
                    <a:pt x="103341" y="48969"/>
                  </a:cubicBezTo>
                  <a:cubicBezTo>
                    <a:pt x="93385" y="48969"/>
                    <a:pt x="84698" y="50822"/>
                    <a:pt x="77291" y="54528"/>
                  </a:cubicBezTo>
                  <a:cubicBezTo>
                    <a:pt x="69878" y="58234"/>
                    <a:pt x="63687" y="63677"/>
                    <a:pt x="58706" y="70856"/>
                  </a:cubicBezTo>
                  <a:cubicBezTo>
                    <a:pt x="53730" y="78035"/>
                    <a:pt x="49966" y="86892"/>
                    <a:pt x="47417" y="97427"/>
                  </a:cubicBezTo>
                  <a:cubicBezTo>
                    <a:pt x="44985" y="107845"/>
                    <a:pt x="43769" y="119771"/>
                    <a:pt x="43769" y="133205"/>
                  </a:cubicBezTo>
                  <a:lnTo>
                    <a:pt x="43769" y="154567"/>
                  </a:lnTo>
                  <a:cubicBezTo>
                    <a:pt x="43769" y="167305"/>
                    <a:pt x="44869" y="178881"/>
                    <a:pt x="47067" y="189304"/>
                  </a:cubicBezTo>
                  <a:cubicBezTo>
                    <a:pt x="49382" y="199611"/>
                    <a:pt x="52855" y="208468"/>
                    <a:pt x="57490" y="215875"/>
                  </a:cubicBezTo>
                  <a:cubicBezTo>
                    <a:pt x="62237" y="223288"/>
                    <a:pt x="68259" y="229017"/>
                    <a:pt x="75550" y="233069"/>
                  </a:cubicBezTo>
                  <a:cubicBezTo>
                    <a:pt x="82845" y="237120"/>
                    <a:pt x="91585" y="239149"/>
                    <a:pt x="101775" y="239149"/>
                  </a:cubicBezTo>
                  <a:cubicBezTo>
                    <a:pt x="114163" y="239149"/>
                    <a:pt x="124178" y="237179"/>
                    <a:pt x="131824" y="233244"/>
                  </a:cubicBezTo>
                  <a:cubicBezTo>
                    <a:pt x="139582" y="229304"/>
                    <a:pt x="145428" y="223575"/>
                    <a:pt x="149363" y="216050"/>
                  </a:cubicBezTo>
                  <a:cubicBezTo>
                    <a:pt x="153414" y="208409"/>
                    <a:pt x="156080" y="199090"/>
                    <a:pt x="157354" y="188088"/>
                  </a:cubicBezTo>
                  <a:close/>
                  <a:moveTo>
                    <a:pt x="313837" y="270418"/>
                  </a:moveTo>
                  <a:lnTo>
                    <a:pt x="259825" y="270418"/>
                  </a:lnTo>
                  <a:lnTo>
                    <a:pt x="260170" y="235856"/>
                  </a:lnTo>
                  <a:lnTo>
                    <a:pt x="313837" y="235856"/>
                  </a:lnTo>
                  <a:cubicBezTo>
                    <a:pt x="329469" y="235856"/>
                    <a:pt x="342553" y="232441"/>
                    <a:pt x="353088" y="225608"/>
                  </a:cubicBezTo>
                  <a:cubicBezTo>
                    <a:pt x="363740" y="218779"/>
                    <a:pt x="371731" y="208993"/>
                    <a:pt x="377057" y="196255"/>
                  </a:cubicBezTo>
                  <a:cubicBezTo>
                    <a:pt x="382499" y="183516"/>
                    <a:pt x="385218" y="168351"/>
                    <a:pt x="385218" y="150754"/>
                  </a:cubicBezTo>
                  <a:lnTo>
                    <a:pt x="385218" y="137033"/>
                  </a:lnTo>
                  <a:cubicBezTo>
                    <a:pt x="385218" y="123371"/>
                    <a:pt x="383657" y="111269"/>
                    <a:pt x="380530" y="100734"/>
                  </a:cubicBezTo>
                  <a:cubicBezTo>
                    <a:pt x="377519" y="90199"/>
                    <a:pt x="373005" y="81342"/>
                    <a:pt x="366984" y="74163"/>
                  </a:cubicBezTo>
                  <a:cubicBezTo>
                    <a:pt x="361079" y="66984"/>
                    <a:pt x="353784" y="61542"/>
                    <a:pt x="345102" y="57840"/>
                  </a:cubicBezTo>
                  <a:cubicBezTo>
                    <a:pt x="336532" y="54134"/>
                    <a:pt x="326634" y="52281"/>
                    <a:pt x="315403" y="52281"/>
                  </a:cubicBezTo>
                  <a:lnTo>
                    <a:pt x="258784" y="52281"/>
                  </a:lnTo>
                  <a:lnTo>
                    <a:pt x="258784" y="17544"/>
                  </a:lnTo>
                  <a:lnTo>
                    <a:pt x="315403" y="17544"/>
                  </a:lnTo>
                  <a:cubicBezTo>
                    <a:pt x="332193" y="17544"/>
                    <a:pt x="347534" y="20379"/>
                    <a:pt x="361429" y="26055"/>
                  </a:cubicBezTo>
                  <a:cubicBezTo>
                    <a:pt x="375325" y="31615"/>
                    <a:pt x="387310" y="39660"/>
                    <a:pt x="397383" y="50195"/>
                  </a:cubicBezTo>
                  <a:cubicBezTo>
                    <a:pt x="407572" y="60730"/>
                    <a:pt x="415389" y="73351"/>
                    <a:pt x="420826" y="88054"/>
                  </a:cubicBezTo>
                  <a:cubicBezTo>
                    <a:pt x="426269" y="102758"/>
                    <a:pt x="428988" y="119202"/>
                    <a:pt x="428988" y="137378"/>
                  </a:cubicBezTo>
                  <a:lnTo>
                    <a:pt x="428988" y="150754"/>
                  </a:lnTo>
                  <a:cubicBezTo>
                    <a:pt x="428988" y="168930"/>
                    <a:pt x="426269" y="185374"/>
                    <a:pt x="420826" y="200078"/>
                  </a:cubicBezTo>
                  <a:cubicBezTo>
                    <a:pt x="415384" y="214781"/>
                    <a:pt x="407568" y="227403"/>
                    <a:pt x="397383" y="237938"/>
                  </a:cubicBezTo>
                  <a:cubicBezTo>
                    <a:pt x="387193" y="248356"/>
                    <a:pt x="375038" y="256405"/>
                    <a:pt x="360909" y="262077"/>
                  </a:cubicBezTo>
                  <a:cubicBezTo>
                    <a:pt x="346896" y="267636"/>
                    <a:pt x="331211" y="270413"/>
                    <a:pt x="313842" y="270413"/>
                  </a:cubicBezTo>
                  <a:close/>
                  <a:moveTo>
                    <a:pt x="283964" y="17544"/>
                  </a:moveTo>
                  <a:lnTo>
                    <a:pt x="283964" y="270418"/>
                  </a:lnTo>
                  <a:lnTo>
                    <a:pt x="240369" y="270418"/>
                  </a:lnTo>
                  <a:lnTo>
                    <a:pt x="240369" y="17544"/>
                  </a:lnTo>
                  <a:lnTo>
                    <a:pt x="283964" y="17544"/>
                  </a:lnTo>
                  <a:close/>
                  <a:moveTo>
                    <a:pt x="519299" y="17544"/>
                  </a:moveTo>
                  <a:lnTo>
                    <a:pt x="519299" y="270418"/>
                  </a:lnTo>
                  <a:lnTo>
                    <a:pt x="475705" y="270418"/>
                  </a:lnTo>
                  <a:lnTo>
                    <a:pt x="475705" y="17544"/>
                  </a:lnTo>
                  <a:lnTo>
                    <a:pt x="519299" y="17544"/>
                  </a:lnTo>
                  <a:close/>
                  <a:moveTo>
                    <a:pt x="811424" y="188093"/>
                  </a:moveTo>
                  <a:lnTo>
                    <a:pt x="854843" y="188093"/>
                  </a:lnTo>
                  <a:cubicBezTo>
                    <a:pt x="853452" y="204650"/>
                    <a:pt x="848822" y="219411"/>
                    <a:pt x="840947" y="232383"/>
                  </a:cubicBezTo>
                  <a:cubicBezTo>
                    <a:pt x="833073" y="245233"/>
                    <a:pt x="822017" y="255365"/>
                    <a:pt x="807776" y="262777"/>
                  </a:cubicBezTo>
                  <a:cubicBezTo>
                    <a:pt x="793535" y="270185"/>
                    <a:pt x="776225" y="273891"/>
                    <a:pt x="755845" y="273891"/>
                  </a:cubicBezTo>
                  <a:cubicBezTo>
                    <a:pt x="740213" y="273891"/>
                    <a:pt x="726147" y="271114"/>
                    <a:pt x="713642" y="265554"/>
                  </a:cubicBezTo>
                  <a:cubicBezTo>
                    <a:pt x="701137" y="259878"/>
                    <a:pt x="690427" y="251892"/>
                    <a:pt x="681512" y="241585"/>
                  </a:cubicBezTo>
                  <a:cubicBezTo>
                    <a:pt x="672596" y="231167"/>
                    <a:pt x="665768" y="218604"/>
                    <a:pt x="661021" y="203901"/>
                  </a:cubicBezTo>
                  <a:cubicBezTo>
                    <a:pt x="656390" y="189197"/>
                    <a:pt x="654075" y="172753"/>
                    <a:pt x="654075" y="154577"/>
                  </a:cubicBezTo>
                  <a:lnTo>
                    <a:pt x="654075" y="133560"/>
                  </a:lnTo>
                  <a:cubicBezTo>
                    <a:pt x="654075" y="115384"/>
                    <a:pt x="656449" y="98940"/>
                    <a:pt x="661196" y="84236"/>
                  </a:cubicBezTo>
                  <a:cubicBezTo>
                    <a:pt x="666059" y="69533"/>
                    <a:pt x="673005" y="56970"/>
                    <a:pt x="682037" y="46547"/>
                  </a:cubicBezTo>
                  <a:cubicBezTo>
                    <a:pt x="691069" y="36012"/>
                    <a:pt x="701891" y="27962"/>
                    <a:pt x="714513" y="22408"/>
                  </a:cubicBezTo>
                  <a:cubicBezTo>
                    <a:pt x="727246" y="16848"/>
                    <a:pt x="741546" y="14071"/>
                    <a:pt x="757411" y="14071"/>
                  </a:cubicBezTo>
                  <a:cubicBezTo>
                    <a:pt x="777557" y="14071"/>
                    <a:pt x="794581" y="17777"/>
                    <a:pt x="808472" y="25185"/>
                  </a:cubicBezTo>
                  <a:cubicBezTo>
                    <a:pt x="822368" y="32597"/>
                    <a:pt x="833131" y="42840"/>
                    <a:pt x="840777" y="55924"/>
                  </a:cubicBezTo>
                  <a:cubicBezTo>
                    <a:pt x="848535" y="69008"/>
                    <a:pt x="853282" y="84003"/>
                    <a:pt x="855018" y="100905"/>
                  </a:cubicBezTo>
                  <a:lnTo>
                    <a:pt x="811599" y="100905"/>
                  </a:lnTo>
                  <a:cubicBezTo>
                    <a:pt x="810442" y="90019"/>
                    <a:pt x="807893" y="80700"/>
                    <a:pt x="803958" y="72943"/>
                  </a:cubicBezTo>
                  <a:cubicBezTo>
                    <a:pt x="800140" y="65185"/>
                    <a:pt x="794464" y="59280"/>
                    <a:pt x="786940" y="55229"/>
                  </a:cubicBezTo>
                  <a:cubicBezTo>
                    <a:pt x="779415" y="51060"/>
                    <a:pt x="769571" y="48974"/>
                    <a:pt x="757416" y="48974"/>
                  </a:cubicBezTo>
                  <a:cubicBezTo>
                    <a:pt x="747460" y="48974"/>
                    <a:pt x="738773" y="50827"/>
                    <a:pt x="731366" y="54533"/>
                  </a:cubicBezTo>
                  <a:cubicBezTo>
                    <a:pt x="723953" y="58239"/>
                    <a:pt x="717762" y="63682"/>
                    <a:pt x="712781" y="70861"/>
                  </a:cubicBezTo>
                  <a:cubicBezTo>
                    <a:pt x="707801" y="78040"/>
                    <a:pt x="704041" y="86897"/>
                    <a:pt x="701492" y="97432"/>
                  </a:cubicBezTo>
                  <a:cubicBezTo>
                    <a:pt x="699060" y="107850"/>
                    <a:pt x="697844" y="119776"/>
                    <a:pt x="697844" y="133210"/>
                  </a:cubicBezTo>
                  <a:lnTo>
                    <a:pt x="697844" y="154572"/>
                  </a:lnTo>
                  <a:cubicBezTo>
                    <a:pt x="697844" y="167310"/>
                    <a:pt x="698944" y="178886"/>
                    <a:pt x="701142" y="189309"/>
                  </a:cubicBezTo>
                  <a:cubicBezTo>
                    <a:pt x="703457" y="199616"/>
                    <a:pt x="706930" y="208473"/>
                    <a:pt x="711565" y="215880"/>
                  </a:cubicBezTo>
                  <a:cubicBezTo>
                    <a:pt x="716312" y="223293"/>
                    <a:pt x="722334" y="229022"/>
                    <a:pt x="729629" y="233074"/>
                  </a:cubicBezTo>
                  <a:cubicBezTo>
                    <a:pt x="736925" y="237125"/>
                    <a:pt x="745665" y="239154"/>
                    <a:pt x="755855" y="239154"/>
                  </a:cubicBezTo>
                  <a:cubicBezTo>
                    <a:pt x="768243" y="239154"/>
                    <a:pt x="778258" y="237184"/>
                    <a:pt x="785904" y="233249"/>
                  </a:cubicBezTo>
                  <a:cubicBezTo>
                    <a:pt x="793661" y="229309"/>
                    <a:pt x="799508" y="223580"/>
                    <a:pt x="803443" y="216055"/>
                  </a:cubicBezTo>
                  <a:cubicBezTo>
                    <a:pt x="807494" y="208414"/>
                    <a:pt x="810159" y="199095"/>
                    <a:pt x="811434" y="188093"/>
                  </a:cubicBezTo>
                  <a:close/>
                  <a:moveTo>
                    <a:pt x="882285" y="178541"/>
                  </a:moveTo>
                  <a:lnTo>
                    <a:pt x="882285" y="174548"/>
                  </a:lnTo>
                  <a:cubicBezTo>
                    <a:pt x="882285" y="161002"/>
                    <a:pt x="884255" y="148439"/>
                    <a:pt x="888190" y="136858"/>
                  </a:cubicBezTo>
                  <a:cubicBezTo>
                    <a:pt x="892124" y="125165"/>
                    <a:pt x="897800" y="115034"/>
                    <a:pt x="905208" y="106464"/>
                  </a:cubicBezTo>
                  <a:cubicBezTo>
                    <a:pt x="912732" y="97782"/>
                    <a:pt x="921881" y="91065"/>
                    <a:pt x="932650" y="86318"/>
                  </a:cubicBezTo>
                  <a:cubicBezTo>
                    <a:pt x="943535" y="81454"/>
                    <a:pt x="955806" y="79022"/>
                    <a:pt x="969469" y="79022"/>
                  </a:cubicBezTo>
                  <a:cubicBezTo>
                    <a:pt x="983131" y="79022"/>
                    <a:pt x="995519" y="81454"/>
                    <a:pt x="1006288" y="86318"/>
                  </a:cubicBezTo>
                  <a:cubicBezTo>
                    <a:pt x="1017173" y="91065"/>
                    <a:pt x="1026375" y="97782"/>
                    <a:pt x="1033899" y="106464"/>
                  </a:cubicBezTo>
                  <a:cubicBezTo>
                    <a:pt x="1041424" y="115034"/>
                    <a:pt x="1047158" y="125165"/>
                    <a:pt x="1051093" y="136858"/>
                  </a:cubicBezTo>
                  <a:cubicBezTo>
                    <a:pt x="1055028" y="148434"/>
                    <a:pt x="1056998" y="160997"/>
                    <a:pt x="1056998" y="174548"/>
                  </a:cubicBezTo>
                  <a:lnTo>
                    <a:pt x="1056998" y="178541"/>
                  </a:lnTo>
                  <a:cubicBezTo>
                    <a:pt x="1056998" y="192086"/>
                    <a:pt x="1055028" y="204650"/>
                    <a:pt x="1051093" y="216226"/>
                  </a:cubicBezTo>
                  <a:cubicBezTo>
                    <a:pt x="1047153" y="227806"/>
                    <a:pt x="1041424" y="237938"/>
                    <a:pt x="1033899" y="246619"/>
                  </a:cubicBezTo>
                  <a:cubicBezTo>
                    <a:pt x="1026375" y="255189"/>
                    <a:pt x="1017226" y="261902"/>
                    <a:pt x="1006458" y="266765"/>
                  </a:cubicBezTo>
                  <a:cubicBezTo>
                    <a:pt x="995689" y="271512"/>
                    <a:pt x="983476" y="273886"/>
                    <a:pt x="969814" y="273886"/>
                  </a:cubicBezTo>
                  <a:cubicBezTo>
                    <a:pt x="956151" y="273886"/>
                    <a:pt x="943705" y="271512"/>
                    <a:pt x="932820" y="266765"/>
                  </a:cubicBezTo>
                  <a:cubicBezTo>
                    <a:pt x="922051" y="261902"/>
                    <a:pt x="912907" y="255189"/>
                    <a:pt x="905378" y="246619"/>
                  </a:cubicBezTo>
                  <a:cubicBezTo>
                    <a:pt x="897854" y="237938"/>
                    <a:pt x="892119" y="227806"/>
                    <a:pt x="888185" y="216226"/>
                  </a:cubicBezTo>
                  <a:cubicBezTo>
                    <a:pt x="884245" y="204650"/>
                    <a:pt x="882280" y="192086"/>
                    <a:pt x="882280" y="178541"/>
                  </a:cubicBezTo>
                  <a:close/>
                  <a:moveTo>
                    <a:pt x="924143" y="174548"/>
                  </a:moveTo>
                  <a:lnTo>
                    <a:pt x="924143" y="178541"/>
                  </a:lnTo>
                  <a:cubicBezTo>
                    <a:pt x="924143" y="186994"/>
                    <a:pt x="925013" y="194980"/>
                    <a:pt x="926750" y="202510"/>
                  </a:cubicBezTo>
                  <a:cubicBezTo>
                    <a:pt x="928486" y="210034"/>
                    <a:pt x="931210" y="216634"/>
                    <a:pt x="934911" y="222310"/>
                  </a:cubicBezTo>
                  <a:cubicBezTo>
                    <a:pt x="938617" y="227981"/>
                    <a:pt x="943365" y="232441"/>
                    <a:pt x="949152" y="235681"/>
                  </a:cubicBezTo>
                  <a:cubicBezTo>
                    <a:pt x="954940" y="238925"/>
                    <a:pt x="961832" y="240545"/>
                    <a:pt x="969819" y="240545"/>
                  </a:cubicBezTo>
                  <a:cubicBezTo>
                    <a:pt x="977805" y="240545"/>
                    <a:pt x="984293" y="238925"/>
                    <a:pt x="989965" y="235681"/>
                  </a:cubicBezTo>
                  <a:cubicBezTo>
                    <a:pt x="995753" y="232441"/>
                    <a:pt x="1000500" y="227981"/>
                    <a:pt x="1004206" y="222310"/>
                  </a:cubicBezTo>
                  <a:cubicBezTo>
                    <a:pt x="1007912" y="216634"/>
                    <a:pt x="1010631" y="210039"/>
                    <a:pt x="1012367" y="202510"/>
                  </a:cubicBezTo>
                  <a:cubicBezTo>
                    <a:pt x="1014220" y="194985"/>
                    <a:pt x="1015145" y="186994"/>
                    <a:pt x="1015145" y="178541"/>
                  </a:cubicBezTo>
                  <a:lnTo>
                    <a:pt x="1015145" y="174548"/>
                  </a:lnTo>
                  <a:cubicBezTo>
                    <a:pt x="1015145" y="166211"/>
                    <a:pt x="1014220" y="158336"/>
                    <a:pt x="1012367" y="150929"/>
                  </a:cubicBezTo>
                  <a:cubicBezTo>
                    <a:pt x="1010631" y="143405"/>
                    <a:pt x="1007854" y="136746"/>
                    <a:pt x="1004031" y="130958"/>
                  </a:cubicBezTo>
                  <a:cubicBezTo>
                    <a:pt x="1000325" y="125170"/>
                    <a:pt x="995578" y="120652"/>
                    <a:pt x="989790" y="117412"/>
                  </a:cubicBezTo>
                  <a:cubicBezTo>
                    <a:pt x="984118" y="114056"/>
                    <a:pt x="977343" y="112373"/>
                    <a:pt x="969469" y="112373"/>
                  </a:cubicBezTo>
                  <a:cubicBezTo>
                    <a:pt x="961594" y="112373"/>
                    <a:pt x="954765" y="114051"/>
                    <a:pt x="948977" y="117412"/>
                  </a:cubicBezTo>
                  <a:cubicBezTo>
                    <a:pt x="943301" y="120657"/>
                    <a:pt x="938613" y="125170"/>
                    <a:pt x="934911" y="130958"/>
                  </a:cubicBezTo>
                  <a:cubicBezTo>
                    <a:pt x="931205" y="136746"/>
                    <a:pt x="928486" y="143405"/>
                    <a:pt x="926750" y="150929"/>
                  </a:cubicBezTo>
                  <a:cubicBezTo>
                    <a:pt x="925013" y="158336"/>
                    <a:pt x="924143" y="166211"/>
                    <a:pt x="924143" y="174548"/>
                  </a:cubicBezTo>
                  <a:close/>
                  <a:moveTo>
                    <a:pt x="1133598" y="122617"/>
                  </a:moveTo>
                  <a:lnTo>
                    <a:pt x="1133598" y="270418"/>
                  </a:lnTo>
                  <a:lnTo>
                    <a:pt x="1091745" y="270418"/>
                  </a:lnTo>
                  <a:lnTo>
                    <a:pt x="1091745" y="82495"/>
                  </a:lnTo>
                  <a:lnTo>
                    <a:pt x="1131171" y="82495"/>
                  </a:lnTo>
                  <a:lnTo>
                    <a:pt x="1133603" y="122617"/>
                  </a:lnTo>
                  <a:close/>
                  <a:moveTo>
                    <a:pt x="1126132" y="169509"/>
                  </a:moveTo>
                  <a:lnTo>
                    <a:pt x="1112586" y="169334"/>
                  </a:lnTo>
                  <a:cubicBezTo>
                    <a:pt x="1112703" y="156016"/>
                    <a:pt x="1114556" y="143803"/>
                    <a:pt x="1118145" y="132690"/>
                  </a:cubicBezTo>
                  <a:cubicBezTo>
                    <a:pt x="1121852" y="121576"/>
                    <a:pt x="1126944" y="112023"/>
                    <a:pt x="1133428" y="104032"/>
                  </a:cubicBezTo>
                  <a:cubicBezTo>
                    <a:pt x="1140028" y="96046"/>
                    <a:pt x="1147902" y="89908"/>
                    <a:pt x="1157046" y="85623"/>
                  </a:cubicBezTo>
                  <a:cubicBezTo>
                    <a:pt x="1166195" y="81226"/>
                    <a:pt x="1176385" y="79022"/>
                    <a:pt x="1187615" y="79022"/>
                  </a:cubicBezTo>
                  <a:cubicBezTo>
                    <a:pt x="1196647" y="79022"/>
                    <a:pt x="1204809" y="80297"/>
                    <a:pt x="1212105" y="82840"/>
                  </a:cubicBezTo>
                  <a:cubicBezTo>
                    <a:pt x="1219517" y="85272"/>
                    <a:pt x="1225825" y="89265"/>
                    <a:pt x="1231034" y="94825"/>
                  </a:cubicBezTo>
                  <a:cubicBezTo>
                    <a:pt x="1236360" y="100384"/>
                    <a:pt x="1240412" y="107617"/>
                    <a:pt x="1243189" y="116532"/>
                  </a:cubicBezTo>
                  <a:cubicBezTo>
                    <a:pt x="1245966" y="125331"/>
                    <a:pt x="1247357" y="136157"/>
                    <a:pt x="1247357" y="149008"/>
                  </a:cubicBezTo>
                  <a:lnTo>
                    <a:pt x="1247357" y="270408"/>
                  </a:lnTo>
                  <a:lnTo>
                    <a:pt x="1205329" y="270408"/>
                  </a:lnTo>
                  <a:lnTo>
                    <a:pt x="1205329" y="148833"/>
                  </a:lnTo>
                  <a:cubicBezTo>
                    <a:pt x="1205329" y="139800"/>
                    <a:pt x="1203996" y="132680"/>
                    <a:pt x="1201336" y="127471"/>
                  </a:cubicBezTo>
                  <a:cubicBezTo>
                    <a:pt x="1198787" y="122145"/>
                    <a:pt x="1195028" y="118380"/>
                    <a:pt x="1190047" y="116182"/>
                  </a:cubicBezTo>
                  <a:cubicBezTo>
                    <a:pt x="1185183" y="113867"/>
                    <a:pt x="1179104" y="112709"/>
                    <a:pt x="1171813" y="112709"/>
                  </a:cubicBezTo>
                  <a:cubicBezTo>
                    <a:pt x="1164522" y="112709"/>
                    <a:pt x="1158209" y="114212"/>
                    <a:pt x="1152533" y="117223"/>
                  </a:cubicBezTo>
                  <a:cubicBezTo>
                    <a:pt x="1146861" y="120233"/>
                    <a:pt x="1142056" y="124343"/>
                    <a:pt x="1138116" y="129552"/>
                  </a:cubicBezTo>
                  <a:cubicBezTo>
                    <a:pt x="1134293" y="134762"/>
                    <a:pt x="1131341" y="140783"/>
                    <a:pt x="1129259" y="147617"/>
                  </a:cubicBezTo>
                  <a:cubicBezTo>
                    <a:pt x="1127178" y="154445"/>
                    <a:pt x="1126132" y="161741"/>
                    <a:pt x="1126132" y="169499"/>
                  </a:cubicBezTo>
                  <a:close/>
                  <a:moveTo>
                    <a:pt x="1346701" y="270418"/>
                  </a:moveTo>
                  <a:lnTo>
                    <a:pt x="1304843" y="270418"/>
                  </a:lnTo>
                  <a:lnTo>
                    <a:pt x="1304843" y="64436"/>
                  </a:lnTo>
                  <a:cubicBezTo>
                    <a:pt x="1304843" y="50428"/>
                    <a:pt x="1307450" y="38672"/>
                    <a:pt x="1312659" y="29178"/>
                  </a:cubicBezTo>
                  <a:cubicBezTo>
                    <a:pt x="1317985" y="19567"/>
                    <a:pt x="1325567" y="12330"/>
                    <a:pt x="1335412" y="7471"/>
                  </a:cubicBezTo>
                  <a:cubicBezTo>
                    <a:pt x="1345256" y="2490"/>
                    <a:pt x="1356890" y="0"/>
                    <a:pt x="1370319" y="0"/>
                  </a:cubicBezTo>
                  <a:cubicBezTo>
                    <a:pt x="1374488" y="0"/>
                    <a:pt x="1378597" y="292"/>
                    <a:pt x="1382649" y="871"/>
                  </a:cubicBezTo>
                  <a:cubicBezTo>
                    <a:pt x="1386701" y="1333"/>
                    <a:pt x="1390640" y="2087"/>
                    <a:pt x="1394458" y="3127"/>
                  </a:cubicBezTo>
                  <a:lnTo>
                    <a:pt x="1393418" y="35433"/>
                  </a:lnTo>
                  <a:cubicBezTo>
                    <a:pt x="1391102" y="34854"/>
                    <a:pt x="1388554" y="34450"/>
                    <a:pt x="1385776" y="34217"/>
                  </a:cubicBezTo>
                  <a:cubicBezTo>
                    <a:pt x="1383116" y="33983"/>
                    <a:pt x="1380217" y="33867"/>
                    <a:pt x="1377095" y="33867"/>
                  </a:cubicBezTo>
                  <a:cubicBezTo>
                    <a:pt x="1370728" y="33867"/>
                    <a:pt x="1365227" y="35083"/>
                    <a:pt x="1360596" y="37515"/>
                  </a:cubicBezTo>
                  <a:cubicBezTo>
                    <a:pt x="1356083" y="39830"/>
                    <a:pt x="1352605" y="43244"/>
                    <a:pt x="1350178" y="47763"/>
                  </a:cubicBezTo>
                  <a:cubicBezTo>
                    <a:pt x="1347863" y="52281"/>
                    <a:pt x="1346706" y="57836"/>
                    <a:pt x="1346706" y="64436"/>
                  </a:cubicBezTo>
                  <a:lnTo>
                    <a:pt x="1346706" y="270418"/>
                  </a:lnTo>
                  <a:close/>
                  <a:moveTo>
                    <a:pt x="1385431" y="82500"/>
                  </a:moveTo>
                  <a:lnTo>
                    <a:pt x="1385431" y="113069"/>
                  </a:lnTo>
                  <a:lnTo>
                    <a:pt x="1276015" y="113069"/>
                  </a:lnTo>
                  <a:lnTo>
                    <a:pt x="1276015" y="82500"/>
                  </a:lnTo>
                  <a:lnTo>
                    <a:pt x="1385431" y="82500"/>
                  </a:lnTo>
                  <a:close/>
                </a:path>
              </a:pathLst>
            </a:custGeom>
            <a:solidFill>
              <a:schemeClr val="tx1"/>
            </a:solidFill>
            <a:ln w="4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7" name="Полилиния: фигура 46">
              <a:extLst>
                <a:ext uri="{FF2B5EF4-FFF2-40B4-BE49-F238E27FC236}">
                  <a16:creationId xmlns:a16="http://schemas.microsoft.com/office/drawing/2014/main" id="{0E6F0FB0-99D0-4190-B058-29B8184B7C5F}"/>
                </a:ext>
              </a:extLst>
            </p:cNvPr>
            <p:cNvSpPr/>
            <p:nvPr/>
          </p:nvSpPr>
          <p:spPr>
            <a:xfrm>
              <a:off x="8902858" y="5892336"/>
              <a:ext cx="774600" cy="259834"/>
            </a:xfrm>
            <a:custGeom>
              <a:avLst/>
              <a:gdLst>
                <a:gd name="connsiteX0" fmla="*/ 174372 w 774600"/>
                <a:gd name="connsiteY0" fmla="*/ 223015 h 259834"/>
                <a:gd name="connsiteX1" fmla="*/ 174372 w 774600"/>
                <a:gd name="connsiteY1" fmla="*/ 256362 h 259834"/>
                <a:gd name="connsiteX2" fmla="*/ 4859 w 774600"/>
                <a:gd name="connsiteY2" fmla="*/ 256362 h 259834"/>
                <a:gd name="connsiteX3" fmla="*/ 4859 w 774600"/>
                <a:gd name="connsiteY3" fmla="*/ 227704 h 259834"/>
                <a:gd name="connsiteX4" fmla="*/ 87193 w 774600"/>
                <a:gd name="connsiteY4" fmla="*/ 137913 h 259834"/>
                <a:gd name="connsiteX5" fmla="*/ 108541 w 774600"/>
                <a:gd name="connsiteY5" fmla="*/ 111513 h 259834"/>
                <a:gd name="connsiteX6" fmla="*/ 119499 w 774600"/>
                <a:gd name="connsiteY6" fmla="*/ 91542 h 259834"/>
                <a:gd name="connsiteX7" fmla="*/ 122797 w 774600"/>
                <a:gd name="connsiteY7" fmla="*/ 73998 h 259834"/>
                <a:gd name="connsiteX8" fmla="*/ 118278 w 774600"/>
                <a:gd name="connsiteY8" fmla="*/ 52981 h 259834"/>
                <a:gd name="connsiteX9" fmla="*/ 105413 w 774600"/>
                <a:gd name="connsiteY9" fmla="*/ 38565 h 259834"/>
                <a:gd name="connsiteX10" fmla="*/ 84752 w 774600"/>
                <a:gd name="connsiteY10" fmla="*/ 33181 h 259834"/>
                <a:gd name="connsiteX11" fmla="*/ 61138 w 774600"/>
                <a:gd name="connsiteY11" fmla="*/ 39261 h 259834"/>
                <a:gd name="connsiteX12" fmla="*/ 46712 w 774600"/>
                <a:gd name="connsiteY12" fmla="*/ 56109 h 259834"/>
                <a:gd name="connsiteX13" fmla="*/ 41853 w 774600"/>
                <a:gd name="connsiteY13" fmla="*/ 80423 h 259834"/>
                <a:gd name="connsiteX14" fmla="*/ 0 w 774600"/>
                <a:gd name="connsiteY14" fmla="*/ 80423 h 259834"/>
                <a:gd name="connsiteX15" fmla="*/ 10083 w 774600"/>
                <a:gd name="connsiteY15" fmla="*/ 40131 h 259834"/>
                <a:gd name="connsiteX16" fmla="*/ 39261 w 774600"/>
                <a:gd name="connsiteY16" fmla="*/ 10953 h 259834"/>
                <a:gd name="connsiteX17" fmla="*/ 85272 w 774600"/>
                <a:gd name="connsiteY17" fmla="*/ 10 h 259834"/>
                <a:gd name="connsiteX18" fmla="*/ 128346 w 774600"/>
                <a:gd name="connsiteY18" fmla="*/ 8521 h 259834"/>
                <a:gd name="connsiteX19" fmla="*/ 155277 w 774600"/>
                <a:gd name="connsiteY19" fmla="*/ 32660 h 259834"/>
                <a:gd name="connsiteX20" fmla="*/ 164654 w 774600"/>
                <a:gd name="connsiteY20" fmla="*/ 69655 h 259834"/>
                <a:gd name="connsiteX21" fmla="*/ 160827 w 774600"/>
                <a:gd name="connsiteY21" fmla="*/ 93103 h 259834"/>
                <a:gd name="connsiteX22" fmla="*/ 149888 w 774600"/>
                <a:gd name="connsiteY22" fmla="*/ 116376 h 259834"/>
                <a:gd name="connsiteX23" fmla="*/ 133400 w 774600"/>
                <a:gd name="connsiteY23" fmla="*/ 139475 h 259834"/>
                <a:gd name="connsiteX24" fmla="*/ 112378 w 774600"/>
                <a:gd name="connsiteY24" fmla="*/ 162748 h 259834"/>
                <a:gd name="connsiteX25" fmla="*/ 57675 w 774600"/>
                <a:gd name="connsiteY25" fmla="*/ 223015 h 259834"/>
                <a:gd name="connsiteX26" fmla="*/ 174377 w 774600"/>
                <a:gd name="connsiteY26" fmla="*/ 223015 h 259834"/>
                <a:gd name="connsiteX27" fmla="*/ 371848 w 774600"/>
                <a:gd name="connsiteY27" fmla="*/ 108735 h 259834"/>
                <a:gd name="connsiteX28" fmla="*/ 371848 w 774600"/>
                <a:gd name="connsiteY28" fmla="*/ 150068 h 259834"/>
                <a:gd name="connsiteX29" fmla="*/ 365938 w 774600"/>
                <a:gd name="connsiteY29" fmla="*/ 200783 h 259834"/>
                <a:gd name="connsiteX30" fmla="*/ 349260 w 774600"/>
                <a:gd name="connsiteY30" fmla="*/ 234650 h 259834"/>
                <a:gd name="connsiteX31" fmla="*/ 323035 w 774600"/>
                <a:gd name="connsiteY31" fmla="*/ 253755 h 259834"/>
                <a:gd name="connsiteX32" fmla="*/ 289168 w 774600"/>
                <a:gd name="connsiteY32" fmla="*/ 259834 h 259834"/>
                <a:gd name="connsiteX33" fmla="*/ 261381 w 774600"/>
                <a:gd name="connsiteY33" fmla="*/ 256011 h 259834"/>
                <a:gd name="connsiteX34" fmla="*/ 238468 w 774600"/>
                <a:gd name="connsiteY34" fmla="*/ 244027 h 259834"/>
                <a:gd name="connsiteX35" fmla="*/ 220914 w 774600"/>
                <a:gd name="connsiteY35" fmla="*/ 223011 h 259834"/>
                <a:gd name="connsiteX36" fmla="*/ 209800 w 774600"/>
                <a:gd name="connsiteY36" fmla="*/ 191921 h 259834"/>
                <a:gd name="connsiteX37" fmla="*/ 205972 w 774600"/>
                <a:gd name="connsiteY37" fmla="*/ 150063 h 259834"/>
                <a:gd name="connsiteX38" fmla="*/ 205972 w 774600"/>
                <a:gd name="connsiteY38" fmla="*/ 108730 h 259834"/>
                <a:gd name="connsiteX39" fmla="*/ 211882 w 774600"/>
                <a:gd name="connsiteY39" fmla="*/ 58366 h 259834"/>
                <a:gd name="connsiteX40" fmla="*/ 228730 w 774600"/>
                <a:gd name="connsiteY40" fmla="*/ 24844 h 259834"/>
                <a:gd name="connsiteX41" fmla="*/ 254786 w 774600"/>
                <a:gd name="connsiteY41" fmla="*/ 5914 h 259834"/>
                <a:gd name="connsiteX42" fmla="*/ 288827 w 774600"/>
                <a:gd name="connsiteY42" fmla="*/ 10 h 259834"/>
                <a:gd name="connsiteX43" fmla="*/ 316614 w 774600"/>
                <a:gd name="connsiteY43" fmla="*/ 3833 h 259834"/>
                <a:gd name="connsiteX44" fmla="*/ 339542 w 774600"/>
                <a:gd name="connsiteY44" fmla="*/ 15467 h 259834"/>
                <a:gd name="connsiteX45" fmla="*/ 356906 w 774600"/>
                <a:gd name="connsiteY45" fmla="*/ 36308 h 259834"/>
                <a:gd name="connsiteX46" fmla="*/ 368020 w 774600"/>
                <a:gd name="connsiteY46" fmla="*/ 67048 h 259834"/>
                <a:gd name="connsiteX47" fmla="*/ 371848 w 774600"/>
                <a:gd name="connsiteY47" fmla="*/ 108730 h 259834"/>
                <a:gd name="connsiteX48" fmla="*/ 329995 w 774600"/>
                <a:gd name="connsiteY48" fmla="*/ 155978 h 259834"/>
                <a:gd name="connsiteX49" fmla="*/ 329995 w 774600"/>
                <a:gd name="connsiteY49" fmla="*/ 102485 h 259834"/>
                <a:gd name="connsiteX50" fmla="*/ 328258 w 774600"/>
                <a:gd name="connsiteY50" fmla="*/ 75914 h 259834"/>
                <a:gd name="connsiteX51" fmla="*/ 323039 w 774600"/>
                <a:gd name="connsiteY51" fmla="*/ 56289 h 259834"/>
                <a:gd name="connsiteX52" fmla="*/ 314708 w 774600"/>
                <a:gd name="connsiteY52" fmla="*/ 43088 h 259834"/>
                <a:gd name="connsiteX53" fmla="*/ 303234 w 774600"/>
                <a:gd name="connsiteY53" fmla="*/ 35623 h 259834"/>
                <a:gd name="connsiteX54" fmla="*/ 288823 w 774600"/>
                <a:gd name="connsiteY54" fmla="*/ 33191 h 259834"/>
                <a:gd name="connsiteX55" fmla="*/ 271459 w 774600"/>
                <a:gd name="connsiteY55" fmla="*/ 37014 h 259834"/>
                <a:gd name="connsiteX56" fmla="*/ 258613 w 774600"/>
                <a:gd name="connsiteY56" fmla="*/ 48823 h 259834"/>
                <a:gd name="connsiteX57" fmla="*/ 250608 w 774600"/>
                <a:gd name="connsiteY57" fmla="*/ 70360 h 259834"/>
                <a:gd name="connsiteX58" fmla="*/ 248015 w 774600"/>
                <a:gd name="connsiteY58" fmla="*/ 102490 h 259834"/>
                <a:gd name="connsiteX59" fmla="*/ 248015 w 774600"/>
                <a:gd name="connsiteY59" fmla="*/ 155982 h 259834"/>
                <a:gd name="connsiteX60" fmla="*/ 249752 w 774600"/>
                <a:gd name="connsiteY60" fmla="*/ 182904 h 259834"/>
                <a:gd name="connsiteX61" fmla="*/ 254956 w 774600"/>
                <a:gd name="connsiteY61" fmla="*/ 202874 h 259834"/>
                <a:gd name="connsiteX62" fmla="*/ 263302 w 774600"/>
                <a:gd name="connsiteY62" fmla="*/ 216420 h 259834"/>
                <a:gd name="connsiteX63" fmla="*/ 274756 w 774600"/>
                <a:gd name="connsiteY63" fmla="*/ 224061 h 259834"/>
                <a:gd name="connsiteX64" fmla="*/ 289168 w 774600"/>
                <a:gd name="connsiteY64" fmla="*/ 226493 h 259834"/>
                <a:gd name="connsiteX65" fmla="*/ 306721 w 774600"/>
                <a:gd name="connsiteY65" fmla="*/ 222670 h 259834"/>
                <a:gd name="connsiteX66" fmla="*/ 319567 w 774600"/>
                <a:gd name="connsiteY66" fmla="*/ 210511 h 259834"/>
                <a:gd name="connsiteX67" fmla="*/ 327383 w 774600"/>
                <a:gd name="connsiteY67" fmla="*/ 188453 h 259834"/>
                <a:gd name="connsiteX68" fmla="*/ 329995 w 774600"/>
                <a:gd name="connsiteY68" fmla="*/ 155978 h 259834"/>
                <a:gd name="connsiteX69" fmla="*/ 578701 w 774600"/>
                <a:gd name="connsiteY69" fmla="*/ 223015 h 259834"/>
                <a:gd name="connsiteX70" fmla="*/ 578701 w 774600"/>
                <a:gd name="connsiteY70" fmla="*/ 256362 h 259834"/>
                <a:gd name="connsiteX71" fmla="*/ 409187 w 774600"/>
                <a:gd name="connsiteY71" fmla="*/ 256362 h 259834"/>
                <a:gd name="connsiteX72" fmla="*/ 409187 w 774600"/>
                <a:gd name="connsiteY72" fmla="*/ 227704 h 259834"/>
                <a:gd name="connsiteX73" fmla="*/ 491507 w 774600"/>
                <a:gd name="connsiteY73" fmla="*/ 137913 h 259834"/>
                <a:gd name="connsiteX74" fmla="*/ 512874 w 774600"/>
                <a:gd name="connsiteY74" fmla="*/ 111513 h 259834"/>
                <a:gd name="connsiteX75" fmla="*/ 523813 w 774600"/>
                <a:gd name="connsiteY75" fmla="*/ 91542 h 259834"/>
                <a:gd name="connsiteX76" fmla="*/ 527110 w 774600"/>
                <a:gd name="connsiteY76" fmla="*/ 73998 h 259834"/>
                <a:gd name="connsiteX77" fmla="*/ 522592 w 774600"/>
                <a:gd name="connsiteY77" fmla="*/ 52981 h 259834"/>
                <a:gd name="connsiteX78" fmla="*/ 509746 w 774600"/>
                <a:gd name="connsiteY78" fmla="*/ 38565 h 259834"/>
                <a:gd name="connsiteX79" fmla="*/ 489085 w 774600"/>
                <a:gd name="connsiteY79" fmla="*/ 33181 h 259834"/>
                <a:gd name="connsiteX80" fmla="*/ 465452 w 774600"/>
                <a:gd name="connsiteY80" fmla="*/ 39261 h 259834"/>
                <a:gd name="connsiteX81" fmla="*/ 451040 w 774600"/>
                <a:gd name="connsiteY81" fmla="*/ 56109 h 259834"/>
                <a:gd name="connsiteX82" fmla="*/ 446181 w 774600"/>
                <a:gd name="connsiteY82" fmla="*/ 80423 h 259834"/>
                <a:gd name="connsiteX83" fmla="*/ 404328 w 774600"/>
                <a:gd name="connsiteY83" fmla="*/ 80423 h 259834"/>
                <a:gd name="connsiteX84" fmla="*/ 414391 w 774600"/>
                <a:gd name="connsiteY84" fmla="*/ 40131 h 259834"/>
                <a:gd name="connsiteX85" fmla="*/ 443569 w 774600"/>
                <a:gd name="connsiteY85" fmla="*/ 10953 h 259834"/>
                <a:gd name="connsiteX86" fmla="*/ 489596 w 774600"/>
                <a:gd name="connsiteY86" fmla="*/ 10 h 259834"/>
                <a:gd name="connsiteX87" fmla="*/ 532670 w 774600"/>
                <a:gd name="connsiteY87" fmla="*/ 8521 h 259834"/>
                <a:gd name="connsiteX88" fmla="*/ 559581 w 774600"/>
                <a:gd name="connsiteY88" fmla="*/ 32660 h 259834"/>
                <a:gd name="connsiteX89" fmla="*/ 568958 w 774600"/>
                <a:gd name="connsiteY89" fmla="*/ 69655 h 259834"/>
                <a:gd name="connsiteX90" fmla="*/ 565145 w 774600"/>
                <a:gd name="connsiteY90" fmla="*/ 93103 h 259834"/>
                <a:gd name="connsiteX91" fmla="*/ 554207 w 774600"/>
                <a:gd name="connsiteY91" fmla="*/ 116376 h 259834"/>
                <a:gd name="connsiteX92" fmla="*/ 537704 w 774600"/>
                <a:gd name="connsiteY92" fmla="*/ 139475 h 259834"/>
                <a:gd name="connsiteX93" fmla="*/ 516697 w 774600"/>
                <a:gd name="connsiteY93" fmla="*/ 162748 h 259834"/>
                <a:gd name="connsiteX94" fmla="*/ 461979 w 774600"/>
                <a:gd name="connsiteY94" fmla="*/ 223015 h 259834"/>
                <a:gd name="connsiteX95" fmla="*/ 578701 w 774600"/>
                <a:gd name="connsiteY95" fmla="*/ 223015 h 259834"/>
                <a:gd name="connsiteX96" fmla="*/ 660505 w 774600"/>
                <a:gd name="connsiteY96" fmla="*/ 110992 h 259834"/>
                <a:gd name="connsiteX97" fmla="*/ 685510 w 774600"/>
                <a:gd name="connsiteY97" fmla="*/ 110992 h 259834"/>
                <a:gd name="connsiteX98" fmla="*/ 709639 w 774600"/>
                <a:gd name="connsiteY98" fmla="*/ 105953 h 259834"/>
                <a:gd name="connsiteX99" fmla="*/ 724065 w 774600"/>
                <a:gd name="connsiteY99" fmla="*/ 92057 h 259834"/>
                <a:gd name="connsiteX100" fmla="*/ 728754 w 774600"/>
                <a:gd name="connsiteY100" fmla="*/ 71736 h 259834"/>
                <a:gd name="connsiteX101" fmla="*/ 724411 w 774600"/>
                <a:gd name="connsiteY101" fmla="*/ 51240 h 259834"/>
                <a:gd name="connsiteX102" fmla="*/ 711565 w 774600"/>
                <a:gd name="connsiteY102" fmla="*/ 37865 h 259834"/>
                <a:gd name="connsiteX103" fmla="*/ 689858 w 774600"/>
                <a:gd name="connsiteY103" fmla="*/ 33176 h 259834"/>
                <a:gd name="connsiteX104" fmla="*/ 669712 w 774600"/>
                <a:gd name="connsiteY104" fmla="*/ 37690 h 259834"/>
                <a:gd name="connsiteX105" fmla="*/ 655626 w 774600"/>
                <a:gd name="connsiteY105" fmla="*/ 50195 h 259834"/>
                <a:gd name="connsiteX106" fmla="*/ 650422 w 774600"/>
                <a:gd name="connsiteY106" fmla="*/ 69300 h 259834"/>
                <a:gd name="connsiteX107" fmla="*/ 608394 w 774600"/>
                <a:gd name="connsiteY107" fmla="*/ 69300 h 259834"/>
                <a:gd name="connsiteX108" fmla="*/ 618992 w 774600"/>
                <a:gd name="connsiteY108" fmla="*/ 33521 h 259834"/>
                <a:gd name="connsiteX109" fmla="*/ 647810 w 774600"/>
                <a:gd name="connsiteY109" fmla="*/ 9032 h 259834"/>
                <a:gd name="connsiteX110" fmla="*/ 689148 w 774600"/>
                <a:gd name="connsiteY110" fmla="*/ 0 h 259834"/>
                <a:gd name="connsiteX111" fmla="*/ 731876 w 774600"/>
                <a:gd name="connsiteY111" fmla="*/ 8161 h 259834"/>
                <a:gd name="connsiteX112" fmla="*/ 760524 w 774600"/>
                <a:gd name="connsiteY112" fmla="*/ 32130 h 259834"/>
                <a:gd name="connsiteX113" fmla="*/ 770777 w 774600"/>
                <a:gd name="connsiteY113" fmla="*/ 71731 h 259834"/>
                <a:gd name="connsiteX114" fmla="*/ 765743 w 774600"/>
                <a:gd name="connsiteY114" fmla="*/ 93614 h 259834"/>
                <a:gd name="connsiteX115" fmla="*/ 750802 w 774600"/>
                <a:gd name="connsiteY115" fmla="*/ 113935 h 259834"/>
                <a:gd name="connsiteX116" fmla="*/ 726137 w 774600"/>
                <a:gd name="connsiteY116" fmla="*/ 128696 h 259834"/>
                <a:gd name="connsiteX117" fmla="*/ 691925 w 774600"/>
                <a:gd name="connsiteY117" fmla="*/ 134256 h 259834"/>
                <a:gd name="connsiteX118" fmla="*/ 660495 w 774600"/>
                <a:gd name="connsiteY118" fmla="*/ 134256 h 259834"/>
                <a:gd name="connsiteX119" fmla="*/ 660495 w 774600"/>
                <a:gd name="connsiteY119" fmla="*/ 110982 h 259834"/>
                <a:gd name="connsiteX120" fmla="*/ 660505 w 774600"/>
                <a:gd name="connsiteY120" fmla="*/ 143643 h 259834"/>
                <a:gd name="connsiteX121" fmla="*/ 660505 w 774600"/>
                <a:gd name="connsiteY121" fmla="*/ 120715 h 259834"/>
                <a:gd name="connsiteX122" fmla="*/ 691935 w 774600"/>
                <a:gd name="connsiteY122" fmla="*/ 120715 h 259834"/>
                <a:gd name="connsiteX123" fmla="*/ 729790 w 774600"/>
                <a:gd name="connsiteY123" fmla="*/ 125924 h 259834"/>
                <a:gd name="connsiteX124" fmla="*/ 755500 w 774600"/>
                <a:gd name="connsiteY124" fmla="*/ 140340 h 259834"/>
                <a:gd name="connsiteX125" fmla="*/ 769911 w 774600"/>
                <a:gd name="connsiteY125" fmla="*/ 161007 h 259834"/>
                <a:gd name="connsiteX126" fmla="*/ 774600 w 774600"/>
                <a:gd name="connsiteY126" fmla="*/ 185671 h 259834"/>
                <a:gd name="connsiteX127" fmla="*/ 768175 w 774600"/>
                <a:gd name="connsiteY127" fmla="*/ 217281 h 259834"/>
                <a:gd name="connsiteX128" fmla="*/ 750296 w 774600"/>
                <a:gd name="connsiteY128" fmla="*/ 240554 h 259834"/>
                <a:gd name="connsiteX129" fmla="*/ 723024 w 774600"/>
                <a:gd name="connsiteY129" fmla="*/ 254971 h 259834"/>
                <a:gd name="connsiteX130" fmla="*/ 689328 w 774600"/>
                <a:gd name="connsiteY130" fmla="*/ 259834 h 259834"/>
                <a:gd name="connsiteX131" fmla="*/ 658068 w 774600"/>
                <a:gd name="connsiteY131" fmla="*/ 255316 h 259834"/>
                <a:gd name="connsiteX132" fmla="*/ 631327 w 774600"/>
                <a:gd name="connsiteY132" fmla="*/ 241945 h 259834"/>
                <a:gd name="connsiteX133" fmla="*/ 612572 w 774600"/>
                <a:gd name="connsiteY133" fmla="*/ 219543 h 259834"/>
                <a:gd name="connsiteX134" fmla="*/ 605787 w 774600"/>
                <a:gd name="connsiteY134" fmla="*/ 188283 h 259834"/>
                <a:gd name="connsiteX135" fmla="*/ 647640 w 774600"/>
                <a:gd name="connsiteY135" fmla="*/ 188283 h 259834"/>
                <a:gd name="connsiteX136" fmla="*/ 652859 w 774600"/>
                <a:gd name="connsiteY136" fmla="*/ 208254 h 259834"/>
                <a:gd name="connsiteX137" fmla="*/ 667786 w 774600"/>
                <a:gd name="connsiteY137" fmla="*/ 221624 h 259834"/>
                <a:gd name="connsiteX138" fmla="*/ 690028 w 774600"/>
                <a:gd name="connsiteY138" fmla="*/ 226488 h 259834"/>
                <a:gd name="connsiteX139" fmla="*/ 712767 w 774600"/>
                <a:gd name="connsiteY139" fmla="*/ 221799 h 259834"/>
                <a:gd name="connsiteX140" fmla="*/ 727363 w 774600"/>
                <a:gd name="connsiteY140" fmla="*/ 207904 h 259834"/>
                <a:gd name="connsiteX141" fmla="*/ 732567 w 774600"/>
                <a:gd name="connsiteY141" fmla="*/ 185671 h 259834"/>
                <a:gd name="connsiteX142" fmla="*/ 726847 w 774600"/>
                <a:gd name="connsiteY142" fmla="*/ 161702 h 259834"/>
                <a:gd name="connsiteX143" fmla="*/ 710515 w 774600"/>
                <a:gd name="connsiteY143" fmla="*/ 148157 h 259834"/>
                <a:gd name="connsiteX144" fmla="*/ 685510 w 774600"/>
                <a:gd name="connsiteY144" fmla="*/ 143643 h 259834"/>
                <a:gd name="connsiteX145" fmla="*/ 660505 w 774600"/>
                <a:gd name="connsiteY145" fmla="*/ 143643 h 2598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</a:cxnLst>
              <a:rect l="l" t="t" r="r" b="b"/>
              <a:pathLst>
                <a:path w="774600" h="259834">
                  <a:moveTo>
                    <a:pt x="174372" y="223015"/>
                  </a:moveTo>
                  <a:lnTo>
                    <a:pt x="174372" y="256362"/>
                  </a:lnTo>
                  <a:lnTo>
                    <a:pt x="4859" y="256362"/>
                  </a:lnTo>
                  <a:lnTo>
                    <a:pt x="4859" y="227704"/>
                  </a:lnTo>
                  <a:lnTo>
                    <a:pt x="87193" y="137913"/>
                  </a:lnTo>
                  <a:cubicBezTo>
                    <a:pt x="96211" y="127724"/>
                    <a:pt x="103336" y="118925"/>
                    <a:pt x="108541" y="111513"/>
                  </a:cubicBezTo>
                  <a:cubicBezTo>
                    <a:pt x="113760" y="104100"/>
                    <a:pt x="117403" y="97446"/>
                    <a:pt x="119499" y="91542"/>
                  </a:cubicBezTo>
                  <a:cubicBezTo>
                    <a:pt x="121697" y="85520"/>
                    <a:pt x="122797" y="79674"/>
                    <a:pt x="122797" y="73998"/>
                  </a:cubicBezTo>
                  <a:cubicBezTo>
                    <a:pt x="122797" y="66012"/>
                    <a:pt x="121284" y="59003"/>
                    <a:pt x="118278" y="52981"/>
                  </a:cubicBezTo>
                  <a:cubicBezTo>
                    <a:pt x="115374" y="46843"/>
                    <a:pt x="111099" y="42038"/>
                    <a:pt x="105413" y="38565"/>
                  </a:cubicBezTo>
                  <a:cubicBezTo>
                    <a:pt x="99747" y="34976"/>
                    <a:pt x="92860" y="33181"/>
                    <a:pt x="84752" y="33181"/>
                  </a:cubicBezTo>
                  <a:cubicBezTo>
                    <a:pt x="75374" y="33181"/>
                    <a:pt x="67510" y="35209"/>
                    <a:pt x="61138" y="39261"/>
                  </a:cubicBezTo>
                  <a:cubicBezTo>
                    <a:pt x="54766" y="43312"/>
                    <a:pt x="49956" y="48930"/>
                    <a:pt x="46712" y="56109"/>
                  </a:cubicBezTo>
                  <a:cubicBezTo>
                    <a:pt x="43482" y="63171"/>
                    <a:pt x="41853" y="71279"/>
                    <a:pt x="41853" y="80423"/>
                  </a:cubicBezTo>
                  <a:lnTo>
                    <a:pt x="0" y="80423"/>
                  </a:lnTo>
                  <a:cubicBezTo>
                    <a:pt x="0" y="65720"/>
                    <a:pt x="3366" y="52286"/>
                    <a:pt x="10083" y="40131"/>
                  </a:cubicBezTo>
                  <a:cubicBezTo>
                    <a:pt x="16800" y="27860"/>
                    <a:pt x="26517" y="18132"/>
                    <a:pt x="39261" y="10953"/>
                  </a:cubicBezTo>
                  <a:cubicBezTo>
                    <a:pt x="51989" y="3658"/>
                    <a:pt x="67325" y="10"/>
                    <a:pt x="85272" y="10"/>
                  </a:cubicBezTo>
                  <a:cubicBezTo>
                    <a:pt x="102189" y="10"/>
                    <a:pt x="116546" y="2845"/>
                    <a:pt x="128346" y="8521"/>
                  </a:cubicBezTo>
                  <a:cubicBezTo>
                    <a:pt x="140160" y="14193"/>
                    <a:pt x="149129" y="22242"/>
                    <a:pt x="155277" y="32660"/>
                  </a:cubicBezTo>
                  <a:cubicBezTo>
                    <a:pt x="161527" y="43079"/>
                    <a:pt x="164654" y="55413"/>
                    <a:pt x="164654" y="69655"/>
                  </a:cubicBezTo>
                  <a:cubicBezTo>
                    <a:pt x="164654" y="77529"/>
                    <a:pt x="163385" y="85345"/>
                    <a:pt x="160827" y="93103"/>
                  </a:cubicBezTo>
                  <a:cubicBezTo>
                    <a:pt x="158283" y="100861"/>
                    <a:pt x="154645" y="108619"/>
                    <a:pt x="149888" y="116376"/>
                  </a:cubicBezTo>
                  <a:cubicBezTo>
                    <a:pt x="145267" y="124017"/>
                    <a:pt x="139757" y="131717"/>
                    <a:pt x="133400" y="139475"/>
                  </a:cubicBezTo>
                  <a:cubicBezTo>
                    <a:pt x="127028" y="147116"/>
                    <a:pt x="120019" y="154873"/>
                    <a:pt x="112378" y="162748"/>
                  </a:cubicBezTo>
                  <a:lnTo>
                    <a:pt x="57675" y="223015"/>
                  </a:lnTo>
                  <a:lnTo>
                    <a:pt x="174377" y="223015"/>
                  </a:lnTo>
                  <a:close/>
                  <a:moveTo>
                    <a:pt x="371848" y="108735"/>
                  </a:moveTo>
                  <a:lnTo>
                    <a:pt x="371848" y="150068"/>
                  </a:lnTo>
                  <a:cubicBezTo>
                    <a:pt x="371848" y="169869"/>
                    <a:pt x="369873" y="186770"/>
                    <a:pt x="365938" y="200783"/>
                  </a:cubicBezTo>
                  <a:cubicBezTo>
                    <a:pt x="362125" y="214674"/>
                    <a:pt x="356561" y="225963"/>
                    <a:pt x="349260" y="234650"/>
                  </a:cubicBezTo>
                  <a:cubicBezTo>
                    <a:pt x="341960" y="243332"/>
                    <a:pt x="333219" y="249703"/>
                    <a:pt x="323035" y="253755"/>
                  </a:cubicBezTo>
                  <a:cubicBezTo>
                    <a:pt x="312971" y="257806"/>
                    <a:pt x="301668" y="259834"/>
                    <a:pt x="289168" y="259834"/>
                  </a:cubicBezTo>
                  <a:cubicBezTo>
                    <a:pt x="279221" y="259834"/>
                    <a:pt x="269951" y="258560"/>
                    <a:pt x="261381" y="256011"/>
                  </a:cubicBezTo>
                  <a:cubicBezTo>
                    <a:pt x="252933" y="253463"/>
                    <a:pt x="245287" y="249470"/>
                    <a:pt x="238468" y="244027"/>
                  </a:cubicBezTo>
                  <a:cubicBezTo>
                    <a:pt x="231634" y="238584"/>
                    <a:pt x="225773" y="231581"/>
                    <a:pt x="220914" y="223011"/>
                  </a:cubicBezTo>
                  <a:cubicBezTo>
                    <a:pt x="216172" y="214329"/>
                    <a:pt x="212466" y="203964"/>
                    <a:pt x="209800" y="191921"/>
                  </a:cubicBezTo>
                  <a:cubicBezTo>
                    <a:pt x="207256" y="179878"/>
                    <a:pt x="205972" y="165929"/>
                    <a:pt x="205972" y="150063"/>
                  </a:cubicBezTo>
                  <a:lnTo>
                    <a:pt x="205972" y="108730"/>
                  </a:lnTo>
                  <a:cubicBezTo>
                    <a:pt x="205972" y="88813"/>
                    <a:pt x="207947" y="72028"/>
                    <a:pt x="211882" y="58366"/>
                  </a:cubicBezTo>
                  <a:cubicBezTo>
                    <a:pt x="215831" y="44587"/>
                    <a:pt x="221430" y="33414"/>
                    <a:pt x="228730" y="24844"/>
                  </a:cubicBezTo>
                  <a:cubicBezTo>
                    <a:pt x="236031" y="16162"/>
                    <a:pt x="244722" y="9849"/>
                    <a:pt x="254786" y="5914"/>
                  </a:cubicBezTo>
                  <a:cubicBezTo>
                    <a:pt x="264970" y="1980"/>
                    <a:pt x="276323" y="10"/>
                    <a:pt x="288827" y="10"/>
                  </a:cubicBezTo>
                  <a:cubicBezTo>
                    <a:pt x="298910" y="10"/>
                    <a:pt x="308166" y="1284"/>
                    <a:pt x="316614" y="3833"/>
                  </a:cubicBezTo>
                  <a:cubicBezTo>
                    <a:pt x="325184" y="6265"/>
                    <a:pt x="332825" y="10141"/>
                    <a:pt x="339542" y="15467"/>
                  </a:cubicBezTo>
                  <a:cubicBezTo>
                    <a:pt x="346376" y="20793"/>
                    <a:pt x="352164" y="27743"/>
                    <a:pt x="356906" y="36308"/>
                  </a:cubicBezTo>
                  <a:cubicBezTo>
                    <a:pt x="361765" y="44762"/>
                    <a:pt x="365476" y="55010"/>
                    <a:pt x="368020" y="67048"/>
                  </a:cubicBezTo>
                  <a:cubicBezTo>
                    <a:pt x="370578" y="78974"/>
                    <a:pt x="371848" y="92870"/>
                    <a:pt x="371848" y="108730"/>
                  </a:cubicBezTo>
                  <a:close/>
                  <a:moveTo>
                    <a:pt x="329995" y="155978"/>
                  </a:moveTo>
                  <a:lnTo>
                    <a:pt x="329995" y="102485"/>
                  </a:lnTo>
                  <a:cubicBezTo>
                    <a:pt x="329995" y="92412"/>
                    <a:pt x="329411" y="83555"/>
                    <a:pt x="328258" y="75914"/>
                  </a:cubicBezTo>
                  <a:cubicBezTo>
                    <a:pt x="327091" y="68157"/>
                    <a:pt x="325355" y="61615"/>
                    <a:pt x="323039" y="56289"/>
                  </a:cubicBezTo>
                  <a:cubicBezTo>
                    <a:pt x="320841" y="50846"/>
                    <a:pt x="318059" y="46445"/>
                    <a:pt x="314708" y="43088"/>
                  </a:cubicBezTo>
                  <a:cubicBezTo>
                    <a:pt x="311342" y="39616"/>
                    <a:pt x="307529" y="37125"/>
                    <a:pt x="303234" y="35623"/>
                  </a:cubicBezTo>
                  <a:cubicBezTo>
                    <a:pt x="298959" y="34003"/>
                    <a:pt x="294148" y="33191"/>
                    <a:pt x="288823" y="33191"/>
                  </a:cubicBezTo>
                  <a:cubicBezTo>
                    <a:pt x="282349" y="33191"/>
                    <a:pt x="276542" y="34465"/>
                    <a:pt x="271459" y="37014"/>
                  </a:cubicBezTo>
                  <a:cubicBezTo>
                    <a:pt x="266357" y="39445"/>
                    <a:pt x="262081" y="43380"/>
                    <a:pt x="258613" y="48823"/>
                  </a:cubicBezTo>
                  <a:cubicBezTo>
                    <a:pt x="255126" y="54266"/>
                    <a:pt x="252466" y="61445"/>
                    <a:pt x="250608" y="70360"/>
                  </a:cubicBezTo>
                  <a:cubicBezTo>
                    <a:pt x="248871" y="79159"/>
                    <a:pt x="248015" y="89869"/>
                    <a:pt x="248015" y="102490"/>
                  </a:cubicBezTo>
                  <a:lnTo>
                    <a:pt x="248015" y="155982"/>
                  </a:lnTo>
                  <a:cubicBezTo>
                    <a:pt x="248015" y="166172"/>
                    <a:pt x="248584" y="175146"/>
                    <a:pt x="249752" y="182904"/>
                  </a:cubicBezTo>
                  <a:cubicBezTo>
                    <a:pt x="250904" y="190661"/>
                    <a:pt x="252636" y="197320"/>
                    <a:pt x="254956" y="202874"/>
                  </a:cubicBezTo>
                  <a:cubicBezTo>
                    <a:pt x="257276" y="208317"/>
                    <a:pt x="260058" y="212831"/>
                    <a:pt x="263302" y="216420"/>
                  </a:cubicBezTo>
                  <a:cubicBezTo>
                    <a:pt x="266653" y="219893"/>
                    <a:pt x="270481" y="222441"/>
                    <a:pt x="274756" y="224061"/>
                  </a:cubicBezTo>
                  <a:cubicBezTo>
                    <a:pt x="279153" y="225681"/>
                    <a:pt x="283964" y="226493"/>
                    <a:pt x="289168" y="226493"/>
                  </a:cubicBezTo>
                  <a:cubicBezTo>
                    <a:pt x="295778" y="226493"/>
                    <a:pt x="301619" y="225219"/>
                    <a:pt x="306721" y="222670"/>
                  </a:cubicBezTo>
                  <a:cubicBezTo>
                    <a:pt x="311804" y="220121"/>
                    <a:pt x="316099" y="216070"/>
                    <a:pt x="319567" y="210511"/>
                  </a:cubicBezTo>
                  <a:cubicBezTo>
                    <a:pt x="323035" y="204839"/>
                    <a:pt x="325646" y="197485"/>
                    <a:pt x="327383" y="188453"/>
                  </a:cubicBezTo>
                  <a:cubicBezTo>
                    <a:pt x="329119" y="179421"/>
                    <a:pt x="329995" y="168594"/>
                    <a:pt x="329995" y="155978"/>
                  </a:cubicBezTo>
                  <a:close/>
                  <a:moveTo>
                    <a:pt x="578701" y="223015"/>
                  </a:moveTo>
                  <a:lnTo>
                    <a:pt x="578701" y="256362"/>
                  </a:lnTo>
                  <a:lnTo>
                    <a:pt x="409187" y="256362"/>
                  </a:lnTo>
                  <a:lnTo>
                    <a:pt x="409187" y="227704"/>
                  </a:lnTo>
                  <a:lnTo>
                    <a:pt x="491507" y="137913"/>
                  </a:lnTo>
                  <a:cubicBezTo>
                    <a:pt x="500539" y="127724"/>
                    <a:pt x="507670" y="118925"/>
                    <a:pt x="512874" y="111513"/>
                  </a:cubicBezTo>
                  <a:cubicBezTo>
                    <a:pt x="518078" y="104100"/>
                    <a:pt x="521736" y="97446"/>
                    <a:pt x="523813" y="91542"/>
                  </a:cubicBezTo>
                  <a:cubicBezTo>
                    <a:pt x="526011" y="85520"/>
                    <a:pt x="527110" y="79674"/>
                    <a:pt x="527110" y="73998"/>
                  </a:cubicBezTo>
                  <a:cubicBezTo>
                    <a:pt x="527110" y="66012"/>
                    <a:pt x="525617" y="59003"/>
                    <a:pt x="522592" y="52981"/>
                  </a:cubicBezTo>
                  <a:cubicBezTo>
                    <a:pt x="519708" y="46843"/>
                    <a:pt x="515413" y="42038"/>
                    <a:pt x="509746" y="38565"/>
                  </a:cubicBezTo>
                  <a:cubicBezTo>
                    <a:pt x="504080" y="34976"/>
                    <a:pt x="497193" y="33181"/>
                    <a:pt x="489085" y="33181"/>
                  </a:cubicBezTo>
                  <a:cubicBezTo>
                    <a:pt x="479708" y="33181"/>
                    <a:pt x="471823" y="35209"/>
                    <a:pt x="465452" y="39261"/>
                  </a:cubicBezTo>
                  <a:cubicBezTo>
                    <a:pt x="459095" y="43312"/>
                    <a:pt x="454289" y="48930"/>
                    <a:pt x="451040" y="56109"/>
                  </a:cubicBezTo>
                  <a:cubicBezTo>
                    <a:pt x="447796" y="63171"/>
                    <a:pt x="446181" y="71279"/>
                    <a:pt x="446181" y="80423"/>
                  </a:cubicBezTo>
                  <a:lnTo>
                    <a:pt x="404328" y="80423"/>
                  </a:lnTo>
                  <a:cubicBezTo>
                    <a:pt x="404328" y="65720"/>
                    <a:pt x="407679" y="52286"/>
                    <a:pt x="414391" y="40131"/>
                  </a:cubicBezTo>
                  <a:cubicBezTo>
                    <a:pt x="421108" y="27860"/>
                    <a:pt x="430846" y="18132"/>
                    <a:pt x="443569" y="10953"/>
                  </a:cubicBezTo>
                  <a:cubicBezTo>
                    <a:pt x="456313" y="3658"/>
                    <a:pt x="471648" y="10"/>
                    <a:pt x="489596" y="10"/>
                  </a:cubicBezTo>
                  <a:cubicBezTo>
                    <a:pt x="506497" y="10"/>
                    <a:pt x="520855" y="2845"/>
                    <a:pt x="532670" y="8521"/>
                  </a:cubicBezTo>
                  <a:cubicBezTo>
                    <a:pt x="544484" y="14193"/>
                    <a:pt x="553453" y="22242"/>
                    <a:pt x="559581" y="32660"/>
                  </a:cubicBezTo>
                  <a:cubicBezTo>
                    <a:pt x="565831" y="43079"/>
                    <a:pt x="568958" y="55413"/>
                    <a:pt x="568958" y="69655"/>
                  </a:cubicBezTo>
                  <a:cubicBezTo>
                    <a:pt x="568958" y="77529"/>
                    <a:pt x="567689" y="85345"/>
                    <a:pt x="565145" y="93103"/>
                  </a:cubicBezTo>
                  <a:cubicBezTo>
                    <a:pt x="562601" y="100861"/>
                    <a:pt x="558944" y="108619"/>
                    <a:pt x="554207" y="116376"/>
                  </a:cubicBezTo>
                  <a:cubicBezTo>
                    <a:pt x="549571" y="124017"/>
                    <a:pt x="544075" y="131717"/>
                    <a:pt x="537704" y="139475"/>
                  </a:cubicBezTo>
                  <a:cubicBezTo>
                    <a:pt x="531332" y="147116"/>
                    <a:pt x="524323" y="154873"/>
                    <a:pt x="516697" y="162748"/>
                  </a:cubicBezTo>
                  <a:lnTo>
                    <a:pt x="461979" y="223015"/>
                  </a:lnTo>
                  <a:lnTo>
                    <a:pt x="578701" y="223015"/>
                  </a:lnTo>
                  <a:close/>
                  <a:moveTo>
                    <a:pt x="660505" y="110992"/>
                  </a:moveTo>
                  <a:lnTo>
                    <a:pt x="685510" y="110992"/>
                  </a:lnTo>
                  <a:cubicBezTo>
                    <a:pt x="695233" y="110992"/>
                    <a:pt x="703287" y="109314"/>
                    <a:pt x="709639" y="105953"/>
                  </a:cubicBezTo>
                  <a:cubicBezTo>
                    <a:pt x="716132" y="102597"/>
                    <a:pt x="720943" y="97962"/>
                    <a:pt x="724065" y="92057"/>
                  </a:cubicBezTo>
                  <a:cubicBezTo>
                    <a:pt x="727188" y="86153"/>
                    <a:pt x="728754" y="79377"/>
                    <a:pt x="728754" y="71736"/>
                  </a:cubicBezTo>
                  <a:cubicBezTo>
                    <a:pt x="728754" y="64095"/>
                    <a:pt x="727295" y="56916"/>
                    <a:pt x="724411" y="51240"/>
                  </a:cubicBezTo>
                  <a:cubicBezTo>
                    <a:pt x="721628" y="45452"/>
                    <a:pt x="717353" y="40992"/>
                    <a:pt x="711565" y="37865"/>
                  </a:cubicBezTo>
                  <a:cubicBezTo>
                    <a:pt x="705879" y="34737"/>
                    <a:pt x="698652" y="33176"/>
                    <a:pt x="689858" y="33176"/>
                  </a:cubicBezTo>
                  <a:cubicBezTo>
                    <a:pt x="682441" y="33176"/>
                    <a:pt x="675724" y="34684"/>
                    <a:pt x="669712" y="37690"/>
                  </a:cubicBezTo>
                  <a:cubicBezTo>
                    <a:pt x="663803" y="40584"/>
                    <a:pt x="659114" y="44752"/>
                    <a:pt x="655626" y="50195"/>
                  </a:cubicBezTo>
                  <a:cubicBezTo>
                    <a:pt x="652159" y="55520"/>
                    <a:pt x="650422" y="61887"/>
                    <a:pt x="650422" y="69300"/>
                  </a:cubicBezTo>
                  <a:lnTo>
                    <a:pt x="608394" y="69300"/>
                  </a:lnTo>
                  <a:cubicBezTo>
                    <a:pt x="608394" y="55871"/>
                    <a:pt x="611916" y="43945"/>
                    <a:pt x="618992" y="33521"/>
                  </a:cubicBezTo>
                  <a:cubicBezTo>
                    <a:pt x="626050" y="23103"/>
                    <a:pt x="635670" y="14937"/>
                    <a:pt x="647810" y="9032"/>
                  </a:cubicBezTo>
                  <a:cubicBezTo>
                    <a:pt x="660092" y="3011"/>
                    <a:pt x="673866" y="0"/>
                    <a:pt x="689148" y="0"/>
                  </a:cubicBezTo>
                  <a:cubicBezTo>
                    <a:pt x="705480" y="0"/>
                    <a:pt x="719717" y="2724"/>
                    <a:pt x="731876" y="8161"/>
                  </a:cubicBezTo>
                  <a:cubicBezTo>
                    <a:pt x="744138" y="13487"/>
                    <a:pt x="753705" y="21479"/>
                    <a:pt x="760524" y="32130"/>
                  </a:cubicBezTo>
                  <a:cubicBezTo>
                    <a:pt x="767358" y="42782"/>
                    <a:pt x="770777" y="55982"/>
                    <a:pt x="770777" y="71731"/>
                  </a:cubicBezTo>
                  <a:cubicBezTo>
                    <a:pt x="770777" y="78910"/>
                    <a:pt x="769094" y="86206"/>
                    <a:pt x="765743" y="93614"/>
                  </a:cubicBezTo>
                  <a:cubicBezTo>
                    <a:pt x="762378" y="101026"/>
                    <a:pt x="757397" y="107797"/>
                    <a:pt x="750802" y="113935"/>
                  </a:cubicBezTo>
                  <a:cubicBezTo>
                    <a:pt x="744206" y="119956"/>
                    <a:pt x="735982" y="124873"/>
                    <a:pt x="726137" y="128696"/>
                  </a:cubicBezTo>
                  <a:cubicBezTo>
                    <a:pt x="716298" y="132403"/>
                    <a:pt x="704892" y="134256"/>
                    <a:pt x="691925" y="134256"/>
                  </a:cubicBezTo>
                  <a:lnTo>
                    <a:pt x="660495" y="134256"/>
                  </a:lnTo>
                  <a:lnTo>
                    <a:pt x="660495" y="110982"/>
                  </a:lnTo>
                  <a:close/>
                  <a:moveTo>
                    <a:pt x="660505" y="143643"/>
                  </a:moveTo>
                  <a:lnTo>
                    <a:pt x="660505" y="120715"/>
                  </a:lnTo>
                  <a:lnTo>
                    <a:pt x="691935" y="120715"/>
                  </a:lnTo>
                  <a:cubicBezTo>
                    <a:pt x="706755" y="120715"/>
                    <a:pt x="719381" y="122451"/>
                    <a:pt x="729790" y="125924"/>
                  </a:cubicBezTo>
                  <a:cubicBezTo>
                    <a:pt x="740335" y="129397"/>
                    <a:pt x="748905" y="134202"/>
                    <a:pt x="755500" y="140340"/>
                  </a:cubicBezTo>
                  <a:cubicBezTo>
                    <a:pt x="762095" y="146362"/>
                    <a:pt x="766906" y="153249"/>
                    <a:pt x="769911" y="161007"/>
                  </a:cubicBezTo>
                  <a:cubicBezTo>
                    <a:pt x="773039" y="168764"/>
                    <a:pt x="774600" y="176984"/>
                    <a:pt x="774600" y="185671"/>
                  </a:cubicBezTo>
                  <a:cubicBezTo>
                    <a:pt x="774600" y="197480"/>
                    <a:pt x="772470" y="208015"/>
                    <a:pt x="768175" y="217281"/>
                  </a:cubicBezTo>
                  <a:cubicBezTo>
                    <a:pt x="764016" y="226430"/>
                    <a:pt x="758044" y="234188"/>
                    <a:pt x="750296" y="240554"/>
                  </a:cubicBezTo>
                  <a:cubicBezTo>
                    <a:pt x="742533" y="246921"/>
                    <a:pt x="733447" y="251726"/>
                    <a:pt x="723024" y="254971"/>
                  </a:cubicBezTo>
                  <a:cubicBezTo>
                    <a:pt x="712718" y="258215"/>
                    <a:pt x="701487" y="259834"/>
                    <a:pt x="689328" y="259834"/>
                  </a:cubicBezTo>
                  <a:cubicBezTo>
                    <a:pt x="678457" y="259834"/>
                    <a:pt x="668029" y="258327"/>
                    <a:pt x="658068" y="255316"/>
                  </a:cubicBezTo>
                  <a:cubicBezTo>
                    <a:pt x="648107" y="252305"/>
                    <a:pt x="639192" y="247850"/>
                    <a:pt x="631327" y="241945"/>
                  </a:cubicBezTo>
                  <a:cubicBezTo>
                    <a:pt x="623443" y="235924"/>
                    <a:pt x="617193" y="228458"/>
                    <a:pt x="612572" y="219543"/>
                  </a:cubicBezTo>
                  <a:cubicBezTo>
                    <a:pt x="608054" y="210511"/>
                    <a:pt x="605787" y="200092"/>
                    <a:pt x="605787" y="188283"/>
                  </a:cubicBezTo>
                  <a:lnTo>
                    <a:pt x="647640" y="188283"/>
                  </a:lnTo>
                  <a:cubicBezTo>
                    <a:pt x="647640" y="195807"/>
                    <a:pt x="649377" y="202466"/>
                    <a:pt x="652859" y="208254"/>
                  </a:cubicBezTo>
                  <a:cubicBezTo>
                    <a:pt x="656449" y="213925"/>
                    <a:pt x="661429" y="218385"/>
                    <a:pt x="667786" y="221624"/>
                  </a:cubicBezTo>
                  <a:cubicBezTo>
                    <a:pt x="674279" y="224869"/>
                    <a:pt x="681682" y="226488"/>
                    <a:pt x="690028" y="226488"/>
                  </a:cubicBezTo>
                  <a:cubicBezTo>
                    <a:pt x="698822" y="226488"/>
                    <a:pt x="706415" y="224927"/>
                    <a:pt x="712767" y="221799"/>
                  </a:cubicBezTo>
                  <a:cubicBezTo>
                    <a:pt x="719138" y="218672"/>
                    <a:pt x="723997" y="214042"/>
                    <a:pt x="727363" y="207904"/>
                  </a:cubicBezTo>
                  <a:cubicBezTo>
                    <a:pt x="730831" y="201765"/>
                    <a:pt x="732567" y="194358"/>
                    <a:pt x="732567" y="185671"/>
                  </a:cubicBezTo>
                  <a:cubicBezTo>
                    <a:pt x="732567" y="175827"/>
                    <a:pt x="730660" y="167840"/>
                    <a:pt x="726847" y="161702"/>
                  </a:cubicBezTo>
                  <a:cubicBezTo>
                    <a:pt x="723019" y="155564"/>
                    <a:pt x="717572" y="151050"/>
                    <a:pt x="710515" y="148157"/>
                  </a:cubicBezTo>
                  <a:cubicBezTo>
                    <a:pt x="703457" y="145146"/>
                    <a:pt x="695111" y="143643"/>
                    <a:pt x="685510" y="143643"/>
                  </a:cubicBezTo>
                  <a:lnTo>
                    <a:pt x="660505" y="143643"/>
                  </a:lnTo>
                  <a:close/>
                </a:path>
              </a:pathLst>
            </a:custGeom>
            <a:solidFill>
              <a:srgbClr val="EE3431"/>
            </a:solidFill>
            <a:ln w="4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8" name="Полилиния: фигура 47">
              <a:extLst>
                <a:ext uri="{FF2B5EF4-FFF2-40B4-BE49-F238E27FC236}">
                  <a16:creationId xmlns:a16="http://schemas.microsoft.com/office/drawing/2014/main" id="{C3ADAD60-17B9-4A06-AE0E-BCB35AB4E7E8}"/>
                </a:ext>
              </a:extLst>
            </p:cNvPr>
            <p:cNvSpPr/>
            <p:nvPr/>
          </p:nvSpPr>
          <p:spPr>
            <a:xfrm>
              <a:off x="8902858" y="5870060"/>
              <a:ext cx="774600" cy="259829"/>
            </a:xfrm>
            <a:custGeom>
              <a:avLst/>
              <a:gdLst>
                <a:gd name="connsiteX0" fmla="*/ 174372 w 774600"/>
                <a:gd name="connsiteY0" fmla="*/ 223011 h 259829"/>
                <a:gd name="connsiteX1" fmla="*/ 174372 w 774600"/>
                <a:gd name="connsiteY1" fmla="*/ 256357 h 259829"/>
                <a:gd name="connsiteX2" fmla="*/ 4859 w 774600"/>
                <a:gd name="connsiteY2" fmla="*/ 256357 h 259829"/>
                <a:gd name="connsiteX3" fmla="*/ 4859 w 774600"/>
                <a:gd name="connsiteY3" fmla="*/ 227699 h 259829"/>
                <a:gd name="connsiteX4" fmla="*/ 87193 w 774600"/>
                <a:gd name="connsiteY4" fmla="*/ 137908 h 259829"/>
                <a:gd name="connsiteX5" fmla="*/ 108541 w 774600"/>
                <a:gd name="connsiteY5" fmla="*/ 111508 h 259829"/>
                <a:gd name="connsiteX6" fmla="*/ 119499 w 774600"/>
                <a:gd name="connsiteY6" fmla="*/ 91537 h 259829"/>
                <a:gd name="connsiteX7" fmla="*/ 122797 w 774600"/>
                <a:gd name="connsiteY7" fmla="*/ 73993 h 259829"/>
                <a:gd name="connsiteX8" fmla="*/ 118278 w 774600"/>
                <a:gd name="connsiteY8" fmla="*/ 52977 h 259829"/>
                <a:gd name="connsiteX9" fmla="*/ 105413 w 774600"/>
                <a:gd name="connsiteY9" fmla="*/ 38560 h 259829"/>
                <a:gd name="connsiteX10" fmla="*/ 84752 w 774600"/>
                <a:gd name="connsiteY10" fmla="*/ 33176 h 259829"/>
                <a:gd name="connsiteX11" fmla="*/ 61138 w 774600"/>
                <a:gd name="connsiteY11" fmla="*/ 39256 h 259829"/>
                <a:gd name="connsiteX12" fmla="*/ 46712 w 774600"/>
                <a:gd name="connsiteY12" fmla="*/ 56104 h 259829"/>
                <a:gd name="connsiteX13" fmla="*/ 41853 w 774600"/>
                <a:gd name="connsiteY13" fmla="*/ 80418 h 259829"/>
                <a:gd name="connsiteX14" fmla="*/ 0 w 774600"/>
                <a:gd name="connsiteY14" fmla="*/ 80418 h 259829"/>
                <a:gd name="connsiteX15" fmla="*/ 10083 w 774600"/>
                <a:gd name="connsiteY15" fmla="*/ 40126 h 259829"/>
                <a:gd name="connsiteX16" fmla="*/ 39261 w 774600"/>
                <a:gd name="connsiteY16" fmla="*/ 10948 h 259829"/>
                <a:gd name="connsiteX17" fmla="*/ 85272 w 774600"/>
                <a:gd name="connsiteY17" fmla="*/ 5 h 259829"/>
                <a:gd name="connsiteX18" fmla="*/ 128346 w 774600"/>
                <a:gd name="connsiteY18" fmla="*/ 8517 h 259829"/>
                <a:gd name="connsiteX19" fmla="*/ 155277 w 774600"/>
                <a:gd name="connsiteY19" fmla="*/ 32660 h 259829"/>
                <a:gd name="connsiteX20" fmla="*/ 164654 w 774600"/>
                <a:gd name="connsiteY20" fmla="*/ 69655 h 259829"/>
                <a:gd name="connsiteX21" fmla="*/ 160827 w 774600"/>
                <a:gd name="connsiteY21" fmla="*/ 93103 h 259829"/>
                <a:gd name="connsiteX22" fmla="*/ 149888 w 774600"/>
                <a:gd name="connsiteY22" fmla="*/ 116376 h 259829"/>
                <a:gd name="connsiteX23" fmla="*/ 133400 w 774600"/>
                <a:gd name="connsiteY23" fmla="*/ 139475 h 259829"/>
                <a:gd name="connsiteX24" fmla="*/ 112378 w 774600"/>
                <a:gd name="connsiteY24" fmla="*/ 162748 h 259829"/>
                <a:gd name="connsiteX25" fmla="*/ 57675 w 774600"/>
                <a:gd name="connsiteY25" fmla="*/ 223015 h 259829"/>
                <a:gd name="connsiteX26" fmla="*/ 174377 w 774600"/>
                <a:gd name="connsiteY26" fmla="*/ 223015 h 259829"/>
                <a:gd name="connsiteX27" fmla="*/ 371848 w 774600"/>
                <a:gd name="connsiteY27" fmla="*/ 108730 h 259829"/>
                <a:gd name="connsiteX28" fmla="*/ 371848 w 774600"/>
                <a:gd name="connsiteY28" fmla="*/ 150063 h 259829"/>
                <a:gd name="connsiteX29" fmla="*/ 365938 w 774600"/>
                <a:gd name="connsiteY29" fmla="*/ 200778 h 259829"/>
                <a:gd name="connsiteX30" fmla="*/ 349260 w 774600"/>
                <a:gd name="connsiteY30" fmla="*/ 234645 h 259829"/>
                <a:gd name="connsiteX31" fmla="*/ 323035 w 774600"/>
                <a:gd name="connsiteY31" fmla="*/ 253750 h 259829"/>
                <a:gd name="connsiteX32" fmla="*/ 289168 w 774600"/>
                <a:gd name="connsiteY32" fmla="*/ 259830 h 259829"/>
                <a:gd name="connsiteX33" fmla="*/ 261381 w 774600"/>
                <a:gd name="connsiteY33" fmla="*/ 256011 h 259829"/>
                <a:gd name="connsiteX34" fmla="*/ 238468 w 774600"/>
                <a:gd name="connsiteY34" fmla="*/ 244027 h 259829"/>
                <a:gd name="connsiteX35" fmla="*/ 220914 w 774600"/>
                <a:gd name="connsiteY35" fmla="*/ 223011 h 259829"/>
                <a:gd name="connsiteX36" fmla="*/ 209800 w 774600"/>
                <a:gd name="connsiteY36" fmla="*/ 191921 h 259829"/>
                <a:gd name="connsiteX37" fmla="*/ 205972 w 774600"/>
                <a:gd name="connsiteY37" fmla="*/ 150063 h 259829"/>
                <a:gd name="connsiteX38" fmla="*/ 205972 w 774600"/>
                <a:gd name="connsiteY38" fmla="*/ 108730 h 259829"/>
                <a:gd name="connsiteX39" fmla="*/ 211882 w 774600"/>
                <a:gd name="connsiteY39" fmla="*/ 58366 h 259829"/>
                <a:gd name="connsiteX40" fmla="*/ 228730 w 774600"/>
                <a:gd name="connsiteY40" fmla="*/ 24844 h 259829"/>
                <a:gd name="connsiteX41" fmla="*/ 254786 w 774600"/>
                <a:gd name="connsiteY41" fmla="*/ 5914 h 259829"/>
                <a:gd name="connsiteX42" fmla="*/ 288827 w 774600"/>
                <a:gd name="connsiteY42" fmla="*/ 10 h 259829"/>
                <a:gd name="connsiteX43" fmla="*/ 316614 w 774600"/>
                <a:gd name="connsiteY43" fmla="*/ 3833 h 259829"/>
                <a:gd name="connsiteX44" fmla="*/ 339542 w 774600"/>
                <a:gd name="connsiteY44" fmla="*/ 15467 h 259829"/>
                <a:gd name="connsiteX45" fmla="*/ 356906 w 774600"/>
                <a:gd name="connsiteY45" fmla="*/ 36308 h 259829"/>
                <a:gd name="connsiteX46" fmla="*/ 368020 w 774600"/>
                <a:gd name="connsiteY46" fmla="*/ 67048 h 259829"/>
                <a:gd name="connsiteX47" fmla="*/ 371848 w 774600"/>
                <a:gd name="connsiteY47" fmla="*/ 108730 h 259829"/>
                <a:gd name="connsiteX48" fmla="*/ 329995 w 774600"/>
                <a:gd name="connsiteY48" fmla="*/ 155968 h 259829"/>
                <a:gd name="connsiteX49" fmla="*/ 329995 w 774600"/>
                <a:gd name="connsiteY49" fmla="*/ 102476 h 259829"/>
                <a:gd name="connsiteX50" fmla="*/ 328258 w 774600"/>
                <a:gd name="connsiteY50" fmla="*/ 75905 h 259829"/>
                <a:gd name="connsiteX51" fmla="*/ 323039 w 774600"/>
                <a:gd name="connsiteY51" fmla="*/ 56279 h 259829"/>
                <a:gd name="connsiteX52" fmla="*/ 314708 w 774600"/>
                <a:gd name="connsiteY52" fmla="*/ 43079 h 259829"/>
                <a:gd name="connsiteX53" fmla="*/ 303234 w 774600"/>
                <a:gd name="connsiteY53" fmla="*/ 35613 h 259829"/>
                <a:gd name="connsiteX54" fmla="*/ 288823 w 774600"/>
                <a:gd name="connsiteY54" fmla="*/ 33181 h 259829"/>
                <a:gd name="connsiteX55" fmla="*/ 271459 w 774600"/>
                <a:gd name="connsiteY55" fmla="*/ 37004 h 259829"/>
                <a:gd name="connsiteX56" fmla="*/ 258613 w 774600"/>
                <a:gd name="connsiteY56" fmla="*/ 48813 h 259829"/>
                <a:gd name="connsiteX57" fmla="*/ 250608 w 774600"/>
                <a:gd name="connsiteY57" fmla="*/ 70350 h 259829"/>
                <a:gd name="connsiteX58" fmla="*/ 248015 w 774600"/>
                <a:gd name="connsiteY58" fmla="*/ 102480 h 259829"/>
                <a:gd name="connsiteX59" fmla="*/ 248015 w 774600"/>
                <a:gd name="connsiteY59" fmla="*/ 155973 h 259829"/>
                <a:gd name="connsiteX60" fmla="*/ 249752 w 774600"/>
                <a:gd name="connsiteY60" fmla="*/ 182894 h 259829"/>
                <a:gd name="connsiteX61" fmla="*/ 254956 w 774600"/>
                <a:gd name="connsiteY61" fmla="*/ 202865 h 259829"/>
                <a:gd name="connsiteX62" fmla="*/ 263302 w 774600"/>
                <a:gd name="connsiteY62" fmla="*/ 216410 h 259829"/>
                <a:gd name="connsiteX63" fmla="*/ 274756 w 774600"/>
                <a:gd name="connsiteY63" fmla="*/ 224051 h 259829"/>
                <a:gd name="connsiteX64" fmla="*/ 289168 w 774600"/>
                <a:gd name="connsiteY64" fmla="*/ 226483 h 259829"/>
                <a:gd name="connsiteX65" fmla="*/ 306721 w 774600"/>
                <a:gd name="connsiteY65" fmla="*/ 222660 h 259829"/>
                <a:gd name="connsiteX66" fmla="*/ 319567 w 774600"/>
                <a:gd name="connsiteY66" fmla="*/ 210501 h 259829"/>
                <a:gd name="connsiteX67" fmla="*/ 327383 w 774600"/>
                <a:gd name="connsiteY67" fmla="*/ 188443 h 259829"/>
                <a:gd name="connsiteX68" fmla="*/ 329995 w 774600"/>
                <a:gd name="connsiteY68" fmla="*/ 155963 h 259829"/>
                <a:gd name="connsiteX69" fmla="*/ 578701 w 774600"/>
                <a:gd name="connsiteY69" fmla="*/ 223006 h 259829"/>
                <a:gd name="connsiteX70" fmla="*/ 578701 w 774600"/>
                <a:gd name="connsiteY70" fmla="*/ 256352 h 259829"/>
                <a:gd name="connsiteX71" fmla="*/ 409187 w 774600"/>
                <a:gd name="connsiteY71" fmla="*/ 256352 h 259829"/>
                <a:gd name="connsiteX72" fmla="*/ 409187 w 774600"/>
                <a:gd name="connsiteY72" fmla="*/ 227694 h 259829"/>
                <a:gd name="connsiteX73" fmla="*/ 491507 w 774600"/>
                <a:gd name="connsiteY73" fmla="*/ 137904 h 259829"/>
                <a:gd name="connsiteX74" fmla="*/ 512874 w 774600"/>
                <a:gd name="connsiteY74" fmla="*/ 111503 h 259829"/>
                <a:gd name="connsiteX75" fmla="*/ 523813 w 774600"/>
                <a:gd name="connsiteY75" fmla="*/ 91532 h 259829"/>
                <a:gd name="connsiteX76" fmla="*/ 527110 w 774600"/>
                <a:gd name="connsiteY76" fmla="*/ 73988 h 259829"/>
                <a:gd name="connsiteX77" fmla="*/ 522592 w 774600"/>
                <a:gd name="connsiteY77" fmla="*/ 52972 h 259829"/>
                <a:gd name="connsiteX78" fmla="*/ 509746 w 774600"/>
                <a:gd name="connsiteY78" fmla="*/ 38555 h 259829"/>
                <a:gd name="connsiteX79" fmla="*/ 489085 w 774600"/>
                <a:gd name="connsiteY79" fmla="*/ 33171 h 259829"/>
                <a:gd name="connsiteX80" fmla="*/ 465452 w 774600"/>
                <a:gd name="connsiteY80" fmla="*/ 39251 h 259829"/>
                <a:gd name="connsiteX81" fmla="*/ 451040 w 774600"/>
                <a:gd name="connsiteY81" fmla="*/ 56099 h 259829"/>
                <a:gd name="connsiteX82" fmla="*/ 446181 w 774600"/>
                <a:gd name="connsiteY82" fmla="*/ 80413 h 259829"/>
                <a:gd name="connsiteX83" fmla="*/ 404328 w 774600"/>
                <a:gd name="connsiteY83" fmla="*/ 80413 h 259829"/>
                <a:gd name="connsiteX84" fmla="*/ 414391 w 774600"/>
                <a:gd name="connsiteY84" fmla="*/ 40122 h 259829"/>
                <a:gd name="connsiteX85" fmla="*/ 443569 w 774600"/>
                <a:gd name="connsiteY85" fmla="*/ 10944 h 259829"/>
                <a:gd name="connsiteX86" fmla="*/ 489596 w 774600"/>
                <a:gd name="connsiteY86" fmla="*/ 0 h 259829"/>
                <a:gd name="connsiteX87" fmla="*/ 532670 w 774600"/>
                <a:gd name="connsiteY87" fmla="*/ 8512 h 259829"/>
                <a:gd name="connsiteX88" fmla="*/ 559581 w 774600"/>
                <a:gd name="connsiteY88" fmla="*/ 32656 h 259829"/>
                <a:gd name="connsiteX89" fmla="*/ 568958 w 774600"/>
                <a:gd name="connsiteY89" fmla="*/ 69650 h 259829"/>
                <a:gd name="connsiteX90" fmla="*/ 565145 w 774600"/>
                <a:gd name="connsiteY90" fmla="*/ 93098 h 259829"/>
                <a:gd name="connsiteX91" fmla="*/ 554207 w 774600"/>
                <a:gd name="connsiteY91" fmla="*/ 116372 h 259829"/>
                <a:gd name="connsiteX92" fmla="*/ 537704 w 774600"/>
                <a:gd name="connsiteY92" fmla="*/ 139470 h 259829"/>
                <a:gd name="connsiteX93" fmla="*/ 516697 w 774600"/>
                <a:gd name="connsiteY93" fmla="*/ 162743 h 259829"/>
                <a:gd name="connsiteX94" fmla="*/ 461979 w 774600"/>
                <a:gd name="connsiteY94" fmla="*/ 223011 h 259829"/>
                <a:gd name="connsiteX95" fmla="*/ 578701 w 774600"/>
                <a:gd name="connsiteY95" fmla="*/ 223011 h 259829"/>
                <a:gd name="connsiteX96" fmla="*/ 660505 w 774600"/>
                <a:gd name="connsiteY96" fmla="*/ 110982 h 259829"/>
                <a:gd name="connsiteX97" fmla="*/ 685510 w 774600"/>
                <a:gd name="connsiteY97" fmla="*/ 110982 h 259829"/>
                <a:gd name="connsiteX98" fmla="*/ 709639 w 774600"/>
                <a:gd name="connsiteY98" fmla="*/ 105948 h 259829"/>
                <a:gd name="connsiteX99" fmla="*/ 724065 w 774600"/>
                <a:gd name="connsiteY99" fmla="*/ 92052 h 259829"/>
                <a:gd name="connsiteX100" fmla="*/ 728754 w 774600"/>
                <a:gd name="connsiteY100" fmla="*/ 71731 h 259829"/>
                <a:gd name="connsiteX101" fmla="*/ 724411 w 774600"/>
                <a:gd name="connsiteY101" fmla="*/ 51240 h 259829"/>
                <a:gd name="connsiteX102" fmla="*/ 711565 w 774600"/>
                <a:gd name="connsiteY102" fmla="*/ 37865 h 259829"/>
                <a:gd name="connsiteX103" fmla="*/ 689858 w 774600"/>
                <a:gd name="connsiteY103" fmla="*/ 33176 h 259829"/>
                <a:gd name="connsiteX104" fmla="*/ 669712 w 774600"/>
                <a:gd name="connsiteY104" fmla="*/ 37690 h 259829"/>
                <a:gd name="connsiteX105" fmla="*/ 655626 w 774600"/>
                <a:gd name="connsiteY105" fmla="*/ 50195 h 259829"/>
                <a:gd name="connsiteX106" fmla="*/ 650422 w 774600"/>
                <a:gd name="connsiteY106" fmla="*/ 69300 h 259829"/>
                <a:gd name="connsiteX107" fmla="*/ 608394 w 774600"/>
                <a:gd name="connsiteY107" fmla="*/ 69300 h 259829"/>
                <a:gd name="connsiteX108" fmla="*/ 618992 w 774600"/>
                <a:gd name="connsiteY108" fmla="*/ 33521 h 259829"/>
                <a:gd name="connsiteX109" fmla="*/ 647810 w 774600"/>
                <a:gd name="connsiteY109" fmla="*/ 9032 h 259829"/>
                <a:gd name="connsiteX110" fmla="*/ 689148 w 774600"/>
                <a:gd name="connsiteY110" fmla="*/ 0 h 259829"/>
                <a:gd name="connsiteX111" fmla="*/ 731876 w 774600"/>
                <a:gd name="connsiteY111" fmla="*/ 8161 h 259829"/>
                <a:gd name="connsiteX112" fmla="*/ 760524 w 774600"/>
                <a:gd name="connsiteY112" fmla="*/ 32130 h 259829"/>
                <a:gd name="connsiteX113" fmla="*/ 770777 w 774600"/>
                <a:gd name="connsiteY113" fmla="*/ 71727 h 259829"/>
                <a:gd name="connsiteX114" fmla="*/ 765743 w 774600"/>
                <a:gd name="connsiteY114" fmla="*/ 93609 h 259829"/>
                <a:gd name="connsiteX115" fmla="*/ 750802 w 774600"/>
                <a:gd name="connsiteY115" fmla="*/ 113930 h 259829"/>
                <a:gd name="connsiteX116" fmla="*/ 726137 w 774600"/>
                <a:gd name="connsiteY116" fmla="*/ 128692 h 259829"/>
                <a:gd name="connsiteX117" fmla="*/ 691925 w 774600"/>
                <a:gd name="connsiteY117" fmla="*/ 134251 h 259829"/>
                <a:gd name="connsiteX118" fmla="*/ 660495 w 774600"/>
                <a:gd name="connsiteY118" fmla="*/ 134251 h 259829"/>
                <a:gd name="connsiteX119" fmla="*/ 660495 w 774600"/>
                <a:gd name="connsiteY119" fmla="*/ 110978 h 259829"/>
                <a:gd name="connsiteX120" fmla="*/ 660505 w 774600"/>
                <a:gd name="connsiteY120" fmla="*/ 143633 h 259829"/>
                <a:gd name="connsiteX121" fmla="*/ 660505 w 774600"/>
                <a:gd name="connsiteY121" fmla="*/ 120705 h 259829"/>
                <a:gd name="connsiteX122" fmla="*/ 691935 w 774600"/>
                <a:gd name="connsiteY122" fmla="*/ 120705 h 259829"/>
                <a:gd name="connsiteX123" fmla="*/ 729790 w 774600"/>
                <a:gd name="connsiteY123" fmla="*/ 125914 h 259829"/>
                <a:gd name="connsiteX124" fmla="*/ 755500 w 774600"/>
                <a:gd name="connsiteY124" fmla="*/ 140331 h 259829"/>
                <a:gd name="connsiteX125" fmla="*/ 769911 w 774600"/>
                <a:gd name="connsiteY125" fmla="*/ 160997 h 259829"/>
                <a:gd name="connsiteX126" fmla="*/ 774600 w 774600"/>
                <a:gd name="connsiteY126" fmla="*/ 185661 h 259829"/>
                <a:gd name="connsiteX127" fmla="*/ 768175 w 774600"/>
                <a:gd name="connsiteY127" fmla="*/ 217271 h 259829"/>
                <a:gd name="connsiteX128" fmla="*/ 750296 w 774600"/>
                <a:gd name="connsiteY128" fmla="*/ 240545 h 259829"/>
                <a:gd name="connsiteX129" fmla="*/ 723024 w 774600"/>
                <a:gd name="connsiteY129" fmla="*/ 254961 h 259829"/>
                <a:gd name="connsiteX130" fmla="*/ 689328 w 774600"/>
                <a:gd name="connsiteY130" fmla="*/ 259825 h 259829"/>
                <a:gd name="connsiteX131" fmla="*/ 658068 w 774600"/>
                <a:gd name="connsiteY131" fmla="*/ 255311 h 259829"/>
                <a:gd name="connsiteX132" fmla="*/ 631327 w 774600"/>
                <a:gd name="connsiteY132" fmla="*/ 241940 h 259829"/>
                <a:gd name="connsiteX133" fmla="*/ 612572 w 774600"/>
                <a:gd name="connsiteY133" fmla="*/ 219538 h 259829"/>
                <a:gd name="connsiteX134" fmla="*/ 605787 w 774600"/>
                <a:gd name="connsiteY134" fmla="*/ 188273 h 259829"/>
                <a:gd name="connsiteX135" fmla="*/ 647640 w 774600"/>
                <a:gd name="connsiteY135" fmla="*/ 188273 h 259829"/>
                <a:gd name="connsiteX136" fmla="*/ 652859 w 774600"/>
                <a:gd name="connsiteY136" fmla="*/ 208249 h 259829"/>
                <a:gd name="connsiteX137" fmla="*/ 667786 w 774600"/>
                <a:gd name="connsiteY137" fmla="*/ 221619 h 259829"/>
                <a:gd name="connsiteX138" fmla="*/ 690028 w 774600"/>
                <a:gd name="connsiteY138" fmla="*/ 226483 h 259829"/>
                <a:gd name="connsiteX139" fmla="*/ 712767 w 774600"/>
                <a:gd name="connsiteY139" fmla="*/ 221795 h 259829"/>
                <a:gd name="connsiteX140" fmla="*/ 727363 w 774600"/>
                <a:gd name="connsiteY140" fmla="*/ 207899 h 259829"/>
                <a:gd name="connsiteX141" fmla="*/ 732567 w 774600"/>
                <a:gd name="connsiteY141" fmla="*/ 185671 h 259829"/>
                <a:gd name="connsiteX142" fmla="*/ 726847 w 774600"/>
                <a:gd name="connsiteY142" fmla="*/ 161702 h 259829"/>
                <a:gd name="connsiteX143" fmla="*/ 710515 w 774600"/>
                <a:gd name="connsiteY143" fmla="*/ 148157 h 259829"/>
                <a:gd name="connsiteX144" fmla="*/ 685510 w 774600"/>
                <a:gd name="connsiteY144" fmla="*/ 143643 h 259829"/>
                <a:gd name="connsiteX145" fmla="*/ 660505 w 774600"/>
                <a:gd name="connsiteY145" fmla="*/ 143643 h 2598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</a:cxnLst>
              <a:rect l="l" t="t" r="r" b="b"/>
              <a:pathLst>
                <a:path w="774600" h="259829">
                  <a:moveTo>
                    <a:pt x="174372" y="223011"/>
                  </a:moveTo>
                  <a:lnTo>
                    <a:pt x="174372" y="256357"/>
                  </a:lnTo>
                  <a:lnTo>
                    <a:pt x="4859" y="256357"/>
                  </a:lnTo>
                  <a:lnTo>
                    <a:pt x="4859" y="227699"/>
                  </a:lnTo>
                  <a:lnTo>
                    <a:pt x="87193" y="137908"/>
                  </a:lnTo>
                  <a:cubicBezTo>
                    <a:pt x="96211" y="127719"/>
                    <a:pt x="103336" y="118920"/>
                    <a:pt x="108541" y="111508"/>
                  </a:cubicBezTo>
                  <a:cubicBezTo>
                    <a:pt x="113760" y="104095"/>
                    <a:pt x="117403" y="97442"/>
                    <a:pt x="119499" y="91537"/>
                  </a:cubicBezTo>
                  <a:cubicBezTo>
                    <a:pt x="121697" y="85516"/>
                    <a:pt x="122797" y="79669"/>
                    <a:pt x="122797" y="73993"/>
                  </a:cubicBezTo>
                  <a:cubicBezTo>
                    <a:pt x="122797" y="66002"/>
                    <a:pt x="121284" y="58998"/>
                    <a:pt x="118278" y="52977"/>
                  </a:cubicBezTo>
                  <a:cubicBezTo>
                    <a:pt x="115374" y="46838"/>
                    <a:pt x="111099" y="42033"/>
                    <a:pt x="105413" y="38560"/>
                  </a:cubicBezTo>
                  <a:cubicBezTo>
                    <a:pt x="99747" y="34971"/>
                    <a:pt x="92860" y="33176"/>
                    <a:pt x="84752" y="33176"/>
                  </a:cubicBezTo>
                  <a:cubicBezTo>
                    <a:pt x="75374" y="33176"/>
                    <a:pt x="67510" y="35204"/>
                    <a:pt x="61138" y="39256"/>
                  </a:cubicBezTo>
                  <a:cubicBezTo>
                    <a:pt x="54766" y="43307"/>
                    <a:pt x="49956" y="48925"/>
                    <a:pt x="46712" y="56104"/>
                  </a:cubicBezTo>
                  <a:cubicBezTo>
                    <a:pt x="43482" y="63166"/>
                    <a:pt x="41853" y="71274"/>
                    <a:pt x="41853" y="80418"/>
                  </a:cubicBezTo>
                  <a:lnTo>
                    <a:pt x="0" y="80418"/>
                  </a:lnTo>
                  <a:cubicBezTo>
                    <a:pt x="0" y="65715"/>
                    <a:pt x="3366" y="52281"/>
                    <a:pt x="10083" y="40126"/>
                  </a:cubicBezTo>
                  <a:cubicBezTo>
                    <a:pt x="16800" y="27855"/>
                    <a:pt x="26517" y="18127"/>
                    <a:pt x="39261" y="10948"/>
                  </a:cubicBezTo>
                  <a:cubicBezTo>
                    <a:pt x="51989" y="3653"/>
                    <a:pt x="67325" y="5"/>
                    <a:pt x="85272" y="5"/>
                  </a:cubicBezTo>
                  <a:cubicBezTo>
                    <a:pt x="102189" y="5"/>
                    <a:pt x="116546" y="2840"/>
                    <a:pt x="128346" y="8517"/>
                  </a:cubicBezTo>
                  <a:cubicBezTo>
                    <a:pt x="140160" y="14193"/>
                    <a:pt x="149129" y="22237"/>
                    <a:pt x="155277" y="32660"/>
                  </a:cubicBezTo>
                  <a:cubicBezTo>
                    <a:pt x="161527" y="43079"/>
                    <a:pt x="164654" y="55413"/>
                    <a:pt x="164654" y="69655"/>
                  </a:cubicBezTo>
                  <a:cubicBezTo>
                    <a:pt x="164654" y="77529"/>
                    <a:pt x="163385" y="85345"/>
                    <a:pt x="160827" y="93103"/>
                  </a:cubicBezTo>
                  <a:cubicBezTo>
                    <a:pt x="158283" y="100861"/>
                    <a:pt x="154645" y="108619"/>
                    <a:pt x="149888" y="116376"/>
                  </a:cubicBezTo>
                  <a:cubicBezTo>
                    <a:pt x="145267" y="124017"/>
                    <a:pt x="139757" y="131717"/>
                    <a:pt x="133400" y="139475"/>
                  </a:cubicBezTo>
                  <a:cubicBezTo>
                    <a:pt x="127028" y="147116"/>
                    <a:pt x="120019" y="154873"/>
                    <a:pt x="112378" y="162748"/>
                  </a:cubicBezTo>
                  <a:lnTo>
                    <a:pt x="57675" y="223015"/>
                  </a:lnTo>
                  <a:lnTo>
                    <a:pt x="174377" y="223015"/>
                  </a:lnTo>
                  <a:close/>
                  <a:moveTo>
                    <a:pt x="371848" y="108730"/>
                  </a:moveTo>
                  <a:lnTo>
                    <a:pt x="371848" y="150063"/>
                  </a:lnTo>
                  <a:cubicBezTo>
                    <a:pt x="371848" y="169864"/>
                    <a:pt x="369873" y="186765"/>
                    <a:pt x="365938" y="200778"/>
                  </a:cubicBezTo>
                  <a:cubicBezTo>
                    <a:pt x="362125" y="214674"/>
                    <a:pt x="356561" y="225963"/>
                    <a:pt x="349260" y="234645"/>
                  </a:cubicBezTo>
                  <a:cubicBezTo>
                    <a:pt x="341960" y="243327"/>
                    <a:pt x="333219" y="249698"/>
                    <a:pt x="323035" y="253750"/>
                  </a:cubicBezTo>
                  <a:cubicBezTo>
                    <a:pt x="312971" y="257801"/>
                    <a:pt x="301668" y="259830"/>
                    <a:pt x="289168" y="259830"/>
                  </a:cubicBezTo>
                  <a:cubicBezTo>
                    <a:pt x="279221" y="259830"/>
                    <a:pt x="269951" y="258555"/>
                    <a:pt x="261381" y="256011"/>
                  </a:cubicBezTo>
                  <a:cubicBezTo>
                    <a:pt x="252933" y="253463"/>
                    <a:pt x="245287" y="249470"/>
                    <a:pt x="238468" y="244027"/>
                  </a:cubicBezTo>
                  <a:cubicBezTo>
                    <a:pt x="231634" y="238584"/>
                    <a:pt x="225773" y="231581"/>
                    <a:pt x="220914" y="223011"/>
                  </a:cubicBezTo>
                  <a:cubicBezTo>
                    <a:pt x="216172" y="214329"/>
                    <a:pt x="212466" y="203964"/>
                    <a:pt x="209800" y="191921"/>
                  </a:cubicBezTo>
                  <a:cubicBezTo>
                    <a:pt x="207256" y="179878"/>
                    <a:pt x="205972" y="165929"/>
                    <a:pt x="205972" y="150063"/>
                  </a:cubicBezTo>
                  <a:lnTo>
                    <a:pt x="205972" y="108730"/>
                  </a:lnTo>
                  <a:cubicBezTo>
                    <a:pt x="205972" y="88813"/>
                    <a:pt x="207947" y="72028"/>
                    <a:pt x="211882" y="58366"/>
                  </a:cubicBezTo>
                  <a:cubicBezTo>
                    <a:pt x="215831" y="44587"/>
                    <a:pt x="221430" y="33414"/>
                    <a:pt x="228730" y="24844"/>
                  </a:cubicBezTo>
                  <a:cubicBezTo>
                    <a:pt x="236031" y="16162"/>
                    <a:pt x="244722" y="9849"/>
                    <a:pt x="254786" y="5914"/>
                  </a:cubicBezTo>
                  <a:cubicBezTo>
                    <a:pt x="264970" y="1975"/>
                    <a:pt x="276323" y="10"/>
                    <a:pt x="288827" y="10"/>
                  </a:cubicBezTo>
                  <a:cubicBezTo>
                    <a:pt x="298910" y="10"/>
                    <a:pt x="308166" y="1284"/>
                    <a:pt x="316614" y="3833"/>
                  </a:cubicBezTo>
                  <a:cubicBezTo>
                    <a:pt x="325184" y="6265"/>
                    <a:pt x="332825" y="10141"/>
                    <a:pt x="339542" y="15467"/>
                  </a:cubicBezTo>
                  <a:cubicBezTo>
                    <a:pt x="346376" y="20793"/>
                    <a:pt x="352164" y="27738"/>
                    <a:pt x="356906" y="36308"/>
                  </a:cubicBezTo>
                  <a:cubicBezTo>
                    <a:pt x="361765" y="44762"/>
                    <a:pt x="365476" y="55010"/>
                    <a:pt x="368020" y="67048"/>
                  </a:cubicBezTo>
                  <a:cubicBezTo>
                    <a:pt x="370578" y="78974"/>
                    <a:pt x="371848" y="92870"/>
                    <a:pt x="371848" y="108730"/>
                  </a:cubicBezTo>
                  <a:close/>
                  <a:moveTo>
                    <a:pt x="329995" y="155968"/>
                  </a:moveTo>
                  <a:lnTo>
                    <a:pt x="329995" y="102476"/>
                  </a:lnTo>
                  <a:cubicBezTo>
                    <a:pt x="329995" y="92403"/>
                    <a:pt x="329411" y="83546"/>
                    <a:pt x="328258" y="75905"/>
                  </a:cubicBezTo>
                  <a:cubicBezTo>
                    <a:pt x="327091" y="68147"/>
                    <a:pt x="325355" y="61605"/>
                    <a:pt x="323039" y="56279"/>
                  </a:cubicBezTo>
                  <a:cubicBezTo>
                    <a:pt x="320841" y="50837"/>
                    <a:pt x="318059" y="46440"/>
                    <a:pt x="314708" y="43079"/>
                  </a:cubicBezTo>
                  <a:cubicBezTo>
                    <a:pt x="311342" y="39606"/>
                    <a:pt x="307529" y="37116"/>
                    <a:pt x="303234" y="35613"/>
                  </a:cubicBezTo>
                  <a:cubicBezTo>
                    <a:pt x="298959" y="33993"/>
                    <a:pt x="294148" y="33181"/>
                    <a:pt x="288823" y="33181"/>
                  </a:cubicBezTo>
                  <a:cubicBezTo>
                    <a:pt x="282349" y="33181"/>
                    <a:pt x="276542" y="34455"/>
                    <a:pt x="271459" y="37004"/>
                  </a:cubicBezTo>
                  <a:cubicBezTo>
                    <a:pt x="266357" y="39436"/>
                    <a:pt x="262081" y="43371"/>
                    <a:pt x="258613" y="48813"/>
                  </a:cubicBezTo>
                  <a:cubicBezTo>
                    <a:pt x="255126" y="54256"/>
                    <a:pt x="252466" y="61435"/>
                    <a:pt x="250608" y="70350"/>
                  </a:cubicBezTo>
                  <a:cubicBezTo>
                    <a:pt x="248871" y="79149"/>
                    <a:pt x="248015" y="89859"/>
                    <a:pt x="248015" y="102480"/>
                  </a:cubicBezTo>
                  <a:lnTo>
                    <a:pt x="248015" y="155973"/>
                  </a:lnTo>
                  <a:cubicBezTo>
                    <a:pt x="248015" y="166162"/>
                    <a:pt x="248584" y="175136"/>
                    <a:pt x="249752" y="182894"/>
                  </a:cubicBezTo>
                  <a:cubicBezTo>
                    <a:pt x="250904" y="190652"/>
                    <a:pt x="252636" y="197310"/>
                    <a:pt x="254956" y="202865"/>
                  </a:cubicBezTo>
                  <a:cubicBezTo>
                    <a:pt x="257276" y="208307"/>
                    <a:pt x="260058" y="212821"/>
                    <a:pt x="263302" y="216410"/>
                  </a:cubicBezTo>
                  <a:cubicBezTo>
                    <a:pt x="266653" y="219883"/>
                    <a:pt x="270481" y="222432"/>
                    <a:pt x="274756" y="224051"/>
                  </a:cubicBezTo>
                  <a:cubicBezTo>
                    <a:pt x="279153" y="225671"/>
                    <a:pt x="283964" y="226483"/>
                    <a:pt x="289168" y="226483"/>
                  </a:cubicBezTo>
                  <a:cubicBezTo>
                    <a:pt x="295778" y="226483"/>
                    <a:pt x="301619" y="225209"/>
                    <a:pt x="306721" y="222660"/>
                  </a:cubicBezTo>
                  <a:cubicBezTo>
                    <a:pt x="311804" y="220112"/>
                    <a:pt x="316099" y="216060"/>
                    <a:pt x="319567" y="210501"/>
                  </a:cubicBezTo>
                  <a:cubicBezTo>
                    <a:pt x="323035" y="204830"/>
                    <a:pt x="325646" y="197476"/>
                    <a:pt x="327383" y="188443"/>
                  </a:cubicBezTo>
                  <a:cubicBezTo>
                    <a:pt x="329119" y="179411"/>
                    <a:pt x="329995" y="168585"/>
                    <a:pt x="329995" y="155963"/>
                  </a:cubicBezTo>
                  <a:close/>
                  <a:moveTo>
                    <a:pt x="578701" y="223006"/>
                  </a:moveTo>
                  <a:lnTo>
                    <a:pt x="578701" y="256352"/>
                  </a:lnTo>
                  <a:lnTo>
                    <a:pt x="409187" y="256352"/>
                  </a:lnTo>
                  <a:lnTo>
                    <a:pt x="409187" y="227694"/>
                  </a:lnTo>
                  <a:lnTo>
                    <a:pt x="491507" y="137904"/>
                  </a:lnTo>
                  <a:cubicBezTo>
                    <a:pt x="500539" y="127714"/>
                    <a:pt x="507670" y="118915"/>
                    <a:pt x="512874" y="111503"/>
                  </a:cubicBezTo>
                  <a:cubicBezTo>
                    <a:pt x="518078" y="104090"/>
                    <a:pt x="521736" y="97437"/>
                    <a:pt x="523813" y="91532"/>
                  </a:cubicBezTo>
                  <a:cubicBezTo>
                    <a:pt x="526011" y="85511"/>
                    <a:pt x="527110" y="79664"/>
                    <a:pt x="527110" y="73988"/>
                  </a:cubicBezTo>
                  <a:cubicBezTo>
                    <a:pt x="527110" y="65997"/>
                    <a:pt x="525617" y="58993"/>
                    <a:pt x="522592" y="52972"/>
                  </a:cubicBezTo>
                  <a:cubicBezTo>
                    <a:pt x="519708" y="46834"/>
                    <a:pt x="515413" y="42028"/>
                    <a:pt x="509746" y="38555"/>
                  </a:cubicBezTo>
                  <a:cubicBezTo>
                    <a:pt x="504080" y="34966"/>
                    <a:pt x="497193" y="33171"/>
                    <a:pt x="489085" y="33171"/>
                  </a:cubicBezTo>
                  <a:cubicBezTo>
                    <a:pt x="479708" y="33171"/>
                    <a:pt x="471823" y="35199"/>
                    <a:pt x="465452" y="39251"/>
                  </a:cubicBezTo>
                  <a:cubicBezTo>
                    <a:pt x="459095" y="43302"/>
                    <a:pt x="454289" y="48920"/>
                    <a:pt x="451040" y="56099"/>
                  </a:cubicBezTo>
                  <a:cubicBezTo>
                    <a:pt x="447796" y="63161"/>
                    <a:pt x="446181" y="71269"/>
                    <a:pt x="446181" y="80413"/>
                  </a:cubicBezTo>
                  <a:lnTo>
                    <a:pt x="404328" y="80413"/>
                  </a:lnTo>
                  <a:cubicBezTo>
                    <a:pt x="404328" y="65710"/>
                    <a:pt x="407679" y="52276"/>
                    <a:pt x="414391" y="40122"/>
                  </a:cubicBezTo>
                  <a:cubicBezTo>
                    <a:pt x="421108" y="27850"/>
                    <a:pt x="430846" y="18123"/>
                    <a:pt x="443569" y="10944"/>
                  </a:cubicBezTo>
                  <a:cubicBezTo>
                    <a:pt x="456313" y="3648"/>
                    <a:pt x="471648" y="0"/>
                    <a:pt x="489596" y="0"/>
                  </a:cubicBezTo>
                  <a:cubicBezTo>
                    <a:pt x="506497" y="0"/>
                    <a:pt x="520855" y="2836"/>
                    <a:pt x="532670" y="8512"/>
                  </a:cubicBezTo>
                  <a:cubicBezTo>
                    <a:pt x="544484" y="14188"/>
                    <a:pt x="553453" y="22232"/>
                    <a:pt x="559581" y="32656"/>
                  </a:cubicBezTo>
                  <a:cubicBezTo>
                    <a:pt x="565831" y="43074"/>
                    <a:pt x="568958" y="55409"/>
                    <a:pt x="568958" y="69650"/>
                  </a:cubicBezTo>
                  <a:cubicBezTo>
                    <a:pt x="568958" y="77524"/>
                    <a:pt x="567689" y="85340"/>
                    <a:pt x="565145" y="93098"/>
                  </a:cubicBezTo>
                  <a:cubicBezTo>
                    <a:pt x="562601" y="100856"/>
                    <a:pt x="558944" y="108614"/>
                    <a:pt x="554207" y="116372"/>
                  </a:cubicBezTo>
                  <a:cubicBezTo>
                    <a:pt x="549571" y="124013"/>
                    <a:pt x="544075" y="131712"/>
                    <a:pt x="537704" y="139470"/>
                  </a:cubicBezTo>
                  <a:cubicBezTo>
                    <a:pt x="531332" y="147111"/>
                    <a:pt x="524323" y="154869"/>
                    <a:pt x="516697" y="162743"/>
                  </a:cubicBezTo>
                  <a:lnTo>
                    <a:pt x="461979" y="223011"/>
                  </a:lnTo>
                  <a:lnTo>
                    <a:pt x="578701" y="223011"/>
                  </a:lnTo>
                  <a:close/>
                  <a:moveTo>
                    <a:pt x="660505" y="110982"/>
                  </a:moveTo>
                  <a:lnTo>
                    <a:pt x="685510" y="110982"/>
                  </a:lnTo>
                  <a:cubicBezTo>
                    <a:pt x="695233" y="110982"/>
                    <a:pt x="703287" y="109304"/>
                    <a:pt x="709639" y="105948"/>
                  </a:cubicBezTo>
                  <a:cubicBezTo>
                    <a:pt x="716132" y="102592"/>
                    <a:pt x="720943" y="97957"/>
                    <a:pt x="724065" y="92052"/>
                  </a:cubicBezTo>
                  <a:cubicBezTo>
                    <a:pt x="727193" y="86148"/>
                    <a:pt x="728754" y="79373"/>
                    <a:pt x="728754" y="71731"/>
                  </a:cubicBezTo>
                  <a:cubicBezTo>
                    <a:pt x="728754" y="64090"/>
                    <a:pt x="727295" y="56911"/>
                    <a:pt x="724411" y="51240"/>
                  </a:cubicBezTo>
                  <a:cubicBezTo>
                    <a:pt x="721628" y="45452"/>
                    <a:pt x="717353" y="40992"/>
                    <a:pt x="711565" y="37865"/>
                  </a:cubicBezTo>
                  <a:cubicBezTo>
                    <a:pt x="705879" y="34737"/>
                    <a:pt x="698652" y="33176"/>
                    <a:pt x="689858" y="33176"/>
                  </a:cubicBezTo>
                  <a:cubicBezTo>
                    <a:pt x="682441" y="33176"/>
                    <a:pt x="675724" y="34679"/>
                    <a:pt x="669712" y="37690"/>
                  </a:cubicBezTo>
                  <a:cubicBezTo>
                    <a:pt x="663803" y="40584"/>
                    <a:pt x="659114" y="44752"/>
                    <a:pt x="655626" y="50195"/>
                  </a:cubicBezTo>
                  <a:cubicBezTo>
                    <a:pt x="652159" y="55520"/>
                    <a:pt x="650422" y="61887"/>
                    <a:pt x="650422" y="69300"/>
                  </a:cubicBezTo>
                  <a:lnTo>
                    <a:pt x="608394" y="69300"/>
                  </a:lnTo>
                  <a:cubicBezTo>
                    <a:pt x="608394" y="55866"/>
                    <a:pt x="611916" y="43945"/>
                    <a:pt x="618992" y="33521"/>
                  </a:cubicBezTo>
                  <a:cubicBezTo>
                    <a:pt x="626050" y="23103"/>
                    <a:pt x="635670" y="14937"/>
                    <a:pt x="647810" y="9032"/>
                  </a:cubicBezTo>
                  <a:cubicBezTo>
                    <a:pt x="660092" y="3011"/>
                    <a:pt x="673866" y="0"/>
                    <a:pt x="689148" y="0"/>
                  </a:cubicBezTo>
                  <a:cubicBezTo>
                    <a:pt x="705480" y="0"/>
                    <a:pt x="719717" y="2724"/>
                    <a:pt x="731876" y="8161"/>
                  </a:cubicBezTo>
                  <a:cubicBezTo>
                    <a:pt x="744138" y="13487"/>
                    <a:pt x="753705" y="21479"/>
                    <a:pt x="760524" y="32130"/>
                  </a:cubicBezTo>
                  <a:cubicBezTo>
                    <a:pt x="767358" y="42782"/>
                    <a:pt x="770777" y="55982"/>
                    <a:pt x="770777" y="71727"/>
                  </a:cubicBezTo>
                  <a:cubicBezTo>
                    <a:pt x="770777" y="78906"/>
                    <a:pt x="769094" y="86201"/>
                    <a:pt x="765743" y="93609"/>
                  </a:cubicBezTo>
                  <a:cubicBezTo>
                    <a:pt x="762378" y="101021"/>
                    <a:pt x="757397" y="107792"/>
                    <a:pt x="750802" y="113930"/>
                  </a:cubicBezTo>
                  <a:cubicBezTo>
                    <a:pt x="744206" y="119951"/>
                    <a:pt x="735982" y="124869"/>
                    <a:pt x="726137" y="128692"/>
                  </a:cubicBezTo>
                  <a:cubicBezTo>
                    <a:pt x="716298" y="132398"/>
                    <a:pt x="704892" y="134251"/>
                    <a:pt x="691925" y="134251"/>
                  </a:cubicBezTo>
                  <a:lnTo>
                    <a:pt x="660495" y="134251"/>
                  </a:lnTo>
                  <a:lnTo>
                    <a:pt x="660495" y="110978"/>
                  </a:lnTo>
                  <a:close/>
                  <a:moveTo>
                    <a:pt x="660505" y="143633"/>
                  </a:moveTo>
                  <a:lnTo>
                    <a:pt x="660505" y="120705"/>
                  </a:lnTo>
                  <a:lnTo>
                    <a:pt x="691935" y="120705"/>
                  </a:lnTo>
                  <a:cubicBezTo>
                    <a:pt x="706755" y="120705"/>
                    <a:pt x="719381" y="122442"/>
                    <a:pt x="729790" y="125914"/>
                  </a:cubicBezTo>
                  <a:cubicBezTo>
                    <a:pt x="740335" y="129387"/>
                    <a:pt x="748905" y="134193"/>
                    <a:pt x="755500" y="140331"/>
                  </a:cubicBezTo>
                  <a:cubicBezTo>
                    <a:pt x="762095" y="146352"/>
                    <a:pt x="766906" y="153239"/>
                    <a:pt x="769911" y="160997"/>
                  </a:cubicBezTo>
                  <a:cubicBezTo>
                    <a:pt x="773039" y="168755"/>
                    <a:pt x="774600" y="176975"/>
                    <a:pt x="774600" y="185661"/>
                  </a:cubicBezTo>
                  <a:cubicBezTo>
                    <a:pt x="774600" y="197471"/>
                    <a:pt x="772470" y="208006"/>
                    <a:pt x="768175" y="217271"/>
                  </a:cubicBezTo>
                  <a:cubicBezTo>
                    <a:pt x="764016" y="226420"/>
                    <a:pt x="758044" y="234178"/>
                    <a:pt x="750296" y="240545"/>
                  </a:cubicBezTo>
                  <a:cubicBezTo>
                    <a:pt x="742533" y="246911"/>
                    <a:pt x="733447" y="251717"/>
                    <a:pt x="723024" y="254961"/>
                  </a:cubicBezTo>
                  <a:cubicBezTo>
                    <a:pt x="712718" y="258205"/>
                    <a:pt x="701487" y="259825"/>
                    <a:pt x="689328" y="259825"/>
                  </a:cubicBezTo>
                  <a:cubicBezTo>
                    <a:pt x="678457" y="259825"/>
                    <a:pt x="668029" y="258322"/>
                    <a:pt x="658068" y="255311"/>
                  </a:cubicBezTo>
                  <a:cubicBezTo>
                    <a:pt x="648107" y="252300"/>
                    <a:pt x="639192" y="247845"/>
                    <a:pt x="631327" y="241940"/>
                  </a:cubicBezTo>
                  <a:cubicBezTo>
                    <a:pt x="623443" y="235919"/>
                    <a:pt x="617193" y="228453"/>
                    <a:pt x="612572" y="219538"/>
                  </a:cubicBezTo>
                  <a:cubicBezTo>
                    <a:pt x="608054" y="210506"/>
                    <a:pt x="605787" y="200087"/>
                    <a:pt x="605787" y="188273"/>
                  </a:cubicBezTo>
                  <a:lnTo>
                    <a:pt x="647640" y="188273"/>
                  </a:lnTo>
                  <a:cubicBezTo>
                    <a:pt x="647640" y="195802"/>
                    <a:pt x="649377" y="202456"/>
                    <a:pt x="652859" y="208249"/>
                  </a:cubicBezTo>
                  <a:cubicBezTo>
                    <a:pt x="656449" y="213920"/>
                    <a:pt x="661429" y="218380"/>
                    <a:pt x="667786" y="221619"/>
                  </a:cubicBezTo>
                  <a:cubicBezTo>
                    <a:pt x="674279" y="224864"/>
                    <a:pt x="681682" y="226483"/>
                    <a:pt x="690028" y="226483"/>
                  </a:cubicBezTo>
                  <a:cubicBezTo>
                    <a:pt x="698822" y="226483"/>
                    <a:pt x="706415" y="224922"/>
                    <a:pt x="712767" y="221795"/>
                  </a:cubicBezTo>
                  <a:cubicBezTo>
                    <a:pt x="719138" y="218667"/>
                    <a:pt x="723997" y="214037"/>
                    <a:pt x="727363" y="207899"/>
                  </a:cubicBezTo>
                  <a:cubicBezTo>
                    <a:pt x="730831" y="201761"/>
                    <a:pt x="732567" y="194353"/>
                    <a:pt x="732567" y="185671"/>
                  </a:cubicBezTo>
                  <a:cubicBezTo>
                    <a:pt x="732567" y="175827"/>
                    <a:pt x="730660" y="167840"/>
                    <a:pt x="726847" y="161702"/>
                  </a:cubicBezTo>
                  <a:cubicBezTo>
                    <a:pt x="723019" y="155564"/>
                    <a:pt x="717572" y="151050"/>
                    <a:pt x="710515" y="148157"/>
                  </a:cubicBezTo>
                  <a:cubicBezTo>
                    <a:pt x="703457" y="145146"/>
                    <a:pt x="695111" y="143643"/>
                    <a:pt x="685510" y="143643"/>
                  </a:cubicBezTo>
                  <a:lnTo>
                    <a:pt x="660505" y="143643"/>
                  </a:lnTo>
                  <a:close/>
                </a:path>
              </a:pathLst>
            </a:custGeom>
            <a:solidFill>
              <a:schemeClr val="tx1"/>
            </a:solidFill>
            <a:ln w="4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pic>
        <p:nvPicPr>
          <p:cNvPr id="389" name="Рисунок 388">
            <a:extLst>
              <a:ext uri="{FF2B5EF4-FFF2-40B4-BE49-F238E27FC236}">
                <a16:creationId xmlns:a16="http://schemas.microsoft.com/office/drawing/2014/main" id="{B78B384F-F3A2-4E10-8405-6E2FAB593BD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03721" y="6049020"/>
            <a:ext cx="1688608" cy="472507"/>
          </a:xfrm>
          <a:prstGeom prst="rect">
            <a:avLst/>
          </a:prstGeom>
        </p:spPr>
      </p:pic>
      <p:grpSp>
        <p:nvGrpSpPr>
          <p:cNvPr id="3" name="Группа 2">
            <a:extLst>
              <a:ext uri="{FF2B5EF4-FFF2-40B4-BE49-F238E27FC236}">
                <a16:creationId xmlns:a16="http://schemas.microsoft.com/office/drawing/2014/main" id="{98885CD1-E2EB-4889-AB17-44D56C345C06}"/>
              </a:ext>
            </a:extLst>
          </p:cNvPr>
          <p:cNvGrpSpPr/>
          <p:nvPr/>
        </p:nvGrpSpPr>
        <p:grpSpPr>
          <a:xfrm>
            <a:off x="838784" y="2028337"/>
            <a:ext cx="3166090" cy="2801326"/>
            <a:chOff x="838784" y="2028337"/>
            <a:chExt cx="3166090" cy="2801326"/>
          </a:xfrm>
        </p:grpSpPr>
        <p:sp>
          <p:nvSpPr>
            <p:cNvPr id="31" name="Shape_фон">
              <a:extLst>
                <a:ext uri="{FF2B5EF4-FFF2-40B4-BE49-F238E27FC236}">
                  <a16:creationId xmlns:a16="http://schemas.microsoft.com/office/drawing/2014/main" id="{BB03D6B7-BF89-4805-9BF0-98D134C0B5AF}"/>
                </a:ext>
              </a:extLst>
            </p:cNvPr>
            <p:cNvSpPr/>
            <p:nvPr/>
          </p:nvSpPr>
          <p:spPr>
            <a:xfrm>
              <a:off x="838784" y="2028337"/>
              <a:ext cx="3166090" cy="2801326"/>
            </a:xfrm>
            <a:prstGeom prst="roundRect">
              <a:avLst>
                <a:gd name="adj" fmla="val 8571"/>
              </a:avLst>
            </a:prstGeom>
            <a:solidFill>
              <a:schemeClr val="bg1"/>
            </a:solidFill>
            <a:ln w="12700" cap="flat">
              <a:noFill/>
              <a:prstDash val="solid"/>
              <a:miter/>
            </a:ln>
            <a:effectLst>
              <a:outerShdw blurRad="1003300" sx="102000" sy="102000" algn="ctr" rotWithShape="0">
                <a:schemeClr val="tx1">
                  <a:alpha val="20000"/>
                </a:schemeClr>
              </a:outerShdw>
            </a:effectLst>
          </p:spPr>
          <p:txBody>
            <a:bodyPr lIns="0" tIns="0" rIns="0" bIns="0" anchor="ctr"/>
            <a:lstStyle/>
            <a:p>
              <a:pPr marL="0" marR="0" lvl="0" indent="0" algn="ctr" defTabSz="309563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itchFamily="2" charset="0"/>
                <a:ea typeface="Roboto" pitchFamily="2" charset="0"/>
                <a:cs typeface="Poppins Bold"/>
                <a:sym typeface="Poppins Bold"/>
              </a:endParaRPr>
            </a:p>
          </p:txBody>
        </p:sp>
        <p:sp>
          <p:nvSpPr>
            <p:cNvPr id="37" name="Заголовок">
              <a:extLst>
                <a:ext uri="{FF2B5EF4-FFF2-40B4-BE49-F238E27FC236}">
                  <a16:creationId xmlns:a16="http://schemas.microsoft.com/office/drawing/2014/main" id="{E6A8F930-56C4-43BC-B6E6-B3F52C65F3E5}"/>
                </a:ext>
              </a:extLst>
            </p:cNvPr>
            <p:cNvSpPr txBox="1"/>
            <p:nvPr/>
          </p:nvSpPr>
          <p:spPr>
            <a:xfrm>
              <a:off x="1901643" y="2052179"/>
              <a:ext cx="1040373" cy="186204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ru-RU" sz="11500" dirty="0">
                  <a:solidFill>
                    <a:schemeClr val="bg2"/>
                  </a:solidFill>
                  <a:latin typeface="SB Sans Text Medium" panose="020B0603040504020204" pitchFamily="34" charset="-52"/>
                  <a:ea typeface="Roboto" pitchFamily="2" charset="0"/>
                  <a:cs typeface="SB Sans Text Medium" panose="020B0603040504020204" pitchFamily="34" charset="-52"/>
                </a:rPr>
                <a:t>3</a:t>
              </a:r>
            </a:p>
          </p:txBody>
        </p:sp>
        <p:sp>
          <p:nvSpPr>
            <p:cNvPr id="38" name="Motion design">
              <a:extLst>
                <a:ext uri="{FF2B5EF4-FFF2-40B4-BE49-F238E27FC236}">
                  <a16:creationId xmlns:a16="http://schemas.microsoft.com/office/drawing/2014/main" id="{DA93684F-37BE-48D7-AD10-22B5F35451C6}"/>
                </a:ext>
              </a:extLst>
            </p:cNvPr>
            <p:cNvSpPr txBox="1"/>
            <p:nvPr/>
          </p:nvSpPr>
          <p:spPr>
            <a:xfrm>
              <a:off x="1194247" y="3823693"/>
              <a:ext cx="2455164" cy="613566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</a:ext>
            </a:extLst>
          </p:spPr>
          <p:txBody>
            <a:bodyPr wrap="square" lIns="0" tIns="0" rIns="0" bIns="0" anchor="ctr">
              <a:spAutoFit/>
            </a:bodyPr>
            <a:lstStyle>
              <a:lvl1pPr>
                <a:lnSpc>
                  <a:spcPct val="130000"/>
                </a:lnSpc>
                <a:defRPr sz="3000">
                  <a:latin typeface="+mn-lt"/>
                  <a:ea typeface="+mn-ea"/>
                  <a:cs typeface="+mn-cs"/>
                  <a:sym typeface="Poppins SemiBold"/>
                </a:defRPr>
              </a:lvl1pPr>
            </a:lstStyle>
            <a:p>
              <a:pPr algn="ctr" defTabSz="309563" hangingPunct="0">
                <a:buClrTx/>
                <a:defRPr/>
              </a:pPr>
              <a:r>
                <a:rPr lang="ru-RU" sz="1600" dirty="0">
                  <a:solidFill>
                    <a:srgbClr val="0D0D0D"/>
                  </a:solidFill>
                  <a:latin typeface="SB Sans Text Light" panose="020B0303040504020204" pitchFamily="34" charset="-52"/>
                  <a:ea typeface="Roboto Light" panose="02000000000000000000" pitchFamily="2" charset="0"/>
                  <a:cs typeface="SB Sans Text Light" panose="020B0303040504020204" pitchFamily="34" charset="-52"/>
                </a:rPr>
                <a:t>дочерних и зависимых обществ (ДЗО) Сбера </a:t>
              </a:r>
            </a:p>
          </p:txBody>
        </p:sp>
      </p:grpSp>
      <p:grpSp>
        <p:nvGrpSpPr>
          <p:cNvPr id="4" name="Группа 3">
            <a:extLst>
              <a:ext uri="{FF2B5EF4-FFF2-40B4-BE49-F238E27FC236}">
                <a16:creationId xmlns:a16="http://schemas.microsoft.com/office/drawing/2014/main" id="{21260BF6-9638-48A8-A2C0-DE2001384DAD}"/>
              </a:ext>
            </a:extLst>
          </p:cNvPr>
          <p:cNvGrpSpPr/>
          <p:nvPr/>
        </p:nvGrpSpPr>
        <p:grpSpPr>
          <a:xfrm>
            <a:off x="12547463" y="2028337"/>
            <a:ext cx="3166090" cy="2801326"/>
            <a:chOff x="4512955" y="2028337"/>
            <a:chExt cx="3166090" cy="2801326"/>
          </a:xfrm>
        </p:grpSpPr>
        <p:sp>
          <p:nvSpPr>
            <p:cNvPr id="33" name="Shape_фон">
              <a:extLst>
                <a:ext uri="{FF2B5EF4-FFF2-40B4-BE49-F238E27FC236}">
                  <a16:creationId xmlns:a16="http://schemas.microsoft.com/office/drawing/2014/main" id="{CD095046-E8CC-484B-AEA1-2CAEDE3282EF}"/>
                </a:ext>
              </a:extLst>
            </p:cNvPr>
            <p:cNvSpPr/>
            <p:nvPr/>
          </p:nvSpPr>
          <p:spPr>
            <a:xfrm>
              <a:off x="4512955" y="2028337"/>
              <a:ext cx="3166090" cy="2801326"/>
            </a:xfrm>
            <a:prstGeom prst="roundRect">
              <a:avLst>
                <a:gd name="adj" fmla="val 8571"/>
              </a:avLst>
            </a:prstGeom>
            <a:solidFill>
              <a:schemeClr val="bg1"/>
            </a:solidFill>
            <a:ln w="12700" cap="flat">
              <a:noFill/>
              <a:prstDash val="solid"/>
              <a:miter/>
            </a:ln>
            <a:effectLst>
              <a:outerShdw blurRad="1003300" sx="102000" sy="102000" algn="ctr" rotWithShape="0">
                <a:schemeClr val="tx1">
                  <a:alpha val="20000"/>
                </a:schemeClr>
              </a:outerShdw>
            </a:effectLst>
          </p:spPr>
          <p:txBody>
            <a:bodyPr lIns="0" tIns="0" rIns="0" bIns="0" anchor="ctr"/>
            <a:lstStyle/>
            <a:p>
              <a:pPr marL="0" marR="0" lvl="0" indent="0" algn="ctr" defTabSz="309563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itchFamily="2" charset="0"/>
                <a:ea typeface="Roboto" pitchFamily="2" charset="0"/>
                <a:cs typeface="Poppins Bold"/>
                <a:sym typeface="Poppins Bold"/>
              </a:endParaRPr>
            </a:p>
          </p:txBody>
        </p:sp>
        <p:sp>
          <p:nvSpPr>
            <p:cNvPr id="39" name="Заголовок">
              <a:extLst>
                <a:ext uri="{FF2B5EF4-FFF2-40B4-BE49-F238E27FC236}">
                  <a16:creationId xmlns:a16="http://schemas.microsoft.com/office/drawing/2014/main" id="{1C0C9BDF-E390-4B3D-A681-881B94924572}"/>
                </a:ext>
              </a:extLst>
            </p:cNvPr>
            <p:cNvSpPr txBox="1"/>
            <p:nvPr/>
          </p:nvSpPr>
          <p:spPr>
            <a:xfrm>
              <a:off x="5575814" y="2052179"/>
              <a:ext cx="1040373" cy="186204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ru-RU" sz="11500" b="1" dirty="0">
                  <a:solidFill>
                    <a:schemeClr val="bg2"/>
                  </a:solidFill>
                  <a:latin typeface="SB Sans Text Medium" panose="020B0603040504020204" pitchFamily="34" charset="-52"/>
                  <a:ea typeface="Roboto" pitchFamily="2" charset="0"/>
                  <a:cs typeface="SB Sans Text Medium" panose="020B0603040504020204" pitchFamily="34" charset="-52"/>
                </a:rPr>
                <a:t>2</a:t>
              </a:r>
            </a:p>
          </p:txBody>
        </p:sp>
        <p:sp>
          <p:nvSpPr>
            <p:cNvPr id="40" name="Motion design">
              <a:extLst>
                <a:ext uri="{FF2B5EF4-FFF2-40B4-BE49-F238E27FC236}">
                  <a16:creationId xmlns:a16="http://schemas.microsoft.com/office/drawing/2014/main" id="{69D721E3-D26B-4853-AF00-3723F20ED0A7}"/>
                </a:ext>
              </a:extLst>
            </p:cNvPr>
            <p:cNvSpPr txBox="1"/>
            <p:nvPr/>
          </p:nvSpPr>
          <p:spPr>
            <a:xfrm>
              <a:off x="4829749" y="3823693"/>
              <a:ext cx="2532502" cy="613566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</a:ext>
            </a:extLst>
          </p:spPr>
          <p:txBody>
            <a:bodyPr wrap="square" lIns="0" tIns="0" rIns="0" bIns="0" anchor="ctr">
              <a:spAutoFit/>
            </a:bodyPr>
            <a:lstStyle>
              <a:lvl1pPr>
                <a:lnSpc>
                  <a:spcPct val="130000"/>
                </a:lnSpc>
                <a:defRPr sz="3000">
                  <a:latin typeface="+mn-lt"/>
                  <a:ea typeface="+mn-ea"/>
                  <a:cs typeface="+mn-cs"/>
                  <a:sym typeface="Poppins SemiBold"/>
                </a:defRPr>
              </a:lvl1pPr>
            </a:lstStyle>
            <a:p>
              <a:pPr algn="ctr" defTabSz="309563" hangingPunct="0">
                <a:buClrTx/>
                <a:defRPr/>
              </a:pPr>
              <a:r>
                <a:rPr lang="ru-RU" sz="1600" dirty="0">
                  <a:solidFill>
                    <a:srgbClr val="0D0D0D"/>
                  </a:solidFill>
                  <a:latin typeface="SB Sans Text Light" panose="020B0303040504020204" pitchFamily="34" charset="-52"/>
                  <a:ea typeface="Roboto Light" panose="02000000000000000000" pitchFamily="2" charset="0"/>
                  <a:cs typeface="SB Sans Text Light" panose="020B0303040504020204" pitchFamily="34" charset="-52"/>
                </a:rPr>
                <a:t>генеральных партнера Группы СБЕР (ГПГ)</a:t>
              </a:r>
            </a:p>
          </p:txBody>
        </p:sp>
      </p:grpSp>
      <p:grpSp>
        <p:nvGrpSpPr>
          <p:cNvPr id="5" name="Группа 4">
            <a:extLst>
              <a:ext uri="{FF2B5EF4-FFF2-40B4-BE49-F238E27FC236}">
                <a16:creationId xmlns:a16="http://schemas.microsoft.com/office/drawing/2014/main" id="{9AB1D69B-DAB1-4D54-9D36-1B9742AE0D45}"/>
              </a:ext>
            </a:extLst>
          </p:cNvPr>
          <p:cNvGrpSpPr/>
          <p:nvPr/>
        </p:nvGrpSpPr>
        <p:grpSpPr>
          <a:xfrm>
            <a:off x="16221634" y="2028337"/>
            <a:ext cx="3166090" cy="2801326"/>
            <a:chOff x="8187126" y="2028337"/>
            <a:chExt cx="3166090" cy="2801326"/>
          </a:xfrm>
        </p:grpSpPr>
        <p:sp>
          <p:nvSpPr>
            <p:cNvPr id="34" name="Shape_фон">
              <a:extLst>
                <a:ext uri="{FF2B5EF4-FFF2-40B4-BE49-F238E27FC236}">
                  <a16:creationId xmlns:a16="http://schemas.microsoft.com/office/drawing/2014/main" id="{1A7EE97F-685C-4CD0-813D-8E3617FA9688}"/>
                </a:ext>
              </a:extLst>
            </p:cNvPr>
            <p:cNvSpPr/>
            <p:nvPr/>
          </p:nvSpPr>
          <p:spPr>
            <a:xfrm>
              <a:off x="8187126" y="2028337"/>
              <a:ext cx="3166090" cy="2801326"/>
            </a:xfrm>
            <a:prstGeom prst="roundRect">
              <a:avLst>
                <a:gd name="adj" fmla="val 8571"/>
              </a:avLst>
            </a:prstGeom>
            <a:solidFill>
              <a:schemeClr val="bg1"/>
            </a:solidFill>
            <a:ln w="12700" cap="flat">
              <a:noFill/>
              <a:prstDash val="solid"/>
              <a:miter/>
            </a:ln>
            <a:effectLst>
              <a:outerShdw blurRad="1003300" sx="102000" sy="102000" algn="ctr" rotWithShape="0">
                <a:schemeClr val="tx1">
                  <a:alpha val="20000"/>
                </a:schemeClr>
              </a:outerShdw>
            </a:effectLst>
          </p:spPr>
          <p:txBody>
            <a:bodyPr lIns="0" tIns="0" rIns="0" bIns="0" anchor="ctr"/>
            <a:lstStyle/>
            <a:p>
              <a:pPr marL="0" marR="0" lvl="0" indent="0" algn="ctr" defTabSz="309563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itchFamily="2" charset="0"/>
                <a:ea typeface="Roboto" pitchFamily="2" charset="0"/>
                <a:cs typeface="Poppins Bold"/>
                <a:sym typeface="Poppins Bold"/>
              </a:endParaRPr>
            </a:p>
          </p:txBody>
        </p:sp>
        <p:sp>
          <p:nvSpPr>
            <p:cNvPr id="43" name="Заголовок">
              <a:extLst>
                <a:ext uri="{FF2B5EF4-FFF2-40B4-BE49-F238E27FC236}">
                  <a16:creationId xmlns:a16="http://schemas.microsoft.com/office/drawing/2014/main" id="{F19605E8-E141-4097-925F-46379DCD89D2}"/>
                </a:ext>
              </a:extLst>
            </p:cNvPr>
            <p:cNvSpPr txBox="1"/>
            <p:nvPr/>
          </p:nvSpPr>
          <p:spPr>
            <a:xfrm>
              <a:off x="8732549" y="2052179"/>
              <a:ext cx="2075245" cy="186204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ru-RU" sz="11500" dirty="0">
                  <a:solidFill>
                    <a:schemeClr val="bg2"/>
                  </a:solidFill>
                  <a:latin typeface="SB Sans Text Medium" panose="020B0603040504020204" pitchFamily="34" charset="-52"/>
                  <a:ea typeface="Roboto" pitchFamily="2" charset="0"/>
                  <a:cs typeface="SB Sans Text Medium" panose="020B0603040504020204" pitchFamily="34" charset="-52"/>
                </a:rPr>
                <a:t>15</a:t>
              </a:r>
            </a:p>
          </p:txBody>
        </p:sp>
        <p:sp>
          <p:nvSpPr>
            <p:cNvPr id="50" name="Motion design">
              <a:extLst>
                <a:ext uri="{FF2B5EF4-FFF2-40B4-BE49-F238E27FC236}">
                  <a16:creationId xmlns:a16="http://schemas.microsoft.com/office/drawing/2014/main" id="{C12542EF-0901-4851-ABB5-DCB55110690D}"/>
                </a:ext>
              </a:extLst>
            </p:cNvPr>
            <p:cNvSpPr txBox="1"/>
            <p:nvPr/>
          </p:nvSpPr>
          <p:spPr>
            <a:xfrm>
              <a:off x="8660069" y="3825810"/>
              <a:ext cx="2220204" cy="611449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</a:ext>
            </a:extLst>
          </p:spPr>
          <p:txBody>
            <a:bodyPr wrap="square" lIns="0" tIns="0" rIns="0" bIns="0" anchor="ctr">
              <a:spAutoFit/>
            </a:bodyPr>
            <a:lstStyle>
              <a:lvl1pPr>
                <a:lnSpc>
                  <a:spcPct val="130000"/>
                </a:lnSpc>
                <a:defRPr sz="3000">
                  <a:latin typeface="+mn-lt"/>
                  <a:ea typeface="+mn-ea"/>
                  <a:cs typeface="+mn-cs"/>
                  <a:sym typeface="Poppins SemiBold"/>
                </a:defRPr>
              </a:lvl1pPr>
            </a:lstStyle>
            <a:p>
              <a:pPr algn="ctr" defTabSz="309563" hangingPunct="0">
                <a:buClrTx/>
                <a:defRPr/>
              </a:pPr>
              <a:r>
                <a:rPr lang="ru-RU" sz="1600" dirty="0">
                  <a:solidFill>
                    <a:srgbClr val="0D0D0D"/>
                  </a:solidFill>
                  <a:latin typeface="SB Sans Text Light" panose="020B0303040504020204" pitchFamily="34" charset="-52"/>
                  <a:ea typeface="Roboto Light" panose="02000000000000000000" pitchFamily="2" charset="0"/>
                  <a:cs typeface="SB Sans Text Light" panose="020B0303040504020204" pitchFamily="34" charset="-52"/>
                </a:rPr>
                <a:t>команд из Сбера, </a:t>
              </a:r>
              <a:br>
                <a:rPr lang="ru-RU" sz="1600" dirty="0">
                  <a:solidFill>
                    <a:srgbClr val="0D0D0D"/>
                  </a:solidFill>
                  <a:latin typeface="SB Sans Text Light" panose="020B0303040504020204" pitchFamily="34" charset="-52"/>
                  <a:ea typeface="Roboto Light" panose="02000000000000000000" pitchFamily="2" charset="0"/>
                  <a:cs typeface="SB Sans Text Light" panose="020B0303040504020204" pitchFamily="34" charset="-52"/>
                </a:rPr>
              </a:br>
              <a:r>
                <a:rPr lang="ru-RU" sz="1600" dirty="0">
                  <a:solidFill>
                    <a:srgbClr val="0D0D0D"/>
                  </a:solidFill>
                  <a:latin typeface="SB Sans Text Light" panose="020B0303040504020204" pitchFamily="34" charset="-52"/>
                  <a:ea typeface="Roboto Light" panose="02000000000000000000" pitchFamily="2" charset="0"/>
                  <a:cs typeface="SB Sans Text Light" panose="020B0303040504020204" pitchFamily="34" charset="-52"/>
                </a:rPr>
                <a:t>ДЗО и ГПГ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925052309"/>
      </p:ext>
    </p:extLst>
  </p:cSld>
  <p:clrMapOvr>
    <a:masterClrMapping/>
  </p:clrMapOvr>
  <p:transition spd="slow">
    <p:push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Rounded Rectangle">
            <a:extLst>
              <a:ext uri="{FF2B5EF4-FFF2-40B4-BE49-F238E27FC236}">
                <a16:creationId xmlns:a16="http://schemas.microsoft.com/office/drawing/2014/main" id="{4A1A861F-77ED-4663-9389-8E9FD44BABD1}"/>
              </a:ext>
            </a:extLst>
          </p:cNvPr>
          <p:cNvSpPr/>
          <p:nvPr/>
        </p:nvSpPr>
        <p:spPr>
          <a:xfrm>
            <a:off x="0" y="2579435"/>
            <a:ext cx="12192000" cy="1785141"/>
          </a:xfrm>
          <a:prstGeom prst="roundRect">
            <a:avLst>
              <a:gd name="adj" fmla="val 0"/>
            </a:avLst>
          </a:prstGeom>
          <a:solidFill>
            <a:schemeClr val="bg1">
              <a:alpha val="96000"/>
            </a:schemeClr>
          </a:solidFill>
          <a:ln w="12700" cap="flat">
            <a:noFill/>
            <a:prstDash val="solid"/>
            <a:miter/>
          </a:ln>
          <a:effectLst>
            <a:outerShdw blurRad="1003300" sx="102000" sy="102000" algn="ctr" rotWithShape="0">
              <a:schemeClr val="tx1">
                <a:alpha val="20000"/>
              </a:schemeClr>
            </a:outerShdw>
          </a:effectLst>
        </p:spPr>
        <p:txBody>
          <a:bodyPr lIns="0" tIns="0" rIns="0" bIns="0" anchor="ctr"/>
          <a:lstStyle/>
          <a:p>
            <a:pPr marL="0" marR="0" lvl="0" indent="0" algn="ctr" defTabSz="309563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" pitchFamily="2" charset="0"/>
              <a:ea typeface="Roboto" pitchFamily="2" charset="0"/>
              <a:cs typeface="Poppins Bold"/>
              <a:sym typeface="Poppins Bold"/>
            </a:endParaRPr>
          </a:p>
        </p:txBody>
      </p:sp>
      <p:sp>
        <p:nvSpPr>
          <p:cNvPr id="41" name="Заголовок">
            <a:extLst>
              <a:ext uri="{FF2B5EF4-FFF2-40B4-BE49-F238E27FC236}">
                <a16:creationId xmlns:a16="http://schemas.microsoft.com/office/drawing/2014/main" id="{C2DC1C9A-4F65-42B1-86E3-6E4D91075984}"/>
              </a:ext>
            </a:extLst>
          </p:cNvPr>
          <p:cNvSpPr txBox="1"/>
          <p:nvPr/>
        </p:nvSpPr>
        <p:spPr>
          <a:xfrm>
            <a:off x="507067" y="376044"/>
            <a:ext cx="5192693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4400" b="1" dirty="0">
                <a:solidFill>
                  <a:srgbClr val="0D0D0D">
                    <a:lumMod val="75000"/>
                    <a:lumOff val="25000"/>
                  </a:srgbClr>
                </a:solidFill>
                <a:latin typeface="SB Sans Text Medium" panose="020B0603040504020204" pitchFamily="34" charset="-52"/>
                <a:ea typeface="Roboto" pitchFamily="2" charset="0"/>
                <a:cs typeface="SB Sans Text Medium" panose="020B0603040504020204" pitchFamily="34" charset="-52"/>
              </a:rPr>
              <a:t>Кто участвует?</a:t>
            </a:r>
          </a:p>
        </p:txBody>
      </p:sp>
      <p:grpSp>
        <p:nvGrpSpPr>
          <p:cNvPr id="42" name="CDIConf_Black">
            <a:extLst>
              <a:ext uri="{FF2B5EF4-FFF2-40B4-BE49-F238E27FC236}">
                <a16:creationId xmlns:a16="http://schemas.microsoft.com/office/drawing/2014/main" id="{F3F1710A-CB9B-4080-B969-0477C48F22E5}"/>
              </a:ext>
            </a:extLst>
          </p:cNvPr>
          <p:cNvGrpSpPr/>
          <p:nvPr/>
        </p:nvGrpSpPr>
        <p:grpSpPr>
          <a:xfrm>
            <a:off x="9284984" y="6140223"/>
            <a:ext cx="2270483" cy="296171"/>
            <a:chOff x="7406975" y="5855999"/>
            <a:chExt cx="2270483" cy="296171"/>
          </a:xfrm>
        </p:grpSpPr>
        <p:sp>
          <p:nvSpPr>
            <p:cNvPr id="45" name="Полилиния: фигура 44">
              <a:extLst>
                <a:ext uri="{FF2B5EF4-FFF2-40B4-BE49-F238E27FC236}">
                  <a16:creationId xmlns:a16="http://schemas.microsoft.com/office/drawing/2014/main" id="{13A11B35-F320-4F31-908D-85B2D024FD4B}"/>
                </a:ext>
              </a:extLst>
            </p:cNvPr>
            <p:cNvSpPr/>
            <p:nvPr/>
          </p:nvSpPr>
          <p:spPr>
            <a:xfrm>
              <a:off x="7406975" y="5878280"/>
              <a:ext cx="1394458" cy="273890"/>
            </a:xfrm>
            <a:custGeom>
              <a:avLst/>
              <a:gdLst>
                <a:gd name="connsiteX0" fmla="*/ 157354 w 1394458"/>
                <a:gd name="connsiteY0" fmla="*/ 188093 h 273890"/>
                <a:gd name="connsiteX1" fmla="*/ 200773 w 1394458"/>
                <a:gd name="connsiteY1" fmla="*/ 188093 h 273890"/>
                <a:gd name="connsiteX2" fmla="*/ 186877 w 1394458"/>
                <a:gd name="connsiteY2" fmla="*/ 232383 h 273890"/>
                <a:gd name="connsiteX3" fmla="*/ 153706 w 1394458"/>
                <a:gd name="connsiteY3" fmla="*/ 262777 h 273890"/>
                <a:gd name="connsiteX4" fmla="*/ 101775 w 1394458"/>
                <a:gd name="connsiteY4" fmla="*/ 273891 h 273890"/>
                <a:gd name="connsiteX5" fmla="*/ 59572 w 1394458"/>
                <a:gd name="connsiteY5" fmla="*/ 265554 h 273890"/>
                <a:gd name="connsiteX6" fmla="*/ 27442 w 1394458"/>
                <a:gd name="connsiteY6" fmla="*/ 241585 h 273890"/>
                <a:gd name="connsiteX7" fmla="*/ 6950 w 1394458"/>
                <a:gd name="connsiteY7" fmla="*/ 203896 h 273890"/>
                <a:gd name="connsiteX8" fmla="*/ 0 w 1394458"/>
                <a:gd name="connsiteY8" fmla="*/ 154577 h 273890"/>
                <a:gd name="connsiteX9" fmla="*/ 0 w 1394458"/>
                <a:gd name="connsiteY9" fmla="*/ 133560 h 273890"/>
                <a:gd name="connsiteX10" fmla="*/ 7121 w 1394458"/>
                <a:gd name="connsiteY10" fmla="*/ 84236 h 273890"/>
                <a:gd name="connsiteX11" fmla="*/ 27962 w 1394458"/>
                <a:gd name="connsiteY11" fmla="*/ 46552 h 273890"/>
                <a:gd name="connsiteX12" fmla="*/ 60438 w 1394458"/>
                <a:gd name="connsiteY12" fmla="*/ 22408 h 273890"/>
                <a:gd name="connsiteX13" fmla="*/ 103336 w 1394458"/>
                <a:gd name="connsiteY13" fmla="*/ 14071 h 273890"/>
                <a:gd name="connsiteX14" fmla="*/ 154397 w 1394458"/>
                <a:gd name="connsiteY14" fmla="*/ 25185 h 273890"/>
                <a:gd name="connsiteX15" fmla="*/ 186702 w 1394458"/>
                <a:gd name="connsiteY15" fmla="*/ 55924 h 273890"/>
                <a:gd name="connsiteX16" fmla="*/ 200943 w 1394458"/>
                <a:gd name="connsiteY16" fmla="*/ 100905 h 273890"/>
                <a:gd name="connsiteX17" fmla="*/ 157524 w 1394458"/>
                <a:gd name="connsiteY17" fmla="*/ 100905 h 273890"/>
                <a:gd name="connsiteX18" fmla="*/ 149883 w 1394458"/>
                <a:gd name="connsiteY18" fmla="*/ 72943 h 273890"/>
                <a:gd name="connsiteX19" fmla="*/ 132865 w 1394458"/>
                <a:gd name="connsiteY19" fmla="*/ 55229 h 273890"/>
                <a:gd name="connsiteX20" fmla="*/ 103341 w 1394458"/>
                <a:gd name="connsiteY20" fmla="*/ 48974 h 273890"/>
                <a:gd name="connsiteX21" fmla="*/ 77291 w 1394458"/>
                <a:gd name="connsiteY21" fmla="*/ 54533 h 273890"/>
                <a:gd name="connsiteX22" fmla="*/ 58706 w 1394458"/>
                <a:gd name="connsiteY22" fmla="*/ 70861 h 273890"/>
                <a:gd name="connsiteX23" fmla="*/ 47417 w 1394458"/>
                <a:gd name="connsiteY23" fmla="*/ 97432 h 273890"/>
                <a:gd name="connsiteX24" fmla="*/ 43769 w 1394458"/>
                <a:gd name="connsiteY24" fmla="*/ 133210 h 273890"/>
                <a:gd name="connsiteX25" fmla="*/ 43769 w 1394458"/>
                <a:gd name="connsiteY25" fmla="*/ 154572 h 273890"/>
                <a:gd name="connsiteX26" fmla="*/ 47067 w 1394458"/>
                <a:gd name="connsiteY26" fmla="*/ 189304 h 273890"/>
                <a:gd name="connsiteX27" fmla="*/ 57490 w 1394458"/>
                <a:gd name="connsiteY27" fmla="*/ 215875 h 273890"/>
                <a:gd name="connsiteX28" fmla="*/ 75550 w 1394458"/>
                <a:gd name="connsiteY28" fmla="*/ 233069 h 273890"/>
                <a:gd name="connsiteX29" fmla="*/ 101775 w 1394458"/>
                <a:gd name="connsiteY29" fmla="*/ 239149 h 273890"/>
                <a:gd name="connsiteX30" fmla="*/ 131824 w 1394458"/>
                <a:gd name="connsiteY30" fmla="*/ 233244 h 273890"/>
                <a:gd name="connsiteX31" fmla="*/ 149363 w 1394458"/>
                <a:gd name="connsiteY31" fmla="*/ 216050 h 273890"/>
                <a:gd name="connsiteX32" fmla="*/ 157354 w 1394458"/>
                <a:gd name="connsiteY32" fmla="*/ 188088 h 273890"/>
                <a:gd name="connsiteX33" fmla="*/ 313837 w 1394458"/>
                <a:gd name="connsiteY33" fmla="*/ 270418 h 273890"/>
                <a:gd name="connsiteX34" fmla="*/ 259825 w 1394458"/>
                <a:gd name="connsiteY34" fmla="*/ 270418 h 273890"/>
                <a:gd name="connsiteX35" fmla="*/ 260170 w 1394458"/>
                <a:gd name="connsiteY35" fmla="*/ 235856 h 273890"/>
                <a:gd name="connsiteX36" fmla="*/ 313837 w 1394458"/>
                <a:gd name="connsiteY36" fmla="*/ 235856 h 273890"/>
                <a:gd name="connsiteX37" fmla="*/ 353088 w 1394458"/>
                <a:gd name="connsiteY37" fmla="*/ 225608 h 273890"/>
                <a:gd name="connsiteX38" fmla="*/ 377057 w 1394458"/>
                <a:gd name="connsiteY38" fmla="*/ 196255 h 273890"/>
                <a:gd name="connsiteX39" fmla="*/ 385218 w 1394458"/>
                <a:gd name="connsiteY39" fmla="*/ 150754 h 273890"/>
                <a:gd name="connsiteX40" fmla="*/ 385218 w 1394458"/>
                <a:gd name="connsiteY40" fmla="*/ 137033 h 273890"/>
                <a:gd name="connsiteX41" fmla="*/ 380530 w 1394458"/>
                <a:gd name="connsiteY41" fmla="*/ 100734 h 273890"/>
                <a:gd name="connsiteX42" fmla="*/ 366984 w 1394458"/>
                <a:gd name="connsiteY42" fmla="*/ 74163 h 273890"/>
                <a:gd name="connsiteX43" fmla="*/ 345102 w 1394458"/>
                <a:gd name="connsiteY43" fmla="*/ 57840 h 273890"/>
                <a:gd name="connsiteX44" fmla="*/ 315403 w 1394458"/>
                <a:gd name="connsiteY44" fmla="*/ 52281 h 273890"/>
                <a:gd name="connsiteX45" fmla="*/ 258784 w 1394458"/>
                <a:gd name="connsiteY45" fmla="*/ 52281 h 273890"/>
                <a:gd name="connsiteX46" fmla="*/ 258784 w 1394458"/>
                <a:gd name="connsiteY46" fmla="*/ 17544 h 273890"/>
                <a:gd name="connsiteX47" fmla="*/ 315403 w 1394458"/>
                <a:gd name="connsiteY47" fmla="*/ 17544 h 273890"/>
                <a:gd name="connsiteX48" fmla="*/ 361429 w 1394458"/>
                <a:gd name="connsiteY48" fmla="*/ 26055 h 273890"/>
                <a:gd name="connsiteX49" fmla="*/ 397383 w 1394458"/>
                <a:gd name="connsiteY49" fmla="*/ 50195 h 273890"/>
                <a:gd name="connsiteX50" fmla="*/ 420826 w 1394458"/>
                <a:gd name="connsiteY50" fmla="*/ 88054 h 273890"/>
                <a:gd name="connsiteX51" fmla="*/ 428988 w 1394458"/>
                <a:gd name="connsiteY51" fmla="*/ 137378 h 273890"/>
                <a:gd name="connsiteX52" fmla="*/ 428988 w 1394458"/>
                <a:gd name="connsiteY52" fmla="*/ 150754 h 273890"/>
                <a:gd name="connsiteX53" fmla="*/ 420826 w 1394458"/>
                <a:gd name="connsiteY53" fmla="*/ 200078 h 273890"/>
                <a:gd name="connsiteX54" fmla="*/ 397383 w 1394458"/>
                <a:gd name="connsiteY54" fmla="*/ 237938 h 273890"/>
                <a:gd name="connsiteX55" fmla="*/ 360909 w 1394458"/>
                <a:gd name="connsiteY55" fmla="*/ 262077 h 273890"/>
                <a:gd name="connsiteX56" fmla="*/ 313842 w 1394458"/>
                <a:gd name="connsiteY56" fmla="*/ 270413 h 273890"/>
                <a:gd name="connsiteX57" fmla="*/ 283964 w 1394458"/>
                <a:gd name="connsiteY57" fmla="*/ 17544 h 273890"/>
                <a:gd name="connsiteX58" fmla="*/ 283964 w 1394458"/>
                <a:gd name="connsiteY58" fmla="*/ 270418 h 273890"/>
                <a:gd name="connsiteX59" fmla="*/ 240369 w 1394458"/>
                <a:gd name="connsiteY59" fmla="*/ 270418 h 273890"/>
                <a:gd name="connsiteX60" fmla="*/ 240369 w 1394458"/>
                <a:gd name="connsiteY60" fmla="*/ 17544 h 273890"/>
                <a:gd name="connsiteX61" fmla="*/ 283964 w 1394458"/>
                <a:gd name="connsiteY61" fmla="*/ 17544 h 273890"/>
                <a:gd name="connsiteX62" fmla="*/ 519299 w 1394458"/>
                <a:gd name="connsiteY62" fmla="*/ 17544 h 273890"/>
                <a:gd name="connsiteX63" fmla="*/ 519299 w 1394458"/>
                <a:gd name="connsiteY63" fmla="*/ 270418 h 273890"/>
                <a:gd name="connsiteX64" fmla="*/ 475705 w 1394458"/>
                <a:gd name="connsiteY64" fmla="*/ 270418 h 273890"/>
                <a:gd name="connsiteX65" fmla="*/ 475705 w 1394458"/>
                <a:gd name="connsiteY65" fmla="*/ 17544 h 273890"/>
                <a:gd name="connsiteX66" fmla="*/ 519299 w 1394458"/>
                <a:gd name="connsiteY66" fmla="*/ 17544 h 273890"/>
                <a:gd name="connsiteX67" fmla="*/ 811424 w 1394458"/>
                <a:gd name="connsiteY67" fmla="*/ 188093 h 273890"/>
                <a:gd name="connsiteX68" fmla="*/ 854843 w 1394458"/>
                <a:gd name="connsiteY68" fmla="*/ 188093 h 273890"/>
                <a:gd name="connsiteX69" fmla="*/ 840947 w 1394458"/>
                <a:gd name="connsiteY69" fmla="*/ 232383 h 273890"/>
                <a:gd name="connsiteX70" fmla="*/ 807776 w 1394458"/>
                <a:gd name="connsiteY70" fmla="*/ 262777 h 273890"/>
                <a:gd name="connsiteX71" fmla="*/ 755845 w 1394458"/>
                <a:gd name="connsiteY71" fmla="*/ 273891 h 273890"/>
                <a:gd name="connsiteX72" fmla="*/ 713642 w 1394458"/>
                <a:gd name="connsiteY72" fmla="*/ 265554 h 273890"/>
                <a:gd name="connsiteX73" fmla="*/ 681512 w 1394458"/>
                <a:gd name="connsiteY73" fmla="*/ 241585 h 273890"/>
                <a:gd name="connsiteX74" fmla="*/ 661021 w 1394458"/>
                <a:gd name="connsiteY74" fmla="*/ 203896 h 273890"/>
                <a:gd name="connsiteX75" fmla="*/ 654075 w 1394458"/>
                <a:gd name="connsiteY75" fmla="*/ 154572 h 273890"/>
                <a:gd name="connsiteX76" fmla="*/ 654075 w 1394458"/>
                <a:gd name="connsiteY76" fmla="*/ 133555 h 273890"/>
                <a:gd name="connsiteX77" fmla="*/ 661196 w 1394458"/>
                <a:gd name="connsiteY77" fmla="*/ 84231 h 273890"/>
                <a:gd name="connsiteX78" fmla="*/ 682037 w 1394458"/>
                <a:gd name="connsiteY78" fmla="*/ 46547 h 273890"/>
                <a:gd name="connsiteX79" fmla="*/ 714513 w 1394458"/>
                <a:gd name="connsiteY79" fmla="*/ 22403 h 273890"/>
                <a:gd name="connsiteX80" fmla="*/ 757411 w 1394458"/>
                <a:gd name="connsiteY80" fmla="*/ 14066 h 273890"/>
                <a:gd name="connsiteX81" fmla="*/ 808472 w 1394458"/>
                <a:gd name="connsiteY81" fmla="*/ 25180 h 273890"/>
                <a:gd name="connsiteX82" fmla="*/ 840777 w 1394458"/>
                <a:gd name="connsiteY82" fmla="*/ 55919 h 273890"/>
                <a:gd name="connsiteX83" fmla="*/ 855018 w 1394458"/>
                <a:gd name="connsiteY83" fmla="*/ 100900 h 273890"/>
                <a:gd name="connsiteX84" fmla="*/ 811599 w 1394458"/>
                <a:gd name="connsiteY84" fmla="*/ 100900 h 273890"/>
                <a:gd name="connsiteX85" fmla="*/ 803958 w 1394458"/>
                <a:gd name="connsiteY85" fmla="*/ 72938 h 273890"/>
                <a:gd name="connsiteX86" fmla="*/ 786940 w 1394458"/>
                <a:gd name="connsiteY86" fmla="*/ 55224 h 273890"/>
                <a:gd name="connsiteX87" fmla="*/ 757416 w 1394458"/>
                <a:gd name="connsiteY87" fmla="*/ 48969 h 273890"/>
                <a:gd name="connsiteX88" fmla="*/ 731366 w 1394458"/>
                <a:gd name="connsiteY88" fmla="*/ 54528 h 273890"/>
                <a:gd name="connsiteX89" fmla="*/ 712781 w 1394458"/>
                <a:gd name="connsiteY89" fmla="*/ 70856 h 273890"/>
                <a:gd name="connsiteX90" fmla="*/ 701492 w 1394458"/>
                <a:gd name="connsiteY90" fmla="*/ 97427 h 273890"/>
                <a:gd name="connsiteX91" fmla="*/ 697844 w 1394458"/>
                <a:gd name="connsiteY91" fmla="*/ 133205 h 273890"/>
                <a:gd name="connsiteX92" fmla="*/ 697844 w 1394458"/>
                <a:gd name="connsiteY92" fmla="*/ 154567 h 273890"/>
                <a:gd name="connsiteX93" fmla="*/ 701142 w 1394458"/>
                <a:gd name="connsiteY93" fmla="*/ 189299 h 273890"/>
                <a:gd name="connsiteX94" fmla="*/ 711565 w 1394458"/>
                <a:gd name="connsiteY94" fmla="*/ 215870 h 273890"/>
                <a:gd name="connsiteX95" fmla="*/ 729629 w 1394458"/>
                <a:gd name="connsiteY95" fmla="*/ 233064 h 273890"/>
                <a:gd name="connsiteX96" fmla="*/ 755855 w 1394458"/>
                <a:gd name="connsiteY96" fmla="*/ 239144 h 273890"/>
                <a:gd name="connsiteX97" fmla="*/ 785904 w 1394458"/>
                <a:gd name="connsiteY97" fmla="*/ 233239 h 273890"/>
                <a:gd name="connsiteX98" fmla="*/ 803443 w 1394458"/>
                <a:gd name="connsiteY98" fmla="*/ 216046 h 273890"/>
                <a:gd name="connsiteX99" fmla="*/ 811434 w 1394458"/>
                <a:gd name="connsiteY99" fmla="*/ 188084 h 273890"/>
                <a:gd name="connsiteX100" fmla="*/ 882285 w 1394458"/>
                <a:gd name="connsiteY100" fmla="*/ 178541 h 273890"/>
                <a:gd name="connsiteX101" fmla="*/ 882285 w 1394458"/>
                <a:gd name="connsiteY101" fmla="*/ 174548 h 273890"/>
                <a:gd name="connsiteX102" fmla="*/ 888190 w 1394458"/>
                <a:gd name="connsiteY102" fmla="*/ 136858 h 273890"/>
                <a:gd name="connsiteX103" fmla="*/ 905208 w 1394458"/>
                <a:gd name="connsiteY103" fmla="*/ 106464 h 273890"/>
                <a:gd name="connsiteX104" fmla="*/ 932650 w 1394458"/>
                <a:gd name="connsiteY104" fmla="*/ 86318 h 273890"/>
                <a:gd name="connsiteX105" fmla="*/ 969469 w 1394458"/>
                <a:gd name="connsiteY105" fmla="*/ 79022 h 273890"/>
                <a:gd name="connsiteX106" fmla="*/ 1006288 w 1394458"/>
                <a:gd name="connsiteY106" fmla="*/ 86318 h 273890"/>
                <a:gd name="connsiteX107" fmla="*/ 1033899 w 1394458"/>
                <a:gd name="connsiteY107" fmla="*/ 106464 h 273890"/>
                <a:gd name="connsiteX108" fmla="*/ 1051093 w 1394458"/>
                <a:gd name="connsiteY108" fmla="*/ 136858 h 273890"/>
                <a:gd name="connsiteX109" fmla="*/ 1056998 w 1394458"/>
                <a:gd name="connsiteY109" fmla="*/ 174548 h 273890"/>
                <a:gd name="connsiteX110" fmla="*/ 1056998 w 1394458"/>
                <a:gd name="connsiteY110" fmla="*/ 178541 h 273890"/>
                <a:gd name="connsiteX111" fmla="*/ 1051093 w 1394458"/>
                <a:gd name="connsiteY111" fmla="*/ 216230 h 273890"/>
                <a:gd name="connsiteX112" fmla="*/ 1033899 w 1394458"/>
                <a:gd name="connsiteY112" fmla="*/ 246624 h 273890"/>
                <a:gd name="connsiteX113" fmla="*/ 1006458 w 1394458"/>
                <a:gd name="connsiteY113" fmla="*/ 266770 h 273890"/>
                <a:gd name="connsiteX114" fmla="*/ 969814 w 1394458"/>
                <a:gd name="connsiteY114" fmla="*/ 273891 h 273890"/>
                <a:gd name="connsiteX115" fmla="*/ 932820 w 1394458"/>
                <a:gd name="connsiteY115" fmla="*/ 266770 h 273890"/>
                <a:gd name="connsiteX116" fmla="*/ 905378 w 1394458"/>
                <a:gd name="connsiteY116" fmla="*/ 246624 h 273890"/>
                <a:gd name="connsiteX117" fmla="*/ 888185 w 1394458"/>
                <a:gd name="connsiteY117" fmla="*/ 216230 h 273890"/>
                <a:gd name="connsiteX118" fmla="*/ 882280 w 1394458"/>
                <a:gd name="connsiteY118" fmla="*/ 178541 h 273890"/>
                <a:gd name="connsiteX119" fmla="*/ 924143 w 1394458"/>
                <a:gd name="connsiteY119" fmla="*/ 174548 h 273890"/>
                <a:gd name="connsiteX120" fmla="*/ 924143 w 1394458"/>
                <a:gd name="connsiteY120" fmla="*/ 178541 h 273890"/>
                <a:gd name="connsiteX121" fmla="*/ 926750 w 1394458"/>
                <a:gd name="connsiteY121" fmla="*/ 202510 h 273890"/>
                <a:gd name="connsiteX122" fmla="*/ 934911 w 1394458"/>
                <a:gd name="connsiteY122" fmla="*/ 222310 h 273890"/>
                <a:gd name="connsiteX123" fmla="*/ 949152 w 1394458"/>
                <a:gd name="connsiteY123" fmla="*/ 235681 h 273890"/>
                <a:gd name="connsiteX124" fmla="*/ 969819 w 1394458"/>
                <a:gd name="connsiteY124" fmla="*/ 240545 h 273890"/>
                <a:gd name="connsiteX125" fmla="*/ 989965 w 1394458"/>
                <a:gd name="connsiteY125" fmla="*/ 235681 h 273890"/>
                <a:gd name="connsiteX126" fmla="*/ 1004206 w 1394458"/>
                <a:gd name="connsiteY126" fmla="*/ 222310 h 273890"/>
                <a:gd name="connsiteX127" fmla="*/ 1012367 w 1394458"/>
                <a:gd name="connsiteY127" fmla="*/ 202510 h 273890"/>
                <a:gd name="connsiteX128" fmla="*/ 1015145 w 1394458"/>
                <a:gd name="connsiteY128" fmla="*/ 178541 h 273890"/>
                <a:gd name="connsiteX129" fmla="*/ 1015145 w 1394458"/>
                <a:gd name="connsiteY129" fmla="*/ 174548 h 273890"/>
                <a:gd name="connsiteX130" fmla="*/ 1012367 w 1394458"/>
                <a:gd name="connsiteY130" fmla="*/ 150929 h 273890"/>
                <a:gd name="connsiteX131" fmla="*/ 1004031 w 1394458"/>
                <a:gd name="connsiteY131" fmla="*/ 130958 h 273890"/>
                <a:gd name="connsiteX132" fmla="*/ 989790 w 1394458"/>
                <a:gd name="connsiteY132" fmla="*/ 117412 h 273890"/>
                <a:gd name="connsiteX133" fmla="*/ 969469 w 1394458"/>
                <a:gd name="connsiteY133" fmla="*/ 112378 h 273890"/>
                <a:gd name="connsiteX134" fmla="*/ 948977 w 1394458"/>
                <a:gd name="connsiteY134" fmla="*/ 117412 h 273890"/>
                <a:gd name="connsiteX135" fmla="*/ 934911 w 1394458"/>
                <a:gd name="connsiteY135" fmla="*/ 130958 h 273890"/>
                <a:gd name="connsiteX136" fmla="*/ 926750 w 1394458"/>
                <a:gd name="connsiteY136" fmla="*/ 150929 h 273890"/>
                <a:gd name="connsiteX137" fmla="*/ 924143 w 1394458"/>
                <a:gd name="connsiteY137" fmla="*/ 174548 h 273890"/>
                <a:gd name="connsiteX138" fmla="*/ 1133598 w 1394458"/>
                <a:gd name="connsiteY138" fmla="*/ 122617 h 273890"/>
                <a:gd name="connsiteX139" fmla="*/ 1133598 w 1394458"/>
                <a:gd name="connsiteY139" fmla="*/ 270418 h 273890"/>
                <a:gd name="connsiteX140" fmla="*/ 1091745 w 1394458"/>
                <a:gd name="connsiteY140" fmla="*/ 270418 h 273890"/>
                <a:gd name="connsiteX141" fmla="*/ 1091745 w 1394458"/>
                <a:gd name="connsiteY141" fmla="*/ 82495 h 273890"/>
                <a:gd name="connsiteX142" fmla="*/ 1131171 w 1394458"/>
                <a:gd name="connsiteY142" fmla="*/ 82495 h 273890"/>
                <a:gd name="connsiteX143" fmla="*/ 1133603 w 1394458"/>
                <a:gd name="connsiteY143" fmla="*/ 122617 h 273890"/>
                <a:gd name="connsiteX144" fmla="*/ 1126132 w 1394458"/>
                <a:gd name="connsiteY144" fmla="*/ 169509 h 273890"/>
                <a:gd name="connsiteX145" fmla="*/ 1112586 w 1394458"/>
                <a:gd name="connsiteY145" fmla="*/ 169334 h 273890"/>
                <a:gd name="connsiteX146" fmla="*/ 1118145 w 1394458"/>
                <a:gd name="connsiteY146" fmla="*/ 132690 h 273890"/>
                <a:gd name="connsiteX147" fmla="*/ 1133428 w 1394458"/>
                <a:gd name="connsiteY147" fmla="*/ 104032 h 273890"/>
                <a:gd name="connsiteX148" fmla="*/ 1157046 w 1394458"/>
                <a:gd name="connsiteY148" fmla="*/ 85623 h 273890"/>
                <a:gd name="connsiteX149" fmla="*/ 1187615 w 1394458"/>
                <a:gd name="connsiteY149" fmla="*/ 79022 h 273890"/>
                <a:gd name="connsiteX150" fmla="*/ 1212105 w 1394458"/>
                <a:gd name="connsiteY150" fmla="*/ 82840 h 273890"/>
                <a:gd name="connsiteX151" fmla="*/ 1231034 w 1394458"/>
                <a:gd name="connsiteY151" fmla="*/ 94825 h 273890"/>
                <a:gd name="connsiteX152" fmla="*/ 1243189 w 1394458"/>
                <a:gd name="connsiteY152" fmla="*/ 116532 h 273890"/>
                <a:gd name="connsiteX153" fmla="*/ 1247357 w 1394458"/>
                <a:gd name="connsiteY153" fmla="*/ 149013 h 273890"/>
                <a:gd name="connsiteX154" fmla="*/ 1247357 w 1394458"/>
                <a:gd name="connsiteY154" fmla="*/ 270413 h 273890"/>
                <a:gd name="connsiteX155" fmla="*/ 1205329 w 1394458"/>
                <a:gd name="connsiteY155" fmla="*/ 270413 h 273890"/>
                <a:gd name="connsiteX156" fmla="*/ 1205329 w 1394458"/>
                <a:gd name="connsiteY156" fmla="*/ 148837 h 273890"/>
                <a:gd name="connsiteX157" fmla="*/ 1201336 w 1394458"/>
                <a:gd name="connsiteY157" fmla="*/ 127476 h 273890"/>
                <a:gd name="connsiteX158" fmla="*/ 1190047 w 1394458"/>
                <a:gd name="connsiteY158" fmla="*/ 116187 h 273890"/>
                <a:gd name="connsiteX159" fmla="*/ 1171813 w 1394458"/>
                <a:gd name="connsiteY159" fmla="*/ 112714 h 273890"/>
                <a:gd name="connsiteX160" fmla="*/ 1152533 w 1394458"/>
                <a:gd name="connsiteY160" fmla="*/ 117228 h 273890"/>
                <a:gd name="connsiteX161" fmla="*/ 1138116 w 1394458"/>
                <a:gd name="connsiteY161" fmla="*/ 129557 h 273890"/>
                <a:gd name="connsiteX162" fmla="*/ 1129259 w 1394458"/>
                <a:gd name="connsiteY162" fmla="*/ 147621 h 273890"/>
                <a:gd name="connsiteX163" fmla="*/ 1126132 w 1394458"/>
                <a:gd name="connsiteY163" fmla="*/ 169504 h 273890"/>
                <a:gd name="connsiteX164" fmla="*/ 1346701 w 1394458"/>
                <a:gd name="connsiteY164" fmla="*/ 270418 h 273890"/>
                <a:gd name="connsiteX165" fmla="*/ 1304843 w 1394458"/>
                <a:gd name="connsiteY165" fmla="*/ 270418 h 273890"/>
                <a:gd name="connsiteX166" fmla="*/ 1304843 w 1394458"/>
                <a:gd name="connsiteY166" fmla="*/ 64436 h 273890"/>
                <a:gd name="connsiteX167" fmla="*/ 1312659 w 1394458"/>
                <a:gd name="connsiteY167" fmla="*/ 29178 h 273890"/>
                <a:gd name="connsiteX168" fmla="*/ 1335412 w 1394458"/>
                <a:gd name="connsiteY168" fmla="*/ 7471 h 273890"/>
                <a:gd name="connsiteX169" fmla="*/ 1370319 w 1394458"/>
                <a:gd name="connsiteY169" fmla="*/ 0 h 273890"/>
                <a:gd name="connsiteX170" fmla="*/ 1382649 w 1394458"/>
                <a:gd name="connsiteY170" fmla="*/ 871 h 273890"/>
                <a:gd name="connsiteX171" fmla="*/ 1394458 w 1394458"/>
                <a:gd name="connsiteY171" fmla="*/ 3127 h 273890"/>
                <a:gd name="connsiteX172" fmla="*/ 1393418 w 1394458"/>
                <a:gd name="connsiteY172" fmla="*/ 35433 h 273890"/>
                <a:gd name="connsiteX173" fmla="*/ 1385776 w 1394458"/>
                <a:gd name="connsiteY173" fmla="*/ 34217 h 273890"/>
                <a:gd name="connsiteX174" fmla="*/ 1377095 w 1394458"/>
                <a:gd name="connsiteY174" fmla="*/ 33872 h 273890"/>
                <a:gd name="connsiteX175" fmla="*/ 1360596 w 1394458"/>
                <a:gd name="connsiteY175" fmla="*/ 37519 h 273890"/>
                <a:gd name="connsiteX176" fmla="*/ 1350178 w 1394458"/>
                <a:gd name="connsiteY176" fmla="*/ 47767 h 273890"/>
                <a:gd name="connsiteX177" fmla="*/ 1346706 w 1394458"/>
                <a:gd name="connsiteY177" fmla="*/ 64441 h 273890"/>
                <a:gd name="connsiteX178" fmla="*/ 1346706 w 1394458"/>
                <a:gd name="connsiteY178" fmla="*/ 270423 h 273890"/>
                <a:gd name="connsiteX179" fmla="*/ 1385431 w 1394458"/>
                <a:gd name="connsiteY179" fmla="*/ 82500 h 273890"/>
                <a:gd name="connsiteX180" fmla="*/ 1385431 w 1394458"/>
                <a:gd name="connsiteY180" fmla="*/ 113069 h 273890"/>
                <a:gd name="connsiteX181" fmla="*/ 1276015 w 1394458"/>
                <a:gd name="connsiteY181" fmla="*/ 113069 h 273890"/>
                <a:gd name="connsiteX182" fmla="*/ 1276015 w 1394458"/>
                <a:gd name="connsiteY182" fmla="*/ 82500 h 273890"/>
                <a:gd name="connsiteX183" fmla="*/ 1385431 w 1394458"/>
                <a:gd name="connsiteY183" fmla="*/ 82500 h 2738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</a:cxnLst>
              <a:rect l="l" t="t" r="r" b="b"/>
              <a:pathLst>
                <a:path w="1394458" h="273890">
                  <a:moveTo>
                    <a:pt x="157354" y="188093"/>
                  </a:moveTo>
                  <a:lnTo>
                    <a:pt x="200773" y="188093"/>
                  </a:lnTo>
                  <a:cubicBezTo>
                    <a:pt x="199382" y="204650"/>
                    <a:pt x="194752" y="219411"/>
                    <a:pt x="186877" y="232383"/>
                  </a:cubicBezTo>
                  <a:cubicBezTo>
                    <a:pt x="179003" y="245233"/>
                    <a:pt x="167947" y="255365"/>
                    <a:pt x="153706" y="262777"/>
                  </a:cubicBezTo>
                  <a:cubicBezTo>
                    <a:pt x="139465" y="270185"/>
                    <a:pt x="122155" y="273891"/>
                    <a:pt x="101775" y="273891"/>
                  </a:cubicBezTo>
                  <a:cubicBezTo>
                    <a:pt x="86143" y="273891"/>
                    <a:pt x="72077" y="271114"/>
                    <a:pt x="59572" y="265554"/>
                  </a:cubicBezTo>
                  <a:cubicBezTo>
                    <a:pt x="47067" y="259878"/>
                    <a:pt x="36357" y="251892"/>
                    <a:pt x="27442" y="241585"/>
                  </a:cubicBezTo>
                  <a:cubicBezTo>
                    <a:pt x="18526" y="231162"/>
                    <a:pt x="11697" y="218604"/>
                    <a:pt x="6950" y="203896"/>
                  </a:cubicBezTo>
                  <a:cubicBezTo>
                    <a:pt x="2315" y="189192"/>
                    <a:pt x="0" y="172753"/>
                    <a:pt x="0" y="154577"/>
                  </a:cubicBezTo>
                  <a:lnTo>
                    <a:pt x="0" y="133560"/>
                  </a:lnTo>
                  <a:cubicBezTo>
                    <a:pt x="0" y="115379"/>
                    <a:pt x="2374" y="98940"/>
                    <a:pt x="7121" y="84236"/>
                  </a:cubicBezTo>
                  <a:cubicBezTo>
                    <a:pt x="11984" y="69533"/>
                    <a:pt x="18930" y="56970"/>
                    <a:pt x="27962" y="46552"/>
                  </a:cubicBezTo>
                  <a:cubicBezTo>
                    <a:pt x="36994" y="36017"/>
                    <a:pt x="47816" y="27967"/>
                    <a:pt x="60438" y="22408"/>
                  </a:cubicBezTo>
                  <a:cubicBezTo>
                    <a:pt x="73171" y="16848"/>
                    <a:pt x="87471" y="14071"/>
                    <a:pt x="103336" y="14071"/>
                  </a:cubicBezTo>
                  <a:cubicBezTo>
                    <a:pt x="123482" y="14071"/>
                    <a:pt x="140506" y="17777"/>
                    <a:pt x="154397" y="25185"/>
                  </a:cubicBezTo>
                  <a:cubicBezTo>
                    <a:pt x="168293" y="32597"/>
                    <a:pt x="179056" y="42840"/>
                    <a:pt x="186702" y="55924"/>
                  </a:cubicBezTo>
                  <a:cubicBezTo>
                    <a:pt x="194460" y="69008"/>
                    <a:pt x="199207" y="84003"/>
                    <a:pt x="200943" y="100905"/>
                  </a:cubicBezTo>
                  <a:lnTo>
                    <a:pt x="157524" y="100905"/>
                  </a:lnTo>
                  <a:cubicBezTo>
                    <a:pt x="156367" y="90019"/>
                    <a:pt x="153818" y="80700"/>
                    <a:pt x="149883" y="72943"/>
                  </a:cubicBezTo>
                  <a:cubicBezTo>
                    <a:pt x="146065" y="65185"/>
                    <a:pt x="140389" y="59280"/>
                    <a:pt x="132865" y="55229"/>
                  </a:cubicBezTo>
                  <a:cubicBezTo>
                    <a:pt x="125340" y="51060"/>
                    <a:pt x="115496" y="48974"/>
                    <a:pt x="103341" y="48974"/>
                  </a:cubicBezTo>
                  <a:cubicBezTo>
                    <a:pt x="93385" y="48974"/>
                    <a:pt x="84698" y="50827"/>
                    <a:pt x="77291" y="54533"/>
                  </a:cubicBezTo>
                  <a:cubicBezTo>
                    <a:pt x="69878" y="58239"/>
                    <a:pt x="63687" y="63682"/>
                    <a:pt x="58706" y="70861"/>
                  </a:cubicBezTo>
                  <a:cubicBezTo>
                    <a:pt x="53730" y="78040"/>
                    <a:pt x="49966" y="86897"/>
                    <a:pt x="47417" y="97432"/>
                  </a:cubicBezTo>
                  <a:cubicBezTo>
                    <a:pt x="44985" y="107850"/>
                    <a:pt x="43769" y="119776"/>
                    <a:pt x="43769" y="133210"/>
                  </a:cubicBezTo>
                  <a:lnTo>
                    <a:pt x="43769" y="154572"/>
                  </a:lnTo>
                  <a:cubicBezTo>
                    <a:pt x="43769" y="167305"/>
                    <a:pt x="44869" y="178886"/>
                    <a:pt x="47067" y="189304"/>
                  </a:cubicBezTo>
                  <a:cubicBezTo>
                    <a:pt x="49382" y="199611"/>
                    <a:pt x="52855" y="208468"/>
                    <a:pt x="57490" y="215875"/>
                  </a:cubicBezTo>
                  <a:cubicBezTo>
                    <a:pt x="62237" y="223288"/>
                    <a:pt x="68259" y="229017"/>
                    <a:pt x="75550" y="233069"/>
                  </a:cubicBezTo>
                  <a:cubicBezTo>
                    <a:pt x="82845" y="237120"/>
                    <a:pt x="91585" y="239149"/>
                    <a:pt x="101775" y="239149"/>
                  </a:cubicBezTo>
                  <a:cubicBezTo>
                    <a:pt x="114163" y="239149"/>
                    <a:pt x="124178" y="237179"/>
                    <a:pt x="131824" y="233244"/>
                  </a:cubicBezTo>
                  <a:cubicBezTo>
                    <a:pt x="139582" y="229309"/>
                    <a:pt x="145428" y="223575"/>
                    <a:pt x="149363" y="216050"/>
                  </a:cubicBezTo>
                  <a:cubicBezTo>
                    <a:pt x="153414" y="208409"/>
                    <a:pt x="156080" y="199090"/>
                    <a:pt x="157354" y="188088"/>
                  </a:cubicBezTo>
                  <a:close/>
                  <a:moveTo>
                    <a:pt x="313837" y="270418"/>
                  </a:moveTo>
                  <a:lnTo>
                    <a:pt x="259825" y="270418"/>
                  </a:lnTo>
                  <a:lnTo>
                    <a:pt x="260170" y="235856"/>
                  </a:lnTo>
                  <a:lnTo>
                    <a:pt x="313837" y="235856"/>
                  </a:lnTo>
                  <a:cubicBezTo>
                    <a:pt x="329469" y="235856"/>
                    <a:pt x="342553" y="232441"/>
                    <a:pt x="353088" y="225608"/>
                  </a:cubicBezTo>
                  <a:cubicBezTo>
                    <a:pt x="363740" y="218779"/>
                    <a:pt x="371731" y="208993"/>
                    <a:pt x="377057" y="196255"/>
                  </a:cubicBezTo>
                  <a:cubicBezTo>
                    <a:pt x="382499" y="183521"/>
                    <a:pt x="385218" y="168351"/>
                    <a:pt x="385218" y="150754"/>
                  </a:cubicBezTo>
                  <a:lnTo>
                    <a:pt x="385218" y="137033"/>
                  </a:lnTo>
                  <a:cubicBezTo>
                    <a:pt x="385218" y="123371"/>
                    <a:pt x="383657" y="111269"/>
                    <a:pt x="380530" y="100734"/>
                  </a:cubicBezTo>
                  <a:cubicBezTo>
                    <a:pt x="377519" y="90199"/>
                    <a:pt x="373005" y="81342"/>
                    <a:pt x="366984" y="74163"/>
                  </a:cubicBezTo>
                  <a:cubicBezTo>
                    <a:pt x="361079" y="66984"/>
                    <a:pt x="353784" y="61542"/>
                    <a:pt x="345102" y="57840"/>
                  </a:cubicBezTo>
                  <a:cubicBezTo>
                    <a:pt x="336532" y="54134"/>
                    <a:pt x="326634" y="52281"/>
                    <a:pt x="315403" y="52281"/>
                  </a:cubicBezTo>
                  <a:lnTo>
                    <a:pt x="258784" y="52281"/>
                  </a:lnTo>
                  <a:lnTo>
                    <a:pt x="258784" y="17544"/>
                  </a:lnTo>
                  <a:lnTo>
                    <a:pt x="315403" y="17544"/>
                  </a:lnTo>
                  <a:cubicBezTo>
                    <a:pt x="332193" y="17544"/>
                    <a:pt x="347534" y="20379"/>
                    <a:pt x="361429" y="26055"/>
                  </a:cubicBezTo>
                  <a:cubicBezTo>
                    <a:pt x="375325" y="31615"/>
                    <a:pt x="387310" y="39660"/>
                    <a:pt x="397383" y="50195"/>
                  </a:cubicBezTo>
                  <a:cubicBezTo>
                    <a:pt x="407572" y="60730"/>
                    <a:pt x="415389" y="73351"/>
                    <a:pt x="420826" y="88054"/>
                  </a:cubicBezTo>
                  <a:cubicBezTo>
                    <a:pt x="426269" y="102758"/>
                    <a:pt x="428988" y="119202"/>
                    <a:pt x="428988" y="137378"/>
                  </a:cubicBezTo>
                  <a:lnTo>
                    <a:pt x="428988" y="150754"/>
                  </a:lnTo>
                  <a:cubicBezTo>
                    <a:pt x="428988" y="168930"/>
                    <a:pt x="426269" y="185374"/>
                    <a:pt x="420826" y="200078"/>
                  </a:cubicBezTo>
                  <a:cubicBezTo>
                    <a:pt x="415384" y="214781"/>
                    <a:pt x="407568" y="227403"/>
                    <a:pt x="397383" y="237938"/>
                  </a:cubicBezTo>
                  <a:cubicBezTo>
                    <a:pt x="387193" y="248356"/>
                    <a:pt x="375038" y="256405"/>
                    <a:pt x="360909" y="262077"/>
                  </a:cubicBezTo>
                  <a:cubicBezTo>
                    <a:pt x="346896" y="267636"/>
                    <a:pt x="331211" y="270413"/>
                    <a:pt x="313842" y="270413"/>
                  </a:cubicBezTo>
                  <a:close/>
                  <a:moveTo>
                    <a:pt x="283964" y="17544"/>
                  </a:moveTo>
                  <a:lnTo>
                    <a:pt x="283964" y="270418"/>
                  </a:lnTo>
                  <a:lnTo>
                    <a:pt x="240369" y="270418"/>
                  </a:lnTo>
                  <a:lnTo>
                    <a:pt x="240369" y="17544"/>
                  </a:lnTo>
                  <a:lnTo>
                    <a:pt x="283964" y="17544"/>
                  </a:lnTo>
                  <a:close/>
                  <a:moveTo>
                    <a:pt x="519299" y="17544"/>
                  </a:moveTo>
                  <a:lnTo>
                    <a:pt x="519299" y="270418"/>
                  </a:lnTo>
                  <a:lnTo>
                    <a:pt x="475705" y="270418"/>
                  </a:lnTo>
                  <a:lnTo>
                    <a:pt x="475705" y="17544"/>
                  </a:lnTo>
                  <a:lnTo>
                    <a:pt x="519299" y="17544"/>
                  </a:lnTo>
                  <a:close/>
                  <a:moveTo>
                    <a:pt x="811424" y="188093"/>
                  </a:moveTo>
                  <a:lnTo>
                    <a:pt x="854843" y="188093"/>
                  </a:lnTo>
                  <a:cubicBezTo>
                    <a:pt x="853452" y="204650"/>
                    <a:pt x="848822" y="219411"/>
                    <a:pt x="840947" y="232383"/>
                  </a:cubicBezTo>
                  <a:cubicBezTo>
                    <a:pt x="833073" y="245233"/>
                    <a:pt x="822017" y="255365"/>
                    <a:pt x="807776" y="262777"/>
                  </a:cubicBezTo>
                  <a:cubicBezTo>
                    <a:pt x="793535" y="270185"/>
                    <a:pt x="776225" y="273891"/>
                    <a:pt x="755845" y="273891"/>
                  </a:cubicBezTo>
                  <a:cubicBezTo>
                    <a:pt x="740213" y="273891"/>
                    <a:pt x="726147" y="271114"/>
                    <a:pt x="713642" y="265554"/>
                  </a:cubicBezTo>
                  <a:cubicBezTo>
                    <a:pt x="701137" y="259878"/>
                    <a:pt x="690427" y="251892"/>
                    <a:pt x="681512" y="241585"/>
                  </a:cubicBezTo>
                  <a:cubicBezTo>
                    <a:pt x="672596" y="231162"/>
                    <a:pt x="665768" y="218604"/>
                    <a:pt x="661021" y="203896"/>
                  </a:cubicBezTo>
                  <a:cubicBezTo>
                    <a:pt x="656390" y="189192"/>
                    <a:pt x="654075" y="172748"/>
                    <a:pt x="654075" y="154572"/>
                  </a:cubicBezTo>
                  <a:lnTo>
                    <a:pt x="654075" y="133555"/>
                  </a:lnTo>
                  <a:cubicBezTo>
                    <a:pt x="654075" y="115374"/>
                    <a:pt x="656449" y="98935"/>
                    <a:pt x="661196" y="84231"/>
                  </a:cubicBezTo>
                  <a:cubicBezTo>
                    <a:pt x="666059" y="69528"/>
                    <a:pt x="673005" y="56965"/>
                    <a:pt x="682037" y="46547"/>
                  </a:cubicBezTo>
                  <a:cubicBezTo>
                    <a:pt x="691069" y="36012"/>
                    <a:pt x="701891" y="27962"/>
                    <a:pt x="714513" y="22403"/>
                  </a:cubicBezTo>
                  <a:cubicBezTo>
                    <a:pt x="727246" y="16843"/>
                    <a:pt x="741546" y="14066"/>
                    <a:pt x="757411" y="14066"/>
                  </a:cubicBezTo>
                  <a:cubicBezTo>
                    <a:pt x="777557" y="14066"/>
                    <a:pt x="794581" y="17772"/>
                    <a:pt x="808472" y="25180"/>
                  </a:cubicBezTo>
                  <a:cubicBezTo>
                    <a:pt x="822368" y="32592"/>
                    <a:pt x="833131" y="42836"/>
                    <a:pt x="840777" y="55919"/>
                  </a:cubicBezTo>
                  <a:cubicBezTo>
                    <a:pt x="848535" y="69003"/>
                    <a:pt x="853282" y="83998"/>
                    <a:pt x="855018" y="100900"/>
                  </a:cubicBezTo>
                  <a:lnTo>
                    <a:pt x="811599" y="100900"/>
                  </a:lnTo>
                  <a:cubicBezTo>
                    <a:pt x="810442" y="90015"/>
                    <a:pt x="807893" y="80695"/>
                    <a:pt x="803958" y="72938"/>
                  </a:cubicBezTo>
                  <a:cubicBezTo>
                    <a:pt x="800140" y="65180"/>
                    <a:pt x="794464" y="59275"/>
                    <a:pt x="786940" y="55224"/>
                  </a:cubicBezTo>
                  <a:cubicBezTo>
                    <a:pt x="779415" y="51055"/>
                    <a:pt x="769571" y="48969"/>
                    <a:pt x="757416" y="48969"/>
                  </a:cubicBezTo>
                  <a:cubicBezTo>
                    <a:pt x="747460" y="48969"/>
                    <a:pt x="738773" y="50822"/>
                    <a:pt x="731366" y="54528"/>
                  </a:cubicBezTo>
                  <a:cubicBezTo>
                    <a:pt x="723953" y="58234"/>
                    <a:pt x="717762" y="63677"/>
                    <a:pt x="712781" y="70856"/>
                  </a:cubicBezTo>
                  <a:cubicBezTo>
                    <a:pt x="707801" y="78035"/>
                    <a:pt x="704041" y="86892"/>
                    <a:pt x="701492" y="97427"/>
                  </a:cubicBezTo>
                  <a:cubicBezTo>
                    <a:pt x="699060" y="107845"/>
                    <a:pt x="697844" y="119771"/>
                    <a:pt x="697844" y="133205"/>
                  </a:cubicBezTo>
                  <a:lnTo>
                    <a:pt x="697844" y="154567"/>
                  </a:lnTo>
                  <a:cubicBezTo>
                    <a:pt x="697844" y="167300"/>
                    <a:pt x="698944" y="178881"/>
                    <a:pt x="701142" y="189299"/>
                  </a:cubicBezTo>
                  <a:cubicBezTo>
                    <a:pt x="703457" y="199606"/>
                    <a:pt x="706930" y="208463"/>
                    <a:pt x="711565" y="215870"/>
                  </a:cubicBezTo>
                  <a:cubicBezTo>
                    <a:pt x="716312" y="223283"/>
                    <a:pt x="722334" y="229012"/>
                    <a:pt x="729629" y="233064"/>
                  </a:cubicBezTo>
                  <a:cubicBezTo>
                    <a:pt x="736925" y="237116"/>
                    <a:pt x="745665" y="239144"/>
                    <a:pt x="755855" y="239144"/>
                  </a:cubicBezTo>
                  <a:cubicBezTo>
                    <a:pt x="768243" y="239144"/>
                    <a:pt x="778258" y="237174"/>
                    <a:pt x="785904" y="233239"/>
                  </a:cubicBezTo>
                  <a:cubicBezTo>
                    <a:pt x="793661" y="229304"/>
                    <a:pt x="799508" y="223570"/>
                    <a:pt x="803443" y="216046"/>
                  </a:cubicBezTo>
                  <a:cubicBezTo>
                    <a:pt x="807494" y="208405"/>
                    <a:pt x="810159" y="199085"/>
                    <a:pt x="811434" y="188084"/>
                  </a:cubicBezTo>
                  <a:close/>
                  <a:moveTo>
                    <a:pt x="882285" y="178541"/>
                  </a:moveTo>
                  <a:lnTo>
                    <a:pt x="882285" y="174548"/>
                  </a:lnTo>
                  <a:cubicBezTo>
                    <a:pt x="882285" y="161002"/>
                    <a:pt x="884255" y="148439"/>
                    <a:pt x="888190" y="136858"/>
                  </a:cubicBezTo>
                  <a:cubicBezTo>
                    <a:pt x="892124" y="125165"/>
                    <a:pt x="897800" y="115034"/>
                    <a:pt x="905208" y="106464"/>
                  </a:cubicBezTo>
                  <a:cubicBezTo>
                    <a:pt x="912732" y="97782"/>
                    <a:pt x="921881" y="91065"/>
                    <a:pt x="932650" y="86318"/>
                  </a:cubicBezTo>
                  <a:cubicBezTo>
                    <a:pt x="943535" y="81454"/>
                    <a:pt x="955806" y="79022"/>
                    <a:pt x="969469" y="79022"/>
                  </a:cubicBezTo>
                  <a:cubicBezTo>
                    <a:pt x="983131" y="79022"/>
                    <a:pt x="995519" y="81454"/>
                    <a:pt x="1006288" y="86318"/>
                  </a:cubicBezTo>
                  <a:cubicBezTo>
                    <a:pt x="1017173" y="91065"/>
                    <a:pt x="1026375" y="97782"/>
                    <a:pt x="1033899" y="106464"/>
                  </a:cubicBezTo>
                  <a:cubicBezTo>
                    <a:pt x="1041424" y="115034"/>
                    <a:pt x="1047158" y="125165"/>
                    <a:pt x="1051093" y="136858"/>
                  </a:cubicBezTo>
                  <a:cubicBezTo>
                    <a:pt x="1055028" y="148439"/>
                    <a:pt x="1056998" y="160997"/>
                    <a:pt x="1056998" y="174548"/>
                  </a:cubicBezTo>
                  <a:lnTo>
                    <a:pt x="1056998" y="178541"/>
                  </a:lnTo>
                  <a:cubicBezTo>
                    <a:pt x="1056998" y="192086"/>
                    <a:pt x="1055028" y="204650"/>
                    <a:pt x="1051093" y="216230"/>
                  </a:cubicBezTo>
                  <a:cubicBezTo>
                    <a:pt x="1047153" y="227806"/>
                    <a:pt x="1041424" y="237938"/>
                    <a:pt x="1033899" y="246624"/>
                  </a:cubicBezTo>
                  <a:cubicBezTo>
                    <a:pt x="1026375" y="255194"/>
                    <a:pt x="1017226" y="261906"/>
                    <a:pt x="1006458" y="266770"/>
                  </a:cubicBezTo>
                  <a:cubicBezTo>
                    <a:pt x="995689" y="271517"/>
                    <a:pt x="983476" y="273891"/>
                    <a:pt x="969814" y="273891"/>
                  </a:cubicBezTo>
                  <a:cubicBezTo>
                    <a:pt x="956151" y="273891"/>
                    <a:pt x="943705" y="271517"/>
                    <a:pt x="932820" y="266770"/>
                  </a:cubicBezTo>
                  <a:cubicBezTo>
                    <a:pt x="922051" y="261906"/>
                    <a:pt x="912907" y="255189"/>
                    <a:pt x="905378" y="246624"/>
                  </a:cubicBezTo>
                  <a:cubicBezTo>
                    <a:pt x="897854" y="237942"/>
                    <a:pt x="892119" y="227811"/>
                    <a:pt x="888185" y="216230"/>
                  </a:cubicBezTo>
                  <a:cubicBezTo>
                    <a:pt x="884245" y="204650"/>
                    <a:pt x="882280" y="192086"/>
                    <a:pt x="882280" y="178541"/>
                  </a:cubicBezTo>
                  <a:close/>
                  <a:moveTo>
                    <a:pt x="924143" y="174548"/>
                  </a:moveTo>
                  <a:lnTo>
                    <a:pt x="924143" y="178541"/>
                  </a:lnTo>
                  <a:cubicBezTo>
                    <a:pt x="924143" y="186994"/>
                    <a:pt x="925013" y="194980"/>
                    <a:pt x="926750" y="202510"/>
                  </a:cubicBezTo>
                  <a:cubicBezTo>
                    <a:pt x="928486" y="210034"/>
                    <a:pt x="931210" y="216634"/>
                    <a:pt x="934911" y="222310"/>
                  </a:cubicBezTo>
                  <a:cubicBezTo>
                    <a:pt x="938617" y="227981"/>
                    <a:pt x="943365" y="232441"/>
                    <a:pt x="949152" y="235681"/>
                  </a:cubicBezTo>
                  <a:cubicBezTo>
                    <a:pt x="954940" y="238925"/>
                    <a:pt x="961832" y="240545"/>
                    <a:pt x="969819" y="240545"/>
                  </a:cubicBezTo>
                  <a:cubicBezTo>
                    <a:pt x="977805" y="240545"/>
                    <a:pt x="984293" y="238925"/>
                    <a:pt x="989965" y="235681"/>
                  </a:cubicBezTo>
                  <a:cubicBezTo>
                    <a:pt x="995753" y="232441"/>
                    <a:pt x="1000500" y="227981"/>
                    <a:pt x="1004206" y="222310"/>
                  </a:cubicBezTo>
                  <a:cubicBezTo>
                    <a:pt x="1007912" y="216634"/>
                    <a:pt x="1010631" y="210039"/>
                    <a:pt x="1012367" y="202510"/>
                  </a:cubicBezTo>
                  <a:cubicBezTo>
                    <a:pt x="1014220" y="194985"/>
                    <a:pt x="1015145" y="186994"/>
                    <a:pt x="1015145" y="178541"/>
                  </a:cubicBezTo>
                  <a:lnTo>
                    <a:pt x="1015145" y="174548"/>
                  </a:lnTo>
                  <a:cubicBezTo>
                    <a:pt x="1015145" y="166211"/>
                    <a:pt x="1014220" y="158336"/>
                    <a:pt x="1012367" y="150929"/>
                  </a:cubicBezTo>
                  <a:cubicBezTo>
                    <a:pt x="1010631" y="143405"/>
                    <a:pt x="1007854" y="136746"/>
                    <a:pt x="1004031" y="130958"/>
                  </a:cubicBezTo>
                  <a:cubicBezTo>
                    <a:pt x="1000325" y="125170"/>
                    <a:pt x="995578" y="120652"/>
                    <a:pt x="989790" y="117412"/>
                  </a:cubicBezTo>
                  <a:cubicBezTo>
                    <a:pt x="984118" y="114056"/>
                    <a:pt x="977343" y="112378"/>
                    <a:pt x="969469" y="112378"/>
                  </a:cubicBezTo>
                  <a:cubicBezTo>
                    <a:pt x="961594" y="112378"/>
                    <a:pt x="954765" y="114056"/>
                    <a:pt x="948977" y="117412"/>
                  </a:cubicBezTo>
                  <a:cubicBezTo>
                    <a:pt x="943301" y="120657"/>
                    <a:pt x="938613" y="125170"/>
                    <a:pt x="934911" y="130958"/>
                  </a:cubicBezTo>
                  <a:cubicBezTo>
                    <a:pt x="931205" y="136746"/>
                    <a:pt x="928486" y="143405"/>
                    <a:pt x="926750" y="150929"/>
                  </a:cubicBezTo>
                  <a:cubicBezTo>
                    <a:pt x="925013" y="158341"/>
                    <a:pt x="924143" y="166211"/>
                    <a:pt x="924143" y="174548"/>
                  </a:cubicBezTo>
                  <a:close/>
                  <a:moveTo>
                    <a:pt x="1133598" y="122617"/>
                  </a:moveTo>
                  <a:lnTo>
                    <a:pt x="1133598" y="270418"/>
                  </a:lnTo>
                  <a:lnTo>
                    <a:pt x="1091745" y="270418"/>
                  </a:lnTo>
                  <a:lnTo>
                    <a:pt x="1091745" y="82495"/>
                  </a:lnTo>
                  <a:lnTo>
                    <a:pt x="1131171" y="82495"/>
                  </a:lnTo>
                  <a:lnTo>
                    <a:pt x="1133603" y="122617"/>
                  </a:lnTo>
                  <a:close/>
                  <a:moveTo>
                    <a:pt x="1126132" y="169509"/>
                  </a:moveTo>
                  <a:lnTo>
                    <a:pt x="1112586" y="169334"/>
                  </a:lnTo>
                  <a:cubicBezTo>
                    <a:pt x="1112703" y="156016"/>
                    <a:pt x="1114556" y="143803"/>
                    <a:pt x="1118145" y="132690"/>
                  </a:cubicBezTo>
                  <a:cubicBezTo>
                    <a:pt x="1121852" y="121576"/>
                    <a:pt x="1126944" y="112023"/>
                    <a:pt x="1133428" y="104032"/>
                  </a:cubicBezTo>
                  <a:cubicBezTo>
                    <a:pt x="1140028" y="96041"/>
                    <a:pt x="1147902" y="89908"/>
                    <a:pt x="1157046" y="85623"/>
                  </a:cubicBezTo>
                  <a:cubicBezTo>
                    <a:pt x="1166195" y="81226"/>
                    <a:pt x="1176385" y="79022"/>
                    <a:pt x="1187615" y="79022"/>
                  </a:cubicBezTo>
                  <a:cubicBezTo>
                    <a:pt x="1196647" y="79022"/>
                    <a:pt x="1204809" y="80297"/>
                    <a:pt x="1212105" y="82840"/>
                  </a:cubicBezTo>
                  <a:cubicBezTo>
                    <a:pt x="1219517" y="85272"/>
                    <a:pt x="1225825" y="89265"/>
                    <a:pt x="1231034" y="94825"/>
                  </a:cubicBezTo>
                  <a:cubicBezTo>
                    <a:pt x="1236360" y="100384"/>
                    <a:pt x="1240412" y="107617"/>
                    <a:pt x="1243189" y="116532"/>
                  </a:cubicBezTo>
                  <a:cubicBezTo>
                    <a:pt x="1245966" y="125331"/>
                    <a:pt x="1247357" y="136157"/>
                    <a:pt x="1247357" y="149013"/>
                  </a:cubicBezTo>
                  <a:lnTo>
                    <a:pt x="1247357" y="270413"/>
                  </a:lnTo>
                  <a:lnTo>
                    <a:pt x="1205329" y="270413"/>
                  </a:lnTo>
                  <a:lnTo>
                    <a:pt x="1205329" y="148837"/>
                  </a:lnTo>
                  <a:cubicBezTo>
                    <a:pt x="1205329" y="139805"/>
                    <a:pt x="1203996" y="132685"/>
                    <a:pt x="1201336" y="127476"/>
                  </a:cubicBezTo>
                  <a:cubicBezTo>
                    <a:pt x="1198787" y="122150"/>
                    <a:pt x="1195028" y="118385"/>
                    <a:pt x="1190047" y="116187"/>
                  </a:cubicBezTo>
                  <a:cubicBezTo>
                    <a:pt x="1185183" y="113872"/>
                    <a:pt x="1179104" y="112714"/>
                    <a:pt x="1171813" y="112714"/>
                  </a:cubicBezTo>
                  <a:cubicBezTo>
                    <a:pt x="1164522" y="112714"/>
                    <a:pt x="1158209" y="114217"/>
                    <a:pt x="1152533" y="117228"/>
                  </a:cubicBezTo>
                  <a:cubicBezTo>
                    <a:pt x="1146861" y="120238"/>
                    <a:pt x="1142056" y="124348"/>
                    <a:pt x="1138116" y="129557"/>
                  </a:cubicBezTo>
                  <a:cubicBezTo>
                    <a:pt x="1134293" y="134766"/>
                    <a:pt x="1131341" y="140788"/>
                    <a:pt x="1129259" y="147621"/>
                  </a:cubicBezTo>
                  <a:cubicBezTo>
                    <a:pt x="1127178" y="154450"/>
                    <a:pt x="1126132" y="161746"/>
                    <a:pt x="1126132" y="169504"/>
                  </a:cubicBezTo>
                  <a:close/>
                  <a:moveTo>
                    <a:pt x="1346701" y="270418"/>
                  </a:moveTo>
                  <a:lnTo>
                    <a:pt x="1304843" y="270418"/>
                  </a:lnTo>
                  <a:lnTo>
                    <a:pt x="1304843" y="64436"/>
                  </a:lnTo>
                  <a:cubicBezTo>
                    <a:pt x="1304843" y="50428"/>
                    <a:pt x="1307450" y="38672"/>
                    <a:pt x="1312659" y="29178"/>
                  </a:cubicBezTo>
                  <a:cubicBezTo>
                    <a:pt x="1317985" y="19567"/>
                    <a:pt x="1325567" y="12330"/>
                    <a:pt x="1335412" y="7471"/>
                  </a:cubicBezTo>
                  <a:cubicBezTo>
                    <a:pt x="1345256" y="2490"/>
                    <a:pt x="1356890" y="0"/>
                    <a:pt x="1370319" y="0"/>
                  </a:cubicBezTo>
                  <a:cubicBezTo>
                    <a:pt x="1374488" y="0"/>
                    <a:pt x="1378597" y="292"/>
                    <a:pt x="1382649" y="871"/>
                  </a:cubicBezTo>
                  <a:cubicBezTo>
                    <a:pt x="1386701" y="1333"/>
                    <a:pt x="1390640" y="2087"/>
                    <a:pt x="1394458" y="3127"/>
                  </a:cubicBezTo>
                  <a:lnTo>
                    <a:pt x="1393418" y="35433"/>
                  </a:lnTo>
                  <a:cubicBezTo>
                    <a:pt x="1391102" y="34854"/>
                    <a:pt x="1388554" y="34450"/>
                    <a:pt x="1385776" y="34217"/>
                  </a:cubicBezTo>
                  <a:cubicBezTo>
                    <a:pt x="1383116" y="33983"/>
                    <a:pt x="1380217" y="33872"/>
                    <a:pt x="1377095" y="33872"/>
                  </a:cubicBezTo>
                  <a:cubicBezTo>
                    <a:pt x="1370728" y="33872"/>
                    <a:pt x="1365227" y="35088"/>
                    <a:pt x="1360596" y="37519"/>
                  </a:cubicBezTo>
                  <a:cubicBezTo>
                    <a:pt x="1356083" y="39835"/>
                    <a:pt x="1352605" y="43249"/>
                    <a:pt x="1350178" y="47767"/>
                  </a:cubicBezTo>
                  <a:cubicBezTo>
                    <a:pt x="1347863" y="52286"/>
                    <a:pt x="1346706" y="57840"/>
                    <a:pt x="1346706" y="64441"/>
                  </a:cubicBezTo>
                  <a:lnTo>
                    <a:pt x="1346706" y="270423"/>
                  </a:lnTo>
                  <a:close/>
                  <a:moveTo>
                    <a:pt x="1385431" y="82500"/>
                  </a:moveTo>
                  <a:lnTo>
                    <a:pt x="1385431" y="113069"/>
                  </a:lnTo>
                  <a:lnTo>
                    <a:pt x="1276015" y="113069"/>
                  </a:lnTo>
                  <a:lnTo>
                    <a:pt x="1276015" y="82500"/>
                  </a:lnTo>
                  <a:lnTo>
                    <a:pt x="1385431" y="82500"/>
                  </a:lnTo>
                  <a:close/>
                </a:path>
              </a:pathLst>
            </a:custGeom>
            <a:solidFill>
              <a:srgbClr val="EE3431"/>
            </a:solidFill>
            <a:ln w="4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6" name="Полилиния: фигура 45">
              <a:extLst>
                <a:ext uri="{FF2B5EF4-FFF2-40B4-BE49-F238E27FC236}">
                  <a16:creationId xmlns:a16="http://schemas.microsoft.com/office/drawing/2014/main" id="{EB80AEA3-6D76-4813-B83E-E98064CA7762}"/>
                </a:ext>
              </a:extLst>
            </p:cNvPr>
            <p:cNvSpPr/>
            <p:nvPr/>
          </p:nvSpPr>
          <p:spPr>
            <a:xfrm>
              <a:off x="7406975" y="5855999"/>
              <a:ext cx="1394458" cy="273890"/>
            </a:xfrm>
            <a:custGeom>
              <a:avLst/>
              <a:gdLst>
                <a:gd name="connsiteX0" fmla="*/ 157354 w 1394458"/>
                <a:gd name="connsiteY0" fmla="*/ 188093 h 273890"/>
                <a:gd name="connsiteX1" fmla="*/ 200773 w 1394458"/>
                <a:gd name="connsiteY1" fmla="*/ 188093 h 273890"/>
                <a:gd name="connsiteX2" fmla="*/ 186877 w 1394458"/>
                <a:gd name="connsiteY2" fmla="*/ 232383 h 273890"/>
                <a:gd name="connsiteX3" fmla="*/ 153706 w 1394458"/>
                <a:gd name="connsiteY3" fmla="*/ 262777 h 273890"/>
                <a:gd name="connsiteX4" fmla="*/ 101775 w 1394458"/>
                <a:gd name="connsiteY4" fmla="*/ 273891 h 273890"/>
                <a:gd name="connsiteX5" fmla="*/ 59572 w 1394458"/>
                <a:gd name="connsiteY5" fmla="*/ 265554 h 273890"/>
                <a:gd name="connsiteX6" fmla="*/ 27442 w 1394458"/>
                <a:gd name="connsiteY6" fmla="*/ 241585 h 273890"/>
                <a:gd name="connsiteX7" fmla="*/ 6950 w 1394458"/>
                <a:gd name="connsiteY7" fmla="*/ 203901 h 273890"/>
                <a:gd name="connsiteX8" fmla="*/ 0 w 1394458"/>
                <a:gd name="connsiteY8" fmla="*/ 154572 h 273890"/>
                <a:gd name="connsiteX9" fmla="*/ 0 w 1394458"/>
                <a:gd name="connsiteY9" fmla="*/ 133555 h 273890"/>
                <a:gd name="connsiteX10" fmla="*/ 7121 w 1394458"/>
                <a:gd name="connsiteY10" fmla="*/ 84231 h 273890"/>
                <a:gd name="connsiteX11" fmla="*/ 27962 w 1394458"/>
                <a:gd name="connsiteY11" fmla="*/ 46542 h 273890"/>
                <a:gd name="connsiteX12" fmla="*/ 60438 w 1394458"/>
                <a:gd name="connsiteY12" fmla="*/ 22403 h 273890"/>
                <a:gd name="connsiteX13" fmla="*/ 103336 w 1394458"/>
                <a:gd name="connsiteY13" fmla="*/ 14066 h 273890"/>
                <a:gd name="connsiteX14" fmla="*/ 154397 w 1394458"/>
                <a:gd name="connsiteY14" fmla="*/ 25180 h 273890"/>
                <a:gd name="connsiteX15" fmla="*/ 186702 w 1394458"/>
                <a:gd name="connsiteY15" fmla="*/ 55919 h 273890"/>
                <a:gd name="connsiteX16" fmla="*/ 200943 w 1394458"/>
                <a:gd name="connsiteY16" fmla="*/ 100900 h 273890"/>
                <a:gd name="connsiteX17" fmla="*/ 157524 w 1394458"/>
                <a:gd name="connsiteY17" fmla="*/ 100900 h 273890"/>
                <a:gd name="connsiteX18" fmla="*/ 149883 w 1394458"/>
                <a:gd name="connsiteY18" fmla="*/ 72938 h 273890"/>
                <a:gd name="connsiteX19" fmla="*/ 132865 w 1394458"/>
                <a:gd name="connsiteY19" fmla="*/ 55224 h 273890"/>
                <a:gd name="connsiteX20" fmla="*/ 103341 w 1394458"/>
                <a:gd name="connsiteY20" fmla="*/ 48969 h 273890"/>
                <a:gd name="connsiteX21" fmla="*/ 77291 w 1394458"/>
                <a:gd name="connsiteY21" fmla="*/ 54528 h 273890"/>
                <a:gd name="connsiteX22" fmla="*/ 58706 w 1394458"/>
                <a:gd name="connsiteY22" fmla="*/ 70856 h 273890"/>
                <a:gd name="connsiteX23" fmla="*/ 47417 w 1394458"/>
                <a:gd name="connsiteY23" fmla="*/ 97427 h 273890"/>
                <a:gd name="connsiteX24" fmla="*/ 43769 w 1394458"/>
                <a:gd name="connsiteY24" fmla="*/ 133205 h 273890"/>
                <a:gd name="connsiteX25" fmla="*/ 43769 w 1394458"/>
                <a:gd name="connsiteY25" fmla="*/ 154567 h 273890"/>
                <a:gd name="connsiteX26" fmla="*/ 47067 w 1394458"/>
                <a:gd name="connsiteY26" fmla="*/ 189304 h 273890"/>
                <a:gd name="connsiteX27" fmla="*/ 57490 w 1394458"/>
                <a:gd name="connsiteY27" fmla="*/ 215875 h 273890"/>
                <a:gd name="connsiteX28" fmla="*/ 75550 w 1394458"/>
                <a:gd name="connsiteY28" fmla="*/ 233069 h 273890"/>
                <a:gd name="connsiteX29" fmla="*/ 101775 w 1394458"/>
                <a:gd name="connsiteY29" fmla="*/ 239149 h 273890"/>
                <a:gd name="connsiteX30" fmla="*/ 131824 w 1394458"/>
                <a:gd name="connsiteY30" fmla="*/ 233244 h 273890"/>
                <a:gd name="connsiteX31" fmla="*/ 149363 w 1394458"/>
                <a:gd name="connsiteY31" fmla="*/ 216050 h 273890"/>
                <a:gd name="connsiteX32" fmla="*/ 157354 w 1394458"/>
                <a:gd name="connsiteY32" fmla="*/ 188088 h 273890"/>
                <a:gd name="connsiteX33" fmla="*/ 313837 w 1394458"/>
                <a:gd name="connsiteY33" fmla="*/ 270418 h 273890"/>
                <a:gd name="connsiteX34" fmla="*/ 259825 w 1394458"/>
                <a:gd name="connsiteY34" fmla="*/ 270418 h 273890"/>
                <a:gd name="connsiteX35" fmla="*/ 260170 w 1394458"/>
                <a:gd name="connsiteY35" fmla="*/ 235856 h 273890"/>
                <a:gd name="connsiteX36" fmla="*/ 313837 w 1394458"/>
                <a:gd name="connsiteY36" fmla="*/ 235856 h 273890"/>
                <a:gd name="connsiteX37" fmla="*/ 353088 w 1394458"/>
                <a:gd name="connsiteY37" fmla="*/ 225608 h 273890"/>
                <a:gd name="connsiteX38" fmla="*/ 377057 w 1394458"/>
                <a:gd name="connsiteY38" fmla="*/ 196255 h 273890"/>
                <a:gd name="connsiteX39" fmla="*/ 385218 w 1394458"/>
                <a:gd name="connsiteY39" fmla="*/ 150754 h 273890"/>
                <a:gd name="connsiteX40" fmla="*/ 385218 w 1394458"/>
                <a:gd name="connsiteY40" fmla="*/ 137033 h 273890"/>
                <a:gd name="connsiteX41" fmla="*/ 380530 w 1394458"/>
                <a:gd name="connsiteY41" fmla="*/ 100734 h 273890"/>
                <a:gd name="connsiteX42" fmla="*/ 366984 w 1394458"/>
                <a:gd name="connsiteY42" fmla="*/ 74163 h 273890"/>
                <a:gd name="connsiteX43" fmla="*/ 345102 w 1394458"/>
                <a:gd name="connsiteY43" fmla="*/ 57840 h 273890"/>
                <a:gd name="connsiteX44" fmla="*/ 315403 w 1394458"/>
                <a:gd name="connsiteY44" fmla="*/ 52281 h 273890"/>
                <a:gd name="connsiteX45" fmla="*/ 258784 w 1394458"/>
                <a:gd name="connsiteY45" fmla="*/ 52281 h 273890"/>
                <a:gd name="connsiteX46" fmla="*/ 258784 w 1394458"/>
                <a:gd name="connsiteY46" fmla="*/ 17544 h 273890"/>
                <a:gd name="connsiteX47" fmla="*/ 315403 w 1394458"/>
                <a:gd name="connsiteY47" fmla="*/ 17544 h 273890"/>
                <a:gd name="connsiteX48" fmla="*/ 361429 w 1394458"/>
                <a:gd name="connsiteY48" fmla="*/ 26055 h 273890"/>
                <a:gd name="connsiteX49" fmla="*/ 397383 w 1394458"/>
                <a:gd name="connsiteY49" fmla="*/ 50195 h 273890"/>
                <a:gd name="connsiteX50" fmla="*/ 420826 w 1394458"/>
                <a:gd name="connsiteY50" fmla="*/ 88054 h 273890"/>
                <a:gd name="connsiteX51" fmla="*/ 428988 w 1394458"/>
                <a:gd name="connsiteY51" fmla="*/ 137378 h 273890"/>
                <a:gd name="connsiteX52" fmla="*/ 428988 w 1394458"/>
                <a:gd name="connsiteY52" fmla="*/ 150754 h 273890"/>
                <a:gd name="connsiteX53" fmla="*/ 420826 w 1394458"/>
                <a:gd name="connsiteY53" fmla="*/ 200078 h 273890"/>
                <a:gd name="connsiteX54" fmla="*/ 397383 w 1394458"/>
                <a:gd name="connsiteY54" fmla="*/ 237938 h 273890"/>
                <a:gd name="connsiteX55" fmla="*/ 360909 w 1394458"/>
                <a:gd name="connsiteY55" fmla="*/ 262077 h 273890"/>
                <a:gd name="connsiteX56" fmla="*/ 313842 w 1394458"/>
                <a:gd name="connsiteY56" fmla="*/ 270413 h 273890"/>
                <a:gd name="connsiteX57" fmla="*/ 283964 w 1394458"/>
                <a:gd name="connsiteY57" fmla="*/ 17544 h 273890"/>
                <a:gd name="connsiteX58" fmla="*/ 283964 w 1394458"/>
                <a:gd name="connsiteY58" fmla="*/ 270418 h 273890"/>
                <a:gd name="connsiteX59" fmla="*/ 240369 w 1394458"/>
                <a:gd name="connsiteY59" fmla="*/ 270418 h 273890"/>
                <a:gd name="connsiteX60" fmla="*/ 240369 w 1394458"/>
                <a:gd name="connsiteY60" fmla="*/ 17544 h 273890"/>
                <a:gd name="connsiteX61" fmla="*/ 283964 w 1394458"/>
                <a:gd name="connsiteY61" fmla="*/ 17544 h 273890"/>
                <a:gd name="connsiteX62" fmla="*/ 519299 w 1394458"/>
                <a:gd name="connsiteY62" fmla="*/ 17544 h 273890"/>
                <a:gd name="connsiteX63" fmla="*/ 519299 w 1394458"/>
                <a:gd name="connsiteY63" fmla="*/ 270418 h 273890"/>
                <a:gd name="connsiteX64" fmla="*/ 475705 w 1394458"/>
                <a:gd name="connsiteY64" fmla="*/ 270418 h 273890"/>
                <a:gd name="connsiteX65" fmla="*/ 475705 w 1394458"/>
                <a:gd name="connsiteY65" fmla="*/ 17544 h 273890"/>
                <a:gd name="connsiteX66" fmla="*/ 519299 w 1394458"/>
                <a:gd name="connsiteY66" fmla="*/ 17544 h 273890"/>
                <a:gd name="connsiteX67" fmla="*/ 811424 w 1394458"/>
                <a:gd name="connsiteY67" fmla="*/ 188093 h 273890"/>
                <a:gd name="connsiteX68" fmla="*/ 854843 w 1394458"/>
                <a:gd name="connsiteY68" fmla="*/ 188093 h 273890"/>
                <a:gd name="connsiteX69" fmla="*/ 840947 w 1394458"/>
                <a:gd name="connsiteY69" fmla="*/ 232383 h 273890"/>
                <a:gd name="connsiteX70" fmla="*/ 807776 w 1394458"/>
                <a:gd name="connsiteY70" fmla="*/ 262777 h 273890"/>
                <a:gd name="connsiteX71" fmla="*/ 755845 w 1394458"/>
                <a:gd name="connsiteY71" fmla="*/ 273891 h 273890"/>
                <a:gd name="connsiteX72" fmla="*/ 713642 w 1394458"/>
                <a:gd name="connsiteY72" fmla="*/ 265554 h 273890"/>
                <a:gd name="connsiteX73" fmla="*/ 681512 w 1394458"/>
                <a:gd name="connsiteY73" fmla="*/ 241585 h 273890"/>
                <a:gd name="connsiteX74" fmla="*/ 661021 w 1394458"/>
                <a:gd name="connsiteY74" fmla="*/ 203901 h 273890"/>
                <a:gd name="connsiteX75" fmla="*/ 654075 w 1394458"/>
                <a:gd name="connsiteY75" fmla="*/ 154577 h 273890"/>
                <a:gd name="connsiteX76" fmla="*/ 654075 w 1394458"/>
                <a:gd name="connsiteY76" fmla="*/ 133560 h 273890"/>
                <a:gd name="connsiteX77" fmla="*/ 661196 w 1394458"/>
                <a:gd name="connsiteY77" fmla="*/ 84236 h 273890"/>
                <a:gd name="connsiteX78" fmla="*/ 682037 w 1394458"/>
                <a:gd name="connsiteY78" fmla="*/ 46547 h 273890"/>
                <a:gd name="connsiteX79" fmla="*/ 714513 w 1394458"/>
                <a:gd name="connsiteY79" fmla="*/ 22408 h 273890"/>
                <a:gd name="connsiteX80" fmla="*/ 757411 w 1394458"/>
                <a:gd name="connsiteY80" fmla="*/ 14071 h 273890"/>
                <a:gd name="connsiteX81" fmla="*/ 808472 w 1394458"/>
                <a:gd name="connsiteY81" fmla="*/ 25185 h 273890"/>
                <a:gd name="connsiteX82" fmla="*/ 840777 w 1394458"/>
                <a:gd name="connsiteY82" fmla="*/ 55924 h 273890"/>
                <a:gd name="connsiteX83" fmla="*/ 855018 w 1394458"/>
                <a:gd name="connsiteY83" fmla="*/ 100905 h 273890"/>
                <a:gd name="connsiteX84" fmla="*/ 811599 w 1394458"/>
                <a:gd name="connsiteY84" fmla="*/ 100905 h 273890"/>
                <a:gd name="connsiteX85" fmla="*/ 803958 w 1394458"/>
                <a:gd name="connsiteY85" fmla="*/ 72943 h 273890"/>
                <a:gd name="connsiteX86" fmla="*/ 786940 w 1394458"/>
                <a:gd name="connsiteY86" fmla="*/ 55229 h 273890"/>
                <a:gd name="connsiteX87" fmla="*/ 757416 w 1394458"/>
                <a:gd name="connsiteY87" fmla="*/ 48974 h 273890"/>
                <a:gd name="connsiteX88" fmla="*/ 731366 w 1394458"/>
                <a:gd name="connsiteY88" fmla="*/ 54533 h 273890"/>
                <a:gd name="connsiteX89" fmla="*/ 712781 w 1394458"/>
                <a:gd name="connsiteY89" fmla="*/ 70861 h 273890"/>
                <a:gd name="connsiteX90" fmla="*/ 701492 w 1394458"/>
                <a:gd name="connsiteY90" fmla="*/ 97432 h 273890"/>
                <a:gd name="connsiteX91" fmla="*/ 697844 w 1394458"/>
                <a:gd name="connsiteY91" fmla="*/ 133210 h 273890"/>
                <a:gd name="connsiteX92" fmla="*/ 697844 w 1394458"/>
                <a:gd name="connsiteY92" fmla="*/ 154572 h 273890"/>
                <a:gd name="connsiteX93" fmla="*/ 701142 w 1394458"/>
                <a:gd name="connsiteY93" fmla="*/ 189309 h 273890"/>
                <a:gd name="connsiteX94" fmla="*/ 711565 w 1394458"/>
                <a:gd name="connsiteY94" fmla="*/ 215880 h 273890"/>
                <a:gd name="connsiteX95" fmla="*/ 729629 w 1394458"/>
                <a:gd name="connsiteY95" fmla="*/ 233074 h 273890"/>
                <a:gd name="connsiteX96" fmla="*/ 755855 w 1394458"/>
                <a:gd name="connsiteY96" fmla="*/ 239154 h 273890"/>
                <a:gd name="connsiteX97" fmla="*/ 785904 w 1394458"/>
                <a:gd name="connsiteY97" fmla="*/ 233249 h 273890"/>
                <a:gd name="connsiteX98" fmla="*/ 803443 w 1394458"/>
                <a:gd name="connsiteY98" fmla="*/ 216055 h 273890"/>
                <a:gd name="connsiteX99" fmla="*/ 811434 w 1394458"/>
                <a:gd name="connsiteY99" fmla="*/ 188093 h 273890"/>
                <a:gd name="connsiteX100" fmla="*/ 882285 w 1394458"/>
                <a:gd name="connsiteY100" fmla="*/ 178541 h 273890"/>
                <a:gd name="connsiteX101" fmla="*/ 882285 w 1394458"/>
                <a:gd name="connsiteY101" fmla="*/ 174548 h 273890"/>
                <a:gd name="connsiteX102" fmla="*/ 888190 w 1394458"/>
                <a:gd name="connsiteY102" fmla="*/ 136858 h 273890"/>
                <a:gd name="connsiteX103" fmla="*/ 905208 w 1394458"/>
                <a:gd name="connsiteY103" fmla="*/ 106464 h 273890"/>
                <a:gd name="connsiteX104" fmla="*/ 932650 w 1394458"/>
                <a:gd name="connsiteY104" fmla="*/ 86318 h 273890"/>
                <a:gd name="connsiteX105" fmla="*/ 969469 w 1394458"/>
                <a:gd name="connsiteY105" fmla="*/ 79022 h 273890"/>
                <a:gd name="connsiteX106" fmla="*/ 1006288 w 1394458"/>
                <a:gd name="connsiteY106" fmla="*/ 86318 h 273890"/>
                <a:gd name="connsiteX107" fmla="*/ 1033899 w 1394458"/>
                <a:gd name="connsiteY107" fmla="*/ 106464 h 273890"/>
                <a:gd name="connsiteX108" fmla="*/ 1051093 w 1394458"/>
                <a:gd name="connsiteY108" fmla="*/ 136858 h 273890"/>
                <a:gd name="connsiteX109" fmla="*/ 1056998 w 1394458"/>
                <a:gd name="connsiteY109" fmla="*/ 174548 h 273890"/>
                <a:gd name="connsiteX110" fmla="*/ 1056998 w 1394458"/>
                <a:gd name="connsiteY110" fmla="*/ 178541 h 273890"/>
                <a:gd name="connsiteX111" fmla="*/ 1051093 w 1394458"/>
                <a:gd name="connsiteY111" fmla="*/ 216226 h 273890"/>
                <a:gd name="connsiteX112" fmla="*/ 1033899 w 1394458"/>
                <a:gd name="connsiteY112" fmla="*/ 246619 h 273890"/>
                <a:gd name="connsiteX113" fmla="*/ 1006458 w 1394458"/>
                <a:gd name="connsiteY113" fmla="*/ 266765 h 273890"/>
                <a:gd name="connsiteX114" fmla="*/ 969814 w 1394458"/>
                <a:gd name="connsiteY114" fmla="*/ 273886 h 273890"/>
                <a:gd name="connsiteX115" fmla="*/ 932820 w 1394458"/>
                <a:gd name="connsiteY115" fmla="*/ 266765 h 273890"/>
                <a:gd name="connsiteX116" fmla="*/ 905378 w 1394458"/>
                <a:gd name="connsiteY116" fmla="*/ 246619 h 273890"/>
                <a:gd name="connsiteX117" fmla="*/ 888185 w 1394458"/>
                <a:gd name="connsiteY117" fmla="*/ 216226 h 273890"/>
                <a:gd name="connsiteX118" fmla="*/ 882280 w 1394458"/>
                <a:gd name="connsiteY118" fmla="*/ 178541 h 273890"/>
                <a:gd name="connsiteX119" fmla="*/ 924143 w 1394458"/>
                <a:gd name="connsiteY119" fmla="*/ 174548 h 273890"/>
                <a:gd name="connsiteX120" fmla="*/ 924143 w 1394458"/>
                <a:gd name="connsiteY120" fmla="*/ 178541 h 273890"/>
                <a:gd name="connsiteX121" fmla="*/ 926750 w 1394458"/>
                <a:gd name="connsiteY121" fmla="*/ 202510 h 273890"/>
                <a:gd name="connsiteX122" fmla="*/ 934911 w 1394458"/>
                <a:gd name="connsiteY122" fmla="*/ 222310 h 273890"/>
                <a:gd name="connsiteX123" fmla="*/ 949152 w 1394458"/>
                <a:gd name="connsiteY123" fmla="*/ 235681 h 273890"/>
                <a:gd name="connsiteX124" fmla="*/ 969819 w 1394458"/>
                <a:gd name="connsiteY124" fmla="*/ 240545 h 273890"/>
                <a:gd name="connsiteX125" fmla="*/ 989965 w 1394458"/>
                <a:gd name="connsiteY125" fmla="*/ 235681 h 273890"/>
                <a:gd name="connsiteX126" fmla="*/ 1004206 w 1394458"/>
                <a:gd name="connsiteY126" fmla="*/ 222310 h 273890"/>
                <a:gd name="connsiteX127" fmla="*/ 1012367 w 1394458"/>
                <a:gd name="connsiteY127" fmla="*/ 202510 h 273890"/>
                <a:gd name="connsiteX128" fmla="*/ 1015145 w 1394458"/>
                <a:gd name="connsiteY128" fmla="*/ 178541 h 273890"/>
                <a:gd name="connsiteX129" fmla="*/ 1015145 w 1394458"/>
                <a:gd name="connsiteY129" fmla="*/ 174548 h 273890"/>
                <a:gd name="connsiteX130" fmla="*/ 1012367 w 1394458"/>
                <a:gd name="connsiteY130" fmla="*/ 150929 h 273890"/>
                <a:gd name="connsiteX131" fmla="*/ 1004031 w 1394458"/>
                <a:gd name="connsiteY131" fmla="*/ 130958 h 273890"/>
                <a:gd name="connsiteX132" fmla="*/ 989790 w 1394458"/>
                <a:gd name="connsiteY132" fmla="*/ 117412 h 273890"/>
                <a:gd name="connsiteX133" fmla="*/ 969469 w 1394458"/>
                <a:gd name="connsiteY133" fmla="*/ 112373 h 273890"/>
                <a:gd name="connsiteX134" fmla="*/ 948977 w 1394458"/>
                <a:gd name="connsiteY134" fmla="*/ 117412 h 273890"/>
                <a:gd name="connsiteX135" fmla="*/ 934911 w 1394458"/>
                <a:gd name="connsiteY135" fmla="*/ 130958 h 273890"/>
                <a:gd name="connsiteX136" fmla="*/ 926750 w 1394458"/>
                <a:gd name="connsiteY136" fmla="*/ 150929 h 273890"/>
                <a:gd name="connsiteX137" fmla="*/ 924143 w 1394458"/>
                <a:gd name="connsiteY137" fmla="*/ 174548 h 273890"/>
                <a:gd name="connsiteX138" fmla="*/ 1133598 w 1394458"/>
                <a:gd name="connsiteY138" fmla="*/ 122617 h 273890"/>
                <a:gd name="connsiteX139" fmla="*/ 1133598 w 1394458"/>
                <a:gd name="connsiteY139" fmla="*/ 270418 h 273890"/>
                <a:gd name="connsiteX140" fmla="*/ 1091745 w 1394458"/>
                <a:gd name="connsiteY140" fmla="*/ 270418 h 273890"/>
                <a:gd name="connsiteX141" fmla="*/ 1091745 w 1394458"/>
                <a:gd name="connsiteY141" fmla="*/ 82495 h 273890"/>
                <a:gd name="connsiteX142" fmla="*/ 1131171 w 1394458"/>
                <a:gd name="connsiteY142" fmla="*/ 82495 h 273890"/>
                <a:gd name="connsiteX143" fmla="*/ 1133603 w 1394458"/>
                <a:gd name="connsiteY143" fmla="*/ 122617 h 273890"/>
                <a:gd name="connsiteX144" fmla="*/ 1126132 w 1394458"/>
                <a:gd name="connsiteY144" fmla="*/ 169509 h 273890"/>
                <a:gd name="connsiteX145" fmla="*/ 1112586 w 1394458"/>
                <a:gd name="connsiteY145" fmla="*/ 169334 h 273890"/>
                <a:gd name="connsiteX146" fmla="*/ 1118145 w 1394458"/>
                <a:gd name="connsiteY146" fmla="*/ 132690 h 273890"/>
                <a:gd name="connsiteX147" fmla="*/ 1133428 w 1394458"/>
                <a:gd name="connsiteY147" fmla="*/ 104032 h 273890"/>
                <a:gd name="connsiteX148" fmla="*/ 1157046 w 1394458"/>
                <a:gd name="connsiteY148" fmla="*/ 85623 h 273890"/>
                <a:gd name="connsiteX149" fmla="*/ 1187615 w 1394458"/>
                <a:gd name="connsiteY149" fmla="*/ 79022 h 273890"/>
                <a:gd name="connsiteX150" fmla="*/ 1212105 w 1394458"/>
                <a:gd name="connsiteY150" fmla="*/ 82840 h 273890"/>
                <a:gd name="connsiteX151" fmla="*/ 1231034 w 1394458"/>
                <a:gd name="connsiteY151" fmla="*/ 94825 h 273890"/>
                <a:gd name="connsiteX152" fmla="*/ 1243189 w 1394458"/>
                <a:gd name="connsiteY152" fmla="*/ 116532 h 273890"/>
                <a:gd name="connsiteX153" fmla="*/ 1247357 w 1394458"/>
                <a:gd name="connsiteY153" fmla="*/ 149008 h 273890"/>
                <a:gd name="connsiteX154" fmla="*/ 1247357 w 1394458"/>
                <a:gd name="connsiteY154" fmla="*/ 270408 h 273890"/>
                <a:gd name="connsiteX155" fmla="*/ 1205329 w 1394458"/>
                <a:gd name="connsiteY155" fmla="*/ 270408 h 273890"/>
                <a:gd name="connsiteX156" fmla="*/ 1205329 w 1394458"/>
                <a:gd name="connsiteY156" fmla="*/ 148833 h 273890"/>
                <a:gd name="connsiteX157" fmla="*/ 1201336 w 1394458"/>
                <a:gd name="connsiteY157" fmla="*/ 127471 h 273890"/>
                <a:gd name="connsiteX158" fmla="*/ 1190047 w 1394458"/>
                <a:gd name="connsiteY158" fmla="*/ 116182 h 273890"/>
                <a:gd name="connsiteX159" fmla="*/ 1171813 w 1394458"/>
                <a:gd name="connsiteY159" fmla="*/ 112709 h 273890"/>
                <a:gd name="connsiteX160" fmla="*/ 1152533 w 1394458"/>
                <a:gd name="connsiteY160" fmla="*/ 117223 h 273890"/>
                <a:gd name="connsiteX161" fmla="*/ 1138116 w 1394458"/>
                <a:gd name="connsiteY161" fmla="*/ 129552 h 273890"/>
                <a:gd name="connsiteX162" fmla="*/ 1129259 w 1394458"/>
                <a:gd name="connsiteY162" fmla="*/ 147617 h 273890"/>
                <a:gd name="connsiteX163" fmla="*/ 1126132 w 1394458"/>
                <a:gd name="connsiteY163" fmla="*/ 169499 h 273890"/>
                <a:gd name="connsiteX164" fmla="*/ 1346701 w 1394458"/>
                <a:gd name="connsiteY164" fmla="*/ 270418 h 273890"/>
                <a:gd name="connsiteX165" fmla="*/ 1304843 w 1394458"/>
                <a:gd name="connsiteY165" fmla="*/ 270418 h 273890"/>
                <a:gd name="connsiteX166" fmla="*/ 1304843 w 1394458"/>
                <a:gd name="connsiteY166" fmla="*/ 64436 h 273890"/>
                <a:gd name="connsiteX167" fmla="*/ 1312659 w 1394458"/>
                <a:gd name="connsiteY167" fmla="*/ 29178 h 273890"/>
                <a:gd name="connsiteX168" fmla="*/ 1335412 w 1394458"/>
                <a:gd name="connsiteY168" fmla="*/ 7471 h 273890"/>
                <a:gd name="connsiteX169" fmla="*/ 1370319 w 1394458"/>
                <a:gd name="connsiteY169" fmla="*/ 0 h 273890"/>
                <a:gd name="connsiteX170" fmla="*/ 1382649 w 1394458"/>
                <a:gd name="connsiteY170" fmla="*/ 871 h 273890"/>
                <a:gd name="connsiteX171" fmla="*/ 1394458 w 1394458"/>
                <a:gd name="connsiteY171" fmla="*/ 3127 h 273890"/>
                <a:gd name="connsiteX172" fmla="*/ 1393418 w 1394458"/>
                <a:gd name="connsiteY172" fmla="*/ 35433 h 273890"/>
                <a:gd name="connsiteX173" fmla="*/ 1385776 w 1394458"/>
                <a:gd name="connsiteY173" fmla="*/ 34217 h 273890"/>
                <a:gd name="connsiteX174" fmla="*/ 1377095 w 1394458"/>
                <a:gd name="connsiteY174" fmla="*/ 33867 h 273890"/>
                <a:gd name="connsiteX175" fmla="*/ 1360596 w 1394458"/>
                <a:gd name="connsiteY175" fmla="*/ 37515 h 273890"/>
                <a:gd name="connsiteX176" fmla="*/ 1350178 w 1394458"/>
                <a:gd name="connsiteY176" fmla="*/ 47763 h 273890"/>
                <a:gd name="connsiteX177" fmla="*/ 1346706 w 1394458"/>
                <a:gd name="connsiteY177" fmla="*/ 64436 h 273890"/>
                <a:gd name="connsiteX178" fmla="*/ 1346706 w 1394458"/>
                <a:gd name="connsiteY178" fmla="*/ 270418 h 273890"/>
                <a:gd name="connsiteX179" fmla="*/ 1385431 w 1394458"/>
                <a:gd name="connsiteY179" fmla="*/ 82500 h 273890"/>
                <a:gd name="connsiteX180" fmla="*/ 1385431 w 1394458"/>
                <a:gd name="connsiteY180" fmla="*/ 113069 h 273890"/>
                <a:gd name="connsiteX181" fmla="*/ 1276015 w 1394458"/>
                <a:gd name="connsiteY181" fmla="*/ 113069 h 273890"/>
                <a:gd name="connsiteX182" fmla="*/ 1276015 w 1394458"/>
                <a:gd name="connsiteY182" fmla="*/ 82500 h 273890"/>
                <a:gd name="connsiteX183" fmla="*/ 1385431 w 1394458"/>
                <a:gd name="connsiteY183" fmla="*/ 82500 h 2738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</a:cxnLst>
              <a:rect l="l" t="t" r="r" b="b"/>
              <a:pathLst>
                <a:path w="1394458" h="273890">
                  <a:moveTo>
                    <a:pt x="157354" y="188093"/>
                  </a:moveTo>
                  <a:lnTo>
                    <a:pt x="200773" y="188093"/>
                  </a:lnTo>
                  <a:cubicBezTo>
                    <a:pt x="199382" y="204650"/>
                    <a:pt x="194752" y="219411"/>
                    <a:pt x="186877" y="232383"/>
                  </a:cubicBezTo>
                  <a:cubicBezTo>
                    <a:pt x="179003" y="245233"/>
                    <a:pt x="167947" y="255365"/>
                    <a:pt x="153706" y="262777"/>
                  </a:cubicBezTo>
                  <a:cubicBezTo>
                    <a:pt x="139465" y="270185"/>
                    <a:pt x="122155" y="273891"/>
                    <a:pt x="101775" y="273891"/>
                  </a:cubicBezTo>
                  <a:cubicBezTo>
                    <a:pt x="86143" y="273891"/>
                    <a:pt x="72077" y="271114"/>
                    <a:pt x="59572" y="265554"/>
                  </a:cubicBezTo>
                  <a:cubicBezTo>
                    <a:pt x="47067" y="259878"/>
                    <a:pt x="36357" y="251892"/>
                    <a:pt x="27442" y="241585"/>
                  </a:cubicBezTo>
                  <a:cubicBezTo>
                    <a:pt x="18526" y="231167"/>
                    <a:pt x="11697" y="218604"/>
                    <a:pt x="6950" y="203901"/>
                  </a:cubicBezTo>
                  <a:cubicBezTo>
                    <a:pt x="2315" y="189192"/>
                    <a:pt x="0" y="172753"/>
                    <a:pt x="0" y="154572"/>
                  </a:cubicBezTo>
                  <a:lnTo>
                    <a:pt x="0" y="133555"/>
                  </a:lnTo>
                  <a:cubicBezTo>
                    <a:pt x="0" y="115379"/>
                    <a:pt x="2374" y="98935"/>
                    <a:pt x="7121" y="84231"/>
                  </a:cubicBezTo>
                  <a:cubicBezTo>
                    <a:pt x="11984" y="69528"/>
                    <a:pt x="18930" y="56965"/>
                    <a:pt x="27962" y="46542"/>
                  </a:cubicBezTo>
                  <a:cubicBezTo>
                    <a:pt x="36994" y="36007"/>
                    <a:pt x="47816" y="27957"/>
                    <a:pt x="60438" y="22403"/>
                  </a:cubicBezTo>
                  <a:cubicBezTo>
                    <a:pt x="73171" y="16843"/>
                    <a:pt x="87471" y="14066"/>
                    <a:pt x="103336" y="14066"/>
                  </a:cubicBezTo>
                  <a:cubicBezTo>
                    <a:pt x="123482" y="14066"/>
                    <a:pt x="140506" y="17772"/>
                    <a:pt x="154397" y="25180"/>
                  </a:cubicBezTo>
                  <a:cubicBezTo>
                    <a:pt x="168293" y="32592"/>
                    <a:pt x="179056" y="42836"/>
                    <a:pt x="186702" y="55919"/>
                  </a:cubicBezTo>
                  <a:cubicBezTo>
                    <a:pt x="194460" y="69003"/>
                    <a:pt x="199207" y="83998"/>
                    <a:pt x="200943" y="100900"/>
                  </a:cubicBezTo>
                  <a:lnTo>
                    <a:pt x="157524" y="100900"/>
                  </a:lnTo>
                  <a:cubicBezTo>
                    <a:pt x="156367" y="90015"/>
                    <a:pt x="153818" y="80695"/>
                    <a:pt x="149883" y="72938"/>
                  </a:cubicBezTo>
                  <a:cubicBezTo>
                    <a:pt x="146065" y="65180"/>
                    <a:pt x="140389" y="59275"/>
                    <a:pt x="132865" y="55224"/>
                  </a:cubicBezTo>
                  <a:cubicBezTo>
                    <a:pt x="125340" y="51055"/>
                    <a:pt x="115496" y="48969"/>
                    <a:pt x="103341" y="48969"/>
                  </a:cubicBezTo>
                  <a:cubicBezTo>
                    <a:pt x="93385" y="48969"/>
                    <a:pt x="84698" y="50822"/>
                    <a:pt x="77291" y="54528"/>
                  </a:cubicBezTo>
                  <a:cubicBezTo>
                    <a:pt x="69878" y="58234"/>
                    <a:pt x="63687" y="63677"/>
                    <a:pt x="58706" y="70856"/>
                  </a:cubicBezTo>
                  <a:cubicBezTo>
                    <a:pt x="53730" y="78035"/>
                    <a:pt x="49966" y="86892"/>
                    <a:pt x="47417" y="97427"/>
                  </a:cubicBezTo>
                  <a:cubicBezTo>
                    <a:pt x="44985" y="107845"/>
                    <a:pt x="43769" y="119771"/>
                    <a:pt x="43769" y="133205"/>
                  </a:cubicBezTo>
                  <a:lnTo>
                    <a:pt x="43769" y="154567"/>
                  </a:lnTo>
                  <a:cubicBezTo>
                    <a:pt x="43769" y="167305"/>
                    <a:pt x="44869" y="178881"/>
                    <a:pt x="47067" y="189304"/>
                  </a:cubicBezTo>
                  <a:cubicBezTo>
                    <a:pt x="49382" y="199611"/>
                    <a:pt x="52855" y="208468"/>
                    <a:pt x="57490" y="215875"/>
                  </a:cubicBezTo>
                  <a:cubicBezTo>
                    <a:pt x="62237" y="223288"/>
                    <a:pt x="68259" y="229017"/>
                    <a:pt x="75550" y="233069"/>
                  </a:cubicBezTo>
                  <a:cubicBezTo>
                    <a:pt x="82845" y="237120"/>
                    <a:pt x="91585" y="239149"/>
                    <a:pt x="101775" y="239149"/>
                  </a:cubicBezTo>
                  <a:cubicBezTo>
                    <a:pt x="114163" y="239149"/>
                    <a:pt x="124178" y="237179"/>
                    <a:pt x="131824" y="233244"/>
                  </a:cubicBezTo>
                  <a:cubicBezTo>
                    <a:pt x="139582" y="229304"/>
                    <a:pt x="145428" y="223575"/>
                    <a:pt x="149363" y="216050"/>
                  </a:cubicBezTo>
                  <a:cubicBezTo>
                    <a:pt x="153414" y="208409"/>
                    <a:pt x="156080" y="199090"/>
                    <a:pt x="157354" y="188088"/>
                  </a:cubicBezTo>
                  <a:close/>
                  <a:moveTo>
                    <a:pt x="313837" y="270418"/>
                  </a:moveTo>
                  <a:lnTo>
                    <a:pt x="259825" y="270418"/>
                  </a:lnTo>
                  <a:lnTo>
                    <a:pt x="260170" y="235856"/>
                  </a:lnTo>
                  <a:lnTo>
                    <a:pt x="313837" y="235856"/>
                  </a:lnTo>
                  <a:cubicBezTo>
                    <a:pt x="329469" y="235856"/>
                    <a:pt x="342553" y="232441"/>
                    <a:pt x="353088" y="225608"/>
                  </a:cubicBezTo>
                  <a:cubicBezTo>
                    <a:pt x="363740" y="218779"/>
                    <a:pt x="371731" y="208993"/>
                    <a:pt x="377057" y="196255"/>
                  </a:cubicBezTo>
                  <a:cubicBezTo>
                    <a:pt x="382499" y="183516"/>
                    <a:pt x="385218" y="168351"/>
                    <a:pt x="385218" y="150754"/>
                  </a:cubicBezTo>
                  <a:lnTo>
                    <a:pt x="385218" y="137033"/>
                  </a:lnTo>
                  <a:cubicBezTo>
                    <a:pt x="385218" y="123371"/>
                    <a:pt x="383657" y="111269"/>
                    <a:pt x="380530" y="100734"/>
                  </a:cubicBezTo>
                  <a:cubicBezTo>
                    <a:pt x="377519" y="90199"/>
                    <a:pt x="373005" y="81342"/>
                    <a:pt x="366984" y="74163"/>
                  </a:cubicBezTo>
                  <a:cubicBezTo>
                    <a:pt x="361079" y="66984"/>
                    <a:pt x="353784" y="61542"/>
                    <a:pt x="345102" y="57840"/>
                  </a:cubicBezTo>
                  <a:cubicBezTo>
                    <a:pt x="336532" y="54134"/>
                    <a:pt x="326634" y="52281"/>
                    <a:pt x="315403" y="52281"/>
                  </a:cubicBezTo>
                  <a:lnTo>
                    <a:pt x="258784" y="52281"/>
                  </a:lnTo>
                  <a:lnTo>
                    <a:pt x="258784" y="17544"/>
                  </a:lnTo>
                  <a:lnTo>
                    <a:pt x="315403" y="17544"/>
                  </a:lnTo>
                  <a:cubicBezTo>
                    <a:pt x="332193" y="17544"/>
                    <a:pt x="347534" y="20379"/>
                    <a:pt x="361429" y="26055"/>
                  </a:cubicBezTo>
                  <a:cubicBezTo>
                    <a:pt x="375325" y="31615"/>
                    <a:pt x="387310" y="39660"/>
                    <a:pt x="397383" y="50195"/>
                  </a:cubicBezTo>
                  <a:cubicBezTo>
                    <a:pt x="407572" y="60730"/>
                    <a:pt x="415389" y="73351"/>
                    <a:pt x="420826" y="88054"/>
                  </a:cubicBezTo>
                  <a:cubicBezTo>
                    <a:pt x="426269" y="102758"/>
                    <a:pt x="428988" y="119202"/>
                    <a:pt x="428988" y="137378"/>
                  </a:cubicBezTo>
                  <a:lnTo>
                    <a:pt x="428988" y="150754"/>
                  </a:lnTo>
                  <a:cubicBezTo>
                    <a:pt x="428988" y="168930"/>
                    <a:pt x="426269" y="185374"/>
                    <a:pt x="420826" y="200078"/>
                  </a:cubicBezTo>
                  <a:cubicBezTo>
                    <a:pt x="415384" y="214781"/>
                    <a:pt x="407568" y="227403"/>
                    <a:pt x="397383" y="237938"/>
                  </a:cubicBezTo>
                  <a:cubicBezTo>
                    <a:pt x="387193" y="248356"/>
                    <a:pt x="375038" y="256405"/>
                    <a:pt x="360909" y="262077"/>
                  </a:cubicBezTo>
                  <a:cubicBezTo>
                    <a:pt x="346896" y="267636"/>
                    <a:pt x="331211" y="270413"/>
                    <a:pt x="313842" y="270413"/>
                  </a:cubicBezTo>
                  <a:close/>
                  <a:moveTo>
                    <a:pt x="283964" y="17544"/>
                  </a:moveTo>
                  <a:lnTo>
                    <a:pt x="283964" y="270418"/>
                  </a:lnTo>
                  <a:lnTo>
                    <a:pt x="240369" y="270418"/>
                  </a:lnTo>
                  <a:lnTo>
                    <a:pt x="240369" y="17544"/>
                  </a:lnTo>
                  <a:lnTo>
                    <a:pt x="283964" y="17544"/>
                  </a:lnTo>
                  <a:close/>
                  <a:moveTo>
                    <a:pt x="519299" y="17544"/>
                  </a:moveTo>
                  <a:lnTo>
                    <a:pt x="519299" y="270418"/>
                  </a:lnTo>
                  <a:lnTo>
                    <a:pt x="475705" y="270418"/>
                  </a:lnTo>
                  <a:lnTo>
                    <a:pt x="475705" y="17544"/>
                  </a:lnTo>
                  <a:lnTo>
                    <a:pt x="519299" y="17544"/>
                  </a:lnTo>
                  <a:close/>
                  <a:moveTo>
                    <a:pt x="811424" y="188093"/>
                  </a:moveTo>
                  <a:lnTo>
                    <a:pt x="854843" y="188093"/>
                  </a:lnTo>
                  <a:cubicBezTo>
                    <a:pt x="853452" y="204650"/>
                    <a:pt x="848822" y="219411"/>
                    <a:pt x="840947" y="232383"/>
                  </a:cubicBezTo>
                  <a:cubicBezTo>
                    <a:pt x="833073" y="245233"/>
                    <a:pt x="822017" y="255365"/>
                    <a:pt x="807776" y="262777"/>
                  </a:cubicBezTo>
                  <a:cubicBezTo>
                    <a:pt x="793535" y="270185"/>
                    <a:pt x="776225" y="273891"/>
                    <a:pt x="755845" y="273891"/>
                  </a:cubicBezTo>
                  <a:cubicBezTo>
                    <a:pt x="740213" y="273891"/>
                    <a:pt x="726147" y="271114"/>
                    <a:pt x="713642" y="265554"/>
                  </a:cubicBezTo>
                  <a:cubicBezTo>
                    <a:pt x="701137" y="259878"/>
                    <a:pt x="690427" y="251892"/>
                    <a:pt x="681512" y="241585"/>
                  </a:cubicBezTo>
                  <a:cubicBezTo>
                    <a:pt x="672596" y="231167"/>
                    <a:pt x="665768" y="218604"/>
                    <a:pt x="661021" y="203901"/>
                  </a:cubicBezTo>
                  <a:cubicBezTo>
                    <a:pt x="656390" y="189197"/>
                    <a:pt x="654075" y="172753"/>
                    <a:pt x="654075" y="154577"/>
                  </a:cubicBezTo>
                  <a:lnTo>
                    <a:pt x="654075" y="133560"/>
                  </a:lnTo>
                  <a:cubicBezTo>
                    <a:pt x="654075" y="115384"/>
                    <a:pt x="656449" y="98940"/>
                    <a:pt x="661196" y="84236"/>
                  </a:cubicBezTo>
                  <a:cubicBezTo>
                    <a:pt x="666059" y="69533"/>
                    <a:pt x="673005" y="56970"/>
                    <a:pt x="682037" y="46547"/>
                  </a:cubicBezTo>
                  <a:cubicBezTo>
                    <a:pt x="691069" y="36012"/>
                    <a:pt x="701891" y="27962"/>
                    <a:pt x="714513" y="22408"/>
                  </a:cubicBezTo>
                  <a:cubicBezTo>
                    <a:pt x="727246" y="16848"/>
                    <a:pt x="741546" y="14071"/>
                    <a:pt x="757411" y="14071"/>
                  </a:cubicBezTo>
                  <a:cubicBezTo>
                    <a:pt x="777557" y="14071"/>
                    <a:pt x="794581" y="17777"/>
                    <a:pt x="808472" y="25185"/>
                  </a:cubicBezTo>
                  <a:cubicBezTo>
                    <a:pt x="822368" y="32597"/>
                    <a:pt x="833131" y="42840"/>
                    <a:pt x="840777" y="55924"/>
                  </a:cubicBezTo>
                  <a:cubicBezTo>
                    <a:pt x="848535" y="69008"/>
                    <a:pt x="853282" y="84003"/>
                    <a:pt x="855018" y="100905"/>
                  </a:cubicBezTo>
                  <a:lnTo>
                    <a:pt x="811599" y="100905"/>
                  </a:lnTo>
                  <a:cubicBezTo>
                    <a:pt x="810442" y="90019"/>
                    <a:pt x="807893" y="80700"/>
                    <a:pt x="803958" y="72943"/>
                  </a:cubicBezTo>
                  <a:cubicBezTo>
                    <a:pt x="800140" y="65185"/>
                    <a:pt x="794464" y="59280"/>
                    <a:pt x="786940" y="55229"/>
                  </a:cubicBezTo>
                  <a:cubicBezTo>
                    <a:pt x="779415" y="51060"/>
                    <a:pt x="769571" y="48974"/>
                    <a:pt x="757416" y="48974"/>
                  </a:cubicBezTo>
                  <a:cubicBezTo>
                    <a:pt x="747460" y="48974"/>
                    <a:pt x="738773" y="50827"/>
                    <a:pt x="731366" y="54533"/>
                  </a:cubicBezTo>
                  <a:cubicBezTo>
                    <a:pt x="723953" y="58239"/>
                    <a:pt x="717762" y="63682"/>
                    <a:pt x="712781" y="70861"/>
                  </a:cubicBezTo>
                  <a:cubicBezTo>
                    <a:pt x="707801" y="78040"/>
                    <a:pt x="704041" y="86897"/>
                    <a:pt x="701492" y="97432"/>
                  </a:cubicBezTo>
                  <a:cubicBezTo>
                    <a:pt x="699060" y="107850"/>
                    <a:pt x="697844" y="119776"/>
                    <a:pt x="697844" y="133210"/>
                  </a:cubicBezTo>
                  <a:lnTo>
                    <a:pt x="697844" y="154572"/>
                  </a:lnTo>
                  <a:cubicBezTo>
                    <a:pt x="697844" y="167310"/>
                    <a:pt x="698944" y="178886"/>
                    <a:pt x="701142" y="189309"/>
                  </a:cubicBezTo>
                  <a:cubicBezTo>
                    <a:pt x="703457" y="199616"/>
                    <a:pt x="706930" y="208473"/>
                    <a:pt x="711565" y="215880"/>
                  </a:cubicBezTo>
                  <a:cubicBezTo>
                    <a:pt x="716312" y="223293"/>
                    <a:pt x="722334" y="229022"/>
                    <a:pt x="729629" y="233074"/>
                  </a:cubicBezTo>
                  <a:cubicBezTo>
                    <a:pt x="736925" y="237125"/>
                    <a:pt x="745665" y="239154"/>
                    <a:pt x="755855" y="239154"/>
                  </a:cubicBezTo>
                  <a:cubicBezTo>
                    <a:pt x="768243" y="239154"/>
                    <a:pt x="778258" y="237184"/>
                    <a:pt x="785904" y="233249"/>
                  </a:cubicBezTo>
                  <a:cubicBezTo>
                    <a:pt x="793661" y="229309"/>
                    <a:pt x="799508" y="223580"/>
                    <a:pt x="803443" y="216055"/>
                  </a:cubicBezTo>
                  <a:cubicBezTo>
                    <a:pt x="807494" y="208414"/>
                    <a:pt x="810159" y="199095"/>
                    <a:pt x="811434" y="188093"/>
                  </a:cubicBezTo>
                  <a:close/>
                  <a:moveTo>
                    <a:pt x="882285" y="178541"/>
                  </a:moveTo>
                  <a:lnTo>
                    <a:pt x="882285" y="174548"/>
                  </a:lnTo>
                  <a:cubicBezTo>
                    <a:pt x="882285" y="161002"/>
                    <a:pt x="884255" y="148439"/>
                    <a:pt x="888190" y="136858"/>
                  </a:cubicBezTo>
                  <a:cubicBezTo>
                    <a:pt x="892124" y="125165"/>
                    <a:pt x="897800" y="115034"/>
                    <a:pt x="905208" y="106464"/>
                  </a:cubicBezTo>
                  <a:cubicBezTo>
                    <a:pt x="912732" y="97782"/>
                    <a:pt x="921881" y="91065"/>
                    <a:pt x="932650" y="86318"/>
                  </a:cubicBezTo>
                  <a:cubicBezTo>
                    <a:pt x="943535" y="81454"/>
                    <a:pt x="955806" y="79022"/>
                    <a:pt x="969469" y="79022"/>
                  </a:cubicBezTo>
                  <a:cubicBezTo>
                    <a:pt x="983131" y="79022"/>
                    <a:pt x="995519" y="81454"/>
                    <a:pt x="1006288" y="86318"/>
                  </a:cubicBezTo>
                  <a:cubicBezTo>
                    <a:pt x="1017173" y="91065"/>
                    <a:pt x="1026375" y="97782"/>
                    <a:pt x="1033899" y="106464"/>
                  </a:cubicBezTo>
                  <a:cubicBezTo>
                    <a:pt x="1041424" y="115034"/>
                    <a:pt x="1047158" y="125165"/>
                    <a:pt x="1051093" y="136858"/>
                  </a:cubicBezTo>
                  <a:cubicBezTo>
                    <a:pt x="1055028" y="148434"/>
                    <a:pt x="1056998" y="160997"/>
                    <a:pt x="1056998" y="174548"/>
                  </a:cubicBezTo>
                  <a:lnTo>
                    <a:pt x="1056998" y="178541"/>
                  </a:lnTo>
                  <a:cubicBezTo>
                    <a:pt x="1056998" y="192086"/>
                    <a:pt x="1055028" y="204650"/>
                    <a:pt x="1051093" y="216226"/>
                  </a:cubicBezTo>
                  <a:cubicBezTo>
                    <a:pt x="1047153" y="227806"/>
                    <a:pt x="1041424" y="237938"/>
                    <a:pt x="1033899" y="246619"/>
                  </a:cubicBezTo>
                  <a:cubicBezTo>
                    <a:pt x="1026375" y="255189"/>
                    <a:pt x="1017226" y="261902"/>
                    <a:pt x="1006458" y="266765"/>
                  </a:cubicBezTo>
                  <a:cubicBezTo>
                    <a:pt x="995689" y="271512"/>
                    <a:pt x="983476" y="273886"/>
                    <a:pt x="969814" y="273886"/>
                  </a:cubicBezTo>
                  <a:cubicBezTo>
                    <a:pt x="956151" y="273886"/>
                    <a:pt x="943705" y="271512"/>
                    <a:pt x="932820" y="266765"/>
                  </a:cubicBezTo>
                  <a:cubicBezTo>
                    <a:pt x="922051" y="261902"/>
                    <a:pt x="912907" y="255189"/>
                    <a:pt x="905378" y="246619"/>
                  </a:cubicBezTo>
                  <a:cubicBezTo>
                    <a:pt x="897854" y="237938"/>
                    <a:pt x="892119" y="227806"/>
                    <a:pt x="888185" y="216226"/>
                  </a:cubicBezTo>
                  <a:cubicBezTo>
                    <a:pt x="884245" y="204650"/>
                    <a:pt x="882280" y="192086"/>
                    <a:pt x="882280" y="178541"/>
                  </a:cubicBezTo>
                  <a:close/>
                  <a:moveTo>
                    <a:pt x="924143" y="174548"/>
                  </a:moveTo>
                  <a:lnTo>
                    <a:pt x="924143" y="178541"/>
                  </a:lnTo>
                  <a:cubicBezTo>
                    <a:pt x="924143" y="186994"/>
                    <a:pt x="925013" y="194980"/>
                    <a:pt x="926750" y="202510"/>
                  </a:cubicBezTo>
                  <a:cubicBezTo>
                    <a:pt x="928486" y="210034"/>
                    <a:pt x="931210" y="216634"/>
                    <a:pt x="934911" y="222310"/>
                  </a:cubicBezTo>
                  <a:cubicBezTo>
                    <a:pt x="938617" y="227981"/>
                    <a:pt x="943365" y="232441"/>
                    <a:pt x="949152" y="235681"/>
                  </a:cubicBezTo>
                  <a:cubicBezTo>
                    <a:pt x="954940" y="238925"/>
                    <a:pt x="961832" y="240545"/>
                    <a:pt x="969819" y="240545"/>
                  </a:cubicBezTo>
                  <a:cubicBezTo>
                    <a:pt x="977805" y="240545"/>
                    <a:pt x="984293" y="238925"/>
                    <a:pt x="989965" y="235681"/>
                  </a:cubicBezTo>
                  <a:cubicBezTo>
                    <a:pt x="995753" y="232441"/>
                    <a:pt x="1000500" y="227981"/>
                    <a:pt x="1004206" y="222310"/>
                  </a:cubicBezTo>
                  <a:cubicBezTo>
                    <a:pt x="1007912" y="216634"/>
                    <a:pt x="1010631" y="210039"/>
                    <a:pt x="1012367" y="202510"/>
                  </a:cubicBezTo>
                  <a:cubicBezTo>
                    <a:pt x="1014220" y="194985"/>
                    <a:pt x="1015145" y="186994"/>
                    <a:pt x="1015145" y="178541"/>
                  </a:cubicBezTo>
                  <a:lnTo>
                    <a:pt x="1015145" y="174548"/>
                  </a:lnTo>
                  <a:cubicBezTo>
                    <a:pt x="1015145" y="166211"/>
                    <a:pt x="1014220" y="158336"/>
                    <a:pt x="1012367" y="150929"/>
                  </a:cubicBezTo>
                  <a:cubicBezTo>
                    <a:pt x="1010631" y="143405"/>
                    <a:pt x="1007854" y="136746"/>
                    <a:pt x="1004031" y="130958"/>
                  </a:cubicBezTo>
                  <a:cubicBezTo>
                    <a:pt x="1000325" y="125170"/>
                    <a:pt x="995578" y="120652"/>
                    <a:pt x="989790" y="117412"/>
                  </a:cubicBezTo>
                  <a:cubicBezTo>
                    <a:pt x="984118" y="114056"/>
                    <a:pt x="977343" y="112373"/>
                    <a:pt x="969469" y="112373"/>
                  </a:cubicBezTo>
                  <a:cubicBezTo>
                    <a:pt x="961594" y="112373"/>
                    <a:pt x="954765" y="114051"/>
                    <a:pt x="948977" y="117412"/>
                  </a:cubicBezTo>
                  <a:cubicBezTo>
                    <a:pt x="943301" y="120657"/>
                    <a:pt x="938613" y="125170"/>
                    <a:pt x="934911" y="130958"/>
                  </a:cubicBezTo>
                  <a:cubicBezTo>
                    <a:pt x="931205" y="136746"/>
                    <a:pt x="928486" y="143405"/>
                    <a:pt x="926750" y="150929"/>
                  </a:cubicBezTo>
                  <a:cubicBezTo>
                    <a:pt x="925013" y="158336"/>
                    <a:pt x="924143" y="166211"/>
                    <a:pt x="924143" y="174548"/>
                  </a:cubicBezTo>
                  <a:close/>
                  <a:moveTo>
                    <a:pt x="1133598" y="122617"/>
                  </a:moveTo>
                  <a:lnTo>
                    <a:pt x="1133598" y="270418"/>
                  </a:lnTo>
                  <a:lnTo>
                    <a:pt x="1091745" y="270418"/>
                  </a:lnTo>
                  <a:lnTo>
                    <a:pt x="1091745" y="82495"/>
                  </a:lnTo>
                  <a:lnTo>
                    <a:pt x="1131171" y="82495"/>
                  </a:lnTo>
                  <a:lnTo>
                    <a:pt x="1133603" y="122617"/>
                  </a:lnTo>
                  <a:close/>
                  <a:moveTo>
                    <a:pt x="1126132" y="169509"/>
                  </a:moveTo>
                  <a:lnTo>
                    <a:pt x="1112586" y="169334"/>
                  </a:lnTo>
                  <a:cubicBezTo>
                    <a:pt x="1112703" y="156016"/>
                    <a:pt x="1114556" y="143803"/>
                    <a:pt x="1118145" y="132690"/>
                  </a:cubicBezTo>
                  <a:cubicBezTo>
                    <a:pt x="1121852" y="121576"/>
                    <a:pt x="1126944" y="112023"/>
                    <a:pt x="1133428" y="104032"/>
                  </a:cubicBezTo>
                  <a:cubicBezTo>
                    <a:pt x="1140028" y="96046"/>
                    <a:pt x="1147902" y="89908"/>
                    <a:pt x="1157046" y="85623"/>
                  </a:cubicBezTo>
                  <a:cubicBezTo>
                    <a:pt x="1166195" y="81226"/>
                    <a:pt x="1176385" y="79022"/>
                    <a:pt x="1187615" y="79022"/>
                  </a:cubicBezTo>
                  <a:cubicBezTo>
                    <a:pt x="1196647" y="79022"/>
                    <a:pt x="1204809" y="80297"/>
                    <a:pt x="1212105" y="82840"/>
                  </a:cubicBezTo>
                  <a:cubicBezTo>
                    <a:pt x="1219517" y="85272"/>
                    <a:pt x="1225825" y="89265"/>
                    <a:pt x="1231034" y="94825"/>
                  </a:cubicBezTo>
                  <a:cubicBezTo>
                    <a:pt x="1236360" y="100384"/>
                    <a:pt x="1240412" y="107617"/>
                    <a:pt x="1243189" y="116532"/>
                  </a:cubicBezTo>
                  <a:cubicBezTo>
                    <a:pt x="1245966" y="125331"/>
                    <a:pt x="1247357" y="136157"/>
                    <a:pt x="1247357" y="149008"/>
                  </a:cubicBezTo>
                  <a:lnTo>
                    <a:pt x="1247357" y="270408"/>
                  </a:lnTo>
                  <a:lnTo>
                    <a:pt x="1205329" y="270408"/>
                  </a:lnTo>
                  <a:lnTo>
                    <a:pt x="1205329" y="148833"/>
                  </a:lnTo>
                  <a:cubicBezTo>
                    <a:pt x="1205329" y="139800"/>
                    <a:pt x="1203996" y="132680"/>
                    <a:pt x="1201336" y="127471"/>
                  </a:cubicBezTo>
                  <a:cubicBezTo>
                    <a:pt x="1198787" y="122145"/>
                    <a:pt x="1195028" y="118380"/>
                    <a:pt x="1190047" y="116182"/>
                  </a:cubicBezTo>
                  <a:cubicBezTo>
                    <a:pt x="1185183" y="113867"/>
                    <a:pt x="1179104" y="112709"/>
                    <a:pt x="1171813" y="112709"/>
                  </a:cubicBezTo>
                  <a:cubicBezTo>
                    <a:pt x="1164522" y="112709"/>
                    <a:pt x="1158209" y="114212"/>
                    <a:pt x="1152533" y="117223"/>
                  </a:cubicBezTo>
                  <a:cubicBezTo>
                    <a:pt x="1146861" y="120233"/>
                    <a:pt x="1142056" y="124343"/>
                    <a:pt x="1138116" y="129552"/>
                  </a:cubicBezTo>
                  <a:cubicBezTo>
                    <a:pt x="1134293" y="134762"/>
                    <a:pt x="1131341" y="140783"/>
                    <a:pt x="1129259" y="147617"/>
                  </a:cubicBezTo>
                  <a:cubicBezTo>
                    <a:pt x="1127178" y="154445"/>
                    <a:pt x="1126132" y="161741"/>
                    <a:pt x="1126132" y="169499"/>
                  </a:cubicBezTo>
                  <a:close/>
                  <a:moveTo>
                    <a:pt x="1346701" y="270418"/>
                  </a:moveTo>
                  <a:lnTo>
                    <a:pt x="1304843" y="270418"/>
                  </a:lnTo>
                  <a:lnTo>
                    <a:pt x="1304843" y="64436"/>
                  </a:lnTo>
                  <a:cubicBezTo>
                    <a:pt x="1304843" y="50428"/>
                    <a:pt x="1307450" y="38672"/>
                    <a:pt x="1312659" y="29178"/>
                  </a:cubicBezTo>
                  <a:cubicBezTo>
                    <a:pt x="1317985" y="19567"/>
                    <a:pt x="1325567" y="12330"/>
                    <a:pt x="1335412" y="7471"/>
                  </a:cubicBezTo>
                  <a:cubicBezTo>
                    <a:pt x="1345256" y="2490"/>
                    <a:pt x="1356890" y="0"/>
                    <a:pt x="1370319" y="0"/>
                  </a:cubicBezTo>
                  <a:cubicBezTo>
                    <a:pt x="1374488" y="0"/>
                    <a:pt x="1378597" y="292"/>
                    <a:pt x="1382649" y="871"/>
                  </a:cubicBezTo>
                  <a:cubicBezTo>
                    <a:pt x="1386701" y="1333"/>
                    <a:pt x="1390640" y="2087"/>
                    <a:pt x="1394458" y="3127"/>
                  </a:cubicBezTo>
                  <a:lnTo>
                    <a:pt x="1393418" y="35433"/>
                  </a:lnTo>
                  <a:cubicBezTo>
                    <a:pt x="1391102" y="34854"/>
                    <a:pt x="1388554" y="34450"/>
                    <a:pt x="1385776" y="34217"/>
                  </a:cubicBezTo>
                  <a:cubicBezTo>
                    <a:pt x="1383116" y="33983"/>
                    <a:pt x="1380217" y="33867"/>
                    <a:pt x="1377095" y="33867"/>
                  </a:cubicBezTo>
                  <a:cubicBezTo>
                    <a:pt x="1370728" y="33867"/>
                    <a:pt x="1365227" y="35083"/>
                    <a:pt x="1360596" y="37515"/>
                  </a:cubicBezTo>
                  <a:cubicBezTo>
                    <a:pt x="1356083" y="39830"/>
                    <a:pt x="1352605" y="43244"/>
                    <a:pt x="1350178" y="47763"/>
                  </a:cubicBezTo>
                  <a:cubicBezTo>
                    <a:pt x="1347863" y="52281"/>
                    <a:pt x="1346706" y="57836"/>
                    <a:pt x="1346706" y="64436"/>
                  </a:cubicBezTo>
                  <a:lnTo>
                    <a:pt x="1346706" y="270418"/>
                  </a:lnTo>
                  <a:close/>
                  <a:moveTo>
                    <a:pt x="1385431" y="82500"/>
                  </a:moveTo>
                  <a:lnTo>
                    <a:pt x="1385431" y="113069"/>
                  </a:lnTo>
                  <a:lnTo>
                    <a:pt x="1276015" y="113069"/>
                  </a:lnTo>
                  <a:lnTo>
                    <a:pt x="1276015" y="82500"/>
                  </a:lnTo>
                  <a:lnTo>
                    <a:pt x="1385431" y="82500"/>
                  </a:lnTo>
                  <a:close/>
                </a:path>
              </a:pathLst>
            </a:custGeom>
            <a:solidFill>
              <a:schemeClr val="tx1"/>
            </a:solidFill>
            <a:ln w="4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7" name="Полилиния: фигура 46">
              <a:extLst>
                <a:ext uri="{FF2B5EF4-FFF2-40B4-BE49-F238E27FC236}">
                  <a16:creationId xmlns:a16="http://schemas.microsoft.com/office/drawing/2014/main" id="{0E6F0FB0-99D0-4190-B058-29B8184B7C5F}"/>
                </a:ext>
              </a:extLst>
            </p:cNvPr>
            <p:cNvSpPr/>
            <p:nvPr/>
          </p:nvSpPr>
          <p:spPr>
            <a:xfrm>
              <a:off x="8902858" y="5892336"/>
              <a:ext cx="774600" cy="259834"/>
            </a:xfrm>
            <a:custGeom>
              <a:avLst/>
              <a:gdLst>
                <a:gd name="connsiteX0" fmla="*/ 174372 w 774600"/>
                <a:gd name="connsiteY0" fmla="*/ 223015 h 259834"/>
                <a:gd name="connsiteX1" fmla="*/ 174372 w 774600"/>
                <a:gd name="connsiteY1" fmla="*/ 256362 h 259834"/>
                <a:gd name="connsiteX2" fmla="*/ 4859 w 774600"/>
                <a:gd name="connsiteY2" fmla="*/ 256362 h 259834"/>
                <a:gd name="connsiteX3" fmla="*/ 4859 w 774600"/>
                <a:gd name="connsiteY3" fmla="*/ 227704 h 259834"/>
                <a:gd name="connsiteX4" fmla="*/ 87193 w 774600"/>
                <a:gd name="connsiteY4" fmla="*/ 137913 h 259834"/>
                <a:gd name="connsiteX5" fmla="*/ 108541 w 774600"/>
                <a:gd name="connsiteY5" fmla="*/ 111513 h 259834"/>
                <a:gd name="connsiteX6" fmla="*/ 119499 w 774600"/>
                <a:gd name="connsiteY6" fmla="*/ 91542 h 259834"/>
                <a:gd name="connsiteX7" fmla="*/ 122797 w 774600"/>
                <a:gd name="connsiteY7" fmla="*/ 73998 h 259834"/>
                <a:gd name="connsiteX8" fmla="*/ 118278 w 774600"/>
                <a:gd name="connsiteY8" fmla="*/ 52981 h 259834"/>
                <a:gd name="connsiteX9" fmla="*/ 105413 w 774600"/>
                <a:gd name="connsiteY9" fmla="*/ 38565 h 259834"/>
                <a:gd name="connsiteX10" fmla="*/ 84752 w 774600"/>
                <a:gd name="connsiteY10" fmla="*/ 33181 h 259834"/>
                <a:gd name="connsiteX11" fmla="*/ 61138 w 774600"/>
                <a:gd name="connsiteY11" fmla="*/ 39261 h 259834"/>
                <a:gd name="connsiteX12" fmla="*/ 46712 w 774600"/>
                <a:gd name="connsiteY12" fmla="*/ 56109 h 259834"/>
                <a:gd name="connsiteX13" fmla="*/ 41853 w 774600"/>
                <a:gd name="connsiteY13" fmla="*/ 80423 h 259834"/>
                <a:gd name="connsiteX14" fmla="*/ 0 w 774600"/>
                <a:gd name="connsiteY14" fmla="*/ 80423 h 259834"/>
                <a:gd name="connsiteX15" fmla="*/ 10083 w 774600"/>
                <a:gd name="connsiteY15" fmla="*/ 40131 h 259834"/>
                <a:gd name="connsiteX16" fmla="*/ 39261 w 774600"/>
                <a:gd name="connsiteY16" fmla="*/ 10953 h 259834"/>
                <a:gd name="connsiteX17" fmla="*/ 85272 w 774600"/>
                <a:gd name="connsiteY17" fmla="*/ 10 h 259834"/>
                <a:gd name="connsiteX18" fmla="*/ 128346 w 774600"/>
                <a:gd name="connsiteY18" fmla="*/ 8521 h 259834"/>
                <a:gd name="connsiteX19" fmla="*/ 155277 w 774600"/>
                <a:gd name="connsiteY19" fmla="*/ 32660 h 259834"/>
                <a:gd name="connsiteX20" fmla="*/ 164654 w 774600"/>
                <a:gd name="connsiteY20" fmla="*/ 69655 h 259834"/>
                <a:gd name="connsiteX21" fmla="*/ 160827 w 774600"/>
                <a:gd name="connsiteY21" fmla="*/ 93103 h 259834"/>
                <a:gd name="connsiteX22" fmla="*/ 149888 w 774600"/>
                <a:gd name="connsiteY22" fmla="*/ 116376 h 259834"/>
                <a:gd name="connsiteX23" fmla="*/ 133400 w 774600"/>
                <a:gd name="connsiteY23" fmla="*/ 139475 h 259834"/>
                <a:gd name="connsiteX24" fmla="*/ 112378 w 774600"/>
                <a:gd name="connsiteY24" fmla="*/ 162748 h 259834"/>
                <a:gd name="connsiteX25" fmla="*/ 57675 w 774600"/>
                <a:gd name="connsiteY25" fmla="*/ 223015 h 259834"/>
                <a:gd name="connsiteX26" fmla="*/ 174377 w 774600"/>
                <a:gd name="connsiteY26" fmla="*/ 223015 h 259834"/>
                <a:gd name="connsiteX27" fmla="*/ 371848 w 774600"/>
                <a:gd name="connsiteY27" fmla="*/ 108735 h 259834"/>
                <a:gd name="connsiteX28" fmla="*/ 371848 w 774600"/>
                <a:gd name="connsiteY28" fmla="*/ 150068 h 259834"/>
                <a:gd name="connsiteX29" fmla="*/ 365938 w 774600"/>
                <a:gd name="connsiteY29" fmla="*/ 200783 h 259834"/>
                <a:gd name="connsiteX30" fmla="*/ 349260 w 774600"/>
                <a:gd name="connsiteY30" fmla="*/ 234650 h 259834"/>
                <a:gd name="connsiteX31" fmla="*/ 323035 w 774600"/>
                <a:gd name="connsiteY31" fmla="*/ 253755 h 259834"/>
                <a:gd name="connsiteX32" fmla="*/ 289168 w 774600"/>
                <a:gd name="connsiteY32" fmla="*/ 259834 h 259834"/>
                <a:gd name="connsiteX33" fmla="*/ 261381 w 774600"/>
                <a:gd name="connsiteY33" fmla="*/ 256011 h 259834"/>
                <a:gd name="connsiteX34" fmla="*/ 238468 w 774600"/>
                <a:gd name="connsiteY34" fmla="*/ 244027 h 259834"/>
                <a:gd name="connsiteX35" fmla="*/ 220914 w 774600"/>
                <a:gd name="connsiteY35" fmla="*/ 223011 h 259834"/>
                <a:gd name="connsiteX36" fmla="*/ 209800 w 774600"/>
                <a:gd name="connsiteY36" fmla="*/ 191921 h 259834"/>
                <a:gd name="connsiteX37" fmla="*/ 205972 w 774600"/>
                <a:gd name="connsiteY37" fmla="*/ 150063 h 259834"/>
                <a:gd name="connsiteX38" fmla="*/ 205972 w 774600"/>
                <a:gd name="connsiteY38" fmla="*/ 108730 h 259834"/>
                <a:gd name="connsiteX39" fmla="*/ 211882 w 774600"/>
                <a:gd name="connsiteY39" fmla="*/ 58366 h 259834"/>
                <a:gd name="connsiteX40" fmla="*/ 228730 w 774600"/>
                <a:gd name="connsiteY40" fmla="*/ 24844 h 259834"/>
                <a:gd name="connsiteX41" fmla="*/ 254786 w 774600"/>
                <a:gd name="connsiteY41" fmla="*/ 5914 h 259834"/>
                <a:gd name="connsiteX42" fmla="*/ 288827 w 774600"/>
                <a:gd name="connsiteY42" fmla="*/ 10 h 259834"/>
                <a:gd name="connsiteX43" fmla="*/ 316614 w 774600"/>
                <a:gd name="connsiteY43" fmla="*/ 3833 h 259834"/>
                <a:gd name="connsiteX44" fmla="*/ 339542 w 774600"/>
                <a:gd name="connsiteY44" fmla="*/ 15467 h 259834"/>
                <a:gd name="connsiteX45" fmla="*/ 356906 w 774600"/>
                <a:gd name="connsiteY45" fmla="*/ 36308 h 259834"/>
                <a:gd name="connsiteX46" fmla="*/ 368020 w 774600"/>
                <a:gd name="connsiteY46" fmla="*/ 67048 h 259834"/>
                <a:gd name="connsiteX47" fmla="*/ 371848 w 774600"/>
                <a:gd name="connsiteY47" fmla="*/ 108730 h 259834"/>
                <a:gd name="connsiteX48" fmla="*/ 329995 w 774600"/>
                <a:gd name="connsiteY48" fmla="*/ 155978 h 259834"/>
                <a:gd name="connsiteX49" fmla="*/ 329995 w 774600"/>
                <a:gd name="connsiteY49" fmla="*/ 102485 h 259834"/>
                <a:gd name="connsiteX50" fmla="*/ 328258 w 774600"/>
                <a:gd name="connsiteY50" fmla="*/ 75914 h 259834"/>
                <a:gd name="connsiteX51" fmla="*/ 323039 w 774600"/>
                <a:gd name="connsiteY51" fmla="*/ 56289 h 259834"/>
                <a:gd name="connsiteX52" fmla="*/ 314708 w 774600"/>
                <a:gd name="connsiteY52" fmla="*/ 43088 h 259834"/>
                <a:gd name="connsiteX53" fmla="*/ 303234 w 774600"/>
                <a:gd name="connsiteY53" fmla="*/ 35623 h 259834"/>
                <a:gd name="connsiteX54" fmla="*/ 288823 w 774600"/>
                <a:gd name="connsiteY54" fmla="*/ 33191 h 259834"/>
                <a:gd name="connsiteX55" fmla="*/ 271459 w 774600"/>
                <a:gd name="connsiteY55" fmla="*/ 37014 h 259834"/>
                <a:gd name="connsiteX56" fmla="*/ 258613 w 774600"/>
                <a:gd name="connsiteY56" fmla="*/ 48823 h 259834"/>
                <a:gd name="connsiteX57" fmla="*/ 250608 w 774600"/>
                <a:gd name="connsiteY57" fmla="*/ 70360 h 259834"/>
                <a:gd name="connsiteX58" fmla="*/ 248015 w 774600"/>
                <a:gd name="connsiteY58" fmla="*/ 102490 h 259834"/>
                <a:gd name="connsiteX59" fmla="*/ 248015 w 774600"/>
                <a:gd name="connsiteY59" fmla="*/ 155982 h 259834"/>
                <a:gd name="connsiteX60" fmla="*/ 249752 w 774600"/>
                <a:gd name="connsiteY60" fmla="*/ 182904 h 259834"/>
                <a:gd name="connsiteX61" fmla="*/ 254956 w 774600"/>
                <a:gd name="connsiteY61" fmla="*/ 202874 h 259834"/>
                <a:gd name="connsiteX62" fmla="*/ 263302 w 774600"/>
                <a:gd name="connsiteY62" fmla="*/ 216420 h 259834"/>
                <a:gd name="connsiteX63" fmla="*/ 274756 w 774600"/>
                <a:gd name="connsiteY63" fmla="*/ 224061 h 259834"/>
                <a:gd name="connsiteX64" fmla="*/ 289168 w 774600"/>
                <a:gd name="connsiteY64" fmla="*/ 226493 h 259834"/>
                <a:gd name="connsiteX65" fmla="*/ 306721 w 774600"/>
                <a:gd name="connsiteY65" fmla="*/ 222670 h 259834"/>
                <a:gd name="connsiteX66" fmla="*/ 319567 w 774600"/>
                <a:gd name="connsiteY66" fmla="*/ 210511 h 259834"/>
                <a:gd name="connsiteX67" fmla="*/ 327383 w 774600"/>
                <a:gd name="connsiteY67" fmla="*/ 188453 h 259834"/>
                <a:gd name="connsiteX68" fmla="*/ 329995 w 774600"/>
                <a:gd name="connsiteY68" fmla="*/ 155978 h 259834"/>
                <a:gd name="connsiteX69" fmla="*/ 578701 w 774600"/>
                <a:gd name="connsiteY69" fmla="*/ 223015 h 259834"/>
                <a:gd name="connsiteX70" fmla="*/ 578701 w 774600"/>
                <a:gd name="connsiteY70" fmla="*/ 256362 h 259834"/>
                <a:gd name="connsiteX71" fmla="*/ 409187 w 774600"/>
                <a:gd name="connsiteY71" fmla="*/ 256362 h 259834"/>
                <a:gd name="connsiteX72" fmla="*/ 409187 w 774600"/>
                <a:gd name="connsiteY72" fmla="*/ 227704 h 259834"/>
                <a:gd name="connsiteX73" fmla="*/ 491507 w 774600"/>
                <a:gd name="connsiteY73" fmla="*/ 137913 h 259834"/>
                <a:gd name="connsiteX74" fmla="*/ 512874 w 774600"/>
                <a:gd name="connsiteY74" fmla="*/ 111513 h 259834"/>
                <a:gd name="connsiteX75" fmla="*/ 523813 w 774600"/>
                <a:gd name="connsiteY75" fmla="*/ 91542 h 259834"/>
                <a:gd name="connsiteX76" fmla="*/ 527110 w 774600"/>
                <a:gd name="connsiteY76" fmla="*/ 73998 h 259834"/>
                <a:gd name="connsiteX77" fmla="*/ 522592 w 774600"/>
                <a:gd name="connsiteY77" fmla="*/ 52981 h 259834"/>
                <a:gd name="connsiteX78" fmla="*/ 509746 w 774600"/>
                <a:gd name="connsiteY78" fmla="*/ 38565 h 259834"/>
                <a:gd name="connsiteX79" fmla="*/ 489085 w 774600"/>
                <a:gd name="connsiteY79" fmla="*/ 33181 h 259834"/>
                <a:gd name="connsiteX80" fmla="*/ 465452 w 774600"/>
                <a:gd name="connsiteY80" fmla="*/ 39261 h 259834"/>
                <a:gd name="connsiteX81" fmla="*/ 451040 w 774600"/>
                <a:gd name="connsiteY81" fmla="*/ 56109 h 259834"/>
                <a:gd name="connsiteX82" fmla="*/ 446181 w 774600"/>
                <a:gd name="connsiteY82" fmla="*/ 80423 h 259834"/>
                <a:gd name="connsiteX83" fmla="*/ 404328 w 774600"/>
                <a:gd name="connsiteY83" fmla="*/ 80423 h 259834"/>
                <a:gd name="connsiteX84" fmla="*/ 414391 w 774600"/>
                <a:gd name="connsiteY84" fmla="*/ 40131 h 259834"/>
                <a:gd name="connsiteX85" fmla="*/ 443569 w 774600"/>
                <a:gd name="connsiteY85" fmla="*/ 10953 h 259834"/>
                <a:gd name="connsiteX86" fmla="*/ 489596 w 774600"/>
                <a:gd name="connsiteY86" fmla="*/ 10 h 259834"/>
                <a:gd name="connsiteX87" fmla="*/ 532670 w 774600"/>
                <a:gd name="connsiteY87" fmla="*/ 8521 h 259834"/>
                <a:gd name="connsiteX88" fmla="*/ 559581 w 774600"/>
                <a:gd name="connsiteY88" fmla="*/ 32660 h 259834"/>
                <a:gd name="connsiteX89" fmla="*/ 568958 w 774600"/>
                <a:gd name="connsiteY89" fmla="*/ 69655 h 259834"/>
                <a:gd name="connsiteX90" fmla="*/ 565145 w 774600"/>
                <a:gd name="connsiteY90" fmla="*/ 93103 h 259834"/>
                <a:gd name="connsiteX91" fmla="*/ 554207 w 774600"/>
                <a:gd name="connsiteY91" fmla="*/ 116376 h 259834"/>
                <a:gd name="connsiteX92" fmla="*/ 537704 w 774600"/>
                <a:gd name="connsiteY92" fmla="*/ 139475 h 259834"/>
                <a:gd name="connsiteX93" fmla="*/ 516697 w 774600"/>
                <a:gd name="connsiteY93" fmla="*/ 162748 h 259834"/>
                <a:gd name="connsiteX94" fmla="*/ 461979 w 774600"/>
                <a:gd name="connsiteY94" fmla="*/ 223015 h 259834"/>
                <a:gd name="connsiteX95" fmla="*/ 578701 w 774600"/>
                <a:gd name="connsiteY95" fmla="*/ 223015 h 259834"/>
                <a:gd name="connsiteX96" fmla="*/ 660505 w 774600"/>
                <a:gd name="connsiteY96" fmla="*/ 110992 h 259834"/>
                <a:gd name="connsiteX97" fmla="*/ 685510 w 774600"/>
                <a:gd name="connsiteY97" fmla="*/ 110992 h 259834"/>
                <a:gd name="connsiteX98" fmla="*/ 709639 w 774600"/>
                <a:gd name="connsiteY98" fmla="*/ 105953 h 259834"/>
                <a:gd name="connsiteX99" fmla="*/ 724065 w 774600"/>
                <a:gd name="connsiteY99" fmla="*/ 92057 h 259834"/>
                <a:gd name="connsiteX100" fmla="*/ 728754 w 774600"/>
                <a:gd name="connsiteY100" fmla="*/ 71736 h 259834"/>
                <a:gd name="connsiteX101" fmla="*/ 724411 w 774600"/>
                <a:gd name="connsiteY101" fmla="*/ 51240 h 259834"/>
                <a:gd name="connsiteX102" fmla="*/ 711565 w 774600"/>
                <a:gd name="connsiteY102" fmla="*/ 37865 h 259834"/>
                <a:gd name="connsiteX103" fmla="*/ 689858 w 774600"/>
                <a:gd name="connsiteY103" fmla="*/ 33176 h 259834"/>
                <a:gd name="connsiteX104" fmla="*/ 669712 w 774600"/>
                <a:gd name="connsiteY104" fmla="*/ 37690 h 259834"/>
                <a:gd name="connsiteX105" fmla="*/ 655626 w 774600"/>
                <a:gd name="connsiteY105" fmla="*/ 50195 h 259834"/>
                <a:gd name="connsiteX106" fmla="*/ 650422 w 774600"/>
                <a:gd name="connsiteY106" fmla="*/ 69300 h 259834"/>
                <a:gd name="connsiteX107" fmla="*/ 608394 w 774600"/>
                <a:gd name="connsiteY107" fmla="*/ 69300 h 259834"/>
                <a:gd name="connsiteX108" fmla="*/ 618992 w 774600"/>
                <a:gd name="connsiteY108" fmla="*/ 33521 h 259834"/>
                <a:gd name="connsiteX109" fmla="*/ 647810 w 774600"/>
                <a:gd name="connsiteY109" fmla="*/ 9032 h 259834"/>
                <a:gd name="connsiteX110" fmla="*/ 689148 w 774600"/>
                <a:gd name="connsiteY110" fmla="*/ 0 h 259834"/>
                <a:gd name="connsiteX111" fmla="*/ 731876 w 774600"/>
                <a:gd name="connsiteY111" fmla="*/ 8161 h 259834"/>
                <a:gd name="connsiteX112" fmla="*/ 760524 w 774600"/>
                <a:gd name="connsiteY112" fmla="*/ 32130 h 259834"/>
                <a:gd name="connsiteX113" fmla="*/ 770777 w 774600"/>
                <a:gd name="connsiteY113" fmla="*/ 71731 h 259834"/>
                <a:gd name="connsiteX114" fmla="*/ 765743 w 774600"/>
                <a:gd name="connsiteY114" fmla="*/ 93614 h 259834"/>
                <a:gd name="connsiteX115" fmla="*/ 750802 w 774600"/>
                <a:gd name="connsiteY115" fmla="*/ 113935 h 259834"/>
                <a:gd name="connsiteX116" fmla="*/ 726137 w 774600"/>
                <a:gd name="connsiteY116" fmla="*/ 128696 h 259834"/>
                <a:gd name="connsiteX117" fmla="*/ 691925 w 774600"/>
                <a:gd name="connsiteY117" fmla="*/ 134256 h 259834"/>
                <a:gd name="connsiteX118" fmla="*/ 660495 w 774600"/>
                <a:gd name="connsiteY118" fmla="*/ 134256 h 259834"/>
                <a:gd name="connsiteX119" fmla="*/ 660495 w 774600"/>
                <a:gd name="connsiteY119" fmla="*/ 110982 h 259834"/>
                <a:gd name="connsiteX120" fmla="*/ 660505 w 774600"/>
                <a:gd name="connsiteY120" fmla="*/ 143643 h 259834"/>
                <a:gd name="connsiteX121" fmla="*/ 660505 w 774600"/>
                <a:gd name="connsiteY121" fmla="*/ 120715 h 259834"/>
                <a:gd name="connsiteX122" fmla="*/ 691935 w 774600"/>
                <a:gd name="connsiteY122" fmla="*/ 120715 h 259834"/>
                <a:gd name="connsiteX123" fmla="*/ 729790 w 774600"/>
                <a:gd name="connsiteY123" fmla="*/ 125924 h 259834"/>
                <a:gd name="connsiteX124" fmla="*/ 755500 w 774600"/>
                <a:gd name="connsiteY124" fmla="*/ 140340 h 259834"/>
                <a:gd name="connsiteX125" fmla="*/ 769911 w 774600"/>
                <a:gd name="connsiteY125" fmla="*/ 161007 h 259834"/>
                <a:gd name="connsiteX126" fmla="*/ 774600 w 774600"/>
                <a:gd name="connsiteY126" fmla="*/ 185671 h 259834"/>
                <a:gd name="connsiteX127" fmla="*/ 768175 w 774600"/>
                <a:gd name="connsiteY127" fmla="*/ 217281 h 259834"/>
                <a:gd name="connsiteX128" fmla="*/ 750296 w 774600"/>
                <a:gd name="connsiteY128" fmla="*/ 240554 h 259834"/>
                <a:gd name="connsiteX129" fmla="*/ 723024 w 774600"/>
                <a:gd name="connsiteY129" fmla="*/ 254971 h 259834"/>
                <a:gd name="connsiteX130" fmla="*/ 689328 w 774600"/>
                <a:gd name="connsiteY130" fmla="*/ 259834 h 259834"/>
                <a:gd name="connsiteX131" fmla="*/ 658068 w 774600"/>
                <a:gd name="connsiteY131" fmla="*/ 255316 h 259834"/>
                <a:gd name="connsiteX132" fmla="*/ 631327 w 774600"/>
                <a:gd name="connsiteY132" fmla="*/ 241945 h 259834"/>
                <a:gd name="connsiteX133" fmla="*/ 612572 w 774600"/>
                <a:gd name="connsiteY133" fmla="*/ 219543 h 259834"/>
                <a:gd name="connsiteX134" fmla="*/ 605787 w 774600"/>
                <a:gd name="connsiteY134" fmla="*/ 188283 h 259834"/>
                <a:gd name="connsiteX135" fmla="*/ 647640 w 774600"/>
                <a:gd name="connsiteY135" fmla="*/ 188283 h 259834"/>
                <a:gd name="connsiteX136" fmla="*/ 652859 w 774600"/>
                <a:gd name="connsiteY136" fmla="*/ 208254 h 259834"/>
                <a:gd name="connsiteX137" fmla="*/ 667786 w 774600"/>
                <a:gd name="connsiteY137" fmla="*/ 221624 h 259834"/>
                <a:gd name="connsiteX138" fmla="*/ 690028 w 774600"/>
                <a:gd name="connsiteY138" fmla="*/ 226488 h 259834"/>
                <a:gd name="connsiteX139" fmla="*/ 712767 w 774600"/>
                <a:gd name="connsiteY139" fmla="*/ 221799 h 259834"/>
                <a:gd name="connsiteX140" fmla="*/ 727363 w 774600"/>
                <a:gd name="connsiteY140" fmla="*/ 207904 h 259834"/>
                <a:gd name="connsiteX141" fmla="*/ 732567 w 774600"/>
                <a:gd name="connsiteY141" fmla="*/ 185671 h 259834"/>
                <a:gd name="connsiteX142" fmla="*/ 726847 w 774600"/>
                <a:gd name="connsiteY142" fmla="*/ 161702 h 259834"/>
                <a:gd name="connsiteX143" fmla="*/ 710515 w 774600"/>
                <a:gd name="connsiteY143" fmla="*/ 148157 h 259834"/>
                <a:gd name="connsiteX144" fmla="*/ 685510 w 774600"/>
                <a:gd name="connsiteY144" fmla="*/ 143643 h 259834"/>
                <a:gd name="connsiteX145" fmla="*/ 660505 w 774600"/>
                <a:gd name="connsiteY145" fmla="*/ 143643 h 2598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</a:cxnLst>
              <a:rect l="l" t="t" r="r" b="b"/>
              <a:pathLst>
                <a:path w="774600" h="259834">
                  <a:moveTo>
                    <a:pt x="174372" y="223015"/>
                  </a:moveTo>
                  <a:lnTo>
                    <a:pt x="174372" y="256362"/>
                  </a:lnTo>
                  <a:lnTo>
                    <a:pt x="4859" y="256362"/>
                  </a:lnTo>
                  <a:lnTo>
                    <a:pt x="4859" y="227704"/>
                  </a:lnTo>
                  <a:lnTo>
                    <a:pt x="87193" y="137913"/>
                  </a:lnTo>
                  <a:cubicBezTo>
                    <a:pt x="96211" y="127724"/>
                    <a:pt x="103336" y="118925"/>
                    <a:pt x="108541" y="111513"/>
                  </a:cubicBezTo>
                  <a:cubicBezTo>
                    <a:pt x="113760" y="104100"/>
                    <a:pt x="117403" y="97446"/>
                    <a:pt x="119499" y="91542"/>
                  </a:cubicBezTo>
                  <a:cubicBezTo>
                    <a:pt x="121697" y="85520"/>
                    <a:pt x="122797" y="79674"/>
                    <a:pt x="122797" y="73998"/>
                  </a:cubicBezTo>
                  <a:cubicBezTo>
                    <a:pt x="122797" y="66012"/>
                    <a:pt x="121284" y="59003"/>
                    <a:pt x="118278" y="52981"/>
                  </a:cubicBezTo>
                  <a:cubicBezTo>
                    <a:pt x="115374" y="46843"/>
                    <a:pt x="111099" y="42038"/>
                    <a:pt x="105413" y="38565"/>
                  </a:cubicBezTo>
                  <a:cubicBezTo>
                    <a:pt x="99747" y="34976"/>
                    <a:pt x="92860" y="33181"/>
                    <a:pt x="84752" y="33181"/>
                  </a:cubicBezTo>
                  <a:cubicBezTo>
                    <a:pt x="75374" y="33181"/>
                    <a:pt x="67510" y="35209"/>
                    <a:pt x="61138" y="39261"/>
                  </a:cubicBezTo>
                  <a:cubicBezTo>
                    <a:pt x="54766" y="43312"/>
                    <a:pt x="49956" y="48930"/>
                    <a:pt x="46712" y="56109"/>
                  </a:cubicBezTo>
                  <a:cubicBezTo>
                    <a:pt x="43482" y="63171"/>
                    <a:pt x="41853" y="71279"/>
                    <a:pt x="41853" y="80423"/>
                  </a:cubicBezTo>
                  <a:lnTo>
                    <a:pt x="0" y="80423"/>
                  </a:lnTo>
                  <a:cubicBezTo>
                    <a:pt x="0" y="65720"/>
                    <a:pt x="3366" y="52286"/>
                    <a:pt x="10083" y="40131"/>
                  </a:cubicBezTo>
                  <a:cubicBezTo>
                    <a:pt x="16800" y="27860"/>
                    <a:pt x="26517" y="18132"/>
                    <a:pt x="39261" y="10953"/>
                  </a:cubicBezTo>
                  <a:cubicBezTo>
                    <a:pt x="51989" y="3658"/>
                    <a:pt x="67325" y="10"/>
                    <a:pt x="85272" y="10"/>
                  </a:cubicBezTo>
                  <a:cubicBezTo>
                    <a:pt x="102189" y="10"/>
                    <a:pt x="116546" y="2845"/>
                    <a:pt x="128346" y="8521"/>
                  </a:cubicBezTo>
                  <a:cubicBezTo>
                    <a:pt x="140160" y="14193"/>
                    <a:pt x="149129" y="22242"/>
                    <a:pt x="155277" y="32660"/>
                  </a:cubicBezTo>
                  <a:cubicBezTo>
                    <a:pt x="161527" y="43079"/>
                    <a:pt x="164654" y="55413"/>
                    <a:pt x="164654" y="69655"/>
                  </a:cubicBezTo>
                  <a:cubicBezTo>
                    <a:pt x="164654" y="77529"/>
                    <a:pt x="163385" y="85345"/>
                    <a:pt x="160827" y="93103"/>
                  </a:cubicBezTo>
                  <a:cubicBezTo>
                    <a:pt x="158283" y="100861"/>
                    <a:pt x="154645" y="108619"/>
                    <a:pt x="149888" y="116376"/>
                  </a:cubicBezTo>
                  <a:cubicBezTo>
                    <a:pt x="145267" y="124017"/>
                    <a:pt x="139757" y="131717"/>
                    <a:pt x="133400" y="139475"/>
                  </a:cubicBezTo>
                  <a:cubicBezTo>
                    <a:pt x="127028" y="147116"/>
                    <a:pt x="120019" y="154873"/>
                    <a:pt x="112378" y="162748"/>
                  </a:cubicBezTo>
                  <a:lnTo>
                    <a:pt x="57675" y="223015"/>
                  </a:lnTo>
                  <a:lnTo>
                    <a:pt x="174377" y="223015"/>
                  </a:lnTo>
                  <a:close/>
                  <a:moveTo>
                    <a:pt x="371848" y="108735"/>
                  </a:moveTo>
                  <a:lnTo>
                    <a:pt x="371848" y="150068"/>
                  </a:lnTo>
                  <a:cubicBezTo>
                    <a:pt x="371848" y="169869"/>
                    <a:pt x="369873" y="186770"/>
                    <a:pt x="365938" y="200783"/>
                  </a:cubicBezTo>
                  <a:cubicBezTo>
                    <a:pt x="362125" y="214674"/>
                    <a:pt x="356561" y="225963"/>
                    <a:pt x="349260" y="234650"/>
                  </a:cubicBezTo>
                  <a:cubicBezTo>
                    <a:pt x="341960" y="243332"/>
                    <a:pt x="333219" y="249703"/>
                    <a:pt x="323035" y="253755"/>
                  </a:cubicBezTo>
                  <a:cubicBezTo>
                    <a:pt x="312971" y="257806"/>
                    <a:pt x="301668" y="259834"/>
                    <a:pt x="289168" y="259834"/>
                  </a:cubicBezTo>
                  <a:cubicBezTo>
                    <a:pt x="279221" y="259834"/>
                    <a:pt x="269951" y="258560"/>
                    <a:pt x="261381" y="256011"/>
                  </a:cubicBezTo>
                  <a:cubicBezTo>
                    <a:pt x="252933" y="253463"/>
                    <a:pt x="245287" y="249470"/>
                    <a:pt x="238468" y="244027"/>
                  </a:cubicBezTo>
                  <a:cubicBezTo>
                    <a:pt x="231634" y="238584"/>
                    <a:pt x="225773" y="231581"/>
                    <a:pt x="220914" y="223011"/>
                  </a:cubicBezTo>
                  <a:cubicBezTo>
                    <a:pt x="216172" y="214329"/>
                    <a:pt x="212466" y="203964"/>
                    <a:pt x="209800" y="191921"/>
                  </a:cubicBezTo>
                  <a:cubicBezTo>
                    <a:pt x="207256" y="179878"/>
                    <a:pt x="205972" y="165929"/>
                    <a:pt x="205972" y="150063"/>
                  </a:cubicBezTo>
                  <a:lnTo>
                    <a:pt x="205972" y="108730"/>
                  </a:lnTo>
                  <a:cubicBezTo>
                    <a:pt x="205972" y="88813"/>
                    <a:pt x="207947" y="72028"/>
                    <a:pt x="211882" y="58366"/>
                  </a:cubicBezTo>
                  <a:cubicBezTo>
                    <a:pt x="215831" y="44587"/>
                    <a:pt x="221430" y="33414"/>
                    <a:pt x="228730" y="24844"/>
                  </a:cubicBezTo>
                  <a:cubicBezTo>
                    <a:pt x="236031" y="16162"/>
                    <a:pt x="244722" y="9849"/>
                    <a:pt x="254786" y="5914"/>
                  </a:cubicBezTo>
                  <a:cubicBezTo>
                    <a:pt x="264970" y="1980"/>
                    <a:pt x="276323" y="10"/>
                    <a:pt x="288827" y="10"/>
                  </a:cubicBezTo>
                  <a:cubicBezTo>
                    <a:pt x="298910" y="10"/>
                    <a:pt x="308166" y="1284"/>
                    <a:pt x="316614" y="3833"/>
                  </a:cubicBezTo>
                  <a:cubicBezTo>
                    <a:pt x="325184" y="6265"/>
                    <a:pt x="332825" y="10141"/>
                    <a:pt x="339542" y="15467"/>
                  </a:cubicBezTo>
                  <a:cubicBezTo>
                    <a:pt x="346376" y="20793"/>
                    <a:pt x="352164" y="27743"/>
                    <a:pt x="356906" y="36308"/>
                  </a:cubicBezTo>
                  <a:cubicBezTo>
                    <a:pt x="361765" y="44762"/>
                    <a:pt x="365476" y="55010"/>
                    <a:pt x="368020" y="67048"/>
                  </a:cubicBezTo>
                  <a:cubicBezTo>
                    <a:pt x="370578" y="78974"/>
                    <a:pt x="371848" y="92870"/>
                    <a:pt x="371848" y="108730"/>
                  </a:cubicBezTo>
                  <a:close/>
                  <a:moveTo>
                    <a:pt x="329995" y="155978"/>
                  </a:moveTo>
                  <a:lnTo>
                    <a:pt x="329995" y="102485"/>
                  </a:lnTo>
                  <a:cubicBezTo>
                    <a:pt x="329995" y="92412"/>
                    <a:pt x="329411" y="83555"/>
                    <a:pt x="328258" y="75914"/>
                  </a:cubicBezTo>
                  <a:cubicBezTo>
                    <a:pt x="327091" y="68157"/>
                    <a:pt x="325355" y="61615"/>
                    <a:pt x="323039" y="56289"/>
                  </a:cubicBezTo>
                  <a:cubicBezTo>
                    <a:pt x="320841" y="50846"/>
                    <a:pt x="318059" y="46445"/>
                    <a:pt x="314708" y="43088"/>
                  </a:cubicBezTo>
                  <a:cubicBezTo>
                    <a:pt x="311342" y="39616"/>
                    <a:pt x="307529" y="37125"/>
                    <a:pt x="303234" y="35623"/>
                  </a:cubicBezTo>
                  <a:cubicBezTo>
                    <a:pt x="298959" y="34003"/>
                    <a:pt x="294148" y="33191"/>
                    <a:pt x="288823" y="33191"/>
                  </a:cubicBezTo>
                  <a:cubicBezTo>
                    <a:pt x="282349" y="33191"/>
                    <a:pt x="276542" y="34465"/>
                    <a:pt x="271459" y="37014"/>
                  </a:cubicBezTo>
                  <a:cubicBezTo>
                    <a:pt x="266357" y="39445"/>
                    <a:pt x="262081" y="43380"/>
                    <a:pt x="258613" y="48823"/>
                  </a:cubicBezTo>
                  <a:cubicBezTo>
                    <a:pt x="255126" y="54266"/>
                    <a:pt x="252466" y="61445"/>
                    <a:pt x="250608" y="70360"/>
                  </a:cubicBezTo>
                  <a:cubicBezTo>
                    <a:pt x="248871" y="79159"/>
                    <a:pt x="248015" y="89869"/>
                    <a:pt x="248015" y="102490"/>
                  </a:cubicBezTo>
                  <a:lnTo>
                    <a:pt x="248015" y="155982"/>
                  </a:lnTo>
                  <a:cubicBezTo>
                    <a:pt x="248015" y="166172"/>
                    <a:pt x="248584" y="175146"/>
                    <a:pt x="249752" y="182904"/>
                  </a:cubicBezTo>
                  <a:cubicBezTo>
                    <a:pt x="250904" y="190661"/>
                    <a:pt x="252636" y="197320"/>
                    <a:pt x="254956" y="202874"/>
                  </a:cubicBezTo>
                  <a:cubicBezTo>
                    <a:pt x="257276" y="208317"/>
                    <a:pt x="260058" y="212831"/>
                    <a:pt x="263302" y="216420"/>
                  </a:cubicBezTo>
                  <a:cubicBezTo>
                    <a:pt x="266653" y="219893"/>
                    <a:pt x="270481" y="222441"/>
                    <a:pt x="274756" y="224061"/>
                  </a:cubicBezTo>
                  <a:cubicBezTo>
                    <a:pt x="279153" y="225681"/>
                    <a:pt x="283964" y="226493"/>
                    <a:pt x="289168" y="226493"/>
                  </a:cubicBezTo>
                  <a:cubicBezTo>
                    <a:pt x="295778" y="226493"/>
                    <a:pt x="301619" y="225219"/>
                    <a:pt x="306721" y="222670"/>
                  </a:cubicBezTo>
                  <a:cubicBezTo>
                    <a:pt x="311804" y="220121"/>
                    <a:pt x="316099" y="216070"/>
                    <a:pt x="319567" y="210511"/>
                  </a:cubicBezTo>
                  <a:cubicBezTo>
                    <a:pt x="323035" y="204839"/>
                    <a:pt x="325646" y="197485"/>
                    <a:pt x="327383" y="188453"/>
                  </a:cubicBezTo>
                  <a:cubicBezTo>
                    <a:pt x="329119" y="179421"/>
                    <a:pt x="329995" y="168594"/>
                    <a:pt x="329995" y="155978"/>
                  </a:cubicBezTo>
                  <a:close/>
                  <a:moveTo>
                    <a:pt x="578701" y="223015"/>
                  </a:moveTo>
                  <a:lnTo>
                    <a:pt x="578701" y="256362"/>
                  </a:lnTo>
                  <a:lnTo>
                    <a:pt x="409187" y="256362"/>
                  </a:lnTo>
                  <a:lnTo>
                    <a:pt x="409187" y="227704"/>
                  </a:lnTo>
                  <a:lnTo>
                    <a:pt x="491507" y="137913"/>
                  </a:lnTo>
                  <a:cubicBezTo>
                    <a:pt x="500539" y="127724"/>
                    <a:pt x="507670" y="118925"/>
                    <a:pt x="512874" y="111513"/>
                  </a:cubicBezTo>
                  <a:cubicBezTo>
                    <a:pt x="518078" y="104100"/>
                    <a:pt x="521736" y="97446"/>
                    <a:pt x="523813" y="91542"/>
                  </a:cubicBezTo>
                  <a:cubicBezTo>
                    <a:pt x="526011" y="85520"/>
                    <a:pt x="527110" y="79674"/>
                    <a:pt x="527110" y="73998"/>
                  </a:cubicBezTo>
                  <a:cubicBezTo>
                    <a:pt x="527110" y="66012"/>
                    <a:pt x="525617" y="59003"/>
                    <a:pt x="522592" y="52981"/>
                  </a:cubicBezTo>
                  <a:cubicBezTo>
                    <a:pt x="519708" y="46843"/>
                    <a:pt x="515413" y="42038"/>
                    <a:pt x="509746" y="38565"/>
                  </a:cubicBezTo>
                  <a:cubicBezTo>
                    <a:pt x="504080" y="34976"/>
                    <a:pt x="497193" y="33181"/>
                    <a:pt x="489085" y="33181"/>
                  </a:cubicBezTo>
                  <a:cubicBezTo>
                    <a:pt x="479708" y="33181"/>
                    <a:pt x="471823" y="35209"/>
                    <a:pt x="465452" y="39261"/>
                  </a:cubicBezTo>
                  <a:cubicBezTo>
                    <a:pt x="459095" y="43312"/>
                    <a:pt x="454289" y="48930"/>
                    <a:pt x="451040" y="56109"/>
                  </a:cubicBezTo>
                  <a:cubicBezTo>
                    <a:pt x="447796" y="63171"/>
                    <a:pt x="446181" y="71279"/>
                    <a:pt x="446181" y="80423"/>
                  </a:cubicBezTo>
                  <a:lnTo>
                    <a:pt x="404328" y="80423"/>
                  </a:lnTo>
                  <a:cubicBezTo>
                    <a:pt x="404328" y="65720"/>
                    <a:pt x="407679" y="52286"/>
                    <a:pt x="414391" y="40131"/>
                  </a:cubicBezTo>
                  <a:cubicBezTo>
                    <a:pt x="421108" y="27860"/>
                    <a:pt x="430846" y="18132"/>
                    <a:pt x="443569" y="10953"/>
                  </a:cubicBezTo>
                  <a:cubicBezTo>
                    <a:pt x="456313" y="3658"/>
                    <a:pt x="471648" y="10"/>
                    <a:pt x="489596" y="10"/>
                  </a:cubicBezTo>
                  <a:cubicBezTo>
                    <a:pt x="506497" y="10"/>
                    <a:pt x="520855" y="2845"/>
                    <a:pt x="532670" y="8521"/>
                  </a:cubicBezTo>
                  <a:cubicBezTo>
                    <a:pt x="544484" y="14193"/>
                    <a:pt x="553453" y="22242"/>
                    <a:pt x="559581" y="32660"/>
                  </a:cubicBezTo>
                  <a:cubicBezTo>
                    <a:pt x="565831" y="43079"/>
                    <a:pt x="568958" y="55413"/>
                    <a:pt x="568958" y="69655"/>
                  </a:cubicBezTo>
                  <a:cubicBezTo>
                    <a:pt x="568958" y="77529"/>
                    <a:pt x="567689" y="85345"/>
                    <a:pt x="565145" y="93103"/>
                  </a:cubicBezTo>
                  <a:cubicBezTo>
                    <a:pt x="562601" y="100861"/>
                    <a:pt x="558944" y="108619"/>
                    <a:pt x="554207" y="116376"/>
                  </a:cubicBezTo>
                  <a:cubicBezTo>
                    <a:pt x="549571" y="124017"/>
                    <a:pt x="544075" y="131717"/>
                    <a:pt x="537704" y="139475"/>
                  </a:cubicBezTo>
                  <a:cubicBezTo>
                    <a:pt x="531332" y="147116"/>
                    <a:pt x="524323" y="154873"/>
                    <a:pt x="516697" y="162748"/>
                  </a:cubicBezTo>
                  <a:lnTo>
                    <a:pt x="461979" y="223015"/>
                  </a:lnTo>
                  <a:lnTo>
                    <a:pt x="578701" y="223015"/>
                  </a:lnTo>
                  <a:close/>
                  <a:moveTo>
                    <a:pt x="660505" y="110992"/>
                  </a:moveTo>
                  <a:lnTo>
                    <a:pt x="685510" y="110992"/>
                  </a:lnTo>
                  <a:cubicBezTo>
                    <a:pt x="695233" y="110992"/>
                    <a:pt x="703287" y="109314"/>
                    <a:pt x="709639" y="105953"/>
                  </a:cubicBezTo>
                  <a:cubicBezTo>
                    <a:pt x="716132" y="102597"/>
                    <a:pt x="720943" y="97962"/>
                    <a:pt x="724065" y="92057"/>
                  </a:cubicBezTo>
                  <a:cubicBezTo>
                    <a:pt x="727188" y="86153"/>
                    <a:pt x="728754" y="79377"/>
                    <a:pt x="728754" y="71736"/>
                  </a:cubicBezTo>
                  <a:cubicBezTo>
                    <a:pt x="728754" y="64095"/>
                    <a:pt x="727295" y="56916"/>
                    <a:pt x="724411" y="51240"/>
                  </a:cubicBezTo>
                  <a:cubicBezTo>
                    <a:pt x="721628" y="45452"/>
                    <a:pt x="717353" y="40992"/>
                    <a:pt x="711565" y="37865"/>
                  </a:cubicBezTo>
                  <a:cubicBezTo>
                    <a:pt x="705879" y="34737"/>
                    <a:pt x="698652" y="33176"/>
                    <a:pt x="689858" y="33176"/>
                  </a:cubicBezTo>
                  <a:cubicBezTo>
                    <a:pt x="682441" y="33176"/>
                    <a:pt x="675724" y="34684"/>
                    <a:pt x="669712" y="37690"/>
                  </a:cubicBezTo>
                  <a:cubicBezTo>
                    <a:pt x="663803" y="40584"/>
                    <a:pt x="659114" y="44752"/>
                    <a:pt x="655626" y="50195"/>
                  </a:cubicBezTo>
                  <a:cubicBezTo>
                    <a:pt x="652159" y="55520"/>
                    <a:pt x="650422" y="61887"/>
                    <a:pt x="650422" y="69300"/>
                  </a:cubicBezTo>
                  <a:lnTo>
                    <a:pt x="608394" y="69300"/>
                  </a:lnTo>
                  <a:cubicBezTo>
                    <a:pt x="608394" y="55871"/>
                    <a:pt x="611916" y="43945"/>
                    <a:pt x="618992" y="33521"/>
                  </a:cubicBezTo>
                  <a:cubicBezTo>
                    <a:pt x="626050" y="23103"/>
                    <a:pt x="635670" y="14937"/>
                    <a:pt x="647810" y="9032"/>
                  </a:cubicBezTo>
                  <a:cubicBezTo>
                    <a:pt x="660092" y="3011"/>
                    <a:pt x="673866" y="0"/>
                    <a:pt x="689148" y="0"/>
                  </a:cubicBezTo>
                  <a:cubicBezTo>
                    <a:pt x="705480" y="0"/>
                    <a:pt x="719717" y="2724"/>
                    <a:pt x="731876" y="8161"/>
                  </a:cubicBezTo>
                  <a:cubicBezTo>
                    <a:pt x="744138" y="13487"/>
                    <a:pt x="753705" y="21479"/>
                    <a:pt x="760524" y="32130"/>
                  </a:cubicBezTo>
                  <a:cubicBezTo>
                    <a:pt x="767358" y="42782"/>
                    <a:pt x="770777" y="55982"/>
                    <a:pt x="770777" y="71731"/>
                  </a:cubicBezTo>
                  <a:cubicBezTo>
                    <a:pt x="770777" y="78910"/>
                    <a:pt x="769094" y="86206"/>
                    <a:pt x="765743" y="93614"/>
                  </a:cubicBezTo>
                  <a:cubicBezTo>
                    <a:pt x="762378" y="101026"/>
                    <a:pt x="757397" y="107797"/>
                    <a:pt x="750802" y="113935"/>
                  </a:cubicBezTo>
                  <a:cubicBezTo>
                    <a:pt x="744206" y="119956"/>
                    <a:pt x="735982" y="124873"/>
                    <a:pt x="726137" y="128696"/>
                  </a:cubicBezTo>
                  <a:cubicBezTo>
                    <a:pt x="716298" y="132403"/>
                    <a:pt x="704892" y="134256"/>
                    <a:pt x="691925" y="134256"/>
                  </a:cubicBezTo>
                  <a:lnTo>
                    <a:pt x="660495" y="134256"/>
                  </a:lnTo>
                  <a:lnTo>
                    <a:pt x="660495" y="110982"/>
                  </a:lnTo>
                  <a:close/>
                  <a:moveTo>
                    <a:pt x="660505" y="143643"/>
                  </a:moveTo>
                  <a:lnTo>
                    <a:pt x="660505" y="120715"/>
                  </a:lnTo>
                  <a:lnTo>
                    <a:pt x="691935" y="120715"/>
                  </a:lnTo>
                  <a:cubicBezTo>
                    <a:pt x="706755" y="120715"/>
                    <a:pt x="719381" y="122451"/>
                    <a:pt x="729790" y="125924"/>
                  </a:cubicBezTo>
                  <a:cubicBezTo>
                    <a:pt x="740335" y="129397"/>
                    <a:pt x="748905" y="134202"/>
                    <a:pt x="755500" y="140340"/>
                  </a:cubicBezTo>
                  <a:cubicBezTo>
                    <a:pt x="762095" y="146362"/>
                    <a:pt x="766906" y="153249"/>
                    <a:pt x="769911" y="161007"/>
                  </a:cubicBezTo>
                  <a:cubicBezTo>
                    <a:pt x="773039" y="168764"/>
                    <a:pt x="774600" y="176984"/>
                    <a:pt x="774600" y="185671"/>
                  </a:cubicBezTo>
                  <a:cubicBezTo>
                    <a:pt x="774600" y="197480"/>
                    <a:pt x="772470" y="208015"/>
                    <a:pt x="768175" y="217281"/>
                  </a:cubicBezTo>
                  <a:cubicBezTo>
                    <a:pt x="764016" y="226430"/>
                    <a:pt x="758044" y="234188"/>
                    <a:pt x="750296" y="240554"/>
                  </a:cubicBezTo>
                  <a:cubicBezTo>
                    <a:pt x="742533" y="246921"/>
                    <a:pt x="733447" y="251726"/>
                    <a:pt x="723024" y="254971"/>
                  </a:cubicBezTo>
                  <a:cubicBezTo>
                    <a:pt x="712718" y="258215"/>
                    <a:pt x="701487" y="259834"/>
                    <a:pt x="689328" y="259834"/>
                  </a:cubicBezTo>
                  <a:cubicBezTo>
                    <a:pt x="678457" y="259834"/>
                    <a:pt x="668029" y="258327"/>
                    <a:pt x="658068" y="255316"/>
                  </a:cubicBezTo>
                  <a:cubicBezTo>
                    <a:pt x="648107" y="252305"/>
                    <a:pt x="639192" y="247850"/>
                    <a:pt x="631327" y="241945"/>
                  </a:cubicBezTo>
                  <a:cubicBezTo>
                    <a:pt x="623443" y="235924"/>
                    <a:pt x="617193" y="228458"/>
                    <a:pt x="612572" y="219543"/>
                  </a:cubicBezTo>
                  <a:cubicBezTo>
                    <a:pt x="608054" y="210511"/>
                    <a:pt x="605787" y="200092"/>
                    <a:pt x="605787" y="188283"/>
                  </a:cubicBezTo>
                  <a:lnTo>
                    <a:pt x="647640" y="188283"/>
                  </a:lnTo>
                  <a:cubicBezTo>
                    <a:pt x="647640" y="195807"/>
                    <a:pt x="649377" y="202466"/>
                    <a:pt x="652859" y="208254"/>
                  </a:cubicBezTo>
                  <a:cubicBezTo>
                    <a:pt x="656449" y="213925"/>
                    <a:pt x="661429" y="218385"/>
                    <a:pt x="667786" y="221624"/>
                  </a:cubicBezTo>
                  <a:cubicBezTo>
                    <a:pt x="674279" y="224869"/>
                    <a:pt x="681682" y="226488"/>
                    <a:pt x="690028" y="226488"/>
                  </a:cubicBezTo>
                  <a:cubicBezTo>
                    <a:pt x="698822" y="226488"/>
                    <a:pt x="706415" y="224927"/>
                    <a:pt x="712767" y="221799"/>
                  </a:cubicBezTo>
                  <a:cubicBezTo>
                    <a:pt x="719138" y="218672"/>
                    <a:pt x="723997" y="214042"/>
                    <a:pt x="727363" y="207904"/>
                  </a:cubicBezTo>
                  <a:cubicBezTo>
                    <a:pt x="730831" y="201765"/>
                    <a:pt x="732567" y="194358"/>
                    <a:pt x="732567" y="185671"/>
                  </a:cubicBezTo>
                  <a:cubicBezTo>
                    <a:pt x="732567" y="175827"/>
                    <a:pt x="730660" y="167840"/>
                    <a:pt x="726847" y="161702"/>
                  </a:cubicBezTo>
                  <a:cubicBezTo>
                    <a:pt x="723019" y="155564"/>
                    <a:pt x="717572" y="151050"/>
                    <a:pt x="710515" y="148157"/>
                  </a:cubicBezTo>
                  <a:cubicBezTo>
                    <a:pt x="703457" y="145146"/>
                    <a:pt x="695111" y="143643"/>
                    <a:pt x="685510" y="143643"/>
                  </a:cubicBezTo>
                  <a:lnTo>
                    <a:pt x="660505" y="143643"/>
                  </a:lnTo>
                  <a:close/>
                </a:path>
              </a:pathLst>
            </a:custGeom>
            <a:solidFill>
              <a:srgbClr val="EE3431"/>
            </a:solidFill>
            <a:ln w="4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8" name="Полилиния: фигура 47">
              <a:extLst>
                <a:ext uri="{FF2B5EF4-FFF2-40B4-BE49-F238E27FC236}">
                  <a16:creationId xmlns:a16="http://schemas.microsoft.com/office/drawing/2014/main" id="{C3ADAD60-17B9-4A06-AE0E-BCB35AB4E7E8}"/>
                </a:ext>
              </a:extLst>
            </p:cNvPr>
            <p:cNvSpPr/>
            <p:nvPr/>
          </p:nvSpPr>
          <p:spPr>
            <a:xfrm>
              <a:off x="8902858" y="5870060"/>
              <a:ext cx="774600" cy="259829"/>
            </a:xfrm>
            <a:custGeom>
              <a:avLst/>
              <a:gdLst>
                <a:gd name="connsiteX0" fmla="*/ 174372 w 774600"/>
                <a:gd name="connsiteY0" fmla="*/ 223011 h 259829"/>
                <a:gd name="connsiteX1" fmla="*/ 174372 w 774600"/>
                <a:gd name="connsiteY1" fmla="*/ 256357 h 259829"/>
                <a:gd name="connsiteX2" fmla="*/ 4859 w 774600"/>
                <a:gd name="connsiteY2" fmla="*/ 256357 h 259829"/>
                <a:gd name="connsiteX3" fmla="*/ 4859 w 774600"/>
                <a:gd name="connsiteY3" fmla="*/ 227699 h 259829"/>
                <a:gd name="connsiteX4" fmla="*/ 87193 w 774600"/>
                <a:gd name="connsiteY4" fmla="*/ 137908 h 259829"/>
                <a:gd name="connsiteX5" fmla="*/ 108541 w 774600"/>
                <a:gd name="connsiteY5" fmla="*/ 111508 h 259829"/>
                <a:gd name="connsiteX6" fmla="*/ 119499 w 774600"/>
                <a:gd name="connsiteY6" fmla="*/ 91537 h 259829"/>
                <a:gd name="connsiteX7" fmla="*/ 122797 w 774600"/>
                <a:gd name="connsiteY7" fmla="*/ 73993 h 259829"/>
                <a:gd name="connsiteX8" fmla="*/ 118278 w 774600"/>
                <a:gd name="connsiteY8" fmla="*/ 52977 h 259829"/>
                <a:gd name="connsiteX9" fmla="*/ 105413 w 774600"/>
                <a:gd name="connsiteY9" fmla="*/ 38560 h 259829"/>
                <a:gd name="connsiteX10" fmla="*/ 84752 w 774600"/>
                <a:gd name="connsiteY10" fmla="*/ 33176 h 259829"/>
                <a:gd name="connsiteX11" fmla="*/ 61138 w 774600"/>
                <a:gd name="connsiteY11" fmla="*/ 39256 h 259829"/>
                <a:gd name="connsiteX12" fmla="*/ 46712 w 774600"/>
                <a:gd name="connsiteY12" fmla="*/ 56104 h 259829"/>
                <a:gd name="connsiteX13" fmla="*/ 41853 w 774600"/>
                <a:gd name="connsiteY13" fmla="*/ 80418 h 259829"/>
                <a:gd name="connsiteX14" fmla="*/ 0 w 774600"/>
                <a:gd name="connsiteY14" fmla="*/ 80418 h 259829"/>
                <a:gd name="connsiteX15" fmla="*/ 10083 w 774600"/>
                <a:gd name="connsiteY15" fmla="*/ 40126 h 259829"/>
                <a:gd name="connsiteX16" fmla="*/ 39261 w 774600"/>
                <a:gd name="connsiteY16" fmla="*/ 10948 h 259829"/>
                <a:gd name="connsiteX17" fmla="*/ 85272 w 774600"/>
                <a:gd name="connsiteY17" fmla="*/ 5 h 259829"/>
                <a:gd name="connsiteX18" fmla="*/ 128346 w 774600"/>
                <a:gd name="connsiteY18" fmla="*/ 8517 h 259829"/>
                <a:gd name="connsiteX19" fmla="*/ 155277 w 774600"/>
                <a:gd name="connsiteY19" fmla="*/ 32660 h 259829"/>
                <a:gd name="connsiteX20" fmla="*/ 164654 w 774600"/>
                <a:gd name="connsiteY20" fmla="*/ 69655 h 259829"/>
                <a:gd name="connsiteX21" fmla="*/ 160827 w 774600"/>
                <a:gd name="connsiteY21" fmla="*/ 93103 h 259829"/>
                <a:gd name="connsiteX22" fmla="*/ 149888 w 774600"/>
                <a:gd name="connsiteY22" fmla="*/ 116376 h 259829"/>
                <a:gd name="connsiteX23" fmla="*/ 133400 w 774600"/>
                <a:gd name="connsiteY23" fmla="*/ 139475 h 259829"/>
                <a:gd name="connsiteX24" fmla="*/ 112378 w 774600"/>
                <a:gd name="connsiteY24" fmla="*/ 162748 h 259829"/>
                <a:gd name="connsiteX25" fmla="*/ 57675 w 774600"/>
                <a:gd name="connsiteY25" fmla="*/ 223015 h 259829"/>
                <a:gd name="connsiteX26" fmla="*/ 174377 w 774600"/>
                <a:gd name="connsiteY26" fmla="*/ 223015 h 259829"/>
                <a:gd name="connsiteX27" fmla="*/ 371848 w 774600"/>
                <a:gd name="connsiteY27" fmla="*/ 108730 h 259829"/>
                <a:gd name="connsiteX28" fmla="*/ 371848 w 774600"/>
                <a:gd name="connsiteY28" fmla="*/ 150063 h 259829"/>
                <a:gd name="connsiteX29" fmla="*/ 365938 w 774600"/>
                <a:gd name="connsiteY29" fmla="*/ 200778 h 259829"/>
                <a:gd name="connsiteX30" fmla="*/ 349260 w 774600"/>
                <a:gd name="connsiteY30" fmla="*/ 234645 h 259829"/>
                <a:gd name="connsiteX31" fmla="*/ 323035 w 774600"/>
                <a:gd name="connsiteY31" fmla="*/ 253750 h 259829"/>
                <a:gd name="connsiteX32" fmla="*/ 289168 w 774600"/>
                <a:gd name="connsiteY32" fmla="*/ 259830 h 259829"/>
                <a:gd name="connsiteX33" fmla="*/ 261381 w 774600"/>
                <a:gd name="connsiteY33" fmla="*/ 256011 h 259829"/>
                <a:gd name="connsiteX34" fmla="*/ 238468 w 774600"/>
                <a:gd name="connsiteY34" fmla="*/ 244027 h 259829"/>
                <a:gd name="connsiteX35" fmla="*/ 220914 w 774600"/>
                <a:gd name="connsiteY35" fmla="*/ 223011 h 259829"/>
                <a:gd name="connsiteX36" fmla="*/ 209800 w 774600"/>
                <a:gd name="connsiteY36" fmla="*/ 191921 h 259829"/>
                <a:gd name="connsiteX37" fmla="*/ 205972 w 774600"/>
                <a:gd name="connsiteY37" fmla="*/ 150063 h 259829"/>
                <a:gd name="connsiteX38" fmla="*/ 205972 w 774600"/>
                <a:gd name="connsiteY38" fmla="*/ 108730 h 259829"/>
                <a:gd name="connsiteX39" fmla="*/ 211882 w 774600"/>
                <a:gd name="connsiteY39" fmla="*/ 58366 h 259829"/>
                <a:gd name="connsiteX40" fmla="*/ 228730 w 774600"/>
                <a:gd name="connsiteY40" fmla="*/ 24844 h 259829"/>
                <a:gd name="connsiteX41" fmla="*/ 254786 w 774600"/>
                <a:gd name="connsiteY41" fmla="*/ 5914 h 259829"/>
                <a:gd name="connsiteX42" fmla="*/ 288827 w 774600"/>
                <a:gd name="connsiteY42" fmla="*/ 10 h 259829"/>
                <a:gd name="connsiteX43" fmla="*/ 316614 w 774600"/>
                <a:gd name="connsiteY43" fmla="*/ 3833 h 259829"/>
                <a:gd name="connsiteX44" fmla="*/ 339542 w 774600"/>
                <a:gd name="connsiteY44" fmla="*/ 15467 h 259829"/>
                <a:gd name="connsiteX45" fmla="*/ 356906 w 774600"/>
                <a:gd name="connsiteY45" fmla="*/ 36308 h 259829"/>
                <a:gd name="connsiteX46" fmla="*/ 368020 w 774600"/>
                <a:gd name="connsiteY46" fmla="*/ 67048 h 259829"/>
                <a:gd name="connsiteX47" fmla="*/ 371848 w 774600"/>
                <a:gd name="connsiteY47" fmla="*/ 108730 h 259829"/>
                <a:gd name="connsiteX48" fmla="*/ 329995 w 774600"/>
                <a:gd name="connsiteY48" fmla="*/ 155968 h 259829"/>
                <a:gd name="connsiteX49" fmla="*/ 329995 w 774600"/>
                <a:gd name="connsiteY49" fmla="*/ 102476 h 259829"/>
                <a:gd name="connsiteX50" fmla="*/ 328258 w 774600"/>
                <a:gd name="connsiteY50" fmla="*/ 75905 h 259829"/>
                <a:gd name="connsiteX51" fmla="*/ 323039 w 774600"/>
                <a:gd name="connsiteY51" fmla="*/ 56279 h 259829"/>
                <a:gd name="connsiteX52" fmla="*/ 314708 w 774600"/>
                <a:gd name="connsiteY52" fmla="*/ 43079 h 259829"/>
                <a:gd name="connsiteX53" fmla="*/ 303234 w 774600"/>
                <a:gd name="connsiteY53" fmla="*/ 35613 h 259829"/>
                <a:gd name="connsiteX54" fmla="*/ 288823 w 774600"/>
                <a:gd name="connsiteY54" fmla="*/ 33181 h 259829"/>
                <a:gd name="connsiteX55" fmla="*/ 271459 w 774600"/>
                <a:gd name="connsiteY55" fmla="*/ 37004 h 259829"/>
                <a:gd name="connsiteX56" fmla="*/ 258613 w 774600"/>
                <a:gd name="connsiteY56" fmla="*/ 48813 h 259829"/>
                <a:gd name="connsiteX57" fmla="*/ 250608 w 774600"/>
                <a:gd name="connsiteY57" fmla="*/ 70350 h 259829"/>
                <a:gd name="connsiteX58" fmla="*/ 248015 w 774600"/>
                <a:gd name="connsiteY58" fmla="*/ 102480 h 259829"/>
                <a:gd name="connsiteX59" fmla="*/ 248015 w 774600"/>
                <a:gd name="connsiteY59" fmla="*/ 155973 h 259829"/>
                <a:gd name="connsiteX60" fmla="*/ 249752 w 774600"/>
                <a:gd name="connsiteY60" fmla="*/ 182894 h 259829"/>
                <a:gd name="connsiteX61" fmla="*/ 254956 w 774600"/>
                <a:gd name="connsiteY61" fmla="*/ 202865 h 259829"/>
                <a:gd name="connsiteX62" fmla="*/ 263302 w 774600"/>
                <a:gd name="connsiteY62" fmla="*/ 216410 h 259829"/>
                <a:gd name="connsiteX63" fmla="*/ 274756 w 774600"/>
                <a:gd name="connsiteY63" fmla="*/ 224051 h 259829"/>
                <a:gd name="connsiteX64" fmla="*/ 289168 w 774600"/>
                <a:gd name="connsiteY64" fmla="*/ 226483 h 259829"/>
                <a:gd name="connsiteX65" fmla="*/ 306721 w 774600"/>
                <a:gd name="connsiteY65" fmla="*/ 222660 h 259829"/>
                <a:gd name="connsiteX66" fmla="*/ 319567 w 774600"/>
                <a:gd name="connsiteY66" fmla="*/ 210501 h 259829"/>
                <a:gd name="connsiteX67" fmla="*/ 327383 w 774600"/>
                <a:gd name="connsiteY67" fmla="*/ 188443 h 259829"/>
                <a:gd name="connsiteX68" fmla="*/ 329995 w 774600"/>
                <a:gd name="connsiteY68" fmla="*/ 155963 h 259829"/>
                <a:gd name="connsiteX69" fmla="*/ 578701 w 774600"/>
                <a:gd name="connsiteY69" fmla="*/ 223006 h 259829"/>
                <a:gd name="connsiteX70" fmla="*/ 578701 w 774600"/>
                <a:gd name="connsiteY70" fmla="*/ 256352 h 259829"/>
                <a:gd name="connsiteX71" fmla="*/ 409187 w 774600"/>
                <a:gd name="connsiteY71" fmla="*/ 256352 h 259829"/>
                <a:gd name="connsiteX72" fmla="*/ 409187 w 774600"/>
                <a:gd name="connsiteY72" fmla="*/ 227694 h 259829"/>
                <a:gd name="connsiteX73" fmla="*/ 491507 w 774600"/>
                <a:gd name="connsiteY73" fmla="*/ 137904 h 259829"/>
                <a:gd name="connsiteX74" fmla="*/ 512874 w 774600"/>
                <a:gd name="connsiteY74" fmla="*/ 111503 h 259829"/>
                <a:gd name="connsiteX75" fmla="*/ 523813 w 774600"/>
                <a:gd name="connsiteY75" fmla="*/ 91532 h 259829"/>
                <a:gd name="connsiteX76" fmla="*/ 527110 w 774600"/>
                <a:gd name="connsiteY76" fmla="*/ 73988 h 259829"/>
                <a:gd name="connsiteX77" fmla="*/ 522592 w 774600"/>
                <a:gd name="connsiteY77" fmla="*/ 52972 h 259829"/>
                <a:gd name="connsiteX78" fmla="*/ 509746 w 774600"/>
                <a:gd name="connsiteY78" fmla="*/ 38555 h 259829"/>
                <a:gd name="connsiteX79" fmla="*/ 489085 w 774600"/>
                <a:gd name="connsiteY79" fmla="*/ 33171 h 259829"/>
                <a:gd name="connsiteX80" fmla="*/ 465452 w 774600"/>
                <a:gd name="connsiteY80" fmla="*/ 39251 h 259829"/>
                <a:gd name="connsiteX81" fmla="*/ 451040 w 774600"/>
                <a:gd name="connsiteY81" fmla="*/ 56099 h 259829"/>
                <a:gd name="connsiteX82" fmla="*/ 446181 w 774600"/>
                <a:gd name="connsiteY82" fmla="*/ 80413 h 259829"/>
                <a:gd name="connsiteX83" fmla="*/ 404328 w 774600"/>
                <a:gd name="connsiteY83" fmla="*/ 80413 h 259829"/>
                <a:gd name="connsiteX84" fmla="*/ 414391 w 774600"/>
                <a:gd name="connsiteY84" fmla="*/ 40122 h 259829"/>
                <a:gd name="connsiteX85" fmla="*/ 443569 w 774600"/>
                <a:gd name="connsiteY85" fmla="*/ 10944 h 259829"/>
                <a:gd name="connsiteX86" fmla="*/ 489596 w 774600"/>
                <a:gd name="connsiteY86" fmla="*/ 0 h 259829"/>
                <a:gd name="connsiteX87" fmla="*/ 532670 w 774600"/>
                <a:gd name="connsiteY87" fmla="*/ 8512 h 259829"/>
                <a:gd name="connsiteX88" fmla="*/ 559581 w 774600"/>
                <a:gd name="connsiteY88" fmla="*/ 32656 h 259829"/>
                <a:gd name="connsiteX89" fmla="*/ 568958 w 774600"/>
                <a:gd name="connsiteY89" fmla="*/ 69650 h 259829"/>
                <a:gd name="connsiteX90" fmla="*/ 565145 w 774600"/>
                <a:gd name="connsiteY90" fmla="*/ 93098 h 259829"/>
                <a:gd name="connsiteX91" fmla="*/ 554207 w 774600"/>
                <a:gd name="connsiteY91" fmla="*/ 116372 h 259829"/>
                <a:gd name="connsiteX92" fmla="*/ 537704 w 774600"/>
                <a:gd name="connsiteY92" fmla="*/ 139470 h 259829"/>
                <a:gd name="connsiteX93" fmla="*/ 516697 w 774600"/>
                <a:gd name="connsiteY93" fmla="*/ 162743 h 259829"/>
                <a:gd name="connsiteX94" fmla="*/ 461979 w 774600"/>
                <a:gd name="connsiteY94" fmla="*/ 223011 h 259829"/>
                <a:gd name="connsiteX95" fmla="*/ 578701 w 774600"/>
                <a:gd name="connsiteY95" fmla="*/ 223011 h 259829"/>
                <a:gd name="connsiteX96" fmla="*/ 660505 w 774600"/>
                <a:gd name="connsiteY96" fmla="*/ 110982 h 259829"/>
                <a:gd name="connsiteX97" fmla="*/ 685510 w 774600"/>
                <a:gd name="connsiteY97" fmla="*/ 110982 h 259829"/>
                <a:gd name="connsiteX98" fmla="*/ 709639 w 774600"/>
                <a:gd name="connsiteY98" fmla="*/ 105948 h 259829"/>
                <a:gd name="connsiteX99" fmla="*/ 724065 w 774600"/>
                <a:gd name="connsiteY99" fmla="*/ 92052 h 259829"/>
                <a:gd name="connsiteX100" fmla="*/ 728754 w 774600"/>
                <a:gd name="connsiteY100" fmla="*/ 71731 h 259829"/>
                <a:gd name="connsiteX101" fmla="*/ 724411 w 774600"/>
                <a:gd name="connsiteY101" fmla="*/ 51240 h 259829"/>
                <a:gd name="connsiteX102" fmla="*/ 711565 w 774600"/>
                <a:gd name="connsiteY102" fmla="*/ 37865 h 259829"/>
                <a:gd name="connsiteX103" fmla="*/ 689858 w 774600"/>
                <a:gd name="connsiteY103" fmla="*/ 33176 h 259829"/>
                <a:gd name="connsiteX104" fmla="*/ 669712 w 774600"/>
                <a:gd name="connsiteY104" fmla="*/ 37690 h 259829"/>
                <a:gd name="connsiteX105" fmla="*/ 655626 w 774600"/>
                <a:gd name="connsiteY105" fmla="*/ 50195 h 259829"/>
                <a:gd name="connsiteX106" fmla="*/ 650422 w 774600"/>
                <a:gd name="connsiteY106" fmla="*/ 69300 h 259829"/>
                <a:gd name="connsiteX107" fmla="*/ 608394 w 774600"/>
                <a:gd name="connsiteY107" fmla="*/ 69300 h 259829"/>
                <a:gd name="connsiteX108" fmla="*/ 618992 w 774600"/>
                <a:gd name="connsiteY108" fmla="*/ 33521 h 259829"/>
                <a:gd name="connsiteX109" fmla="*/ 647810 w 774600"/>
                <a:gd name="connsiteY109" fmla="*/ 9032 h 259829"/>
                <a:gd name="connsiteX110" fmla="*/ 689148 w 774600"/>
                <a:gd name="connsiteY110" fmla="*/ 0 h 259829"/>
                <a:gd name="connsiteX111" fmla="*/ 731876 w 774600"/>
                <a:gd name="connsiteY111" fmla="*/ 8161 h 259829"/>
                <a:gd name="connsiteX112" fmla="*/ 760524 w 774600"/>
                <a:gd name="connsiteY112" fmla="*/ 32130 h 259829"/>
                <a:gd name="connsiteX113" fmla="*/ 770777 w 774600"/>
                <a:gd name="connsiteY113" fmla="*/ 71727 h 259829"/>
                <a:gd name="connsiteX114" fmla="*/ 765743 w 774600"/>
                <a:gd name="connsiteY114" fmla="*/ 93609 h 259829"/>
                <a:gd name="connsiteX115" fmla="*/ 750802 w 774600"/>
                <a:gd name="connsiteY115" fmla="*/ 113930 h 259829"/>
                <a:gd name="connsiteX116" fmla="*/ 726137 w 774600"/>
                <a:gd name="connsiteY116" fmla="*/ 128692 h 259829"/>
                <a:gd name="connsiteX117" fmla="*/ 691925 w 774600"/>
                <a:gd name="connsiteY117" fmla="*/ 134251 h 259829"/>
                <a:gd name="connsiteX118" fmla="*/ 660495 w 774600"/>
                <a:gd name="connsiteY118" fmla="*/ 134251 h 259829"/>
                <a:gd name="connsiteX119" fmla="*/ 660495 w 774600"/>
                <a:gd name="connsiteY119" fmla="*/ 110978 h 259829"/>
                <a:gd name="connsiteX120" fmla="*/ 660505 w 774600"/>
                <a:gd name="connsiteY120" fmla="*/ 143633 h 259829"/>
                <a:gd name="connsiteX121" fmla="*/ 660505 w 774600"/>
                <a:gd name="connsiteY121" fmla="*/ 120705 h 259829"/>
                <a:gd name="connsiteX122" fmla="*/ 691935 w 774600"/>
                <a:gd name="connsiteY122" fmla="*/ 120705 h 259829"/>
                <a:gd name="connsiteX123" fmla="*/ 729790 w 774600"/>
                <a:gd name="connsiteY123" fmla="*/ 125914 h 259829"/>
                <a:gd name="connsiteX124" fmla="*/ 755500 w 774600"/>
                <a:gd name="connsiteY124" fmla="*/ 140331 h 259829"/>
                <a:gd name="connsiteX125" fmla="*/ 769911 w 774600"/>
                <a:gd name="connsiteY125" fmla="*/ 160997 h 259829"/>
                <a:gd name="connsiteX126" fmla="*/ 774600 w 774600"/>
                <a:gd name="connsiteY126" fmla="*/ 185661 h 259829"/>
                <a:gd name="connsiteX127" fmla="*/ 768175 w 774600"/>
                <a:gd name="connsiteY127" fmla="*/ 217271 h 259829"/>
                <a:gd name="connsiteX128" fmla="*/ 750296 w 774600"/>
                <a:gd name="connsiteY128" fmla="*/ 240545 h 259829"/>
                <a:gd name="connsiteX129" fmla="*/ 723024 w 774600"/>
                <a:gd name="connsiteY129" fmla="*/ 254961 h 259829"/>
                <a:gd name="connsiteX130" fmla="*/ 689328 w 774600"/>
                <a:gd name="connsiteY130" fmla="*/ 259825 h 259829"/>
                <a:gd name="connsiteX131" fmla="*/ 658068 w 774600"/>
                <a:gd name="connsiteY131" fmla="*/ 255311 h 259829"/>
                <a:gd name="connsiteX132" fmla="*/ 631327 w 774600"/>
                <a:gd name="connsiteY132" fmla="*/ 241940 h 259829"/>
                <a:gd name="connsiteX133" fmla="*/ 612572 w 774600"/>
                <a:gd name="connsiteY133" fmla="*/ 219538 h 259829"/>
                <a:gd name="connsiteX134" fmla="*/ 605787 w 774600"/>
                <a:gd name="connsiteY134" fmla="*/ 188273 h 259829"/>
                <a:gd name="connsiteX135" fmla="*/ 647640 w 774600"/>
                <a:gd name="connsiteY135" fmla="*/ 188273 h 259829"/>
                <a:gd name="connsiteX136" fmla="*/ 652859 w 774600"/>
                <a:gd name="connsiteY136" fmla="*/ 208249 h 259829"/>
                <a:gd name="connsiteX137" fmla="*/ 667786 w 774600"/>
                <a:gd name="connsiteY137" fmla="*/ 221619 h 259829"/>
                <a:gd name="connsiteX138" fmla="*/ 690028 w 774600"/>
                <a:gd name="connsiteY138" fmla="*/ 226483 h 259829"/>
                <a:gd name="connsiteX139" fmla="*/ 712767 w 774600"/>
                <a:gd name="connsiteY139" fmla="*/ 221795 h 259829"/>
                <a:gd name="connsiteX140" fmla="*/ 727363 w 774600"/>
                <a:gd name="connsiteY140" fmla="*/ 207899 h 259829"/>
                <a:gd name="connsiteX141" fmla="*/ 732567 w 774600"/>
                <a:gd name="connsiteY141" fmla="*/ 185671 h 259829"/>
                <a:gd name="connsiteX142" fmla="*/ 726847 w 774600"/>
                <a:gd name="connsiteY142" fmla="*/ 161702 h 259829"/>
                <a:gd name="connsiteX143" fmla="*/ 710515 w 774600"/>
                <a:gd name="connsiteY143" fmla="*/ 148157 h 259829"/>
                <a:gd name="connsiteX144" fmla="*/ 685510 w 774600"/>
                <a:gd name="connsiteY144" fmla="*/ 143643 h 259829"/>
                <a:gd name="connsiteX145" fmla="*/ 660505 w 774600"/>
                <a:gd name="connsiteY145" fmla="*/ 143643 h 2598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</a:cxnLst>
              <a:rect l="l" t="t" r="r" b="b"/>
              <a:pathLst>
                <a:path w="774600" h="259829">
                  <a:moveTo>
                    <a:pt x="174372" y="223011"/>
                  </a:moveTo>
                  <a:lnTo>
                    <a:pt x="174372" y="256357"/>
                  </a:lnTo>
                  <a:lnTo>
                    <a:pt x="4859" y="256357"/>
                  </a:lnTo>
                  <a:lnTo>
                    <a:pt x="4859" y="227699"/>
                  </a:lnTo>
                  <a:lnTo>
                    <a:pt x="87193" y="137908"/>
                  </a:lnTo>
                  <a:cubicBezTo>
                    <a:pt x="96211" y="127719"/>
                    <a:pt x="103336" y="118920"/>
                    <a:pt x="108541" y="111508"/>
                  </a:cubicBezTo>
                  <a:cubicBezTo>
                    <a:pt x="113760" y="104095"/>
                    <a:pt x="117403" y="97442"/>
                    <a:pt x="119499" y="91537"/>
                  </a:cubicBezTo>
                  <a:cubicBezTo>
                    <a:pt x="121697" y="85516"/>
                    <a:pt x="122797" y="79669"/>
                    <a:pt x="122797" y="73993"/>
                  </a:cubicBezTo>
                  <a:cubicBezTo>
                    <a:pt x="122797" y="66002"/>
                    <a:pt x="121284" y="58998"/>
                    <a:pt x="118278" y="52977"/>
                  </a:cubicBezTo>
                  <a:cubicBezTo>
                    <a:pt x="115374" y="46838"/>
                    <a:pt x="111099" y="42033"/>
                    <a:pt x="105413" y="38560"/>
                  </a:cubicBezTo>
                  <a:cubicBezTo>
                    <a:pt x="99747" y="34971"/>
                    <a:pt x="92860" y="33176"/>
                    <a:pt x="84752" y="33176"/>
                  </a:cubicBezTo>
                  <a:cubicBezTo>
                    <a:pt x="75374" y="33176"/>
                    <a:pt x="67510" y="35204"/>
                    <a:pt x="61138" y="39256"/>
                  </a:cubicBezTo>
                  <a:cubicBezTo>
                    <a:pt x="54766" y="43307"/>
                    <a:pt x="49956" y="48925"/>
                    <a:pt x="46712" y="56104"/>
                  </a:cubicBezTo>
                  <a:cubicBezTo>
                    <a:pt x="43482" y="63166"/>
                    <a:pt x="41853" y="71274"/>
                    <a:pt x="41853" y="80418"/>
                  </a:cubicBezTo>
                  <a:lnTo>
                    <a:pt x="0" y="80418"/>
                  </a:lnTo>
                  <a:cubicBezTo>
                    <a:pt x="0" y="65715"/>
                    <a:pt x="3366" y="52281"/>
                    <a:pt x="10083" y="40126"/>
                  </a:cubicBezTo>
                  <a:cubicBezTo>
                    <a:pt x="16800" y="27855"/>
                    <a:pt x="26517" y="18127"/>
                    <a:pt x="39261" y="10948"/>
                  </a:cubicBezTo>
                  <a:cubicBezTo>
                    <a:pt x="51989" y="3653"/>
                    <a:pt x="67325" y="5"/>
                    <a:pt x="85272" y="5"/>
                  </a:cubicBezTo>
                  <a:cubicBezTo>
                    <a:pt x="102189" y="5"/>
                    <a:pt x="116546" y="2840"/>
                    <a:pt x="128346" y="8517"/>
                  </a:cubicBezTo>
                  <a:cubicBezTo>
                    <a:pt x="140160" y="14193"/>
                    <a:pt x="149129" y="22237"/>
                    <a:pt x="155277" y="32660"/>
                  </a:cubicBezTo>
                  <a:cubicBezTo>
                    <a:pt x="161527" y="43079"/>
                    <a:pt x="164654" y="55413"/>
                    <a:pt x="164654" y="69655"/>
                  </a:cubicBezTo>
                  <a:cubicBezTo>
                    <a:pt x="164654" y="77529"/>
                    <a:pt x="163385" y="85345"/>
                    <a:pt x="160827" y="93103"/>
                  </a:cubicBezTo>
                  <a:cubicBezTo>
                    <a:pt x="158283" y="100861"/>
                    <a:pt x="154645" y="108619"/>
                    <a:pt x="149888" y="116376"/>
                  </a:cubicBezTo>
                  <a:cubicBezTo>
                    <a:pt x="145267" y="124017"/>
                    <a:pt x="139757" y="131717"/>
                    <a:pt x="133400" y="139475"/>
                  </a:cubicBezTo>
                  <a:cubicBezTo>
                    <a:pt x="127028" y="147116"/>
                    <a:pt x="120019" y="154873"/>
                    <a:pt x="112378" y="162748"/>
                  </a:cubicBezTo>
                  <a:lnTo>
                    <a:pt x="57675" y="223015"/>
                  </a:lnTo>
                  <a:lnTo>
                    <a:pt x="174377" y="223015"/>
                  </a:lnTo>
                  <a:close/>
                  <a:moveTo>
                    <a:pt x="371848" y="108730"/>
                  </a:moveTo>
                  <a:lnTo>
                    <a:pt x="371848" y="150063"/>
                  </a:lnTo>
                  <a:cubicBezTo>
                    <a:pt x="371848" y="169864"/>
                    <a:pt x="369873" y="186765"/>
                    <a:pt x="365938" y="200778"/>
                  </a:cubicBezTo>
                  <a:cubicBezTo>
                    <a:pt x="362125" y="214674"/>
                    <a:pt x="356561" y="225963"/>
                    <a:pt x="349260" y="234645"/>
                  </a:cubicBezTo>
                  <a:cubicBezTo>
                    <a:pt x="341960" y="243327"/>
                    <a:pt x="333219" y="249698"/>
                    <a:pt x="323035" y="253750"/>
                  </a:cubicBezTo>
                  <a:cubicBezTo>
                    <a:pt x="312971" y="257801"/>
                    <a:pt x="301668" y="259830"/>
                    <a:pt x="289168" y="259830"/>
                  </a:cubicBezTo>
                  <a:cubicBezTo>
                    <a:pt x="279221" y="259830"/>
                    <a:pt x="269951" y="258555"/>
                    <a:pt x="261381" y="256011"/>
                  </a:cubicBezTo>
                  <a:cubicBezTo>
                    <a:pt x="252933" y="253463"/>
                    <a:pt x="245287" y="249470"/>
                    <a:pt x="238468" y="244027"/>
                  </a:cubicBezTo>
                  <a:cubicBezTo>
                    <a:pt x="231634" y="238584"/>
                    <a:pt x="225773" y="231581"/>
                    <a:pt x="220914" y="223011"/>
                  </a:cubicBezTo>
                  <a:cubicBezTo>
                    <a:pt x="216172" y="214329"/>
                    <a:pt x="212466" y="203964"/>
                    <a:pt x="209800" y="191921"/>
                  </a:cubicBezTo>
                  <a:cubicBezTo>
                    <a:pt x="207256" y="179878"/>
                    <a:pt x="205972" y="165929"/>
                    <a:pt x="205972" y="150063"/>
                  </a:cubicBezTo>
                  <a:lnTo>
                    <a:pt x="205972" y="108730"/>
                  </a:lnTo>
                  <a:cubicBezTo>
                    <a:pt x="205972" y="88813"/>
                    <a:pt x="207947" y="72028"/>
                    <a:pt x="211882" y="58366"/>
                  </a:cubicBezTo>
                  <a:cubicBezTo>
                    <a:pt x="215831" y="44587"/>
                    <a:pt x="221430" y="33414"/>
                    <a:pt x="228730" y="24844"/>
                  </a:cubicBezTo>
                  <a:cubicBezTo>
                    <a:pt x="236031" y="16162"/>
                    <a:pt x="244722" y="9849"/>
                    <a:pt x="254786" y="5914"/>
                  </a:cubicBezTo>
                  <a:cubicBezTo>
                    <a:pt x="264970" y="1975"/>
                    <a:pt x="276323" y="10"/>
                    <a:pt x="288827" y="10"/>
                  </a:cubicBezTo>
                  <a:cubicBezTo>
                    <a:pt x="298910" y="10"/>
                    <a:pt x="308166" y="1284"/>
                    <a:pt x="316614" y="3833"/>
                  </a:cubicBezTo>
                  <a:cubicBezTo>
                    <a:pt x="325184" y="6265"/>
                    <a:pt x="332825" y="10141"/>
                    <a:pt x="339542" y="15467"/>
                  </a:cubicBezTo>
                  <a:cubicBezTo>
                    <a:pt x="346376" y="20793"/>
                    <a:pt x="352164" y="27738"/>
                    <a:pt x="356906" y="36308"/>
                  </a:cubicBezTo>
                  <a:cubicBezTo>
                    <a:pt x="361765" y="44762"/>
                    <a:pt x="365476" y="55010"/>
                    <a:pt x="368020" y="67048"/>
                  </a:cubicBezTo>
                  <a:cubicBezTo>
                    <a:pt x="370578" y="78974"/>
                    <a:pt x="371848" y="92870"/>
                    <a:pt x="371848" y="108730"/>
                  </a:cubicBezTo>
                  <a:close/>
                  <a:moveTo>
                    <a:pt x="329995" y="155968"/>
                  </a:moveTo>
                  <a:lnTo>
                    <a:pt x="329995" y="102476"/>
                  </a:lnTo>
                  <a:cubicBezTo>
                    <a:pt x="329995" y="92403"/>
                    <a:pt x="329411" y="83546"/>
                    <a:pt x="328258" y="75905"/>
                  </a:cubicBezTo>
                  <a:cubicBezTo>
                    <a:pt x="327091" y="68147"/>
                    <a:pt x="325355" y="61605"/>
                    <a:pt x="323039" y="56279"/>
                  </a:cubicBezTo>
                  <a:cubicBezTo>
                    <a:pt x="320841" y="50837"/>
                    <a:pt x="318059" y="46440"/>
                    <a:pt x="314708" y="43079"/>
                  </a:cubicBezTo>
                  <a:cubicBezTo>
                    <a:pt x="311342" y="39606"/>
                    <a:pt x="307529" y="37116"/>
                    <a:pt x="303234" y="35613"/>
                  </a:cubicBezTo>
                  <a:cubicBezTo>
                    <a:pt x="298959" y="33993"/>
                    <a:pt x="294148" y="33181"/>
                    <a:pt x="288823" y="33181"/>
                  </a:cubicBezTo>
                  <a:cubicBezTo>
                    <a:pt x="282349" y="33181"/>
                    <a:pt x="276542" y="34455"/>
                    <a:pt x="271459" y="37004"/>
                  </a:cubicBezTo>
                  <a:cubicBezTo>
                    <a:pt x="266357" y="39436"/>
                    <a:pt x="262081" y="43371"/>
                    <a:pt x="258613" y="48813"/>
                  </a:cubicBezTo>
                  <a:cubicBezTo>
                    <a:pt x="255126" y="54256"/>
                    <a:pt x="252466" y="61435"/>
                    <a:pt x="250608" y="70350"/>
                  </a:cubicBezTo>
                  <a:cubicBezTo>
                    <a:pt x="248871" y="79149"/>
                    <a:pt x="248015" y="89859"/>
                    <a:pt x="248015" y="102480"/>
                  </a:cubicBezTo>
                  <a:lnTo>
                    <a:pt x="248015" y="155973"/>
                  </a:lnTo>
                  <a:cubicBezTo>
                    <a:pt x="248015" y="166162"/>
                    <a:pt x="248584" y="175136"/>
                    <a:pt x="249752" y="182894"/>
                  </a:cubicBezTo>
                  <a:cubicBezTo>
                    <a:pt x="250904" y="190652"/>
                    <a:pt x="252636" y="197310"/>
                    <a:pt x="254956" y="202865"/>
                  </a:cubicBezTo>
                  <a:cubicBezTo>
                    <a:pt x="257276" y="208307"/>
                    <a:pt x="260058" y="212821"/>
                    <a:pt x="263302" y="216410"/>
                  </a:cubicBezTo>
                  <a:cubicBezTo>
                    <a:pt x="266653" y="219883"/>
                    <a:pt x="270481" y="222432"/>
                    <a:pt x="274756" y="224051"/>
                  </a:cubicBezTo>
                  <a:cubicBezTo>
                    <a:pt x="279153" y="225671"/>
                    <a:pt x="283964" y="226483"/>
                    <a:pt x="289168" y="226483"/>
                  </a:cubicBezTo>
                  <a:cubicBezTo>
                    <a:pt x="295778" y="226483"/>
                    <a:pt x="301619" y="225209"/>
                    <a:pt x="306721" y="222660"/>
                  </a:cubicBezTo>
                  <a:cubicBezTo>
                    <a:pt x="311804" y="220112"/>
                    <a:pt x="316099" y="216060"/>
                    <a:pt x="319567" y="210501"/>
                  </a:cubicBezTo>
                  <a:cubicBezTo>
                    <a:pt x="323035" y="204830"/>
                    <a:pt x="325646" y="197476"/>
                    <a:pt x="327383" y="188443"/>
                  </a:cubicBezTo>
                  <a:cubicBezTo>
                    <a:pt x="329119" y="179411"/>
                    <a:pt x="329995" y="168585"/>
                    <a:pt x="329995" y="155963"/>
                  </a:cubicBezTo>
                  <a:close/>
                  <a:moveTo>
                    <a:pt x="578701" y="223006"/>
                  </a:moveTo>
                  <a:lnTo>
                    <a:pt x="578701" y="256352"/>
                  </a:lnTo>
                  <a:lnTo>
                    <a:pt x="409187" y="256352"/>
                  </a:lnTo>
                  <a:lnTo>
                    <a:pt x="409187" y="227694"/>
                  </a:lnTo>
                  <a:lnTo>
                    <a:pt x="491507" y="137904"/>
                  </a:lnTo>
                  <a:cubicBezTo>
                    <a:pt x="500539" y="127714"/>
                    <a:pt x="507670" y="118915"/>
                    <a:pt x="512874" y="111503"/>
                  </a:cubicBezTo>
                  <a:cubicBezTo>
                    <a:pt x="518078" y="104090"/>
                    <a:pt x="521736" y="97437"/>
                    <a:pt x="523813" y="91532"/>
                  </a:cubicBezTo>
                  <a:cubicBezTo>
                    <a:pt x="526011" y="85511"/>
                    <a:pt x="527110" y="79664"/>
                    <a:pt x="527110" y="73988"/>
                  </a:cubicBezTo>
                  <a:cubicBezTo>
                    <a:pt x="527110" y="65997"/>
                    <a:pt x="525617" y="58993"/>
                    <a:pt x="522592" y="52972"/>
                  </a:cubicBezTo>
                  <a:cubicBezTo>
                    <a:pt x="519708" y="46834"/>
                    <a:pt x="515413" y="42028"/>
                    <a:pt x="509746" y="38555"/>
                  </a:cubicBezTo>
                  <a:cubicBezTo>
                    <a:pt x="504080" y="34966"/>
                    <a:pt x="497193" y="33171"/>
                    <a:pt x="489085" y="33171"/>
                  </a:cubicBezTo>
                  <a:cubicBezTo>
                    <a:pt x="479708" y="33171"/>
                    <a:pt x="471823" y="35199"/>
                    <a:pt x="465452" y="39251"/>
                  </a:cubicBezTo>
                  <a:cubicBezTo>
                    <a:pt x="459095" y="43302"/>
                    <a:pt x="454289" y="48920"/>
                    <a:pt x="451040" y="56099"/>
                  </a:cubicBezTo>
                  <a:cubicBezTo>
                    <a:pt x="447796" y="63161"/>
                    <a:pt x="446181" y="71269"/>
                    <a:pt x="446181" y="80413"/>
                  </a:cubicBezTo>
                  <a:lnTo>
                    <a:pt x="404328" y="80413"/>
                  </a:lnTo>
                  <a:cubicBezTo>
                    <a:pt x="404328" y="65710"/>
                    <a:pt x="407679" y="52276"/>
                    <a:pt x="414391" y="40122"/>
                  </a:cubicBezTo>
                  <a:cubicBezTo>
                    <a:pt x="421108" y="27850"/>
                    <a:pt x="430846" y="18123"/>
                    <a:pt x="443569" y="10944"/>
                  </a:cubicBezTo>
                  <a:cubicBezTo>
                    <a:pt x="456313" y="3648"/>
                    <a:pt x="471648" y="0"/>
                    <a:pt x="489596" y="0"/>
                  </a:cubicBezTo>
                  <a:cubicBezTo>
                    <a:pt x="506497" y="0"/>
                    <a:pt x="520855" y="2836"/>
                    <a:pt x="532670" y="8512"/>
                  </a:cubicBezTo>
                  <a:cubicBezTo>
                    <a:pt x="544484" y="14188"/>
                    <a:pt x="553453" y="22232"/>
                    <a:pt x="559581" y="32656"/>
                  </a:cubicBezTo>
                  <a:cubicBezTo>
                    <a:pt x="565831" y="43074"/>
                    <a:pt x="568958" y="55409"/>
                    <a:pt x="568958" y="69650"/>
                  </a:cubicBezTo>
                  <a:cubicBezTo>
                    <a:pt x="568958" y="77524"/>
                    <a:pt x="567689" y="85340"/>
                    <a:pt x="565145" y="93098"/>
                  </a:cubicBezTo>
                  <a:cubicBezTo>
                    <a:pt x="562601" y="100856"/>
                    <a:pt x="558944" y="108614"/>
                    <a:pt x="554207" y="116372"/>
                  </a:cubicBezTo>
                  <a:cubicBezTo>
                    <a:pt x="549571" y="124013"/>
                    <a:pt x="544075" y="131712"/>
                    <a:pt x="537704" y="139470"/>
                  </a:cubicBezTo>
                  <a:cubicBezTo>
                    <a:pt x="531332" y="147111"/>
                    <a:pt x="524323" y="154869"/>
                    <a:pt x="516697" y="162743"/>
                  </a:cubicBezTo>
                  <a:lnTo>
                    <a:pt x="461979" y="223011"/>
                  </a:lnTo>
                  <a:lnTo>
                    <a:pt x="578701" y="223011"/>
                  </a:lnTo>
                  <a:close/>
                  <a:moveTo>
                    <a:pt x="660505" y="110982"/>
                  </a:moveTo>
                  <a:lnTo>
                    <a:pt x="685510" y="110982"/>
                  </a:lnTo>
                  <a:cubicBezTo>
                    <a:pt x="695233" y="110982"/>
                    <a:pt x="703287" y="109304"/>
                    <a:pt x="709639" y="105948"/>
                  </a:cubicBezTo>
                  <a:cubicBezTo>
                    <a:pt x="716132" y="102592"/>
                    <a:pt x="720943" y="97957"/>
                    <a:pt x="724065" y="92052"/>
                  </a:cubicBezTo>
                  <a:cubicBezTo>
                    <a:pt x="727193" y="86148"/>
                    <a:pt x="728754" y="79373"/>
                    <a:pt x="728754" y="71731"/>
                  </a:cubicBezTo>
                  <a:cubicBezTo>
                    <a:pt x="728754" y="64090"/>
                    <a:pt x="727295" y="56911"/>
                    <a:pt x="724411" y="51240"/>
                  </a:cubicBezTo>
                  <a:cubicBezTo>
                    <a:pt x="721628" y="45452"/>
                    <a:pt x="717353" y="40992"/>
                    <a:pt x="711565" y="37865"/>
                  </a:cubicBezTo>
                  <a:cubicBezTo>
                    <a:pt x="705879" y="34737"/>
                    <a:pt x="698652" y="33176"/>
                    <a:pt x="689858" y="33176"/>
                  </a:cubicBezTo>
                  <a:cubicBezTo>
                    <a:pt x="682441" y="33176"/>
                    <a:pt x="675724" y="34679"/>
                    <a:pt x="669712" y="37690"/>
                  </a:cubicBezTo>
                  <a:cubicBezTo>
                    <a:pt x="663803" y="40584"/>
                    <a:pt x="659114" y="44752"/>
                    <a:pt x="655626" y="50195"/>
                  </a:cubicBezTo>
                  <a:cubicBezTo>
                    <a:pt x="652159" y="55520"/>
                    <a:pt x="650422" y="61887"/>
                    <a:pt x="650422" y="69300"/>
                  </a:cubicBezTo>
                  <a:lnTo>
                    <a:pt x="608394" y="69300"/>
                  </a:lnTo>
                  <a:cubicBezTo>
                    <a:pt x="608394" y="55866"/>
                    <a:pt x="611916" y="43945"/>
                    <a:pt x="618992" y="33521"/>
                  </a:cubicBezTo>
                  <a:cubicBezTo>
                    <a:pt x="626050" y="23103"/>
                    <a:pt x="635670" y="14937"/>
                    <a:pt x="647810" y="9032"/>
                  </a:cubicBezTo>
                  <a:cubicBezTo>
                    <a:pt x="660092" y="3011"/>
                    <a:pt x="673866" y="0"/>
                    <a:pt x="689148" y="0"/>
                  </a:cubicBezTo>
                  <a:cubicBezTo>
                    <a:pt x="705480" y="0"/>
                    <a:pt x="719717" y="2724"/>
                    <a:pt x="731876" y="8161"/>
                  </a:cubicBezTo>
                  <a:cubicBezTo>
                    <a:pt x="744138" y="13487"/>
                    <a:pt x="753705" y="21479"/>
                    <a:pt x="760524" y="32130"/>
                  </a:cubicBezTo>
                  <a:cubicBezTo>
                    <a:pt x="767358" y="42782"/>
                    <a:pt x="770777" y="55982"/>
                    <a:pt x="770777" y="71727"/>
                  </a:cubicBezTo>
                  <a:cubicBezTo>
                    <a:pt x="770777" y="78906"/>
                    <a:pt x="769094" y="86201"/>
                    <a:pt x="765743" y="93609"/>
                  </a:cubicBezTo>
                  <a:cubicBezTo>
                    <a:pt x="762378" y="101021"/>
                    <a:pt x="757397" y="107792"/>
                    <a:pt x="750802" y="113930"/>
                  </a:cubicBezTo>
                  <a:cubicBezTo>
                    <a:pt x="744206" y="119951"/>
                    <a:pt x="735982" y="124869"/>
                    <a:pt x="726137" y="128692"/>
                  </a:cubicBezTo>
                  <a:cubicBezTo>
                    <a:pt x="716298" y="132398"/>
                    <a:pt x="704892" y="134251"/>
                    <a:pt x="691925" y="134251"/>
                  </a:cubicBezTo>
                  <a:lnTo>
                    <a:pt x="660495" y="134251"/>
                  </a:lnTo>
                  <a:lnTo>
                    <a:pt x="660495" y="110978"/>
                  </a:lnTo>
                  <a:close/>
                  <a:moveTo>
                    <a:pt x="660505" y="143633"/>
                  </a:moveTo>
                  <a:lnTo>
                    <a:pt x="660505" y="120705"/>
                  </a:lnTo>
                  <a:lnTo>
                    <a:pt x="691935" y="120705"/>
                  </a:lnTo>
                  <a:cubicBezTo>
                    <a:pt x="706755" y="120705"/>
                    <a:pt x="719381" y="122442"/>
                    <a:pt x="729790" y="125914"/>
                  </a:cubicBezTo>
                  <a:cubicBezTo>
                    <a:pt x="740335" y="129387"/>
                    <a:pt x="748905" y="134193"/>
                    <a:pt x="755500" y="140331"/>
                  </a:cubicBezTo>
                  <a:cubicBezTo>
                    <a:pt x="762095" y="146352"/>
                    <a:pt x="766906" y="153239"/>
                    <a:pt x="769911" y="160997"/>
                  </a:cubicBezTo>
                  <a:cubicBezTo>
                    <a:pt x="773039" y="168755"/>
                    <a:pt x="774600" y="176975"/>
                    <a:pt x="774600" y="185661"/>
                  </a:cubicBezTo>
                  <a:cubicBezTo>
                    <a:pt x="774600" y="197471"/>
                    <a:pt x="772470" y="208006"/>
                    <a:pt x="768175" y="217271"/>
                  </a:cubicBezTo>
                  <a:cubicBezTo>
                    <a:pt x="764016" y="226420"/>
                    <a:pt x="758044" y="234178"/>
                    <a:pt x="750296" y="240545"/>
                  </a:cubicBezTo>
                  <a:cubicBezTo>
                    <a:pt x="742533" y="246911"/>
                    <a:pt x="733447" y="251717"/>
                    <a:pt x="723024" y="254961"/>
                  </a:cubicBezTo>
                  <a:cubicBezTo>
                    <a:pt x="712718" y="258205"/>
                    <a:pt x="701487" y="259825"/>
                    <a:pt x="689328" y="259825"/>
                  </a:cubicBezTo>
                  <a:cubicBezTo>
                    <a:pt x="678457" y="259825"/>
                    <a:pt x="668029" y="258322"/>
                    <a:pt x="658068" y="255311"/>
                  </a:cubicBezTo>
                  <a:cubicBezTo>
                    <a:pt x="648107" y="252300"/>
                    <a:pt x="639192" y="247845"/>
                    <a:pt x="631327" y="241940"/>
                  </a:cubicBezTo>
                  <a:cubicBezTo>
                    <a:pt x="623443" y="235919"/>
                    <a:pt x="617193" y="228453"/>
                    <a:pt x="612572" y="219538"/>
                  </a:cubicBezTo>
                  <a:cubicBezTo>
                    <a:pt x="608054" y="210506"/>
                    <a:pt x="605787" y="200087"/>
                    <a:pt x="605787" y="188273"/>
                  </a:cubicBezTo>
                  <a:lnTo>
                    <a:pt x="647640" y="188273"/>
                  </a:lnTo>
                  <a:cubicBezTo>
                    <a:pt x="647640" y="195802"/>
                    <a:pt x="649377" y="202456"/>
                    <a:pt x="652859" y="208249"/>
                  </a:cubicBezTo>
                  <a:cubicBezTo>
                    <a:pt x="656449" y="213920"/>
                    <a:pt x="661429" y="218380"/>
                    <a:pt x="667786" y="221619"/>
                  </a:cubicBezTo>
                  <a:cubicBezTo>
                    <a:pt x="674279" y="224864"/>
                    <a:pt x="681682" y="226483"/>
                    <a:pt x="690028" y="226483"/>
                  </a:cubicBezTo>
                  <a:cubicBezTo>
                    <a:pt x="698822" y="226483"/>
                    <a:pt x="706415" y="224922"/>
                    <a:pt x="712767" y="221795"/>
                  </a:cubicBezTo>
                  <a:cubicBezTo>
                    <a:pt x="719138" y="218667"/>
                    <a:pt x="723997" y="214037"/>
                    <a:pt x="727363" y="207899"/>
                  </a:cubicBezTo>
                  <a:cubicBezTo>
                    <a:pt x="730831" y="201761"/>
                    <a:pt x="732567" y="194353"/>
                    <a:pt x="732567" y="185671"/>
                  </a:cubicBezTo>
                  <a:cubicBezTo>
                    <a:pt x="732567" y="175827"/>
                    <a:pt x="730660" y="167840"/>
                    <a:pt x="726847" y="161702"/>
                  </a:cubicBezTo>
                  <a:cubicBezTo>
                    <a:pt x="723019" y="155564"/>
                    <a:pt x="717572" y="151050"/>
                    <a:pt x="710515" y="148157"/>
                  </a:cubicBezTo>
                  <a:cubicBezTo>
                    <a:pt x="703457" y="145146"/>
                    <a:pt x="695111" y="143643"/>
                    <a:pt x="685510" y="143643"/>
                  </a:cubicBezTo>
                  <a:lnTo>
                    <a:pt x="660505" y="143643"/>
                  </a:lnTo>
                  <a:close/>
                </a:path>
              </a:pathLst>
            </a:custGeom>
            <a:solidFill>
              <a:schemeClr val="tx1"/>
            </a:solidFill>
            <a:ln w="4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pic>
        <p:nvPicPr>
          <p:cNvPr id="389" name="Рисунок 388">
            <a:extLst>
              <a:ext uri="{FF2B5EF4-FFF2-40B4-BE49-F238E27FC236}">
                <a16:creationId xmlns:a16="http://schemas.microsoft.com/office/drawing/2014/main" id="{B78B384F-F3A2-4E10-8405-6E2FAB593BD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03721" y="6049020"/>
            <a:ext cx="1688608" cy="472507"/>
          </a:xfrm>
          <a:prstGeom prst="rect">
            <a:avLst/>
          </a:prstGeom>
        </p:spPr>
      </p:pic>
      <p:grpSp>
        <p:nvGrpSpPr>
          <p:cNvPr id="3" name="Группа 2">
            <a:extLst>
              <a:ext uri="{FF2B5EF4-FFF2-40B4-BE49-F238E27FC236}">
                <a16:creationId xmlns:a16="http://schemas.microsoft.com/office/drawing/2014/main" id="{98885CD1-E2EB-4889-AB17-44D56C345C06}"/>
              </a:ext>
            </a:extLst>
          </p:cNvPr>
          <p:cNvGrpSpPr/>
          <p:nvPr/>
        </p:nvGrpSpPr>
        <p:grpSpPr>
          <a:xfrm>
            <a:off x="838784" y="2028337"/>
            <a:ext cx="3166090" cy="2801326"/>
            <a:chOff x="838784" y="2028337"/>
            <a:chExt cx="3166090" cy="2801326"/>
          </a:xfrm>
        </p:grpSpPr>
        <p:sp>
          <p:nvSpPr>
            <p:cNvPr id="31" name="Shape_фон">
              <a:extLst>
                <a:ext uri="{FF2B5EF4-FFF2-40B4-BE49-F238E27FC236}">
                  <a16:creationId xmlns:a16="http://schemas.microsoft.com/office/drawing/2014/main" id="{BB03D6B7-BF89-4805-9BF0-98D134C0B5AF}"/>
                </a:ext>
              </a:extLst>
            </p:cNvPr>
            <p:cNvSpPr/>
            <p:nvPr/>
          </p:nvSpPr>
          <p:spPr>
            <a:xfrm>
              <a:off x="838784" y="2028337"/>
              <a:ext cx="3166090" cy="2801326"/>
            </a:xfrm>
            <a:prstGeom prst="roundRect">
              <a:avLst>
                <a:gd name="adj" fmla="val 8571"/>
              </a:avLst>
            </a:prstGeom>
            <a:solidFill>
              <a:schemeClr val="bg1"/>
            </a:solidFill>
            <a:ln w="12700" cap="flat">
              <a:noFill/>
              <a:prstDash val="solid"/>
              <a:miter/>
            </a:ln>
            <a:effectLst>
              <a:outerShdw blurRad="1003300" sx="102000" sy="102000" algn="ctr" rotWithShape="0">
                <a:schemeClr val="tx1">
                  <a:alpha val="20000"/>
                </a:schemeClr>
              </a:outerShdw>
            </a:effectLst>
          </p:spPr>
          <p:txBody>
            <a:bodyPr lIns="0" tIns="0" rIns="0" bIns="0" anchor="ctr"/>
            <a:lstStyle/>
            <a:p>
              <a:pPr marL="0" marR="0" lvl="0" indent="0" algn="ctr" defTabSz="309563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itchFamily="2" charset="0"/>
                <a:ea typeface="Roboto" pitchFamily="2" charset="0"/>
                <a:cs typeface="Poppins Bold"/>
                <a:sym typeface="Poppins Bold"/>
              </a:endParaRPr>
            </a:p>
          </p:txBody>
        </p:sp>
        <p:sp>
          <p:nvSpPr>
            <p:cNvPr id="37" name="Заголовок">
              <a:extLst>
                <a:ext uri="{FF2B5EF4-FFF2-40B4-BE49-F238E27FC236}">
                  <a16:creationId xmlns:a16="http://schemas.microsoft.com/office/drawing/2014/main" id="{E6A8F930-56C4-43BC-B6E6-B3F52C65F3E5}"/>
                </a:ext>
              </a:extLst>
            </p:cNvPr>
            <p:cNvSpPr txBox="1"/>
            <p:nvPr/>
          </p:nvSpPr>
          <p:spPr>
            <a:xfrm>
              <a:off x="1901643" y="2052179"/>
              <a:ext cx="1040373" cy="186204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ru-RU" sz="11500" dirty="0">
                  <a:solidFill>
                    <a:schemeClr val="bg2"/>
                  </a:solidFill>
                  <a:latin typeface="SB Sans Text Medium" panose="020B0603040504020204" pitchFamily="34" charset="-52"/>
                  <a:ea typeface="Roboto" pitchFamily="2" charset="0"/>
                  <a:cs typeface="SB Sans Text Medium" panose="020B0603040504020204" pitchFamily="34" charset="-52"/>
                </a:rPr>
                <a:t>3</a:t>
              </a:r>
            </a:p>
          </p:txBody>
        </p:sp>
        <p:sp>
          <p:nvSpPr>
            <p:cNvPr id="38" name="Motion design">
              <a:extLst>
                <a:ext uri="{FF2B5EF4-FFF2-40B4-BE49-F238E27FC236}">
                  <a16:creationId xmlns:a16="http://schemas.microsoft.com/office/drawing/2014/main" id="{DA93684F-37BE-48D7-AD10-22B5F35451C6}"/>
                </a:ext>
              </a:extLst>
            </p:cNvPr>
            <p:cNvSpPr txBox="1"/>
            <p:nvPr/>
          </p:nvSpPr>
          <p:spPr>
            <a:xfrm>
              <a:off x="1194247" y="3823693"/>
              <a:ext cx="2455164" cy="613566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</a:ext>
            </a:extLst>
          </p:spPr>
          <p:txBody>
            <a:bodyPr wrap="square" lIns="0" tIns="0" rIns="0" bIns="0" anchor="ctr">
              <a:spAutoFit/>
            </a:bodyPr>
            <a:lstStyle>
              <a:lvl1pPr>
                <a:lnSpc>
                  <a:spcPct val="130000"/>
                </a:lnSpc>
                <a:defRPr sz="3000">
                  <a:latin typeface="+mn-lt"/>
                  <a:ea typeface="+mn-ea"/>
                  <a:cs typeface="+mn-cs"/>
                  <a:sym typeface="Poppins SemiBold"/>
                </a:defRPr>
              </a:lvl1pPr>
            </a:lstStyle>
            <a:p>
              <a:pPr algn="ctr" defTabSz="309563" hangingPunct="0">
                <a:buClrTx/>
                <a:defRPr/>
              </a:pPr>
              <a:r>
                <a:rPr lang="ru-RU" sz="1600" dirty="0">
                  <a:solidFill>
                    <a:srgbClr val="0D0D0D"/>
                  </a:solidFill>
                  <a:latin typeface="SB Sans Text Light" panose="020B0303040504020204" pitchFamily="34" charset="-52"/>
                  <a:ea typeface="Roboto Light" panose="02000000000000000000" pitchFamily="2" charset="0"/>
                  <a:cs typeface="SB Sans Text Light" panose="020B0303040504020204" pitchFamily="34" charset="-52"/>
                </a:rPr>
                <a:t>дочерних и зависимых обществ (ДЗО) Сбера </a:t>
              </a:r>
            </a:p>
          </p:txBody>
        </p:sp>
      </p:grpSp>
      <p:grpSp>
        <p:nvGrpSpPr>
          <p:cNvPr id="4" name="Группа 3">
            <a:extLst>
              <a:ext uri="{FF2B5EF4-FFF2-40B4-BE49-F238E27FC236}">
                <a16:creationId xmlns:a16="http://schemas.microsoft.com/office/drawing/2014/main" id="{21260BF6-9638-48A8-A2C0-DE2001384DAD}"/>
              </a:ext>
            </a:extLst>
          </p:cNvPr>
          <p:cNvGrpSpPr/>
          <p:nvPr/>
        </p:nvGrpSpPr>
        <p:grpSpPr>
          <a:xfrm>
            <a:off x="4512955" y="2028337"/>
            <a:ext cx="3166090" cy="2801326"/>
            <a:chOff x="4512955" y="2028337"/>
            <a:chExt cx="3166090" cy="2801326"/>
          </a:xfrm>
        </p:grpSpPr>
        <p:sp>
          <p:nvSpPr>
            <p:cNvPr id="33" name="Shape_фон">
              <a:extLst>
                <a:ext uri="{FF2B5EF4-FFF2-40B4-BE49-F238E27FC236}">
                  <a16:creationId xmlns:a16="http://schemas.microsoft.com/office/drawing/2014/main" id="{CD095046-E8CC-484B-AEA1-2CAEDE3282EF}"/>
                </a:ext>
              </a:extLst>
            </p:cNvPr>
            <p:cNvSpPr/>
            <p:nvPr/>
          </p:nvSpPr>
          <p:spPr>
            <a:xfrm>
              <a:off x="4512955" y="2028337"/>
              <a:ext cx="3166090" cy="2801326"/>
            </a:xfrm>
            <a:prstGeom prst="roundRect">
              <a:avLst>
                <a:gd name="adj" fmla="val 8571"/>
              </a:avLst>
            </a:prstGeom>
            <a:solidFill>
              <a:schemeClr val="bg1"/>
            </a:solidFill>
            <a:ln w="12700" cap="flat">
              <a:noFill/>
              <a:prstDash val="solid"/>
              <a:miter/>
            </a:ln>
            <a:effectLst>
              <a:outerShdw blurRad="1003300" sx="102000" sy="102000" algn="ctr" rotWithShape="0">
                <a:schemeClr val="tx1">
                  <a:alpha val="20000"/>
                </a:schemeClr>
              </a:outerShdw>
            </a:effectLst>
          </p:spPr>
          <p:txBody>
            <a:bodyPr lIns="0" tIns="0" rIns="0" bIns="0" anchor="ctr"/>
            <a:lstStyle/>
            <a:p>
              <a:pPr marL="0" marR="0" lvl="0" indent="0" algn="ctr" defTabSz="309563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itchFamily="2" charset="0"/>
                <a:ea typeface="Roboto" pitchFamily="2" charset="0"/>
                <a:cs typeface="Poppins Bold"/>
                <a:sym typeface="Poppins Bold"/>
              </a:endParaRPr>
            </a:p>
          </p:txBody>
        </p:sp>
        <p:sp>
          <p:nvSpPr>
            <p:cNvPr id="39" name="Заголовок">
              <a:extLst>
                <a:ext uri="{FF2B5EF4-FFF2-40B4-BE49-F238E27FC236}">
                  <a16:creationId xmlns:a16="http://schemas.microsoft.com/office/drawing/2014/main" id="{1C0C9BDF-E390-4B3D-A681-881B94924572}"/>
                </a:ext>
              </a:extLst>
            </p:cNvPr>
            <p:cNvSpPr txBox="1"/>
            <p:nvPr/>
          </p:nvSpPr>
          <p:spPr>
            <a:xfrm>
              <a:off x="5575814" y="2052179"/>
              <a:ext cx="1040373" cy="186204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ru-RU" sz="11500" b="1" dirty="0">
                  <a:solidFill>
                    <a:schemeClr val="bg2"/>
                  </a:solidFill>
                  <a:latin typeface="SB Sans Text Medium" panose="020B0603040504020204" pitchFamily="34" charset="-52"/>
                  <a:ea typeface="Roboto" pitchFamily="2" charset="0"/>
                  <a:cs typeface="SB Sans Text Medium" panose="020B0603040504020204" pitchFamily="34" charset="-52"/>
                </a:rPr>
                <a:t>2</a:t>
              </a:r>
            </a:p>
          </p:txBody>
        </p:sp>
        <p:sp>
          <p:nvSpPr>
            <p:cNvPr id="40" name="Motion design">
              <a:extLst>
                <a:ext uri="{FF2B5EF4-FFF2-40B4-BE49-F238E27FC236}">
                  <a16:creationId xmlns:a16="http://schemas.microsoft.com/office/drawing/2014/main" id="{69D721E3-D26B-4853-AF00-3723F20ED0A7}"/>
                </a:ext>
              </a:extLst>
            </p:cNvPr>
            <p:cNvSpPr txBox="1"/>
            <p:nvPr/>
          </p:nvSpPr>
          <p:spPr>
            <a:xfrm>
              <a:off x="4829749" y="3823693"/>
              <a:ext cx="2532502" cy="613566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</a:ext>
            </a:extLst>
          </p:spPr>
          <p:txBody>
            <a:bodyPr wrap="square" lIns="0" tIns="0" rIns="0" bIns="0" anchor="ctr">
              <a:spAutoFit/>
            </a:bodyPr>
            <a:lstStyle>
              <a:lvl1pPr>
                <a:lnSpc>
                  <a:spcPct val="130000"/>
                </a:lnSpc>
                <a:defRPr sz="3000">
                  <a:latin typeface="+mn-lt"/>
                  <a:ea typeface="+mn-ea"/>
                  <a:cs typeface="+mn-cs"/>
                  <a:sym typeface="Poppins SemiBold"/>
                </a:defRPr>
              </a:lvl1pPr>
            </a:lstStyle>
            <a:p>
              <a:pPr algn="ctr" defTabSz="309563" hangingPunct="0">
                <a:buClrTx/>
                <a:defRPr/>
              </a:pPr>
              <a:r>
                <a:rPr lang="ru-RU" sz="1600" dirty="0">
                  <a:solidFill>
                    <a:srgbClr val="0D0D0D"/>
                  </a:solidFill>
                  <a:latin typeface="SB Sans Text Light" panose="020B0303040504020204" pitchFamily="34" charset="-52"/>
                  <a:ea typeface="Roboto Light" panose="02000000000000000000" pitchFamily="2" charset="0"/>
                  <a:cs typeface="SB Sans Text Light" panose="020B0303040504020204" pitchFamily="34" charset="-52"/>
                </a:rPr>
                <a:t>генеральных партнера Группы СБЕР (ГПГ)</a:t>
              </a:r>
            </a:p>
          </p:txBody>
        </p:sp>
      </p:grpSp>
      <p:grpSp>
        <p:nvGrpSpPr>
          <p:cNvPr id="5" name="Группа 4">
            <a:extLst>
              <a:ext uri="{FF2B5EF4-FFF2-40B4-BE49-F238E27FC236}">
                <a16:creationId xmlns:a16="http://schemas.microsoft.com/office/drawing/2014/main" id="{9AB1D69B-DAB1-4D54-9D36-1B9742AE0D45}"/>
              </a:ext>
            </a:extLst>
          </p:cNvPr>
          <p:cNvGrpSpPr/>
          <p:nvPr/>
        </p:nvGrpSpPr>
        <p:grpSpPr>
          <a:xfrm>
            <a:off x="13030784" y="2028337"/>
            <a:ext cx="3166090" cy="2801326"/>
            <a:chOff x="8187126" y="2028337"/>
            <a:chExt cx="3166090" cy="2801326"/>
          </a:xfrm>
        </p:grpSpPr>
        <p:sp>
          <p:nvSpPr>
            <p:cNvPr id="34" name="Shape_фон">
              <a:extLst>
                <a:ext uri="{FF2B5EF4-FFF2-40B4-BE49-F238E27FC236}">
                  <a16:creationId xmlns:a16="http://schemas.microsoft.com/office/drawing/2014/main" id="{1A7EE97F-685C-4CD0-813D-8E3617FA9688}"/>
                </a:ext>
              </a:extLst>
            </p:cNvPr>
            <p:cNvSpPr/>
            <p:nvPr/>
          </p:nvSpPr>
          <p:spPr>
            <a:xfrm>
              <a:off x="8187126" y="2028337"/>
              <a:ext cx="3166090" cy="2801326"/>
            </a:xfrm>
            <a:prstGeom prst="roundRect">
              <a:avLst>
                <a:gd name="adj" fmla="val 8571"/>
              </a:avLst>
            </a:prstGeom>
            <a:solidFill>
              <a:schemeClr val="bg1"/>
            </a:solidFill>
            <a:ln w="12700" cap="flat">
              <a:noFill/>
              <a:prstDash val="solid"/>
              <a:miter/>
            </a:ln>
            <a:effectLst>
              <a:outerShdw blurRad="1003300" sx="102000" sy="102000" algn="ctr" rotWithShape="0">
                <a:schemeClr val="tx1">
                  <a:alpha val="20000"/>
                </a:schemeClr>
              </a:outerShdw>
            </a:effectLst>
          </p:spPr>
          <p:txBody>
            <a:bodyPr lIns="0" tIns="0" rIns="0" bIns="0" anchor="ctr"/>
            <a:lstStyle/>
            <a:p>
              <a:pPr marL="0" marR="0" lvl="0" indent="0" algn="ctr" defTabSz="309563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itchFamily="2" charset="0"/>
                <a:ea typeface="Roboto" pitchFamily="2" charset="0"/>
                <a:cs typeface="Poppins Bold"/>
                <a:sym typeface="Poppins Bold"/>
              </a:endParaRPr>
            </a:p>
          </p:txBody>
        </p:sp>
        <p:sp>
          <p:nvSpPr>
            <p:cNvPr id="43" name="Заголовок">
              <a:extLst>
                <a:ext uri="{FF2B5EF4-FFF2-40B4-BE49-F238E27FC236}">
                  <a16:creationId xmlns:a16="http://schemas.microsoft.com/office/drawing/2014/main" id="{F19605E8-E141-4097-925F-46379DCD89D2}"/>
                </a:ext>
              </a:extLst>
            </p:cNvPr>
            <p:cNvSpPr txBox="1"/>
            <p:nvPr/>
          </p:nvSpPr>
          <p:spPr>
            <a:xfrm>
              <a:off x="8732549" y="2052179"/>
              <a:ext cx="2075245" cy="186204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ru-RU" sz="11500" dirty="0">
                  <a:solidFill>
                    <a:schemeClr val="bg2"/>
                  </a:solidFill>
                  <a:latin typeface="SB Sans Text Medium" panose="020B0603040504020204" pitchFamily="34" charset="-52"/>
                  <a:ea typeface="Roboto" pitchFamily="2" charset="0"/>
                  <a:cs typeface="SB Sans Text Medium" panose="020B0603040504020204" pitchFamily="34" charset="-52"/>
                </a:rPr>
                <a:t>15</a:t>
              </a:r>
            </a:p>
          </p:txBody>
        </p:sp>
        <p:sp>
          <p:nvSpPr>
            <p:cNvPr id="50" name="Motion design">
              <a:extLst>
                <a:ext uri="{FF2B5EF4-FFF2-40B4-BE49-F238E27FC236}">
                  <a16:creationId xmlns:a16="http://schemas.microsoft.com/office/drawing/2014/main" id="{C12542EF-0901-4851-ABB5-DCB55110690D}"/>
                </a:ext>
              </a:extLst>
            </p:cNvPr>
            <p:cNvSpPr txBox="1"/>
            <p:nvPr/>
          </p:nvSpPr>
          <p:spPr>
            <a:xfrm>
              <a:off x="8660069" y="3825810"/>
              <a:ext cx="2220204" cy="611449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</a:ext>
            </a:extLst>
          </p:spPr>
          <p:txBody>
            <a:bodyPr wrap="square" lIns="0" tIns="0" rIns="0" bIns="0" anchor="ctr">
              <a:spAutoFit/>
            </a:bodyPr>
            <a:lstStyle>
              <a:lvl1pPr>
                <a:lnSpc>
                  <a:spcPct val="130000"/>
                </a:lnSpc>
                <a:defRPr sz="3000">
                  <a:latin typeface="+mn-lt"/>
                  <a:ea typeface="+mn-ea"/>
                  <a:cs typeface="+mn-cs"/>
                  <a:sym typeface="Poppins SemiBold"/>
                </a:defRPr>
              </a:lvl1pPr>
            </a:lstStyle>
            <a:p>
              <a:pPr algn="ctr" defTabSz="309563" hangingPunct="0">
                <a:buClrTx/>
                <a:defRPr/>
              </a:pPr>
              <a:r>
                <a:rPr lang="ru-RU" sz="1600" dirty="0">
                  <a:solidFill>
                    <a:srgbClr val="0D0D0D"/>
                  </a:solidFill>
                  <a:latin typeface="SB Sans Text Light" panose="020B0303040504020204" pitchFamily="34" charset="-52"/>
                  <a:ea typeface="Roboto Light" panose="02000000000000000000" pitchFamily="2" charset="0"/>
                  <a:cs typeface="SB Sans Text Light" panose="020B0303040504020204" pitchFamily="34" charset="-52"/>
                </a:rPr>
                <a:t>команд из Сбера, </a:t>
              </a:r>
              <a:br>
                <a:rPr lang="ru-RU" sz="1600" dirty="0">
                  <a:solidFill>
                    <a:srgbClr val="0D0D0D"/>
                  </a:solidFill>
                  <a:latin typeface="SB Sans Text Light" panose="020B0303040504020204" pitchFamily="34" charset="-52"/>
                  <a:ea typeface="Roboto Light" panose="02000000000000000000" pitchFamily="2" charset="0"/>
                  <a:cs typeface="SB Sans Text Light" panose="020B0303040504020204" pitchFamily="34" charset="-52"/>
                </a:rPr>
              </a:br>
              <a:r>
                <a:rPr lang="ru-RU" sz="1600" dirty="0">
                  <a:solidFill>
                    <a:srgbClr val="0D0D0D"/>
                  </a:solidFill>
                  <a:latin typeface="SB Sans Text Light" panose="020B0303040504020204" pitchFamily="34" charset="-52"/>
                  <a:ea typeface="Roboto Light" panose="02000000000000000000" pitchFamily="2" charset="0"/>
                  <a:cs typeface="SB Sans Text Light" panose="020B0303040504020204" pitchFamily="34" charset="-52"/>
                </a:rPr>
                <a:t>ДЗО и ГПГ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9406504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1250">
        <p159:morph option="byObject"/>
      </p:transition>
    </mc:Choice>
    <mc:Fallback xmlns="">
      <p:transition spd="slow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Rounded Rectangle">
            <a:extLst>
              <a:ext uri="{FF2B5EF4-FFF2-40B4-BE49-F238E27FC236}">
                <a16:creationId xmlns:a16="http://schemas.microsoft.com/office/drawing/2014/main" id="{4A1A861F-77ED-4663-9389-8E9FD44BABD1}"/>
              </a:ext>
            </a:extLst>
          </p:cNvPr>
          <p:cNvSpPr/>
          <p:nvPr/>
        </p:nvSpPr>
        <p:spPr>
          <a:xfrm>
            <a:off x="0" y="2579435"/>
            <a:ext cx="12192000" cy="1785141"/>
          </a:xfrm>
          <a:prstGeom prst="roundRect">
            <a:avLst>
              <a:gd name="adj" fmla="val 0"/>
            </a:avLst>
          </a:prstGeom>
          <a:solidFill>
            <a:schemeClr val="bg1">
              <a:alpha val="96000"/>
            </a:schemeClr>
          </a:solidFill>
          <a:ln w="12700" cap="flat">
            <a:noFill/>
            <a:prstDash val="solid"/>
            <a:miter/>
          </a:ln>
          <a:effectLst>
            <a:outerShdw blurRad="1003300" sx="102000" sy="102000" algn="ctr" rotWithShape="0">
              <a:schemeClr val="tx1">
                <a:alpha val="20000"/>
              </a:schemeClr>
            </a:outerShdw>
          </a:effectLst>
        </p:spPr>
        <p:txBody>
          <a:bodyPr lIns="0" tIns="0" rIns="0" bIns="0" anchor="ctr"/>
          <a:lstStyle/>
          <a:p>
            <a:pPr marL="0" marR="0" lvl="0" indent="0" algn="ctr" defTabSz="309563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" pitchFamily="2" charset="0"/>
              <a:ea typeface="Roboto" pitchFamily="2" charset="0"/>
              <a:cs typeface="Poppins Bold"/>
              <a:sym typeface="Poppins Bold"/>
            </a:endParaRPr>
          </a:p>
        </p:txBody>
      </p:sp>
      <p:sp>
        <p:nvSpPr>
          <p:cNvPr id="41" name="Заголовок">
            <a:extLst>
              <a:ext uri="{FF2B5EF4-FFF2-40B4-BE49-F238E27FC236}">
                <a16:creationId xmlns:a16="http://schemas.microsoft.com/office/drawing/2014/main" id="{C2DC1C9A-4F65-42B1-86E3-6E4D91075984}"/>
              </a:ext>
            </a:extLst>
          </p:cNvPr>
          <p:cNvSpPr txBox="1"/>
          <p:nvPr/>
        </p:nvSpPr>
        <p:spPr>
          <a:xfrm>
            <a:off x="507067" y="376044"/>
            <a:ext cx="5192693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4400" b="1" dirty="0">
                <a:solidFill>
                  <a:srgbClr val="0D0D0D">
                    <a:lumMod val="75000"/>
                    <a:lumOff val="25000"/>
                  </a:srgbClr>
                </a:solidFill>
                <a:latin typeface="SB Sans Text Medium" panose="020B0603040504020204" pitchFamily="34" charset="-52"/>
                <a:ea typeface="Roboto" pitchFamily="2" charset="0"/>
                <a:cs typeface="SB Sans Text Medium" panose="020B0603040504020204" pitchFamily="34" charset="-52"/>
              </a:rPr>
              <a:t>Кто участвует?</a:t>
            </a:r>
          </a:p>
        </p:txBody>
      </p:sp>
      <p:grpSp>
        <p:nvGrpSpPr>
          <p:cNvPr id="42" name="CDIConf_Black">
            <a:extLst>
              <a:ext uri="{FF2B5EF4-FFF2-40B4-BE49-F238E27FC236}">
                <a16:creationId xmlns:a16="http://schemas.microsoft.com/office/drawing/2014/main" id="{F3F1710A-CB9B-4080-B969-0477C48F22E5}"/>
              </a:ext>
            </a:extLst>
          </p:cNvPr>
          <p:cNvGrpSpPr/>
          <p:nvPr/>
        </p:nvGrpSpPr>
        <p:grpSpPr>
          <a:xfrm>
            <a:off x="9284984" y="6140223"/>
            <a:ext cx="2270483" cy="296171"/>
            <a:chOff x="7406975" y="5855999"/>
            <a:chExt cx="2270483" cy="296171"/>
          </a:xfrm>
        </p:grpSpPr>
        <p:sp>
          <p:nvSpPr>
            <p:cNvPr id="45" name="Полилиния: фигура 44">
              <a:extLst>
                <a:ext uri="{FF2B5EF4-FFF2-40B4-BE49-F238E27FC236}">
                  <a16:creationId xmlns:a16="http://schemas.microsoft.com/office/drawing/2014/main" id="{13A11B35-F320-4F31-908D-85B2D024FD4B}"/>
                </a:ext>
              </a:extLst>
            </p:cNvPr>
            <p:cNvSpPr/>
            <p:nvPr/>
          </p:nvSpPr>
          <p:spPr>
            <a:xfrm>
              <a:off x="7406975" y="5878280"/>
              <a:ext cx="1394458" cy="273890"/>
            </a:xfrm>
            <a:custGeom>
              <a:avLst/>
              <a:gdLst>
                <a:gd name="connsiteX0" fmla="*/ 157354 w 1394458"/>
                <a:gd name="connsiteY0" fmla="*/ 188093 h 273890"/>
                <a:gd name="connsiteX1" fmla="*/ 200773 w 1394458"/>
                <a:gd name="connsiteY1" fmla="*/ 188093 h 273890"/>
                <a:gd name="connsiteX2" fmla="*/ 186877 w 1394458"/>
                <a:gd name="connsiteY2" fmla="*/ 232383 h 273890"/>
                <a:gd name="connsiteX3" fmla="*/ 153706 w 1394458"/>
                <a:gd name="connsiteY3" fmla="*/ 262777 h 273890"/>
                <a:gd name="connsiteX4" fmla="*/ 101775 w 1394458"/>
                <a:gd name="connsiteY4" fmla="*/ 273891 h 273890"/>
                <a:gd name="connsiteX5" fmla="*/ 59572 w 1394458"/>
                <a:gd name="connsiteY5" fmla="*/ 265554 h 273890"/>
                <a:gd name="connsiteX6" fmla="*/ 27442 w 1394458"/>
                <a:gd name="connsiteY6" fmla="*/ 241585 h 273890"/>
                <a:gd name="connsiteX7" fmla="*/ 6950 w 1394458"/>
                <a:gd name="connsiteY7" fmla="*/ 203896 h 273890"/>
                <a:gd name="connsiteX8" fmla="*/ 0 w 1394458"/>
                <a:gd name="connsiteY8" fmla="*/ 154577 h 273890"/>
                <a:gd name="connsiteX9" fmla="*/ 0 w 1394458"/>
                <a:gd name="connsiteY9" fmla="*/ 133560 h 273890"/>
                <a:gd name="connsiteX10" fmla="*/ 7121 w 1394458"/>
                <a:gd name="connsiteY10" fmla="*/ 84236 h 273890"/>
                <a:gd name="connsiteX11" fmla="*/ 27962 w 1394458"/>
                <a:gd name="connsiteY11" fmla="*/ 46552 h 273890"/>
                <a:gd name="connsiteX12" fmla="*/ 60438 w 1394458"/>
                <a:gd name="connsiteY12" fmla="*/ 22408 h 273890"/>
                <a:gd name="connsiteX13" fmla="*/ 103336 w 1394458"/>
                <a:gd name="connsiteY13" fmla="*/ 14071 h 273890"/>
                <a:gd name="connsiteX14" fmla="*/ 154397 w 1394458"/>
                <a:gd name="connsiteY14" fmla="*/ 25185 h 273890"/>
                <a:gd name="connsiteX15" fmla="*/ 186702 w 1394458"/>
                <a:gd name="connsiteY15" fmla="*/ 55924 h 273890"/>
                <a:gd name="connsiteX16" fmla="*/ 200943 w 1394458"/>
                <a:gd name="connsiteY16" fmla="*/ 100905 h 273890"/>
                <a:gd name="connsiteX17" fmla="*/ 157524 w 1394458"/>
                <a:gd name="connsiteY17" fmla="*/ 100905 h 273890"/>
                <a:gd name="connsiteX18" fmla="*/ 149883 w 1394458"/>
                <a:gd name="connsiteY18" fmla="*/ 72943 h 273890"/>
                <a:gd name="connsiteX19" fmla="*/ 132865 w 1394458"/>
                <a:gd name="connsiteY19" fmla="*/ 55229 h 273890"/>
                <a:gd name="connsiteX20" fmla="*/ 103341 w 1394458"/>
                <a:gd name="connsiteY20" fmla="*/ 48974 h 273890"/>
                <a:gd name="connsiteX21" fmla="*/ 77291 w 1394458"/>
                <a:gd name="connsiteY21" fmla="*/ 54533 h 273890"/>
                <a:gd name="connsiteX22" fmla="*/ 58706 w 1394458"/>
                <a:gd name="connsiteY22" fmla="*/ 70861 h 273890"/>
                <a:gd name="connsiteX23" fmla="*/ 47417 w 1394458"/>
                <a:gd name="connsiteY23" fmla="*/ 97432 h 273890"/>
                <a:gd name="connsiteX24" fmla="*/ 43769 w 1394458"/>
                <a:gd name="connsiteY24" fmla="*/ 133210 h 273890"/>
                <a:gd name="connsiteX25" fmla="*/ 43769 w 1394458"/>
                <a:gd name="connsiteY25" fmla="*/ 154572 h 273890"/>
                <a:gd name="connsiteX26" fmla="*/ 47067 w 1394458"/>
                <a:gd name="connsiteY26" fmla="*/ 189304 h 273890"/>
                <a:gd name="connsiteX27" fmla="*/ 57490 w 1394458"/>
                <a:gd name="connsiteY27" fmla="*/ 215875 h 273890"/>
                <a:gd name="connsiteX28" fmla="*/ 75550 w 1394458"/>
                <a:gd name="connsiteY28" fmla="*/ 233069 h 273890"/>
                <a:gd name="connsiteX29" fmla="*/ 101775 w 1394458"/>
                <a:gd name="connsiteY29" fmla="*/ 239149 h 273890"/>
                <a:gd name="connsiteX30" fmla="*/ 131824 w 1394458"/>
                <a:gd name="connsiteY30" fmla="*/ 233244 h 273890"/>
                <a:gd name="connsiteX31" fmla="*/ 149363 w 1394458"/>
                <a:gd name="connsiteY31" fmla="*/ 216050 h 273890"/>
                <a:gd name="connsiteX32" fmla="*/ 157354 w 1394458"/>
                <a:gd name="connsiteY32" fmla="*/ 188088 h 273890"/>
                <a:gd name="connsiteX33" fmla="*/ 313837 w 1394458"/>
                <a:gd name="connsiteY33" fmla="*/ 270418 h 273890"/>
                <a:gd name="connsiteX34" fmla="*/ 259825 w 1394458"/>
                <a:gd name="connsiteY34" fmla="*/ 270418 h 273890"/>
                <a:gd name="connsiteX35" fmla="*/ 260170 w 1394458"/>
                <a:gd name="connsiteY35" fmla="*/ 235856 h 273890"/>
                <a:gd name="connsiteX36" fmla="*/ 313837 w 1394458"/>
                <a:gd name="connsiteY36" fmla="*/ 235856 h 273890"/>
                <a:gd name="connsiteX37" fmla="*/ 353088 w 1394458"/>
                <a:gd name="connsiteY37" fmla="*/ 225608 h 273890"/>
                <a:gd name="connsiteX38" fmla="*/ 377057 w 1394458"/>
                <a:gd name="connsiteY38" fmla="*/ 196255 h 273890"/>
                <a:gd name="connsiteX39" fmla="*/ 385218 w 1394458"/>
                <a:gd name="connsiteY39" fmla="*/ 150754 h 273890"/>
                <a:gd name="connsiteX40" fmla="*/ 385218 w 1394458"/>
                <a:gd name="connsiteY40" fmla="*/ 137033 h 273890"/>
                <a:gd name="connsiteX41" fmla="*/ 380530 w 1394458"/>
                <a:gd name="connsiteY41" fmla="*/ 100734 h 273890"/>
                <a:gd name="connsiteX42" fmla="*/ 366984 w 1394458"/>
                <a:gd name="connsiteY42" fmla="*/ 74163 h 273890"/>
                <a:gd name="connsiteX43" fmla="*/ 345102 w 1394458"/>
                <a:gd name="connsiteY43" fmla="*/ 57840 h 273890"/>
                <a:gd name="connsiteX44" fmla="*/ 315403 w 1394458"/>
                <a:gd name="connsiteY44" fmla="*/ 52281 h 273890"/>
                <a:gd name="connsiteX45" fmla="*/ 258784 w 1394458"/>
                <a:gd name="connsiteY45" fmla="*/ 52281 h 273890"/>
                <a:gd name="connsiteX46" fmla="*/ 258784 w 1394458"/>
                <a:gd name="connsiteY46" fmla="*/ 17544 h 273890"/>
                <a:gd name="connsiteX47" fmla="*/ 315403 w 1394458"/>
                <a:gd name="connsiteY47" fmla="*/ 17544 h 273890"/>
                <a:gd name="connsiteX48" fmla="*/ 361429 w 1394458"/>
                <a:gd name="connsiteY48" fmla="*/ 26055 h 273890"/>
                <a:gd name="connsiteX49" fmla="*/ 397383 w 1394458"/>
                <a:gd name="connsiteY49" fmla="*/ 50195 h 273890"/>
                <a:gd name="connsiteX50" fmla="*/ 420826 w 1394458"/>
                <a:gd name="connsiteY50" fmla="*/ 88054 h 273890"/>
                <a:gd name="connsiteX51" fmla="*/ 428988 w 1394458"/>
                <a:gd name="connsiteY51" fmla="*/ 137378 h 273890"/>
                <a:gd name="connsiteX52" fmla="*/ 428988 w 1394458"/>
                <a:gd name="connsiteY52" fmla="*/ 150754 h 273890"/>
                <a:gd name="connsiteX53" fmla="*/ 420826 w 1394458"/>
                <a:gd name="connsiteY53" fmla="*/ 200078 h 273890"/>
                <a:gd name="connsiteX54" fmla="*/ 397383 w 1394458"/>
                <a:gd name="connsiteY54" fmla="*/ 237938 h 273890"/>
                <a:gd name="connsiteX55" fmla="*/ 360909 w 1394458"/>
                <a:gd name="connsiteY55" fmla="*/ 262077 h 273890"/>
                <a:gd name="connsiteX56" fmla="*/ 313842 w 1394458"/>
                <a:gd name="connsiteY56" fmla="*/ 270413 h 273890"/>
                <a:gd name="connsiteX57" fmla="*/ 283964 w 1394458"/>
                <a:gd name="connsiteY57" fmla="*/ 17544 h 273890"/>
                <a:gd name="connsiteX58" fmla="*/ 283964 w 1394458"/>
                <a:gd name="connsiteY58" fmla="*/ 270418 h 273890"/>
                <a:gd name="connsiteX59" fmla="*/ 240369 w 1394458"/>
                <a:gd name="connsiteY59" fmla="*/ 270418 h 273890"/>
                <a:gd name="connsiteX60" fmla="*/ 240369 w 1394458"/>
                <a:gd name="connsiteY60" fmla="*/ 17544 h 273890"/>
                <a:gd name="connsiteX61" fmla="*/ 283964 w 1394458"/>
                <a:gd name="connsiteY61" fmla="*/ 17544 h 273890"/>
                <a:gd name="connsiteX62" fmla="*/ 519299 w 1394458"/>
                <a:gd name="connsiteY62" fmla="*/ 17544 h 273890"/>
                <a:gd name="connsiteX63" fmla="*/ 519299 w 1394458"/>
                <a:gd name="connsiteY63" fmla="*/ 270418 h 273890"/>
                <a:gd name="connsiteX64" fmla="*/ 475705 w 1394458"/>
                <a:gd name="connsiteY64" fmla="*/ 270418 h 273890"/>
                <a:gd name="connsiteX65" fmla="*/ 475705 w 1394458"/>
                <a:gd name="connsiteY65" fmla="*/ 17544 h 273890"/>
                <a:gd name="connsiteX66" fmla="*/ 519299 w 1394458"/>
                <a:gd name="connsiteY66" fmla="*/ 17544 h 273890"/>
                <a:gd name="connsiteX67" fmla="*/ 811424 w 1394458"/>
                <a:gd name="connsiteY67" fmla="*/ 188093 h 273890"/>
                <a:gd name="connsiteX68" fmla="*/ 854843 w 1394458"/>
                <a:gd name="connsiteY68" fmla="*/ 188093 h 273890"/>
                <a:gd name="connsiteX69" fmla="*/ 840947 w 1394458"/>
                <a:gd name="connsiteY69" fmla="*/ 232383 h 273890"/>
                <a:gd name="connsiteX70" fmla="*/ 807776 w 1394458"/>
                <a:gd name="connsiteY70" fmla="*/ 262777 h 273890"/>
                <a:gd name="connsiteX71" fmla="*/ 755845 w 1394458"/>
                <a:gd name="connsiteY71" fmla="*/ 273891 h 273890"/>
                <a:gd name="connsiteX72" fmla="*/ 713642 w 1394458"/>
                <a:gd name="connsiteY72" fmla="*/ 265554 h 273890"/>
                <a:gd name="connsiteX73" fmla="*/ 681512 w 1394458"/>
                <a:gd name="connsiteY73" fmla="*/ 241585 h 273890"/>
                <a:gd name="connsiteX74" fmla="*/ 661021 w 1394458"/>
                <a:gd name="connsiteY74" fmla="*/ 203896 h 273890"/>
                <a:gd name="connsiteX75" fmla="*/ 654075 w 1394458"/>
                <a:gd name="connsiteY75" fmla="*/ 154572 h 273890"/>
                <a:gd name="connsiteX76" fmla="*/ 654075 w 1394458"/>
                <a:gd name="connsiteY76" fmla="*/ 133555 h 273890"/>
                <a:gd name="connsiteX77" fmla="*/ 661196 w 1394458"/>
                <a:gd name="connsiteY77" fmla="*/ 84231 h 273890"/>
                <a:gd name="connsiteX78" fmla="*/ 682037 w 1394458"/>
                <a:gd name="connsiteY78" fmla="*/ 46547 h 273890"/>
                <a:gd name="connsiteX79" fmla="*/ 714513 w 1394458"/>
                <a:gd name="connsiteY79" fmla="*/ 22403 h 273890"/>
                <a:gd name="connsiteX80" fmla="*/ 757411 w 1394458"/>
                <a:gd name="connsiteY80" fmla="*/ 14066 h 273890"/>
                <a:gd name="connsiteX81" fmla="*/ 808472 w 1394458"/>
                <a:gd name="connsiteY81" fmla="*/ 25180 h 273890"/>
                <a:gd name="connsiteX82" fmla="*/ 840777 w 1394458"/>
                <a:gd name="connsiteY82" fmla="*/ 55919 h 273890"/>
                <a:gd name="connsiteX83" fmla="*/ 855018 w 1394458"/>
                <a:gd name="connsiteY83" fmla="*/ 100900 h 273890"/>
                <a:gd name="connsiteX84" fmla="*/ 811599 w 1394458"/>
                <a:gd name="connsiteY84" fmla="*/ 100900 h 273890"/>
                <a:gd name="connsiteX85" fmla="*/ 803958 w 1394458"/>
                <a:gd name="connsiteY85" fmla="*/ 72938 h 273890"/>
                <a:gd name="connsiteX86" fmla="*/ 786940 w 1394458"/>
                <a:gd name="connsiteY86" fmla="*/ 55224 h 273890"/>
                <a:gd name="connsiteX87" fmla="*/ 757416 w 1394458"/>
                <a:gd name="connsiteY87" fmla="*/ 48969 h 273890"/>
                <a:gd name="connsiteX88" fmla="*/ 731366 w 1394458"/>
                <a:gd name="connsiteY88" fmla="*/ 54528 h 273890"/>
                <a:gd name="connsiteX89" fmla="*/ 712781 w 1394458"/>
                <a:gd name="connsiteY89" fmla="*/ 70856 h 273890"/>
                <a:gd name="connsiteX90" fmla="*/ 701492 w 1394458"/>
                <a:gd name="connsiteY90" fmla="*/ 97427 h 273890"/>
                <a:gd name="connsiteX91" fmla="*/ 697844 w 1394458"/>
                <a:gd name="connsiteY91" fmla="*/ 133205 h 273890"/>
                <a:gd name="connsiteX92" fmla="*/ 697844 w 1394458"/>
                <a:gd name="connsiteY92" fmla="*/ 154567 h 273890"/>
                <a:gd name="connsiteX93" fmla="*/ 701142 w 1394458"/>
                <a:gd name="connsiteY93" fmla="*/ 189299 h 273890"/>
                <a:gd name="connsiteX94" fmla="*/ 711565 w 1394458"/>
                <a:gd name="connsiteY94" fmla="*/ 215870 h 273890"/>
                <a:gd name="connsiteX95" fmla="*/ 729629 w 1394458"/>
                <a:gd name="connsiteY95" fmla="*/ 233064 h 273890"/>
                <a:gd name="connsiteX96" fmla="*/ 755855 w 1394458"/>
                <a:gd name="connsiteY96" fmla="*/ 239144 h 273890"/>
                <a:gd name="connsiteX97" fmla="*/ 785904 w 1394458"/>
                <a:gd name="connsiteY97" fmla="*/ 233239 h 273890"/>
                <a:gd name="connsiteX98" fmla="*/ 803443 w 1394458"/>
                <a:gd name="connsiteY98" fmla="*/ 216046 h 273890"/>
                <a:gd name="connsiteX99" fmla="*/ 811434 w 1394458"/>
                <a:gd name="connsiteY99" fmla="*/ 188084 h 273890"/>
                <a:gd name="connsiteX100" fmla="*/ 882285 w 1394458"/>
                <a:gd name="connsiteY100" fmla="*/ 178541 h 273890"/>
                <a:gd name="connsiteX101" fmla="*/ 882285 w 1394458"/>
                <a:gd name="connsiteY101" fmla="*/ 174548 h 273890"/>
                <a:gd name="connsiteX102" fmla="*/ 888190 w 1394458"/>
                <a:gd name="connsiteY102" fmla="*/ 136858 h 273890"/>
                <a:gd name="connsiteX103" fmla="*/ 905208 w 1394458"/>
                <a:gd name="connsiteY103" fmla="*/ 106464 h 273890"/>
                <a:gd name="connsiteX104" fmla="*/ 932650 w 1394458"/>
                <a:gd name="connsiteY104" fmla="*/ 86318 h 273890"/>
                <a:gd name="connsiteX105" fmla="*/ 969469 w 1394458"/>
                <a:gd name="connsiteY105" fmla="*/ 79022 h 273890"/>
                <a:gd name="connsiteX106" fmla="*/ 1006288 w 1394458"/>
                <a:gd name="connsiteY106" fmla="*/ 86318 h 273890"/>
                <a:gd name="connsiteX107" fmla="*/ 1033899 w 1394458"/>
                <a:gd name="connsiteY107" fmla="*/ 106464 h 273890"/>
                <a:gd name="connsiteX108" fmla="*/ 1051093 w 1394458"/>
                <a:gd name="connsiteY108" fmla="*/ 136858 h 273890"/>
                <a:gd name="connsiteX109" fmla="*/ 1056998 w 1394458"/>
                <a:gd name="connsiteY109" fmla="*/ 174548 h 273890"/>
                <a:gd name="connsiteX110" fmla="*/ 1056998 w 1394458"/>
                <a:gd name="connsiteY110" fmla="*/ 178541 h 273890"/>
                <a:gd name="connsiteX111" fmla="*/ 1051093 w 1394458"/>
                <a:gd name="connsiteY111" fmla="*/ 216230 h 273890"/>
                <a:gd name="connsiteX112" fmla="*/ 1033899 w 1394458"/>
                <a:gd name="connsiteY112" fmla="*/ 246624 h 273890"/>
                <a:gd name="connsiteX113" fmla="*/ 1006458 w 1394458"/>
                <a:gd name="connsiteY113" fmla="*/ 266770 h 273890"/>
                <a:gd name="connsiteX114" fmla="*/ 969814 w 1394458"/>
                <a:gd name="connsiteY114" fmla="*/ 273891 h 273890"/>
                <a:gd name="connsiteX115" fmla="*/ 932820 w 1394458"/>
                <a:gd name="connsiteY115" fmla="*/ 266770 h 273890"/>
                <a:gd name="connsiteX116" fmla="*/ 905378 w 1394458"/>
                <a:gd name="connsiteY116" fmla="*/ 246624 h 273890"/>
                <a:gd name="connsiteX117" fmla="*/ 888185 w 1394458"/>
                <a:gd name="connsiteY117" fmla="*/ 216230 h 273890"/>
                <a:gd name="connsiteX118" fmla="*/ 882280 w 1394458"/>
                <a:gd name="connsiteY118" fmla="*/ 178541 h 273890"/>
                <a:gd name="connsiteX119" fmla="*/ 924143 w 1394458"/>
                <a:gd name="connsiteY119" fmla="*/ 174548 h 273890"/>
                <a:gd name="connsiteX120" fmla="*/ 924143 w 1394458"/>
                <a:gd name="connsiteY120" fmla="*/ 178541 h 273890"/>
                <a:gd name="connsiteX121" fmla="*/ 926750 w 1394458"/>
                <a:gd name="connsiteY121" fmla="*/ 202510 h 273890"/>
                <a:gd name="connsiteX122" fmla="*/ 934911 w 1394458"/>
                <a:gd name="connsiteY122" fmla="*/ 222310 h 273890"/>
                <a:gd name="connsiteX123" fmla="*/ 949152 w 1394458"/>
                <a:gd name="connsiteY123" fmla="*/ 235681 h 273890"/>
                <a:gd name="connsiteX124" fmla="*/ 969819 w 1394458"/>
                <a:gd name="connsiteY124" fmla="*/ 240545 h 273890"/>
                <a:gd name="connsiteX125" fmla="*/ 989965 w 1394458"/>
                <a:gd name="connsiteY125" fmla="*/ 235681 h 273890"/>
                <a:gd name="connsiteX126" fmla="*/ 1004206 w 1394458"/>
                <a:gd name="connsiteY126" fmla="*/ 222310 h 273890"/>
                <a:gd name="connsiteX127" fmla="*/ 1012367 w 1394458"/>
                <a:gd name="connsiteY127" fmla="*/ 202510 h 273890"/>
                <a:gd name="connsiteX128" fmla="*/ 1015145 w 1394458"/>
                <a:gd name="connsiteY128" fmla="*/ 178541 h 273890"/>
                <a:gd name="connsiteX129" fmla="*/ 1015145 w 1394458"/>
                <a:gd name="connsiteY129" fmla="*/ 174548 h 273890"/>
                <a:gd name="connsiteX130" fmla="*/ 1012367 w 1394458"/>
                <a:gd name="connsiteY130" fmla="*/ 150929 h 273890"/>
                <a:gd name="connsiteX131" fmla="*/ 1004031 w 1394458"/>
                <a:gd name="connsiteY131" fmla="*/ 130958 h 273890"/>
                <a:gd name="connsiteX132" fmla="*/ 989790 w 1394458"/>
                <a:gd name="connsiteY132" fmla="*/ 117412 h 273890"/>
                <a:gd name="connsiteX133" fmla="*/ 969469 w 1394458"/>
                <a:gd name="connsiteY133" fmla="*/ 112378 h 273890"/>
                <a:gd name="connsiteX134" fmla="*/ 948977 w 1394458"/>
                <a:gd name="connsiteY134" fmla="*/ 117412 h 273890"/>
                <a:gd name="connsiteX135" fmla="*/ 934911 w 1394458"/>
                <a:gd name="connsiteY135" fmla="*/ 130958 h 273890"/>
                <a:gd name="connsiteX136" fmla="*/ 926750 w 1394458"/>
                <a:gd name="connsiteY136" fmla="*/ 150929 h 273890"/>
                <a:gd name="connsiteX137" fmla="*/ 924143 w 1394458"/>
                <a:gd name="connsiteY137" fmla="*/ 174548 h 273890"/>
                <a:gd name="connsiteX138" fmla="*/ 1133598 w 1394458"/>
                <a:gd name="connsiteY138" fmla="*/ 122617 h 273890"/>
                <a:gd name="connsiteX139" fmla="*/ 1133598 w 1394458"/>
                <a:gd name="connsiteY139" fmla="*/ 270418 h 273890"/>
                <a:gd name="connsiteX140" fmla="*/ 1091745 w 1394458"/>
                <a:gd name="connsiteY140" fmla="*/ 270418 h 273890"/>
                <a:gd name="connsiteX141" fmla="*/ 1091745 w 1394458"/>
                <a:gd name="connsiteY141" fmla="*/ 82495 h 273890"/>
                <a:gd name="connsiteX142" fmla="*/ 1131171 w 1394458"/>
                <a:gd name="connsiteY142" fmla="*/ 82495 h 273890"/>
                <a:gd name="connsiteX143" fmla="*/ 1133603 w 1394458"/>
                <a:gd name="connsiteY143" fmla="*/ 122617 h 273890"/>
                <a:gd name="connsiteX144" fmla="*/ 1126132 w 1394458"/>
                <a:gd name="connsiteY144" fmla="*/ 169509 h 273890"/>
                <a:gd name="connsiteX145" fmla="*/ 1112586 w 1394458"/>
                <a:gd name="connsiteY145" fmla="*/ 169334 h 273890"/>
                <a:gd name="connsiteX146" fmla="*/ 1118145 w 1394458"/>
                <a:gd name="connsiteY146" fmla="*/ 132690 h 273890"/>
                <a:gd name="connsiteX147" fmla="*/ 1133428 w 1394458"/>
                <a:gd name="connsiteY147" fmla="*/ 104032 h 273890"/>
                <a:gd name="connsiteX148" fmla="*/ 1157046 w 1394458"/>
                <a:gd name="connsiteY148" fmla="*/ 85623 h 273890"/>
                <a:gd name="connsiteX149" fmla="*/ 1187615 w 1394458"/>
                <a:gd name="connsiteY149" fmla="*/ 79022 h 273890"/>
                <a:gd name="connsiteX150" fmla="*/ 1212105 w 1394458"/>
                <a:gd name="connsiteY150" fmla="*/ 82840 h 273890"/>
                <a:gd name="connsiteX151" fmla="*/ 1231034 w 1394458"/>
                <a:gd name="connsiteY151" fmla="*/ 94825 h 273890"/>
                <a:gd name="connsiteX152" fmla="*/ 1243189 w 1394458"/>
                <a:gd name="connsiteY152" fmla="*/ 116532 h 273890"/>
                <a:gd name="connsiteX153" fmla="*/ 1247357 w 1394458"/>
                <a:gd name="connsiteY153" fmla="*/ 149013 h 273890"/>
                <a:gd name="connsiteX154" fmla="*/ 1247357 w 1394458"/>
                <a:gd name="connsiteY154" fmla="*/ 270413 h 273890"/>
                <a:gd name="connsiteX155" fmla="*/ 1205329 w 1394458"/>
                <a:gd name="connsiteY155" fmla="*/ 270413 h 273890"/>
                <a:gd name="connsiteX156" fmla="*/ 1205329 w 1394458"/>
                <a:gd name="connsiteY156" fmla="*/ 148837 h 273890"/>
                <a:gd name="connsiteX157" fmla="*/ 1201336 w 1394458"/>
                <a:gd name="connsiteY157" fmla="*/ 127476 h 273890"/>
                <a:gd name="connsiteX158" fmla="*/ 1190047 w 1394458"/>
                <a:gd name="connsiteY158" fmla="*/ 116187 h 273890"/>
                <a:gd name="connsiteX159" fmla="*/ 1171813 w 1394458"/>
                <a:gd name="connsiteY159" fmla="*/ 112714 h 273890"/>
                <a:gd name="connsiteX160" fmla="*/ 1152533 w 1394458"/>
                <a:gd name="connsiteY160" fmla="*/ 117228 h 273890"/>
                <a:gd name="connsiteX161" fmla="*/ 1138116 w 1394458"/>
                <a:gd name="connsiteY161" fmla="*/ 129557 h 273890"/>
                <a:gd name="connsiteX162" fmla="*/ 1129259 w 1394458"/>
                <a:gd name="connsiteY162" fmla="*/ 147621 h 273890"/>
                <a:gd name="connsiteX163" fmla="*/ 1126132 w 1394458"/>
                <a:gd name="connsiteY163" fmla="*/ 169504 h 273890"/>
                <a:gd name="connsiteX164" fmla="*/ 1346701 w 1394458"/>
                <a:gd name="connsiteY164" fmla="*/ 270418 h 273890"/>
                <a:gd name="connsiteX165" fmla="*/ 1304843 w 1394458"/>
                <a:gd name="connsiteY165" fmla="*/ 270418 h 273890"/>
                <a:gd name="connsiteX166" fmla="*/ 1304843 w 1394458"/>
                <a:gd name="connsiteY166" fmla="*/ 64436 h 273890"/>
                <a:gd name="connsiteX167" fmla="*/ 1312659 w 1394458"/>
                <a:gd name="connsiteY167" fmla="*/ 29178 h 273890"/>
                <a:gd name="connsiteX168" fmla="*/ 1335412 w 1394458"/>
                <a:gd name="connsiteY168" fmla="*/ 7471 h 273890"/>
                <a:gd name="connsiteX169" fmla="*/ 1370319 w 1394458"/>
                <a:gd name="connsiteY169" fmla="*/ 0 h 273890"/>
                <a:gd name="connsiteX170" fmla="*/ 1382649 w 1394458"/>
                <a:gd name="connsiteY170" fmla="*/ 871 h 273890"/>
                <a:gd name="connsiteX171" fmla="*/ 1394458 w 1394458"/>
                <a:gd name="connsiteY171" fmla="*/ 3127 h 273890"/>
                <a:gd name="connsiteX172" fmla="*/ 1393418 w 1394458"/>
                <a:gd name="connsiteY172" fmla="*/ 35433 h 273890"/>
                <a:gd name="connsiteX173" fmla="*/ 1385776 w 1394458"/>
                <a:gd name="connsiteY173" fmla="*/ 34217 h 273890"/>
                <a:gd name="connsiteX174" fmla="*/ 1377095 w 1394458"/>
                <a:gd name="connsiteY174" fmla="*/ 33872 h 273890"/>
                <a:gd name="connsiteX175" fmla="*/ 1360596 w 1394458"/>
                <a:gd name="connsiteY175" fmla="*/ 37519 h 273890"/>
                <a:gd name="connsiteX176" fmla="*/ 1350178 w 1394458"/>
                <a:gd name="connsiteY176" fmla="*/ 47767 h 273890"/>
                <a:gd name="connsiteX177" fmla="*/ 1346706 w 1394458"/>
                <a:gd name="connsiteY177" fmla="*/ 64441 h 273890"/>
                <a:gd name="connsiteX178" fmla="*/ 1346706 w 1394458"/>
                <a:gd name="connsiteY178" fmla="*/ 270423 h 273890"/>
                <a:gd name="connsiteX179" fmla="*/ 1385431 w 1394458"/>
                <a:gd name="connsiteY179" fmla="*/ 82500 h 273890"/>
                <a:gd name="connsiteX180" fmla="*/ 1385431 w 1394458"/>
                <a:gd name="connsiteY180" fmla="*/ 113069 h 273890"/>
                <a:gd name="connsiteX181" fmla="*/ 1276015 w 1394458"/>
                <a:gd name="connsiteY181" fmla="*/ 113069 h 273890"/>
                <a:gd name="connsiteX182" fmla="*/ 1276015 w 1394458"/>
                <a:gd name="connsiteY182" fmla="*/ 82500 h 273890"/>
                <a:gd name="connsiteX183" fmla="*/ 1385431 w 1394458"/>
                <a:gd name="connsiteY183" fmla="*/ 82500 h 2738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</a:cxnLst>
              <a:rect l="l" t="t" r="r" b="b"/>
              <a:pathLst>
                <a:path w="1394458" h="273890">
                  <a:moveTo>
                    <a:pt x="157354" y="188093"/>
                  </a:moveTo>
                  <a:lnTo>
                    <a:pt x="200773" y="188093"/>
                  </a:lnTo>
                  <a:cubicBezTo>
                    <a:pt x="199382" y="204650"/>
                    <a:pt x="194752" y="219411"/>
                    <a:pt x="186877" y="232383"/>
                  </a:cubicBezTo>
                  <a:cubicBezTo>
                    <a:pt x="179003" y="245233"/>
                    <a:pt x="167947" y="255365"/>
                    <a:pt x="153706" y="262777"/>
                  </a:cubicBezTo>
                  <a:cubicBezTo>
                    <a:pt x="139465" y="270185"/>
                    <a:pt x="122155" y="273891"/>
                    <a:pt x="101775" y="273891"/>
                  </a:cubicBezTo>
                  <a:cubicBezTo>
                    <a:pt x="86143" y="273891"/>
                    <a:pt x="72077" y="271114"/>
                    <a:pt x="59572" y="265554"/>
                  </a:cubicBezTo>
                  <a:cubicBezTo>
                    <a:pt x="47067" y="259878"/>
                    <a:pt x="36357" y="251892"/>
                    <a:pt x="27442" y="241585"/>
                  </a:cubicBezTo>
                  <a:cubicBezTo>
                    <a:pt x="18526" y="231162"/>
                    <a:pt x="11697" y="218604"/>
                    <a:pt x="6950" y="203896"/>
                  </a:cubicBezTo>
                  <a:cubicBezTo>
                    <a:pt x="2315" y="189192"/>
                    <a:pt x="0" y="172753"/>
                    <a:pt x="0" y="154577"/>
                  </a:cubicBezTo>
                  <a:lnTo>
                    <a:pt x="0" y="133560"/>
                  </a:lnTo>
                  <a:cubicBezTo>
                    <a:pt x="0" y="115379"/>
                    <a:pt x="2374" y="98940"/>
                    <a:pt x="7121" y="84236"/>
                  </a:cubicBezTo>
                  <a:cubicBezTo>
                    <a:pt x="11984" y="69533"/>
                    <a:pt x="18930" y="56970"/>
                    <a:pt x="27962" y="46552"/>
                  </a:cubicBezTo>
                  <a:cubicBezTo>
                    <a:pt x="36994" y="36017"/>
                    <a:pt x="47816" y="27967"/>
                    <a:pt x="60438" y="22408"/>
                  </a:cubicBezTo>
                  <a:cubicBezTo>
                    <a:pt x="73171" y="16848"/>
                    <a:pt x="87471" y="14071"/>
                    <a:pt x="103336" y="14071"/>
                  </a:cubicBezTo>
                  <a:cubicBezTo>
                    <a:pt x="123482" y="14071"/>
                    <a:pt x="140506" y="17777"/>
                    <a:pt x="154397" y="25185"/>
                  </a:cubicBezTo>
                  <a:cubicBezTo>
                    <a:pt x="168293" y="32597"/>
                    <a:pt x="179056" y="42840"/>
                    <a:pt x="186702" y="55924"/>
                  </a:cubicBezTo>
                  <a:cubicBezTo>
                    <a:pt x="194460" y="69008"/>
                    <a:pt x="199207" y="84003"/>
                    <a:pt x="200943" y="100905"/>
                  </a:cubicBezTo>
                  <a:lnTo>
                    <a:pt x="157524" y="100905"/>
                  </a:lnTo>
                  <a:cubicBezTo>
                    <a:pt x="156367" y="90019"/>
                    <a:pt x="153818" y="80700"/>
                    <a:pt x="149883" y="72943"/>
                  </a:cubicBezTo>
                  <a:cubicBezTo>
                    <a:pt x="146065" y="65185"/>
                    <a:pt x="140389" y="59280"/>
                    <a:pt x="132865" y="55229"/>
                  </a:cubicBezTo>
                  <a:cubicBezTo>
                    <a:pt x="125340" y="51060"/>
                    <a:pt x="115496" y="48974"/>
                    <a:pt x="103341" y="48974"/>
                  </a:cubicBezTo>
                  <a:cubicBezTo>
                    <a:pt x="93385" y="48974"/>
                    <a:pt x="84698" y="50827"/>
                    <a:pt x="77291" y="54533"/>
                  </a:cubicBezTo>
                  <a:cubicBezTo>
                    <a:pt x="69878" y="58239"/>
                    <a:pt x="63687" y="63682"/>
                    <a:pt x="58706" y="70861"/>
                  </a:cubicBezTo>
                  <a:cubicBezTo>
                    <a:pt x="53730" y="78040"/>
                    <a:pt x="49966" y="86897"/>
                    <a:pt x="47417" y="97432"/>
                  </a:cubicBezTo>
                  <a:cubicBezTo>
                    <a:pt x="44985" y="107850"/>
                    <a:pt x="43769" y="119776"/>
                    <a:pt x="43769" y="133210"/>
                  </a:cubicBezTo>
                  <a:lnTo>
                    <a:pt x="43769" y="154572"/>
                  </a:lnTo>
                  <a:cubicBezTo>
                    <a:pt x="43769" y="167305"/>
                    <a:pt x="44869" y="178886"/>
                    <a:pt x="47067" y="189304"/>
                  </a:cubicBezTo>
                  <a:cubicBezTo>
                    <a:pt x="49382" y="199611"/>
                    <a:pt x="52855" y="208468"/>
                    <a:pt x="57490" y="215875"/>
                  </a:cubicBezTo>
                  <a:cubicBezTo>
                    <a:pt x="62237" y="223288"/>
                    <a:pt x="68259" y="229017"/>
                    <a:pt x="75550" y="233069"/>
                  </a:cubicBezTo>
                  <a:cubicBezTo>
                    <a:pt x="82845" y="237120"/>
                    <a:pt x="91585" y="239149"/>
                    <a:pt x="101775" y="239149"/>
                  </a:cubicBezTo>
                  <a:cubicBezTo>
                    <a:pt x="114163" y="239149"/>
                    <a:pt x="124178" y="237179"/>
                    <a:pt x="131824" y="233244"/>
                  </a:cubicBezTo>
                  <a:cubicBezTo>
                    <a:pt x="139582" y="229309"/>
                    <a:pt x="145428" y="223575"/>
                    <a:pt x="149363" y="216050"/>
                  </a:cubicBezTo>
                  <a:cubicBezTo>
                    <a:pt x="153414" y="208409"/>
                    <a:pt x="156080" y="199090"/>
                    <a:pt x="157354" y="188088"/>
                  </a:cubicBezTo>
                  <a:close/>
                  <a:moveTo>
                    <a:pt x="313837" y="270418"/>
                  </a:moveTo>
                  <a:lnTo>
                    <a:pt x="259825" y="270418"/>
                  </a:lnTo>
                  <a:lnTo>
                    <a:pt x="260170" y="235856"/>
                  </a:lnTo>
                  <a:lnTo>
                    <a:pt x="313837" y="235856"/>
                  </a:lnTo>
                  <a:cubicBezTo>
                    <a:pt x="329469" y="235856"/>
                    <a:pt x="342553" y="232441"/>
                    <a:pt x="353088" y="225608"/>
                  </a:cubicBezTo>
                  <a:cubicBezTo>
                    <a:pt x="363740" y="218779"/>
                    <a:pt x="371731" y="208993"/>
                    <a:pt x="377057" y="196255"/>
                  </a:cubicBezTo>
                  <a:cubicBezTo>
                    <a:pt x="382499" y="183521"/>
                    <a:pt x="385218" y="168351"/>
                    <a:pt x="385218" y="150754"/>
                  </a:cubicBezTo>
                  <a:lnTo>
                    <a:pt x="385218" y="137033"/>
                  </a:lnTo>
                  <a:cubicBezTo>
                    <a:pt x="385218" y="123371"/>
                    <a:pt x="383657" y="111269"/>
                    <a:pt x="380530" y="100734"/>
                  </a:cubicBezTo>
                  <a:cubicBezTo>
                    <a:pt x="377519" y="90199"/>
                    <a:pt x="373005" y="81342"/>
                    <a:pt x="366984" y="74163"/>
                  </a:cubicBezTo>
                  <a:cubicBezTo>
                    <a:pt x="361079" y="66984"/>
                    <a:pt x="353784" y="61542"/>
                    <a:pt x="345102" y="57840"/>
                  </a:cubicBezTo>
                  <a:cubicBezTo>
                    <a:pt x="336532" y="54134"/>
                    <a:pt x="326634" y="52281"/>
                    <a:pt x="315403" y="52281"/>
                  </a:cubicBezTo>
                  <a:lnTo>
                    <a:pt x="258784" y="52281"/>
                  </a:lnTo>
                  <a:lnTo>
                    <a:pt x="258784" y="17544"/>
                  </a:lnTo>
                  <a:lnTo>
                    <a:pt x="315403" y="17544"/>
                  </a:lnTo>
                  <a:cubicBezTo>
                    <a:pt x="332193" y="17544"/>
                    <a:pt x="347534" y="20379"/>
                    <a:pt x="361429" y="26055"/>
                  </a:cubicBezTo>
                  <a:cubicBezTo>
                    <a:pt x="375325" y="31615"/>
                    <a:pt x="387310" y="39660"/>
                    <a:pt x="397383" y="50195"/>
                  </a:cubicBezTo>
                  <a:cubicBezTo>
                    <a:pt x="407572" y="60730"/>
                    <a:pt x="415389" y="73351"/>
                    <a:pt x="420826" y="88054"/>
                  </a:cubicBezTo>
                  <a:cubicBezTo>
                    <a:pt x="426269" y="102758"/>
                    <a:pt x="428988" y="119202"/>
                    <a:pt x="428988" y="137378"/>
                  </a:cubicBezTo>
                  <a:lnTo>
                    <a:pt x="428988" y="150754"/>
                  </a:lnTo>
                  <a:cubicBezTo>
                    <a:pt x="428988" y="168930"/>
                    <a:pt x="426269" y="185374"/>
                    <a:pt x="420826" y="200078"/>
                  </a:cubicBezTo>
                  <a:cubicBezTo>
                    <a:pt x="415384" y="214781"/>
                    <a:pt x="407568" y="227403"/>
                    <a:pt x="397383" y="237938"/>
                  </a:cubicBezTo>
                  <a:cubicBezTo>
                    <a:pt x="387193" y="248356"/>
                    <a:pt x="375038" y="256405"/>
                    <a:pt x="360909" y="262077"/>
                  </a:cubicBezTo>
                  <a:cubicBezTo>
                    <a:pt x="346896" y="267636"/>
                    <a:pt x="331211" y="270413"/>
                    <a:pt x="313842" y="270413"/>
                  </a:cubicBezTo>
                  <a:close/>
                  <a:moveTo>
                    <a:pt x="283964" y="17544"/>
                  </a:moveTo>
                  <a:lnTo>
                    <a:pt x="283964" y="270418"/>
                  </a:lnTo>
                  <a:lnTo>
                    <a:pt x="240369" y="270418"/>
                  </a:lnTo>
                  <a:lnTo>
                    <a:pt x="240369" y="17544"/>
                  </a:lnTo>
                  <a:lnTo>
                    <a:pt x="283964" y="17544"/>
                  </a:lnTo>
                  <a:close/>
                  <a:moveTo>
                    <a:pt x="519299" y="17544"/>
                  </a:moveTo>
                  <a:lnTo>
                    <a:pt x="519299" y="270418"/>
                  </a:lnTo>
                  <a:lnTo>
                    <a:pt x="475705" y="270418"/>
                  </a:lnTo>
                  <a:lnTo>
                    <a:pt x="475705" y="17544"/>
                  </a:lnTo>
                  <a:lnTo>
                    <a:pt x="519299" y="17544"/>
                  </a:lnTo>
                  <a:close/>
                  <a:moveTo>
                    <a:pt x="811424" y="188093"/>
                  </a:moveTo>
                  <a:lnTo>
                    <a:pt x="854843" y="188093"/>
                  </a:lnTo>
                  <a:cubicBezTo>
                    <a:pt x="853452" y="204650"/>
                    <a:pt x="848822" y="219411"/>
                    <a:pt x="840947" y="232383"/>
                  </a:cubicBezTo>
                  <a:cubicBezTo>
                    <a:pt x="833073" y="245233"/>
                    <a:pt x="822017" y="255365"/>
                    <a:pt x="807776" y="262777"/>
                  </a:cubicBezTo>
                  <a:cubicBezTo>
                    <a:pt x="793535" y="270185"/>
                    <a:pt x="776225" y="273891"/>
                    <a:pt x="755845" y="273891"/>
                  </a:cubicBezTo>
                  <a:cubicBezTo>
                    <a:pt x="740213" y="273891"/>
                    <a:pt x="726147" y="271114"/>
                    <a:pt x="713642" y="265554"/>
                  </a:cubicBezTo>
                  <a:cubicBezTo>
                    <a:pt x="701137" y="259878"/>
                    <a:pt x="690427" y="251892"/>
                    <a:pt x="681512" y="241585"/>
                  </a:cubicBezTo>
                  <a:cubicBezTo>
                    <a:pt x="672596" y="231162"/>
                    <a:pt x="665768" y="218604"/>
                    <a:pt x="661021" y="203896"/>
                  </a:cubicBezTo>
                  <a:cubicBezTo>
                    <a:pt x="656390" y="189192"/>
                    <a:pt x="654075" y="172748"/>
                    <a:pt x="654075" y="154572"/>
                  </a:cubicBezTo>
                  <a:lnTo>
                    <a:pt x="654075" y="133555"/>
                  </a:lnTo>
                  <a:cubicBezTo>
                    <a:pt x="654075" y="115374"/>
                    <a:pt x="656449" y="98935"/>
                    <a:pt x="661196" y="84231"/>
                  </a:cubicBezTo>
                  <a:cubicBezTo>
                    <a:pt x="666059" y="69528"/>
                    <a:pt x="673005" y="56965"/>
                    <a:pt x="682037" y="46547"/>
                  </a:cubicBezTo>
                  <a:cubicBezTo>
                    <a:pt x="691069" y="36012"/>
                    <a:pt x="701891" y="27962"/>
                    <a:pt x="714513" y="22403"/>
                  </a:cubicBezTo>
                  <a:cubicBezTo>
                    <a:pt x="727246" y="16843"/>
                    <a:pt x="741546" y="14066"/>
                    <a:pt x="757411" y="14066"/>
                  </a:cubicBezTo>
                  <a:cubicBezTo>
                    <a:pt x="777557" y="14066"/>
                    <a:pt x="794581" y="17772"/>
                    <a:pt x="808472" y="25180"/>
                  </a:cubicBezTo>
                  <a:cubicBezTo>
                    <a:pt x="822368" y="32592"/>
                    <a:pt x="833131" y="42836"/>
                    <a:pt x="840777" y="55919"/>
                  </a:cubicBezTo>
                  <a:cubicBezTo>
                    <a:pt x="848535" y="69003"/>
                    <a:pt x="853282" y="83998"/>
                    <a:pt x="855018" y="100900"/>
                  </a:cubicBezTo>
                  <a:lnTo>
                    <a:pt x="811599" y="100900"/>
                  </a:lnTo>
                  <a:cubicBezTo>
                    <a:pt x="810442" y="90015"/>
                    <a:pt x="807893" y="80695"/>
                    <a:pt x="803958" y="72938"/>
                  </a:cubicBezTo>
                  <a:cubicBezTo>
                    <a:pt x="800140" y="65180"/>
                    <a:pt x="794464" y="59275"/>
                    <a:pt x="786940" y="55224"/>
                  </a:cubicBezTo>
                  <a:cubicBezTo>
                    <a:pt x="779415" y="51055"/>
                    <a:pt x="769571" y="48969"/>
                    <a:pt x="757416" y="48969"/>
                  </a:cubicBezTo>
                  <a:cubicBezTo>
                    <a:pt x="747460" y="48969"/>
                    <a:pt x="738773" y="50822"/>
                    <a:pt x="731366" y="54528"/>
                  </a:cubicBezTo>
                  <a:cubicBezTo>
                    <a:pt x="723953" y="58234"/>
                    <a:pt x="717762" y="63677"/>
                    <a:pt x="712781" y="70856"/>
                  </a:cubicBezTo>
                  <a:cubicBezTo>
                    <a:pt x="707801" y="78035"/>
                    <a:pt x="704041" y="86892"/>
                    <a:pt x="701492" y="97427"/>
                  </a:cubicBezTo>
                  <a:cubicBezTo>
                    <a:pt x="699060" y="107845"/>
                    <a:pt x="697844" y="119771"/>
                    <a:pt x="697844" y="133205"/>
                  </a:cubicBezTo>
                  <a:lnTo>
                    <a:pt x="697844" y="154567"/>
                  </a:lnTo>
                  <a:cubicBezTo>
                    <a:pt x="697844" y="167300"/>
                    <a:pt x="698944" y="178881"/>
                    <a:pt x="701142" y="189299"/>
                  </a:cubicBezTo>
                  <a:cubicBezTo>
                    <a:pt x="703457" y="199606"/>
                    <a:pt x="706930" y="208463"/>
                    <a:pt x="711565" y="215870"/>
                  </a:cubicBezTo>
                  <a:cubicBezTo>
                    <a:pt x="716312" y="223283"/>
                    <a:pt x="722334" y="229012"/>
                    <a:pt x="729629" y="233064"/>
                  </a:cubicBezTo>
                  <a:cubicBezTo>
                    <a:pt x="736925" y="237116"/>
                    <a:pt x="745665" y="239144"/>
                    <a:pt x="755855" y="239144"/>
                  </a:cubicBezTo>
                  <a:cubicBezTo>
                    <a:pt x="768243" y="239144"/>
                    <a:pt x="778258" y="237174"/>
                    <a:pt x="785904" y="233239"/>
                  </a:cubicBezTo>
                  <a:cubicBezTo>
                    <a:pt x="793661" y="229304"/>
                    <a:pt x="799508" y="223570"/>
                    <a:pt x="803443" y="216046"/>
                  </a:cubicBezTo>
                  <a:cubicBezTo>
                    <a:pt x="807494" y="208405"/>
                    <a:pt x="810159" y="199085"/>
                    <a:pt x="811434" y="188084"/>
                  </a:cubicBezTo>
                  <a:close/>
                  <a:moveTo>
                    <a:pt x="882285" y="178541"/>
                  </a:moveTo>
                  <a:lnTo>
                    <a:pt x="882285" y="174548"/>
                  </a:lnTo>
                  <a:cubicBezTo>
                    <a:pt x="882285" y="161002"/>
                    <a:pt x="884255" y="148439"/>
                    <a:pt x="888190" y="136858"/>
                  </a:cubicBezTo>
                  <a:cubicBezTo>
                    <a:pt x="892124" y="125165"/>
                    <a:pt x="897800" y="115034"/>
                    <a:pt x="905208" y="106464"/>
                  </a:cubicBezTo>
                  <a:cubicBezTo>
                    <a:pt x="912732" y="97782"/>
                    <a:pt x="921881" y="91065"/>
                    <a:pt x="932650" y="86318"/>
                  </a:cubicBezTo>
                  <a:cubicBezTo>
                    <a:pt x="943535" y="81454"/>
                    <a:pt x="955806" y="79022"/>
                    <a:pt x="969469" y="79022"/>
                  </a:cubicBezTo>
                  <a:cubicBezTo>
                    <a:pt x="983131" y="79022"/>
                    <a:pt x="995519" y="81454"/>
                    <a:pt x="1006288" y="86318"/>
                  </a:cubicBezTo>
                  <a:cubicBezTo>
                    <a:pt x="1017173" y="91065"/>
                    <a:pt x="1026375" y="97782"/>
                    <a:pt x="1033899" y="106464"/>
                  </a:cubicBezTo>
                  <a:cubicBezTo>
                    <a:pt x="1041424" y="115034"/>
                    <a:pt x="1047158" y="125165"/>
                    <a:pt x="1051093" y="136858"/>
                  </a:cubicBezTo>
                  <a:cubicBezTo>
                    <a:pt x="1055028" y="148439"/>
                    <a:pt x="1056998" y="160997"/>
                    <a:pt x="1056998" y="174548"/>
                  </a:cubicBezTo>
                  <a:lnTo>
                    <a:pt x="1056998" y="178541"/>
                  </a:lnTo>
                  <a:cubicBezTo>
                    <a:pt x="1056998" y="192086"/>
                    <a:pt x="1055028" y="204650"/>
                    <a:pt x="1051093" y="216230"/>
                  </a:cubicBezTo>
                  <a:cubicBezTo>
                    <a:pt x="1047153" y="227806"/>
                    <a:pt x="1041424" y="237938"/>
                    <a:pt x="1033899" y="246624"/>
                  </a:cubicBezTo>
                  <a:cubicBezTo>
                    <a:pt x="1026375" y="255194"/>
                    <a:pt x="1017226" y="261906"/>
                    <a:pt x="1006458" y="266770"/>
                  </a:cubicBezTo>
                  <a:cubicBezTo>
                    <a:pt x="995689" y="271517"/>
                    <a:pt x="983476" y="273891"/>
                    <a:pt x="969814" y="273891"/>
                  </a:cubicBezTo>
                  <a:cubicBezTo>
                    <a:pt x="956151" y="273891"/>
                    <a:pt x="943705" y="271517"/>
                    <a:pt x="932820" y="266770"/>
                  </a:cubicBezTo>
                  <a:cubicBezTo>
                    <a:pt x="922051" y="261906"/>
                    <a:pt x="912907" y="255189"/>
                    <a:pt x="905378" y="246624"/>
                  </a:cubicBezTo>
                  <a:cubicBezTo>
                    <a:pt x="897854" y="237942"/>
                    <a:pt x="892119" y="227811"/>
                    <a:pt x="888185" y="216230"/>
                  </a:cubicBezTo>
                  <a:cubicBezTo>
                    <a:pt x="884245" y="204650"/>
                    <a:pt x="882280" y="192086"/>
                    <a:pt x="882280" y="178541"/>
                  </a:cubicBezTo>
                  <a:close/>
                  <a:moveTo>
                    <a:pt x="924143" y="174548"/>
                  </a:moveTo>
                  <a:lnTo>
                    <a:pt x="924143" y="178541"/>
                  </a:lnTo>
                  <a:cubicBezTo>
                    <a:pt x="924143" y="186994"/>
                    <a:pt x="925013" y="194980"/>
                    <a:pt x="926750" y="202510"/>
                  </a:cubicBezTo>
                  <a:cubicBezTo>
                    <a:pt x="928486" y="210034"/>
                    <a:pt x="931210" y="216634"/>
                    <a:pt x="934911" y="222310"/>
                  </a:cubicBezTo>
                  <a:cubicBezTo>
                    <a:pt x="938617" y="227981"/>
                    <a:pt x="943365" y="232441"/>
                    <a:pt x="949152" y="235681"/>
                  </a:cubicBezTo>
                  <a:cubicBezTo>
                    <a:pt x="954940" y="238925"/>
                    <a:pt x="961832" y="240545"/>
                    <a:pt x="969819" y="240545"/>
                  </a:cubicBezTo>
                  <a:cubicBezTo>
                    <a:pt x="977805" y="240545"/>
                    <a:pt x="984293" y="238925"/>
                    <a:pt x="989965" y="235681"/>
                  </a:cubicBezTo>
                  <a:cubicBezTo>
                    <a:pt x="995753" y="232441"/>
                    <a:pt x="1000500" y="227981"/>
                    <a:pt x="1004206" y="222310"/>
                  </a:cubicBezTo>
                  <a:cubicBezTo>
                    <a:pt x="1007912" y="216634"/>
                    <a:pt x="1010631" y="210039"/>
                    <a:pt x="1012367" y="202510"/>
                  </a:cubicBezTo>
                  <a:cubicBezTo>
                    <a:pt x="1014220" y="194985"/>
                    <a:pt x="1015145" y="186994"/>
                    <a:pt x="1015145" y="178541"/>
                  </a:cubicBezTo>
                  <a:lnTo>
                    <a:pt x="1015145" y="174548"/>
                  </a:lnTo>
                  <a:cubicBezTo>
                    <a:pt x="1015145" y="166211"/>
                    <a:pt x="1014220" y="158336"/>
                    <a:pt x="1012367" y="150929"/>
                  </a:cubicBezTo>
                  <a:cubicBezTo>
                    <a:pt x="1010631" y="143405"/>
                    <a:pt x="1007854" y="136746"/>
                    <a:pt x="1004031" y="130958"/>
                  </a:cubicBezTo>
                  <a:cubicBezTo>
                    <a:pt x="1000325" y="125170"/>
                    <a:pt x="995578" y="120652"/>
                    <a:pt x="989790" y="117412"/>
                  </a:cubicBezTo>
                  <a:cubicBezTo>
                    <a:pt x="984118" y="114056"/>
                    <a:pt x="977343" y="112378"/>
                    <a:pt x="969469" y="112378"/>
                  </a:cubicBezTo>
                  <a:cubicBezTo>
                    <a:pt x="961594" y="112378"/>
                    <a:pt x="954765" y="114056"/>
                    <a:pt x="948977" y="117412"/>
                  </a:cubicBezTo>
                  <a:cubicBezTo>
                    <a:pt x="943301" y="120657"/>
                    <a:pt x="938613" y="125170"/>
                    <a:pt x="934911" y="130958"/>
                  </a:cubicBezTo>
                  <a:cubicBezTo>
                    <a:pt x="931205" y="136746"/>
                    <a:pt x="928486" y="143405"/>
                    <a:pt x="926750" y="150929"/>
                  </a:cubicBezTo>
                  <a:cubicBezTo>
                    <a:pt x="925013" y="158341"/>
                    <a:pt x="924143" y="166211"/>
                    <a:pt x="924143" y="174548"/>
                  </a:cubicBezTo>
                  <a:close/>
                  <a:moveTo>
                    <a:pt x="1133598" y="122617"/>
                  </a:moveTo>
                  <a:lnTo>
                    <a:pt x="1133598" y="270418"/>
                  </a:lnTo>
                  <a:lnTo>
                    <a:pt x="1091745" y="270418"/>
                  </a:lnTo>
                  <a:lnTo>
                    <a:pt x="1091745" y="82495"/>
                  </a:lnTo>
                  <a:lnTo>
                    <a:pt x="1131171" y="82495"/>
                  </a:lnTo>
                  <a:lnTo>
                    <a:pt x="1133603" y="122617"/>
                  </a:lnTo>
                  <a:close/>
                  <a:moveTo>
                    <a:pt x="1126132" y="169509"/>
                  </a:moveTo>
                  <a:lnTo>
                    <a:pt x="1112586" y="169334"/>
                  </a:lnTo>
                  <a:cubicBezTo>
                    <a:pt x="1112703" y="156016"/>
                    <a:pt x="1114556" y="143803"/>
                    <a:pt x="1118145" y="132690"/>
                  </a:cubicBezTo>
                  <a:cubicBezTo>
                    <a:pt x="1121852" y="121576"/>
                    <a:pt x="1126944" y="112023"/>
                    <a:pt x="1133428" y="104032"/>
                  </a:cubicBezTo>
                  <a:cubicBezTo>
                    <a:pt x="1140028" y="96041"/>
                    <a:pt x="1147902" y="89908"/>
                    <a:pt x="1157046" y="85623"/>
                  </a:cubicBezTo>
                  <a:cubicBezTo>
                    <a:pt x="1166195" y="81226"/>
                    <a:pt x="1176385" y="79022"/>
                    <a:pt x="1187615" y="79022"/>
                  </a:cubicBezTo>
                  <a:cubicBezTo>
                    <a:pt x="1196647" y="79022"/>
                    <a:pt x="1204809" y="80297"/>
                    <a:pt x="1212105" y="82840"/>
                  </a:cubicBezTo>
                  <a:cubicBezTo>
                    <a:pt x="1219517" y="85272"/>
                    <a:pt x="1225825" y="89265"/>
                    <a:pt x="1231034" y="94825"/>
                  </a:cubicBezTo>
                  <a:cubicBezTo>
                    <a:pt x="1236360" y="100384"/>
                    <a:pt x="1240412" y="107617"/>
                    <a:pt x="1243189" y="116532"/>
                  </a:cubicBezTo>
                  <a:cubicBezTo>
                    <a:pt x="1245966" y="125331"/>
                    <a:pt x="1247357" y="136157"/>
                    <a:pt x="1247357" y="149013"/>
                  </a:cubicBezTo>
                  <a:lnTo>
                    <a:pt x="1247357" y="270413"/>
                  </a:lnTo>
                  <a:lnTo>
                    <a:pt x="1205329" y="270413"/>
                  </a:lnTo>
                  <a:lnTo>
                    <a:pt x="1205329" y="148837"/>
                  </a:lnTo>
                  <a:cubicBezTo>
                    <a:pt x="1205329" y="139805"/>
                    <a:pt x="1203996" y="132685"/>
                    <a:pt x="1201336" y="127476"/>
                  </a:cubicBezTo>
                  <a:cubicBezTo>
                    <a:pt x="1198787" y="122150"/>
                    <a:pt x="1195028" y="118385"/>
                    <a:pt x="1190047" y="116187"/>
                  </a:cubicBezTo>
                  <a:cubicBezTo>
                    <a:pt x="1185183" y="113872"/>
                    <a:pt x="1179104" y="112714"/>
                    <a:pt x="1171813" y="112714"/>
                  </a:cubicBezTo>
                  <a:cubicBezTo>
                    <a:pt x="1164522" y="112714"/>
                    <a:pt x="1158209" y="114217"/>
                    <a:pt x="1152533" y="117228"/>
                  </a:cubicBezTo>
                  <a:cubicBezTo>
                    <a:pt x="1146861" y="120238"/>
                    <a:pt x="1142056" y="124348"/>
                    <a:pt x="1138116" y="129557"/>
                  </a:cubicBezTo>
                  <a:cubicBezTo>
                    <a:pt x="1134293" y="134766"/>
                    <a:pt x="1131341" y="140788"/>
                    <a:pt x="1129259" y="147621"/>
                  </a:cubicBezTo>
                  <a:cubicBezTo>
                    <a:pt x="1127178" y="154450"/>
                    <a:pt x="1126132" y="161746"/>
                    <a:pt x="1126132" y="169504"/>
                  </a:cubicBezTo>
                  <a:close/>
                  <a:moveTo>
                    <a:pt x="1346701" y="270418"/>
                  </a:moveTo>
                  <a:lnTo>
                    <a:pt x="1304843" y="270418"/>
                  </a:lnTo>
                  <a:lnTo>
                    <a:pt x="1304843" y="64436"/>
                  </a:lnTo>
                  <a:cubicBezTo>
                    <a:pt x="1304843" y="50428"/>
                    <a:pt x="1307450" y="38672"/>
                    <a:pt x="1312659" y="29178"/>
                  </a:cubicBezTo>
                  <a:cubicBezTo>
                    <a:pt x="1317985" y="19567"/>
                    <a:pt x="1325567" y="12330"/>
                    <a:pt x="1335412" y="7471"/>
                  </a:cubicBezTo>
                  <a:cubicBezTo>
                    <a:pt x="1345256" y="2490"/>
                    <a:pt x="1356890" y="0"/>
                    <a:pt x="1370319" y="0"/>
                  </a:cubicBezTo>
                  <a:cubicBezTo>
                    <a:pt x="1374488" y="0"/>
                    <a:pt x="1378597" y="292"/>
                    <a:pt x="1382649" y="871"/>
                  </a:cubicBezTo>
                  <a:cubicBezTo>
                    <a:pt x="1386701" y="1333"/>
                    <a:pt x="1390640" y="2087"/>
                    <a:pt x="1394458" y="3127"/>
                  </a:cubicBezTo>
                  <a:lnTo>
                    <a:pt x="1393418" y="35433"/>
                  </a:lnTo>
                  <a:cubicBezTo>
                    <a:pt x="1391102" y="34854"/>
                    <a:pt x="1388554" y="34450"/>
                    <a:pt x="1385776" y="34217"/>
                  </a:cubicBezTo>
                  <a:cubicBezTo>
                    <a:pt x="1383116" y="33983"/>
                    <a:pt x="1380217" y="33872"/>
                    <a:pt x="1377095" y="33872"/>
                  </a:cubicBezTo>
                  <a:cubicBezTo>
                    <a:pt x="1370728" y="33872"/>
                    <a:pt x="1365227" y="35088"/>
                    <a:pt x="1360596" y="37519"/>
                  </a:cubicBezTo>
                  <a:cubicBezTo>
                    <a:pt x="1356083" y="39835"/>
                    <a:pt x="1352605" y="43249"/>
                    <a:pt x="1350178" y="47767"/>
                  </a:cubicBezTo>
                  <a:cubicBezTo>
                    <a:pt x="1347863" y="52286"/>
                    <a:pt x="1346706" y="57840"/>
                    <a:pt x="1346706" y="64441"/>
                  </a:cubicBezTo>
                  <a:lnTo>
                    <a:pt x="1346706" y="270423"/>
                  </a:lnTo>
                  <a:close/>
                  <a:moveTo>
                    <a:pt x="1385431" y="82500"/>
                  </a:moveTo>
                  <a:lnTo>
                    <a:pt x="1385431" y="113069"/>
                  </a:lnTo>
                  <a:lnTo>
                    <a:pt x="1276015" y="113069"/>
                  </a:lnTo>
                  <a:lnTo>
                    <a:pt x="1276015" y="82500"/>
                  </a:lnTo>
                  <a:lnTo>
                    <a:pt x="1385431" y="82500"/>
                  </a:lnTo>
                  <a:close/>
                </a:path>
              </a:pathLst>
            </a:custGeom>
            <a:solidFill>
              <a:srgbClr val="EE3431"/>
            </a:solidFill>
            <a:ln w="4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6" name="Полилиния: фигура 45">
              <a:extLst>
                <a:ext uri="{FF2B5EF4-FFF2-40B4-BE49-F238E27FC236}">
                  <a16:creationId xmlns:a16="http://schemas.microsoft.com/office/drawing/2014/main" id="{EB80AEA3-6D76-4813-B83E-E98064CA7762}"/>
                </a:ext>
              </a:extLst>
            </p:cNvPr>
            <p:cNvSpPr/>
            <p:nvPr/>
          </p:nvSpPr>
          <p:spPr>
            <a:xfrm>
              <a:off x="7406975" y="5855999"/>
              <a:ext cx="1394458" cy="273890"/>
            </a:xfrm>
            <a:custGeom>
              <a:avLst/>
              <a:gdLst>
                <a:gd name="connsiteX0" fmla="*/ 157354 w 1394458"/>
                <a:gd name="connsiteY0" fmla="*/ 188093 h 273890"/>
                <a:gd name="connsiteX1" fmla="*/ 200773 w 1394458"/>
                <a:gd name="connsiteY1" fmla="*/ 188093 h 273890"/>
                <a:gd name="connsiteX2" fmla="*/ 186877 w 1394458"/>
                <a:gd name="connsiteY2" fmla="*/ 232383 h 273890"/>
                <a:gd name="connsiteX3" fmla="*/ 153706 w 1394458"/>
                <a:gd name="connsiteY3" fmla="*/ 262777 h 273890"/>
                <a:gd name="connsiteX4" fmla="*/ 101775 w 1394458"/>
                <a:gd name="connsiteY4" fmla="*/ 273891 h 273890"/>
                <a:gd name="connsiteX5" fmla="*/ 59572 w 1394458"/>
                <a:gd name="connsiteY5" fmla="*/ 265554 h 273890"/>
                <a:gd name="connsiteX6" fmla="*/ 27442 w 1394458"/>
                <a:gd name="connsiteY6" fmla="*/ 241585 h 273890"/>
                <a:gd name="connsiteX7" fmla="*/ 6950 w 1394458"/>
                <a:gd name="connsiteY7" fmla="*/ 203901 h 273890"/>
                <a:gd name="connsiteX8" fmla="*/ 0 w 1394458"/>
                <a:gd name="connsiteY8" fmla="*/ 154572 h 273890"/>
                <a:gd name="connsiteX9" fmla="*/ 0 w 1394458"/>
                <a:gd name="connsiteY9" fmla="*/ 133555 h 273890"/>
                <a:gd name="connsiteX10" fmla="*/ 7121 w 1394458"/>
                <a:gd name="connsiteY10" fmla="*/ 84231 h 273890"/>
                <a:gd name="connsiteX11" fmla="*/ 27962 w 1394458"/>
                <a:gd name="connsiteY11" fmla="*/ 46542 h 273890"/>
                <a:gd name="connsiteX12" fmla="*/ 60438 w 1394458"/>
                <a:gd name="connsiteY12" fmla="*/ 22403 h 273890"/>
                <a:gd name="connsiteX13" fmla="*/ 103336 w 1394458"/>
                <a:gd name="connsiteY13" fmla="*/ 14066 h 273890"/>
                <a:gd name="connsiteX14" fmla="*/ 154397 w 1394458"/>
                <a:gd name="connsiteY14" fmla="*/ 25180 h 273890"/>
                <a:gd name="connsiteX15" fmla="*/ 186702 w 1394458"/>
                <a:gd name="connsiteY15" fmla="*/ 55919 h 273890"/>
                <a:gd name="connsiteX16" fmla="*/ 200943 w 1394458"/>
                <a:gd name="connsiteY16" fmla="*/ 100900 h 273890"/>
                <a:gd name="connsiteX17" fmla="*/ 157524 w 1394458"/>
                <a:gd name="connsiteY17" fmla="*/ 100900 h 273890"/>
                <a:gd name="connsiteX18" fmla="*/ 149883 w 1394458"/>
                <a:gd name="connsiteY18" fmla="*/ 72938 h 273890"/>
                <a:gd name="connsiteX19" fmla="*/ 132865 w 1394458"/>
                <a:gd name="connsiteY19" fmla="*/ 55224 h 273890"/>
                <a:gd name="connsiteX20" fmla="*/ 103341 w 1394458"/>
                <a:gd name="connsiteY20" fmla="*/ 48969 h 273890"/>
                <a:gd name="connsiteX21" fmla="*/ 77291 w 1394458"/>
                <a:gd name="connsiteY21" fmla="*/ 54528 h 273890"/>
                <a:gd name="connsiteX22" fmla="*/ 58706 w 1394458"/>
                <a:gd name="connsiteY22" fmla="*/ 70856 h 273890"/>
                <a:gd name="connsiteX23" fmla="*/ 47417 w 1394458"/>
                <a:gd name="connsiteY23" fmla="*/ 97427 h 273890"/>
                <a:gd name="connsiteX24" fmla="*/ 43769 w 1394458"/>
                <a:gd name="connsiteY24" fmla="*/ 133205 h 273890"/>
                <a:gd name="connsiteX25" fmla="*/ 43769 w 1394458"/>
                <a:gd name="connsiteY25" fmla="*/ 154567 h 273890"/>
                <a:gd name="connsiteX26" fmla="*/ 47067 w 1394458"/>
                <a:gd name="connsiteY26" fmla="*/ 189304 h 273890"/>
                <a:gd name="connsiteX27" fmla="*/ 57490 w 1394458"/>
                <a:gd name="connsiteY27" fmla="*/ 215875 h 273890"/>
                <a:gd name="connsiteX28" fmla="*/ 75550 w 1394458"/>
                <a:gd name="connsiteY28" fmla="*/ 233069 h 273890"/>
                <a:gd name="connsiteX29" fmla="*/ 101775 w 1394458"/>
                <a:gd name="connsiteY29" fmla="*/ 239149 h 273890"/>
                <a:gd name="connsiteX30" fmla="*/ 131824 w 1394458"/>
                <a:gd name="connsiteY30" fmla="*/ 233244 h 273890"/>
                <a:gd name="connsiteX31" fmla="*/ 149363 w 1394458"/>
                <a:gd name="connsiteY31" fmla="*/ 216050 h 273890"/>
                <a:gd name="connsiteX32" fmla="*/ 157354 w 1394458"/>
                <a:gd name="connsiteY32" fmla="*/ 188088 h 273890"/>
                <a:gd name="connsiteX33" fmla="*/ 313837 w 1394458"/>
                <a:gd name="connsiteY33" fmla="*/ 270418 h 273890"/>
                <a:gd name="connsiteX34" fmla="*/ 259825 w 1394458"/>
                <a:gd name="connsiteY34" fmla="*/ 270418 h 273890"/>
                <a:gd name="connsiteX35" fmla="*/ 260170 w 1394458"/>
                <a:gd name="connsiteY35" fmla="*/ 235856 h 273890"/>
                <a:gd name="connsiteX36" fmla="*/ 313837 w 1394458"/>
                <a:gd name="connsiteY36" fmla="*/ 235856 h 273890"/>
                <a:gd name="connsiteX37" fmla="*/ 353088 w 1394458"/>
                <a:gd name="connsiteY37" fmla="*/ 225608 h 273890"/>
                <a:gd name="connsiteX38" fmla="*/ 377057 w 1394458"/>
                <a:gd name="connsiteY38" fmla="*/ 196255 h 273890"/>
                <a:gd name="connsiteX39" fmla="*/ 385218 w 1394458"/>
                <a:gd name="connsiteY39" fmla="*/ 150754 h 273890"/>
                <a:gd name="connsiteX40" fmla="*/ 385218 w 1394458"/>
                <a:gd name="connsiteY40" fmla="*/ 137033 h 273890"/>
                <a:gd name="connsiteX41" fmla="*/ 380530 w 1394458"/>
                <a:gd name="connsiteY41" fmla="*/ 100734 h 273890"/>
                <a:gd name="connsiteX42" fmla="*/ 366984 w 1394458"/>
                <a:gd name="connsiteY42" fmla="*/ 74163 h 273890"/>
                <a:gd name="connsiteX43" fmla="*/ 345102 w 1394458"/>
                <a:gd name="connsiteY43" fmla="*/ 57840 h 273890"/>
                <a:gd name="connsiteX44" fmla="*/ 315403 w 1394458"/>
                <a:gd name="connsiteY44" fmla="*/ 52281 h 273890"/>
                <a:gd name="connsiteX45" fmla="*/ 258784 w 1394458"/>
                <a:gd name="connsiteY45" fmla="*/ 52281 h 273890"/>
                <a:gd name="connsiteX46" fmla="*/ 258784 w 1394458"/>
                <a:gd name="connsiteY46" fmla="*/ 17544 h 273890"/>
                <a:gd name="connsiteX47" fmla="*/ 315403 w 1394458"/>
                <a:gd name="connsiteY47" fmla="*/ 17544 h 273890"/>
                <a:gd name="connsiteX48" fmla="*/ 361429 w 1394458"/>
                <a:gd name="connsiteY48" fmla="*/ 26055 h 273890"/>
                <a:gd name="connsiteX49" fmla="*/ 397383 w 1394458"/>
                <a:gd name="connsiteY49" fmla="*/ 50195 h 273890"/>
                <a:gd name="connsiteX50" fmla="*/ 420826 w 1394458"/>
                <a:gd name="connsiteY50" fmla="*/ 88054 h 273890"/>
                <a:gd name="connsiteX51" fmla="*/ 428988 w 1394458"/>
                <a:gd name="connsiteY51" fmla="*/ 137378 h 273890"/>
                <a:gd name="connsiteX52" fmla="*/ 428988 w 1394458"/>
                <a:gd name="connsiteY52" fmla="*/ 150754 h 273890"/>
                <a:gd name="connsiteX53" fmla="*/ 420826 w 1394458"/>
                <a:gd name="connsiteY53" fmla="*/ 200078 h 273890"/>
                <a:gd name="connsiteX54" fmla="*/ 397383 w 1394458"/>
                <a:gd name="connsiteY54" fmla="*/ 237938 h 273890"/>
                <a:gd name="connsiteX55" fmla="*/ 360909 w 1394458"/>
                <a:gd name="connsiteY55" fmla="*/ 262077 h 273890"/>
                <a:gd name="connsiteX56" fmla="*/ 313842 w 1394458"/>
                <a:gd name="connsiteY56" fmla="*/ 270413 h 273890"/>
                <a:gd name="connsiteX57" fmla="*/ 283964 w 1394458"/>
                <a:gd name="connsiteY57" fmla="*/ 17544 h 273890"/>
                <a:gd name="connsiteX58" fmla="*/ 283964 w 1394458"/>
                <a:gd name="connsiteY58" fmla="*/ 270418 h 273890"/>
                <a:gd name="connsiteX59" fmla="*/ 240369 w 1394458"/>
                <a:gd name="connsiteY59" fmla="*/ 270418 h 273890"/>
                <a:gd name="connsiteX60" fmla="*/ 240369 w 1394458"/>
                <a:gd name="connsiteY60" fmla="*/ 17544 h 273890"/>
                <a:gd name="connsiteX61" fmla="*/ 283964 w 1394458"/>
                <a:gd name="connsiteY61" fmla="*/ 17544 h 273890"/>
                <a:gd name="connsiteX62" fmla="*/ 519299 w 1394458"/>
                <a:gd name="connsiteY62" fmla="*/ 17544 h 273890"/>
                <a:gd name="connsiteX63" fmla="*/ 519299 w 1394458"/>
                <a:gd name="connsiteY63" fmla="*/ 270418 h 273890"/>
                <a:gd name="connsiteX64" fmla="*/ 475705 w 1394458"/>
                <a:gd name="connsiteY64" fmla="*/ 270418 h 273890"/>
                <a:gd name="connsiteX65" fmla="*/ 475705 w 1394458"/>
                <a:gd name="connsiteY65" fmla="*/ 17544 h 273890"/>
                <a:gd name="connsiteX66" fmla="*/ 519299 w 1394458"/>
                <a:gd name="connsiteY66" fmla="*/ 17544 h 273890"/>
                <a:gd name="connsiteX67" fmla="*/ 811424 w 1394458"/>
                <a:gd name="connsiteY67" fmla="*/ 188093 h 273890"/>
                <a:gd name="connsiteX68" fmla="*/ 854843 w 1394458"/>
                <a:gd name="connsiteY68" fmla="*/ 188093 h 273890"/>
                <a:gd name="connsiteX69" fmla="*/ 840947 w 1394458"/>
                <a:gd name="connsiteY69" fmla="*/ 232383 h 273890"/>
                <a:gd name="connsiteX70" fmla="*/ 807776 w 1394458"/>
                <a:gd name="connsiteY70" fmla="*/ 262777 h 273890"/>
                <a:gd name="connsiteX71" fmla="*/ 755845 w 1394458"/>
                <a:gd name="connsiteY71" fmla="*/ 273891 h 273890"/>
                <a:gd name="connsiteX72" fmla="*/ 713642 w 1394458"/>
                <a:gd name="connsiteY72" fmla="*/ 265554 h 273890"/>
                <a:gd name="connsiteX73" fmla="*/ 681512 w 1394458"/>
                <a:gd name="connsiteY73" fmla="*/ 241585 h 273890"/>
                <a:gd name="connsiteX74" fmla="*/ 661021 w 1394458"/>
                <a:gd name="connsiteY74" fmla="*/ 203901 h 273890"/>
                <a:gd name="connsiteX75" fmla="*/ 654075 w 1394458"/>
                <a:gd name="connsiteY75" fmla="*/ 154577 h 273890"/>
                <a:gd name="connsiteX76" fmla="*/ 654075 w 1394458"/>
                <a:gd name="connsiteY76" fmla="*/ 133560 h 273890"/>
                <a:gd name="connsiteX77" fmla="*/ 661196 w 1394458"/>
                <a:gd name="connsiteY77" fmla="*/ 84236 h 273890"/>
                <a:gd name="connsiteX78" fmla="*/ 682037 w 1394458"/>
                <a:gd name="connsiteY78" fmla="*/ 46547 h 273890"/>
                <a:gd name="connsiteX79" fmla="*/ 714513 w 1394458"/>
                <a:gd name="connsiteY79" fmla="*/ 22408 h 273890"/>
                <a:gd name="connsiteX80" fmla="*/ 757411 w 1394458"/>
                <a:gd name="connsiteY80" fmla="*/ 14071 h 273890"/>
                <a:gd name="connsiteX81" fmla="*/ 808472 w 1394458"/>
                <a:gd name="connsiteY81" fmla="*/ 25185 h 273890"/>
                <a:gd name="connsiteX82" fmla="*/ 840777 w 1394458"/>
                <a:gd name="connsiteY82" fmla="*/ 55924 h 273890"/>
                <a:gd name="connsiteX83" fmla="*/ 855018 w 1394458"/>
                <a:gd name="connsiteY83" fmla="*/ 100905 h 273890"/>
                <a:gd name="connsiteX84" fmla="*/ 811599 w 1394458"/>
                <a:gd name="connsiteY84" fmla="*/ 100905 h 273890"/>
                <a:gd name="connsiteX85" fmla="*/ 803958 w 1394458"/>
                <a:gd name="connsiteY85" fmla="*/ 72943 h 273890"/>
                <a:gd name="connsiteX86" fmla="*/ 786940 w 1394458"/>
                <a:gd name="connsiteY86" fmla="*/ 55229 h 273890"/>
                <a:gd name="connsiteX87" fmla="*/ 757416 w 1394458"/>
                <a:gd name="connsiteY87" fmla="*/ 48974 h 273890"/>
                <a:gd name="connsiteX88" fmla="*/ 731366 w 1394458"/>
                <a:gd name="connsiteY88" fmla="*/ 54533 h 273890"/>
                <a:gd name="connsiteX89" fmla="*/ 712781 w 1394458"/>
                <a:gd name="connsiteY89" fmla="*/ 70861 h 273890"/>
                <a:gd name="connsiteX90" fmla="*/ 701492 w 1394458"/>
                <a:gd name="connsiteY90" fmla="*/ 97432 h 273890"/>
                <a:gd name="connsiteX91" fmla="*/ 697844 w 1394458"/>
                <a:gd name="connsiteY91" fmla="*/ 133210 h 273890"/>
                <a:gd name="connsiteX92" fmla="*/ 697844 w 1394458"/>
                <a:gd name="connsiteY92" fmla="*/ 154572 h 273890"/>
                <a:gd name="connsiteX93" fmla="*/ 701142 w 1394458"/>
                <a:gd name="connsiteY93" fmla="*/ 189309 h 273890"/>
                <a:gd name="connsiteX94" fmla="*/ 711565 w 1394458"/>
                <a:gd name="connsiteY94" fmla="*/ 215880 h 273890"/>
                <a:gd name="connsiteX95" fmla="*/ 729629 w 1394458"/>
                <a:gd name="connsiteY95" fmla="*/ 233074 h 273890"/>
                <a:gd name="connsiteX96" fmla="*/ 755855 w 1394458"/>
                <a:gd name="connsiteY96" fmla="*/ 239154 h 273890"/>
                <a:gd name="connsiteX97" fmla="*/ 785904 w 1394458"/>
                <a:gd name="connsiteY97" fmla="*/ 233249 h 273890"/>
                <a:gd name="connsiteX98" fmla="*/ 803443 w 1394458"/>
                <a:gd name="connsiteY98" fmla="*/ 216055 h 273890"/>
                <a:gd name="connsiteX99" fmla="*/ 811434 w 1394458"/>
                <a:gd name="connsiteY99" fmla="*/ 188093 h 273890"/>
                <a:gd name="connsiteX100" fmla="*/ 882285 w 1394458"/>
                <a:gd name="connsiteY100" fmla="*/ 178541 h 273890"/>
                <a:gd name="connsiteX101" fmla="*/ 882285 w 1394458"/>
                <a:gd name="connsiteY101" fmla="*/ 174548 h 273890"/>
                <a:gd name="connsiteX102" fmla="*/ 888190 w 1394458"/>
                <a:gd name="connsiteY102" fmla="*/ 136858 h 273890"/>
                <a:gd name="connsiteX103" fmla="*/ 905208 w 1394458"/>
                <a:gd name="connsiteY103" fmla="*/ 106464 h 273890"/>
                <a:gd name="connsiteX104" fmla="*/ 932650 w 1394458"/>
                <a:gd name="connsiteY104" fmla="*/ 86318 h 273890"/>
                <a:gd name="connsiteX105" fmla="*/ 969469 w 1394458"/>
                <a:gd name="connsiteY105" fmla="*/ 79022 h 273890"/>
                <a:gd name="connsiteX106" fmla="*/ 1006288 w 1394458"/>
                <a:gd name="connsiteY106" fmla="*/ 86318 h 273890"/>
                <a:gd name="connsiteX107" fmla="*/ 1033899 w 1394458"/>
                <a:gd name="connsiteY107" fmla="*/ 106464 h 273890"/>
                <a:gd name="connsiteX108" fmla="*/ 1051093 w 1394458"/>
                <a:gd name="connsiteY108" fmla="*/ 136858 h 273890"/>
                <a:gd name="connsiteX109" fmla="*/ 1056998 w 1394458"/>
                <a:gd name="connsiteY109" fmla="*/ 174548 h 273890"/>
                <a:gd name="connsiteX110" fmla="*/ 1056998 w 1394458"/>
                <a:gd name="connsiteY110" fmla="*/ 178541 h 273890"/>
                <a:gd name="connsiteX111" fmla="*/ 1051093 w 1394458"/>
                <a:gd name="connsiteY111" fmla="*/ 216226 h 273890"/>
                <a:gd name="connsiteX112" fmla="*/ 1033899 w 1394458"/>
                <a:gd name="connsiteY112" fmla="*/ 246619 h 273890"/>
                <a:gd name="connsiteX113" fmla="*/ 1006458 w 1394458"/>
                <a:gd name="connsiteY113" fmla="*/ 266765 h 273890"/>
                <a:gd name="connsiteX114" fmla="*/ 969814 w 1394458"/>
                <a:gd name="connsiteY114" fmla="*/ 273886 h 273890"/>
                <a:gd name="connsiteX115" fmla="*/ 932820 w 1394458"/>
                <a:gd name="connsiteY115" fmla="*/ 266765 h 273890"/>
                <a:gd name="connsiteX116" fmla="*/ 905378 w 1394458"/>
                <a:gd name="connsiteY116" fmla="*/ 246619 h 273890"/>
                <a:gd name="connsiteX117" fmla="*/ 888185 w 1394458"/>
                <a:gd name="connsiteY117" fmla="*/ 216226 h 273890"/>
                <a:gd name="connsiteX118" fmla="*/ 882280 w 1394458"/>
                <a:gd name="connsiteY118" fmla="*/ 178541 h 273890"/>
                <a:gd name="connsiteX119" fmla="*/ 924143 w 1394458"/>
                <a:gd name="connsiteY119" fmla="*/ 174548 h 273890"/>
                <a:gd name="connsiteX120" fmla="*/ 924143 w 1394458"/>
                <a:gd name="connsiteY120" fmla="*/ 178541 h 273890"/>
                <a:gd name="connsiteX121" fmla="*/ 926750 w 1394458"/>
                <a:gd name="connsiteY121" fmla="*/ 202510 h 273890"/>
                <a:gd name="connsiteX122" fmla="*/ 934911 w 1394458"/>
                <a:gd name="connsiteY122" fmla="*/ 222310 h 273890"/>
                <a:gd name="connsiteX123" fmla="*/ 949152 w 1394458"/>
                <a:gd name="connsiteY123" fmla="*/ 235681 h 273890"/>
                <a:gd name="connsiteX124" fmla="*/ 969819 w 1394458"/>
                <a:gd name="connsiteY124" fmla="*/ 240545 h 273890"/>
                <a:gd name="connsiteX125" fmla="*/ 989965 w 1394458"/>
                <a:gd name="connsiteY125" fmla="*/ 235681 h 273890"/>
                <a:gd name="connsiteX126" fmla="*/ 1004206 w 1394458"/>
                <a:gd name="connsiteY126" fmla="*/ 222310 h 273890"/>
                <a:gd name="connsiteX127" fmla="*/ 1012367 w 1394458"/>
                <a:gd name="connsiteY127" fmla="*/ 202510 h 273890"/>
                <a:gd name="connsiteX128" fmla="*/ 1015145 w 1394458"/>
                <a:gd name="connsiteY128" fmla="*/ 178541 h 273890"/>
                <a:gd name="connsiteX129" fmla="*/ 1015145 w 1394458"/>
                <a:gd name="connsiteY129" fmla="*/ 174548 h 273890"/>
                <a:gd name="connsiteX130" fmla="*/ 1012367 w 1394458"/>
                <a:gd name="connsiteY130" fmla="*/ 150929 h 273890"/>
                <a:gd name="connsiteX131" fmla="*/ 1004031 w 1394458"/>
                <a:gd name="connsiteY131" fmla="*/ 130958 h 273890"/>
                <a:gd name="connsiteX132" fmla="*/ 989790 w 1394458"/>
                <a:gd name="connsiteY132" fmla="*/ 117412 h 273890"/>
                <a:gd name="connsiteX133" fmla="*/ 969469 w 1394458"/>
                <a:gd name="connsiteY133" fmla="*/ 112373 h 273890"/>
                <a:gd name="connsiteX134" fmla="*/ 948977 w 1394458"/>
                <a:gd name="connsiteY134" fmla="*/ 117412 h 273890"/>
                <a:gd name="connsiteX135" fmla="*/ 934911 w 1394458"/>
                <a:gd name="connsiteY135" fmla="*/ 130958 h 273890"/>
                <a:gd name="connsiteX136" fmla="*/ 926750 w 1394458"/>
                <a:gd name="connsiteY136" fmla="*/ 150929 h 273890"/>
                <a:gd name="connsiteX137" fmla="*/ 924143 w 1394458"/>
                <a:gd name="connsiteY137" fmla="*/ 174548 h 273890"/>
                <a:gd name="connsiteX138" fmla="*/ 1133598 w 1394458"/>
                <a:gd name="connsiteY138" fmla="*/ 122617 h 273890"/>
                <a:gd name="connsiteX139" fmla="*/ 1133598 w 1394458"/>
                <a:gd name="connsiteY139" fmla="*/ 270418 h 273890"/>
                <a:gd name="connsiteX140" fmla="*/ 1091745 w 1394458"/>
                <a:gd name="connsiteY140" fmla="*/ 270418 h 273890"/>
                <a:gd name="connsiteX141" fmla="*/ 1091745 w 1394458"/>
                <a:gd name="connsiteY141" fmla="*/ 82495 h 273890"/>
                <a:gd name="connsiteX142" fmla="*/ 1131171 w 1394458"/>
                <a:gd name="connsiteY142" fmla="*/ 82495 h 273890"/>
                <a:gd name="connsiteX143" fmla="*/ 1133603 w 1394458"/>
                <a:gd name="connsiteY143" fmla="*/ 122617 h 273890"/>
                <a:gd name="connsiteX144" fmla="*/ 1126132 w 1394458"/>
                <a:gd name="connsiteY144" fmla="*/ 169509 h 273890"/>
                <a:gd name="connsiteX145" fmla="*/ 1112586 w 1394458"/>
                <a:gd name="connsiteY145" fmla="*/ 169334 h 273890"/>
                <a:gd name="connsiteX146" fmla="*/ 1118145 w 1394458"/>
                <a:gd name="connsiteY146" fmla="*/ 132690 h 273890"/>
                <a:gd name="connsiteX147" fmla="*/ 1133428 w 1394458"/>
                <a:gd name="connsiteY147" fmla="*/ 104032 h 273890"/>
                <a:gd name="connsiteX148" fmla="*/ 1157046 w 1394458"/>
                <a:gd name="connsiteY148" fmla="*/ 85623 h 273890"/>
                <a:gd name="connsiteX149" fmla="*/ 1187615 w 1394458"/>
                <a:gd name="connsiteY149" fmla="*/ 79022 h 273890"/>
                <a:gd name="connsiteX150" fmla="*/ 1212105 w 1394458"/>
                <a:gd name="connsiteY150" fmla="*/ 82840 h 273890"/>
                <a:gd name="connsiteX151" fmla="*/ 1231034 w 1394458"/>
                <a:gd name="connsiteY151" fmla="*/ 94825 h 273890"/>
                <a:gd name="connsiteX152" fmla="*/ 1243189 w 1394458"/>
                <a:gd name="connsiteY152" fmla="*/ 116532 h 273890"/>
                <a:gd name="connsiteX153" fmla="*/ 1247357 w 1394458"/>
                <a:gd name="connsiteY153" fmla="*/ 149008 h 273890"/>
                <a:gd name="connsiteX154" fmla="*/ 1247357 w 1394458"/>
                <a:gd name="connsiteY154" fmla="*/ 270408 h 273890"/>
                <a:gd name="connsiteX155" fmla="*/ 1205329 w 1394458"/>
                <a:gd name="connsiteY155" fmla="*/ 270408 h 273890"/>
                <a:gd name="connsiteX156" fmla="*/ 1205329 w 1394458"/>
                <a:gd name="connsiteY156" fmla="*/ 148833 h 273890"/>
                <a:gd name="connsiteX157" fmla="*/ 1201336 w 1394458"/>
                <a:gd name="connsiteY157" fmla="*/ 127471 h 273890"/>
                <a:gd name="connsiteX158" fmla="*/ 1190047 w 1394458"/>
                <a:gd name="connsiteY158" fmla="*/ 116182 h 273890"/>
                <a:gd name="connsiteX159" fmla="*/ 1171813 w 1394458"/>
                <a:gd name="connsiteY159" fmla="*/ 112709 h 273890"/>
                <a:gd name="connsiteX160" fmla="*/ 1152533 w 1394458"/>
                <a:gd name="connsiteY160" fmla="*/ 117223 h 273890"/>
                <a:gd name="connsiteX161" fmla="*/ 1138116 w 1394458"/>
                <a:gd name="connsiteY161" fmla="*/ 129552 h 273890"/>
                <a:gd name="connsiteX162" fmla="*/ 1129259 w 1394458"/>
                <a:gd name="connsiteY162" fmla="*/ 147617 h 273890"/>
                <a:gd name="connsiteX163" fmla="*/ 1126132 w 1394458"/>
                <a:gd name="connsiteY163" fmla="*/ 169499 h 273890"/>
                <a:gd name="connsiteX164" fmla="*/ 1346701 w 1394458"/>
                <a:gd name="connsiteY164" fmla="*/ 270418 h 273890"/>
                <a:gd name="connsiteX165" fmla="*/ 1304843 w 1394458"/>
                <a:gd name="connsiteY165" fmla="*/ 270418 h 273890"/>
                <a:gd name="connsiteX166" fmla="*/ 1304843 w 1394458"/>
                <a:gd name="connsiteY166" fmla="*/ 64436 h 273890"/>
                <a:gd name="connsiteX167" fmla="*/ 1312659 w 1394458"/>
                <a:gd name="connsiteY167" fmla="*/ 29178 h 273890"/>
                <a:gd name="connsiteX168" fmla="*/ 1335412 w 1394458"/>
                <a:gd name="connsiteY168" fmla="*/ 7471 h 273890"/>
                <a:gd name="connsiteX169" fmla="*/ 1370319 w 1394458"/>
                <a:gd name="connsiteY169" fmla="*/ 0 h 273890"/>
                <a:gd name="connsiteX170" fmla="*/ 1382649 w 1394458"/>
                <a:gd name="connsiteY170" fmla="*/ 871 h 273890"/>
                <a:gd name="connsiteX171" fmla="*/ 1394458 w 1394458"/>
                <a:gd name="connsiteY171" fmla="*/ 3127 h 273890"/>
                <a:gd name="connsiteX172" fmla="*/ 1393418 w 1394458"/>
                <a:gd name="connsiteY172" fmla="*/ 35433 h 273890"/>
                <a:gd name="connsiteX173" fmla="*/ 1385776 w 1394458"/>
                <a:gd name="connsiteY173" fmla="*/ 34217 h 273890"/>
                <a:gd name="connsiteX174" fmla="*/ 1377095 w 1394458"/>
                <a:gd name="connsiteY174" fmla="*/ 33867 h 273890"/>
                <a:gd name="connsiteX175" fmla="*/ 1360596 w 1394458"/>
                <a:gd name="connsiteY175" fmla="*/ 37515 h 273890"/>
                <a:gd name="connsiteX176" fmla="*/ 1350178 w 1394458"/>
                <a:gd name="connsiteY176" fmla="*/ 47763 h 273890"/>
                <a:gd name="connsiteX177" fmla="*/ 1346706 w 1394458"/>
                <a:gd name="connsiteY177" fmla="*/ 64436 h 273890"/>
                <a:gd name="connsiteX178" fmla="*/ 1346706 w 1394458"/>
                <a:gd name="connsiteY178" fmla="*/ 270418 h 273890"/>
                <a:gd name="connsiteX179" fmla="*/ 1385431 w 1394458"/>
                <a:gd name="connsiteY179" fmla="*/ 82500 h 273890"/>
                <a:gd name="connsiteX180" fmla="*/ 1385431 w 1394458"/>
                <a:gd name="connsiteY180" fmla="*/ 113069 h 273890"/>
                <a:gd name="connsiteX181" fmla="*/ 1276015 w 1394458"/>
                <a:gd name="connsiteY181" fmla="*/ 113069 h 273890"/>
                <a:gd name="connsiteX182" fmla="*/ 1276015 w 1394458"/>
                <a:gd name="connsiteY182" fmla="*/ 82500 h 273890"/>
                <a:gd name="connsiteX183" fmla="*/ 1385431 w 1394458"/>
                <a:gd name="connsiteY183" fmla="*/ 82500 h 2738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</a:cxnLst>
              <a:rect l="l" t="t" r="r" b="b"/>
              <a:pathLst>
                <a:path w="1394458" h="273890">
                  <a:moveTo>
                    <a:pt x="157354" y="188093"/>
                  </a:moveTo>
                  <a:lnTo>
                    <a:pt x="200773" y="188093"/>
                  </a:lnTo>
                  <a:cubicBezTo>
                    <a:pt x="199382" y="204650"/>
                    <a:pt x="194752" y="219411"/>
                    <a:pt x="186877" y="232383"/>
                  </a:cubicBezTo>
                  <a:cubicBezTo>
                    <a:pt x="179003" y="245233"/>
                    <a:pt x="167947" y="255365"/>
                    <a:pt x="153706" y="262777"/>
                  </a:cubicBezTo>
                  <a:cubicBezTo>
                    <a:pt x="139465" y="270185"/>
                    <a:pt x="122155" y="273891"/>
                    <a:pt x="101775" y="273891"/>
                  </a:cubicBezTo>
                  <a:cubicBezTo>
                    <a:pt x="86143" y="273891"/>
                    <a:pt x="72077" y="271114"/>
                    <a:pt x="59572" y="265554"/>
                  </a:cubicBezTo>
                  <a:cubicBezTo>
                    <a:pt x="47067" y="259878"/>
                    <a:pt x="36357" y="251892"/>
                    <a:pt x="27442" y="241585"/>
                  </a:cubicBezTo>
                  <a:cubicBezTo>
                    <a:pt x="18526" y="231167"/>
                    <a:pt x="11697" y="218604"/>
                    <a:pt x="6950" y="203901"/>
                  </a:cubicBezTo>
                  <a:cubicBezTo>
                    <a:pt x="2315" y="189192"/>
                    <a:pt x="0" y="172753"/>
                    <a:pt x="0" y="154572"/>
                  </a:cubicBezTo>
                  <a:lnTo>
                    <a:pt x="0" y="133555"/>
                  </a:lnTo>
                  <a:cubicBezTo>
                    <a:pt x="0" y="115379"/>
                    <a:pt x="2374" y="98935"/>
                    <a:pt x="7121" y="84231"/>
                  </a:cubicBezTo>
                  <a:cubicBezTo>
                    <a:pt x="11984" y="69528"/>
                    <a:pt x="18930" y="56965"/>
                    <a:pt x="27962" y="46542"/>
                  </a:cubicBezTo>
                  <a:cubicBezTo>
                    <a:pt x="36994" y="36007"/>
                    <a:pt x="47816" y="27957"/>
                    <a:pt x="60438" y="22403"/>
                  </a:cubicBezTo>
                  <a:cubicBezTo>
                    <a:pt x="73171" y="16843"/>
                    <a:pt x="87471" y="14066"/>
                    <a:pt x="103336" y="14066"/>
                  </a:cubicBezTo>
                  <a:cubicBezTo>
                    <a:pt x="123482" y="14066"/>
                    <a:pt x="140506" y="17772"/>
                    <a:pt x="154397" y="25180"/>
                  </a:cubicBezTo>
                  <a:cubicBezTo>
                    <a:pt x="168293" y="32592"/>
                    <a:pt x="179056" y="42836"/>
                    <a:pt x="186702" y="55919"/>
                  </a:cubicBezTo>
                  <a:cubicBezTo>
                    <a:pt x="194460" y="69003"/>
                    <a:pt x="199207" y="83998"/>
                    <a:pt x="200943" y="100900"/>
                  </a:cubicBezTo>
                  <a:lnTo>
                    <a:pt x="157524" y="100900"/>
                  </a:lnTo>
                  <a:cubicBezTo>
                    <a:pt x="156367" y="90015"/>
                    <a:pt x="153818" y="80695"/>
                    <a:pt x="149883" y="72938"/>
                  </a:cubicBezTo>
                  <a:cubicBezTo>
                    <a:pt x="146065" y="65180"/>
                    <a:pt x="140389" y="59275"/>
                    <a:pt x="132865" y="55224"/>
                  </a:cubicBezTo>
                  <a:cubicBezTo>
                    <a:pt x="125340" y="51055"/>
                    <a:pt x="115496" y="48969"/>
                    <a:pt x="103341" y="48969"/>
                  </a:cubicBezTo>
                  <a:cubicBezTo>
                    <a:pt x="93385" y="48969"/>
                    <a:pt x="84698" y="50822"/>
                    <a:pt x="77291" y="54528"/>
                  </a:cubicBezTo>
                  <a:cubicBezTo>
                    <a:pt x="69878" y="58234"/>
                    <a:pt x="63687" y="63677"/>
                    <a:pt x="58706" y="70856"/>
                  </a:cubicBezTo>
                  <a:cubicBezTo>
                    <a:pt x="53730" y="78035"/>
                    <a:pt x="49966" y="86892"/>
                    <a:pt x="47417" y="97427"/>
                  </a:cubicBezTo>
                  <a:cubicBezTo>
                    <a:pt x="44985" y="107845"/>
                    <a:pt x="43769" y="119771"/>
                    <a:pt x="43769" y="133205"/>
                  </a:cubicBezTo>
                  <a:lnTo>
                    <a:pt x="43769" y="154567"/>
                  </a:lnTo>
                  <a:cubicBezTo>
                    <a:pt x="43769" y="167305"/>
                    <a:pt x="44869" y="178881"/>
                    <a:pt x="47067" y="189304"/>
                  </a:cubicBezTo>
                  <a:cubicBezTo>
                    <a:pt x="49382" y="199611"/>
                    <a:pt x="52855" y="208468"/>
                    <a:pt x="57490" y="215875"/>
                  </a:cubicBezTo>
                  <a:cubicBezTo>
                    <a:pt x="62237" y="223288"/>
                    <a:pt x="68259" y="229017"/>
                    <a:pt x="75550" y="233069"/>
                  </a:cubicBezTo>
                  <a:cubicBezTo>
                    <a:pt x="82845" y="237120"/>
                    <a:pt x="91585" y="239149"/>
                    <a:pt x="101775" y="239149"/>
                  </a:cubicBezTo>
                  <a:cubicBezTo>
                    <a:pt x="114163" y="239149"/>
                    <a:pt x="124178" y="237179"/>
                    <a:pt x="131824" y="233244"/>
                  </a:cubicBezTo>
                  <a:cubicBezTo>
                    <a:pt x="139582" y="229304"/>
                    <a:pt x="145428" y="223575"/>
                    <a:pt x="149363" y="216050"/>
                  </a:cubicBezTo>
                  <a:cubicBezTo>
                    <a:pt x="153414" y="208409"/>
                    <a:pt x="156080" y="199090"/>
                    <a:pt x="157354" y="188088"/>
                  </a:cubicBezTo>
                  <a:close/>
                  <a:moveTo>
                    <a:pt x="313837" y="270418"/>
                  </a:moveTo>
                  <a:lnTo>
                    <a:pt x="259825" y="270418"/>
                  </a:lnTo>
                  <a:lnTo>
                    <a:pt x="260170" y="235856"/>
                  </a:lnTo>
                  <a:lnTo>
                    <a:pt x="313837" y="235856"/>
                  </a:lnTo>
                  <a:cubicBezTo>
                    <a:pt x="329469" y="235856"/>
                    <a:pt x="342553" y="232441"/>
                    <a:pt x="353088" y="225608"/>
                  </a:cubicBezTo>
                  <a:cubicBezTo>
                    <a:pt x="363740" y="218779"/>
                    <a:pt x="371731" y="208993"/>
                    <a:pt x="377057" y="196255"/>
                  </a:cubicBezTo>
                  <a:cubicBezTo>
                    <a:pt x="382499" y="183516"/>
                    <a:pt x="385218" y="168351"/>
                    <a:pt x="385218" y="150754"/>
                  </a:cubicBezTo>
                  <a:lnTo>
                    <a:pt x="385218" y="137033"/>
                  </a:lnTo>
                  <a:cubicBezTo>
                    <a:pt x="385218" y="123371"/>
                    <a:pt x="383657" y="111269"/>
                    <a:pt x="380530" y="100734"/>
                  </a:cubicBezTo>
                  <a:cubicBezTo>
                    <a:pt x="377519" y="90199"/>
                    <a:pt x="373005" y="81342"/>
                    <a:pt x="366984" y="74163"/>
                  </a:cubicBezTo>
                  <a:cubicBezTo>
                    <a:pt x="361079" y="66984"/>
                    <a:pt x="353784" y="61542"/>
                    <a:pt x="345102" y="57840"/>
                  </a:cubicBezTo>
                  <a:cubicBezTo>
                    <a:pt x="336532" y="54134"/>
                    <a:pt x="326634" y="52281"/>
                    <a:pt x="315403" y="52281"/>
                  </a:cubicBezTo>
                  <a:lnTo>
                    <a:pt x="258784" y="52281"/>
                  </a:lnTo>
                  <a:lnTo>
                    <a:pt x="258784" y="17544"/>
                  </a:lnTo>
                  <a:lnTo>
                    <a:pt x="315403" y="17544"/>
                  </a:lnTo>
                  <a:cubicBezTo>
                    <a:pt x="332193" y="17544"/>
                    <a:pt x="347534" y="20379"/>
                    <a:pt x="361429" y="26055"/>
                  </a:cubicBezTo>
                  <a:cubicBezTo>
                    <a:pt x="375325" y="31615"/>
                    <a:pt x="387310" y="39660"/>
                    <a:pt x="397383" y="50195"/>
                  </a:cubicBezTo>
                  <a:cubicBezTo>
                    <a:pt x="407572" y="60730"/>
                    <a:pt x="415389" y="73351"/>
                    <a:pt x="420826" y="88054"/>
                  </a:cubicBezTo>
                  <a:cubicBezTo>
                    <a:pt x="426269" y="102758"/>
                    <a:pt x="428988" y="119202"/>
                    <a:pt x="428988" y="137378"/>
                  </a:cubicBezTo>
                  <a:lnTo>
                    <a:pt x="428988" y="150754"/>
                  </a:lnTo>
                  <a:cubicBezTo>
                    <a:pt x="428988" y="168930"/>
                    <a:pt x="426269" y="185374"/>
                    <a:pt x="420826" y="200078"/>
                  </a:cubicBezTo>
                  <a:cubicBezTo>
                    <a:pt x="415384" y="214781"/>
                    <a:pt x="407568" y="227403"/>
                    <a:pt x="397383" y="237938"/>
                  </a:cubicBezTo>
                  <a:cubicBezTo>
                    <a:pt x="387193" y="248356"/>
                    <a:pt x="375038" y="256405"/>
                    <a:pt x="360909" y="262077"/>
                  </a:cubicBezTo>
                  <a:cubicBezTo>
                    <a:pt x="346896" y="267636"/>
                    <a:pt x="331211" y="270413"/>
                    <a:pt x="313842" y="270413"/>
                  </a:cubicBezTo>
                  <a:close/>
                  <a:moveTo>
                    <a:pt x="283964" y="17544"/>
                  </a:moveTo>
                  <a:lnTo>
                    <a:pt x="283964" y="270418"/>
                  </a:lnTo>
                  <a:lnTo>
                    <a:pt x="240369" y="270418"/>
                  </a:lnTo>
                  <a:lnTo>
                    <a:pt x="240369" y="17544"/>
                  </a:lnTo>
                  <a:lnTo>
                    <a:pt x="283964" y="17544"/>
                  </a:lnTo>
                  <a:close/>
                  <a:moveTo>
                    <a:pt x="519299" y="17544"/>
                  </a:moveTo>
                  <a:lnTo>
                    <a:pt x="519299" y="270418"/>
                  </a:lnTo>
                  <a:lnTo>
                    <a:pt x="475705" y="270418"/>
                  </a:lnTo>
                  <a:lnTo>
                    <a:pt x="475705" y="17544"/>
                  </a:lnTo>
                  <a:lnTo>
                    <a:pt x="519299" y="17544"/>
                  </a:lnTo>
                  <a:close/>
                  <a:moveTo>
                    <a:pt x="811424" y="188093"/>
                  </a:moveTo>
                  <a:lnTo>
                    <a:pt x="854843" y="188093"/>
                  </a:lnTo>
                  <a:cubicBezTo>
                    <a:pt x="853452" y="204650"/>
                    <a:pt x="848822" y="219411"/>
                    <a:pt x="840947" y="232383"/>
                  </a:cubicBezTo>
                  <a:cubicBezTo>
                    <a:pt x="833073" y="245233"/>
                    <a:pt x="822017" y="255365"/>
                    <a:pt x="807776" y="262777"/>
                  </a:cubicBezTo>
                  <a:cubicBezTo>
                    <a:pt x="793535" y="270185"/>
                    <a:pt x="776225" y="273891"/>
                    <a:pt x="755845" y="273891"/>
                  </a:cubicBezTo>
                  <a:cubicBezTo>
                    <a:pt x="740213" y="273891"/>
                    <a:pt x="726147" y="271114"/>
                    <a:pt x="713642" y="265554"/>
                  </a:cubicBezTo>
                  <a:cubicBezTo>
                    <a:pt x="701137" y="259878"/>
                    <a:pt x="690427" y="251892"/>
                    <a:pt x="681512" y="241585"/>
                  </a:cubicBezTo>
                  <a:cubicBezTo>
                    <a:pt x="672596" y="231167"/>
                    <a:pt x="665768" y="218604"/>
                    <a:pt x="661021" y="203901"/>
                  </a:cubicBezTo>
                  <a:cubicBezTo>
                    <a:pt x="656390" y="189197"/>
                    <a:pt x="654075" y="172753"/>
                    <a:pt x="654075" y="154577"/>
                  </a:cubicBezTo>
                  <a:lnTo>
                    <a:pt x="654075" y="133560"/>
                  </a:lnTo>
                  <a:cubicBezTo>
                    <a:pt x="654075" y="115384"/>
                    <a:pt x="656449" y="98940"/>
                    <a:pt x="661196" y="84236"/>
                  </a:cubicBezTo>
                  <a:cubicBezTo>
                    <a:pt x="666059" y="69533"/>
                    <a:pt x="673005" y="56970"/>
                    <a:pt x="682037" y="46547"/>
                  </a:cubicBezTo>
                  <a:cubicBezTo>
                    <a:pt x="691069" y="36012"/>
                    <a:pt x="701891" y="27962"/>
                    <a:pt x="714513" y="22408"/>
                  </a:cubicBezTo>
                  <a:cubicBezTo>
                    <a:pt x="727246" y="16848"/>
                    <a:pt x="741546" y="14071"/>
                    <a:pt x="757411" y="14071"/>
                  </a:cubicBezTo>
                  <a:cubicBezTo>
                    <a:pt x="777557" y="14071"/>
                    <a:pt x="794581" y="17777"/>
                    <a:pt x="808472" y="25185"/>
                  </a:cubicBezTo>
                  <a:cubicBezTo>
                    <a:pt x="822368" y="32597"/>
                    <a:pt x="833131" y="42840"/>
                    <a:pt x="840777" y="55924"/>
                  </a:cubicBezTo>
                  <a:cubicBezTo>
                    <a:pt x="848535" y="69008"/>
                    <a:pt x="853282" y="84003"/>
                    <a:pt x="855018" y="100905"/>
                  </a:cubicBezTo>
                  <a:lnTo>
                    <a:pt x="811599" y="100905"/>
                  </a:lnTo>
                  <a:cubicBezTo>
                    <a:pt x="810442" y="90019"/>
                    <a:pt x="807893" y="80700"/>
                    <a:pt x="803958" y="72943"/>
                  </a:cubicBezTo>
                  <a:cubicBezTo>
                    <a:pt x="800140" y="65185"/>
                    <a:pt x="794464" y="59280"/>
                    <a:pt x="786940" y="55229"/>
                  </a:cubicBezTo>
                  <a:cubicBezTo>
                    <a:pt x="779415" y="51060"/>
                    <a:pt x="769571" y="48974"/>
                    <a:pt x="757416" y="48974"/>
                  </a:cubicBezTo>
                  <a:cubicBezTo>
                    <a:pt x="747460" y="48974"/>
                    <a:pt x="738773" y="50827"/>
                    <a:pt x="731366" y="54533"/>
                  </a:cubicBezTo>
                  <a:cubicBezTo>
                    <a:pt x="723953" y="58239"/>
                    <a:pt x="717762" y="63682"/>
                    <a:pt x="712781" y="70861"/>
                  </a:cubicBezTo>
                  <a:cubicBezTo>
                    <a:pt x="707801" y="78040"/>
                    <a:pt x="704041" y="86897"/>
                    <a:pt x="701492" y="97432"/>
                  </a:cubicBezTo>
                  <a:cubicBezTo>
                    <a:pt x="699060" y="107850"/>
                    <a:pt x="697844" y="119776"/>
                    <a:pt x="697844" y="133210"/>
                  </a:cubicBezTo>
                  <a:lnTo>
                    <a:pt x="697844" y="154572"/>
                  </a:lnTo>
                  <a:cubicBezTo>
                    <a:pt x="697844" y="167310"/>
                    <a:pt x="698944" y="178886"/>
                    <a:pt x="701142" y="189309"/>
                  </a:cubicBezTo>
                  <a:cubicBezTo>
                    <a:pt x="703457" y="199616"/>
                    <a:pt x="706930" y="208473"/>
                    <a:pt x="711565" y="215880"/>
                  </a:cubicBezTo>
                  <a:cubicBezTo>
                    <a:pt x="716312" y="223293"/>
                    <a:pt x="722334" y="229022"/>
                    <a:pt x="729629" y="233074"/>
                  </a:cubicBezTo>
                  <a:cubicBezTo>
                    <a:pt x="736925" y="237125"/>
                    <a:pt x="745665" y="239154"/>
                    <a:pt x="755855" y="239154"/>
                  </a:cubicBezTo>
                  <a:cubicBezTo>
                    <a:pt x="768243" y="239154"/>
                    <a:pt x="778258" y="237184"/>
                    <a:pt x="785904" y="233249"/>
                  </a:cubicBezTo>
                  <a:cubicBezTo>
                    <a:pt x="793661" y="229309"/>
                    <a:pt x="799508" y="223580"/>
                    <a:pt x="803443" y="216055"/>
                  </a:cubicBezTo>
                  <a:cubicBezTo>
                    <a:pt x="807494" y="208414"/>
                    <a:pt x="810159" y="199095"/>
                    <a:pt x="811434" y="188093"/>
                  </a:cubicBezTo>
                  <a:close/>
                  <a:moveTo>
                    <a:pt x="882285" y="178541"/>
                  </a:moveTo>
                  <a:lnTo>
                    <a:pt x="882285" y="174548"/>
                  </a:lnTo>
                  <a:cubicBezTo>
                    <a:pt x="882285" y="161002"/>
                    <a:pt x="884255" y="148439"/>
                    <a:pt x="888190" y="136858"/>
                  </a:cubicBezTo>
                  <a:cubicBezTo>
                    <a:pt x="892124" y="125165"/>
                    <a:pt x="897800" y="115034"/>
                    <a:pt x="905208" y="106464"/>
                  </a:cubicBezTo>
                  <a:cubicBezTo>
                    <a:pt x="912732" y="97782"/>
                    <a:pt x="921881" y="91065"/>
                    <a:pt x="932650" y="86318"/>
                  </a:cubicBezTo>
                  <a:cubicBezTo>
                    <a:pt x="943535" y="81454"/>
                    <a:pt x="955806" y="79022"/>
                    <a:pt x="969469" y="79022"/>
                  </a:cubicBezTo>
                  <a:cubicBezTo>
                    <a:pt x="983131" y="79022"/>
                    <a:pt x="995519" y="81454"/>
                    <a:pt x="1006288" y="86318"/>
                  </a:cubicBezTo>
                  <a:cubicBezTo>
                    <a:pt x="1017173" y="91065"/>
                    <a:pt x="1026375" y="97782"/>
                    <a:pt x="1033899" y="106464"/>
                  </a:cubicBezTo>
                  <a:cubicBezTo>
                    <a:pt x="1041424" y="115034"/>
                    <a:pt x="1047158" y="125165"/>
                    <a:pt x="1051093" y="136858"/>
                  </a:cubicBezTo>
                  <a:cubicBezTo>
                    <a:pt x="1055028" y="148434"/>
                    <a:pt x="1056998" y="160997"/>
                    <a:pt x="1056998" y="174548"/>
                  </a:cubicBezTo>
                  <a:lnTo>
                    <a:pt x="1056998" y="178541"/>
                  </a:lnTo>
                  <a:cubicBezTo>
                    <a:pt x="1056998" y="192086"/>
                    <a:pt x="1055028" y="204650"/>
                    <a:pt x="1051093" y="216226"/>
                  </a:cubicBezTo>
                  <a:cubicBezTo>
                    <a:pt x="1047153" y="227806"/>
                    <a:pt x="1041424" y="237938"/>
                    <a:pt x="1033899" y="246619"/>
                  </a:cubicBezTo>
                  <a:cubicBezTo>
                    <a:pt x="1026375" y="255189"/>
                    <a:pt x="1017226" y="261902"/>
                    <a:pt x="1006458" y="266765"/>
                  </a:cubicBezTo>
                  <a:cubicBezTo>
                    <a:pt x="995689" y="271512"/>
                    <a:pt x="983476" y="273886"/>
                    <a:pt x="969814" y="273886"/>
                  </a:cubicBezTo>
                  <a:cubicBezTo>
                    <a:pt x="956151" y="273886"/>
                    <a:pt x="943705" y="271512"/>
                    <a:pt x="932820" y="266765"/>
                  </a:cubicBezTo>
                  <a:cubicBezTo>
                    <a:pt x="922051" y="261902"/>
                    <a:pt x="912907" y="255189"/>
                    <a:pt x="905378" y="246619"/>
                  </a:cubicBezTo>
                  <a:cubicBezTo>
                    <a:pt x="897854" y="237938"/>
                    <a:pt x="892119" y="227806"/>
                    <a:pt x="888185" y="216226"/>
                  </a:cubicBezTo>
                  <a:cubicBezTo>
                    <a:pt x="884245" y="204650"/>
                    <a:pt x="882280" y="192086"/>
                    <a:pt x="882280" y="178541"/>
                  </a:cubicBezTo>
                  <a:close/>
                  <a:moveTo>
                    <a:pt x="924143" y="174548"/>
                  </a:moveTo>
                  <a:lnTo>
                    <a:pt x="924143" y="178541"/>
                  </a:lnTo>
                  <a:cubicBezTo>
                    <a:pt x="924143" y="186994"/>
                    <a:pt x="925013" y="194980"/>
                    <a:pt x="926750" y="202510"/>
                  </a:cubicBezTo>
                  <a:cubicBezTo>
                    <a:pt x="928486" y="210034"/>
                    <a:pt x="931210" y="216634"/>
                    <a:pt x="934911" y="222310"/>
                  </a:cubicBezTo>
                  <a:cubicBezTo>
                    <a:pt x="938617" y="227981"/>
                    <a:pt x="943365" y="232441"/>
                    <a:pt x="949152" y="235681"/>
                  </a:cubicBezTo>
                  <a:cubicBezTo>
                    <a:pt x="954940" y="238925"/>
                    <a:pt x="961832" y="240545"/>
                    <a:pt x="969819" y="240545"/>
                  </a:cubicBezTo>
                  <a:cubicBezTo>
                    <a:pt x="977805" y="240545"/>
                    <a:pt x="984293" y="238925"/>
                    <a:pt x="989965" y="235681"/>
                  </a:cubicBezTo>
                  <a:cubicBezTo>
                    <a:pt x="995753" y="232441"/>
                    <a:pt x="1000500" y="227981"/>
                    <a:pt x="1004206" y="222310"/>
                  </a:cubicBezTo>
                  <a:cubicBezTo>
                    <a:pt x="1007912" y="216634"/>
                    <a:pt x="1010631" y="210039"/>
                    <a:pt x="1012367" y="202510"/>
                  </a:cubicBezTo>
                  <a:cubicBezTo>
                    <a:pt x="1014220" y="194985"/>
                    <a:pt x="1015145" y="186994"/>
                    <a:pt x="1015145" y="178541"/>
                  </a:cubicBezTo>
                  <a:lnTo>
                    <a:pt x="1015145" y="174548"/>
                  </a:lnTo>
                  <a:cubicBezTo>
                    <a:pt x="1015145" y="166211"/>
                    <a:pt x="1014220" y="158336"/>
                    <a:pt x="1012367" y="150929"/>
                  </a:cubicBezTo>
                  <a:cubicBezTo>
                    <a:pt x="1010631" y="143405"/>
                    <a:pt x="1007854" y="136746"/>
                    <a:pt x="1004031" y="130958"/>
                  </a:cubicBezTo>
                  <a:cubicBezTo>
                    <a:pt x="1000325" y="125170"/>
                    <a:pt x="995578" y="120652"/>
                    <a:pt x="989790" y="117412"/>
                  </a:cubicBezTo>
                  <a:cubicBezTo>
                    <a:pt x="984118" y="114056"/>
                    <a:pt x="977343" y="112373"/>
                    <a:pt x="969469" y="112373"/>
                  </a:cubicBezTo>
                  <a:cubicBezTo>
                    <a:pt x="961594" y="112373"/>
                    <a:pt x="954765" y="114051"/>
                    <a:pt x="948977" y="117412"/>
                  </a:cubicBezTo>
                  <a:cubicBezTo>
                    <a:pt x="943301" y="120657"/>
                    <a:pt x="938613" y="125170"/>
                    <a:pt x="934911" y="130958"/>
                  </a:cubicBezTo>
                  <a:cubicBezTo>
                    <a:pt x="931205" y="136746"/>
                    <a:pt x="928486" y="143405"/>
                    <a:pt x="926750" y="150929"/>
                  </a:cubicBezTo>
                  <a:cubicBezTo>
                    <a:pt x="925013" y="158336"/>
                    <a:pt x="924143" y="166211"/>
                    <a:pt x="924143" y="174548"/>
                  </a:cubicBezTo>
                  <a:close/>
                  <a:moveTo>
                    <a:pt x="1133598" y="122617"/>
                  </a:moveTo>
                  <a:lnTo>
                    <a:pt x="1133598" y="270418"/>
                  </a:lnTo>
                  <a:lnTo>
                    <a:pt x="1091745" y="270418"/>
                  </a:lnTo>
                  <a:lnTo>
                    <a:pt x="1091745" y="82495"/>
                  </a:lnTo>
                  <a:lnTo>
                    <a:pt x="1131171" y="82495"/>
                  </a:lnTo>
                  <a:lnTo>
                    <a:pt x="1133603" y="122617"/>
                  </a:lnTo>
                  <a:close/>
                  <a:moveTo>
                    <a:pt x="1126132" y="169509"/>
                  </a:moveTo>
                  <a:lnTo>
                    <a:pt x="1112586" y="169334"/>
                  </a:lnTo>
                  <a:cubicBezTo>
                    <a:pt x="1112703" y="156016"/>
                    <a:pt x="1114556" y="143803"/>
                    <a:pt x="1118145" y="132690"/>
                  </a:cubicBezTo>
                  <a:cubicBezTo>
                    <a:pt x="1121852" y="121576"/>
                    <a:pt x="1126944" y="112023"/>
                    <a:pt x="1133428" y="104032"/>
                  </a:cubicBezTo>
                  <a:cubicBezTo>
                    <a:pt x="1140028" y="96046"/>
                    <a:pt x="1147902" y="89908"/>
                    <a:pt x="1157046" y="85623"/>
                  </a:cubicBezTo>
                  <a:cubicBezTo>
                    <a:pt x="1166195" y="81226"/>
                    <a:pt x="1176385" y="79022"/>
                    <a:pt x="1187615" y="79022"/>
                  </a:cubicBezTo>
                  <a:cubicBezTo>
                    <a:pt x="1196647" y="79022"/>
                    <a:pt x="1204809" y="80297"/>
                    <a:pt x="1212105" y="82840"/>
                  </a:cubicBezTo>
                  <a:cubicBezTo>
                    <a:pt x="1219517" y="85272"/>
                    <a:pt x="1225825" y="89265"/>
                    <a:pt x="1231034" y="94825"/>
                  </a:cubicBezTo>
                  <a:cubicBezTo>
                    <a:pt x="1236360" y="100384"/>
                    <a:pt x="1240412" y="107617"/>
                    <a:pt x="1243189" y="116532"/>
                  </a:cubicBezTo>
                  <a:cubicBezTo>
                    <a:pt x="1245966" y="125331"/>
                    <a:pt x="1247357" y="136157"/>
                    <a:pt x="1247357" y="149008"/>
                  </a:cubicBezTo>
                  <a:lnTo>
                    <a:pt x="1247357" y="270408"/>
                  </a:lnTo>
                  <a:lnTo>
                    <a:pt x="1205329" y="270408"/>
                  </a:lnTo>
                  <a:lnTo>
                    <a:pt x="1205329" y="148833"/>
                  </a:lnTo>
                  <a:cubicBezTo>
                    <a:pt x="1205329" y="139800"/>
                    <a:pt x="1203996" y="132680"/>
                    <a:pt x="1201336" y="127471"/>
                  </a:cubicBezTo>
                  <a:cubicBezTo>
                    <a:pt x="1198787" y="122145"/>
                    <a:pt x="1195028" y="118380"/>
                    <a:pt x="1190047" y="116182"/>
                  </a:cubicBezTo>
                  <a:cubicBezTo>
                    <a:pt x="1185183" y="113867"/>
                    <a:pt x="1179104" y="112709"/>
                    <a:pt x="1171813" y="112709"/>
                  </a:cubicBezTo>
                  <a:cubicBezTo>
                    <a:pt x="1164522" y="112709"/>
                    <a:pt x="1158209" y="114212"/>
                    <a:pt x="1152533" y="117223"/>
                  </a:cubicBezTo>
                  <a:cubicBezTo>
                    <a:pt x="1146861" y="120233"/>
                    <a:pt x="1142056" y="124343"/>
                    <a:pt x="1138116" y="129552"/>
                  </a:cubicBezTo>
                  <a:cubicBezTo>
                    <a:pt x="1134293" y="134762"/>
                    <a:pt x="1131341" y="140783"/>
                    <a:pt x="1129259" y="147617"/>
                  </a:cubicBezTo>
                  <a:cubicBezTo>
                    <a:pt x="1127178" y="154445"/>
                    <a:pt x="1126132" y="161741"/>
                    <a:pt x="1126132" y="169499"/>
                  </a:cubicBezTo>
                  <a:close/>
                  <a:moveTo>
                    <a:pt x="1346701" y="270418"/>
                  </a:moveTo>
                  <a:lnTo>
                    <a:pt x="1304843" y="270418"/>
                  </a:lnTo>
                  <a:lnTo>
                    <a:pt x="1304843" y="64436"/>
                  </a:lnTo>
                  <a:cubicBezTo>
                    <a:pt x="1304843" y="50428"/>
                    <a:pt x="1307450" y="38672"/>
                    <a:pt x="1312659" y="29178"/>
                  </a:cubicBezTo>
                  <a:cubicBezTo>
                    <a:pt x="1317985" y="19567"/>
                    <a:pt x="1325567" y="12330"/>
                    <a:pt x="1335412" y="7471"/>
                  </a:cubicBezTo>
                  <a:cubicBezTo>
                    <a:pt x="1345256" y="2490"/>
                    <a:pt x="1356890" y="0"/>
                    <a:pt x="1370319" y="0"/>
                  </a:cubicBezTo>
                  <a:cubicBezTo>
                    <a:pt x="1374488" y="0"/>
                    <a:pt x="1378597" y="292"/>
                    <a:pt x="1382649" y="871"/>
                  </a:cubicBezTo>
                  <a:cubicBezTo>
                    <a:pt x="1386701" y="1333"/>
                    <a:pt x="1390640" y="2087"/>
                    <a:pt x="1394458" y="3127"/>
                  </a:cubicBezTo>
                  <a:lnTo>
                    <a:pt x="1393418" y="35433"/>
                  </a:lnTo>
                  <a:cubicBezTo>
                    <a:pt x="1391102" y="34854"/>
                    <a:pt x="1388554" y="34450"/>
                    <a:pt x="1385776" y="34217"/>
                  </a:cubicBezTo>
                  <a:cubicBezTo>
                    <a:pt x="1383116" y="33983"/>
                    <a:pt x="1380217" y="33867"/>
                    <a:pt x="1377095" y="33867"/>
                  </a:cubicBezTo>
                  <a:cubicBezTo>
                    <a:pt x="1370728" y="33867"/>
                    <a:pt x="1365227" y="35083"/>
                    <a:pt x="1360596" y="37515"/>
                  </a:cubicBezTo>
                  <a:cubicBezTo>
                    <a:pt x="1356083" y="39830"/>
                    <a:pt x="1352605" y="43244"/>
                    <a:pt x="1350178" y="47763"/>
                  </a:cubicBezTo>
                  <a:cubicBezTo>
                    <a:pt x="1347863" y="52281"/>
                    <a:pt x="1346706" y="57836"/>
                    <a:pt x="1346706" y="64436"/>
                  </a:cubicBezTo>
                  <a:lnTo>
                    <a:pt x="1346706" y="270418"/>
                  </a:lnTo>
                  <a:close/>
                  <a:moveTo>
                    <a:pt x="1385431" y="82500"/>
                  </a:moveTo>
                  <a:lnTo>
                    <a:pt x="1385431" y="113069"/>
                  </a:lnTo>
                  <a:lnTo>
                    <a:pt x="1276015" y="113069"/>
                  </a:lnTo>
                  <a:lnTo>
                    <a:pt x="1276015" y="82500"/>
                  </a:lnTo>
                  <a:lnTo>
                    <a:pt x="1385431" y="82500"/>
                  </a:lnTo>
                  <a:close/>
                </a:path>
              </a:pathLst>
            </a:custGeom>
            <a:solidFill>
              <a:schemeClr val="tx1"/>
            </a:solidFill>
            <a:ln w="4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7" name="Полилиния: фигура 46">
              <a:extLst>
                <a:ext uri="{FF2B5EF4-FFF2-40B4-BE49-F238E27FC236}">
                  <a16:creationId xmlns:a16="http://schemas.microsoft.com/office/drawing/2014/main" id="{0E6F0FB0-99D0-4190-B058-29B8184B7C5F}"/>
                </a:ext>
              </a:extLst>
            </p:cNvPr>
            <p:cNvSpPr/>
            <p:nvPr/>
          </p:nvSpPr>
          <p:spPr>
            <a:xfrm>
              <a:off x="8902858" y="5892336"/>
              <a:ext cx="774600" cy="259834"/>
            </a:xfrm>
            <a:custGeom>
              <a:avLst/>
              <a:gdLst>
                <a:gd name="connsiteX0" fmla="*/ 174372 w 774600"/>
                <a:gd name="connsiteY0" fmla="*/ 223015 h 259834"/>
                <a:gd name="connsiteX1" fmla="*/ 174372 w 774600"/>
                <a:gd name="connsiteY1" fmla="*/ 256362 h 259834"/>
                <a:gd name="connsiteX2" fmla="*/ 4859 w 774600"/>
                <a:gd name="connsiteY2" fmla="*/ 256362 h 259834"/>
                <a:gd name="connsiteX3" fmla="*/ 4859 w 774600"/>
                <a:gd name="connsiteY3" fmla="*/ 227704 h 259834"/>
                <a:gd name="connsiteX4" fmla="*/ 87193 w 774600"/>
                <a:gd name="connsiteY4" fmla="*/ 137913 h 259834"/>
                <a:gd name="connsiteX5" fmla="*/ 108541 w 774600"/>
                <a:gd name="connsiteY5" fmla="*/ 111513 h 259834"/>
                <a:gd name="connsiteX6" fmla="*/ 119499 w 774600"/>
                <a:gd name="connsiteY6" fmla="*/ 91542 h 259834"/>
                <a:gd name="connsiteX7" fmla="*/ 122797 w 774600"/>
                <a:gd name="connsiteY7" fmla="*/ 73998 h 259834"/>
                <a:gd name="connsiteX8" fmla="*/ 118278 w 774600"/>
                <a:gd name="connsiteY8" fmla="*/ 52981 h 259834"/>
                <a:gd name="connsiteX9" fmla="*/ 105413 w 774600"/>
                <a:gd name="connsiteY9" fmla="*/ 38565 h 259834"/>
                <a:gd name="connsiteX10" fmla="*/ 84752 w 774600"/>
                <a:gd name="connsiteY10" fmla="*/ 33181 h 259834"/>
                <a:gd name="connsiteX11" fmla="*/ 61138 w 774600"/>
                <a:gd name="connsiteY11" fmla="*/ 39261 h 259834"/>
                <a:gd name="connsiteX12" fmla="*/ 46712 w 774600"/>
                <a:gd name="connsiteY12" fmla="*/ 56109 h 259834"/>
                <a:gd name="connsiteX13" fmla="*/ 41853 w 774600"/>
                <a:gd name="connsiteY13" fmla="*/ 80423 h 259834"/>
                <a:gd name="connsiteX14" fmla="*/ 0 w 774600"/>
                <a:gd name="connsiteY14" fmla="*/ 80423 h 259834"/>
                <a:gd name="connsiteX15" fmla="*/ 10083 w 774600"/>
                <a:gd name="connsiteY15" fmla="*/ 40131 h 259834"/>
                <a:gd name="connsiteX16" fmla="*/ 39261 w 774600"/>
                <a:gd name="connsiteY16" fmla="*/ 10953 h 259834"/>
                <a:gd name="connsiteX17" fmla="*/ 85272 w 774600"/>
                <a:gd name="connsiteY17" fmla="*/ 10 h 259834"/>
                <a:gd name="connsiteX18" fmla="*/ 128346 w 774600"/>
                <a:gd name="connsiteY18" fmla="*/ 8521 h 259834"/>
                <a:gd name="connsiteX19" fmla="*/ 155277 w 774600"/>
                <a:gd name="connsiteY19" fmla="*/ 32660 h 259834"/>
                <a:gd name="connsiteX20" fmla="*/ 164654 w 774600"/>
                <a:gd name="connsiteY20" fmla="*/ 69655 h 259834"/>
                <a:gd name="connsiteX21" fmla="*/ 160827 w 774600"/>
                <a:gd name="connsiteY21" fmla="*/ 93103 h 259834"/>
                <a:gd name="connsiteX22" fmla="*/ 149888 w 774600"/>
                <a:gd name="connsiteY22" fmla="*/ 116376 h 259834"/>
                <a:gd name="connsiteX23" fmla="*/ 133400 w 774600"/>
                <a:gd name="connsiteY23" fmla="*/ 139475 h 259834"/>
                <a:gd name="connsiteX24" fmla="*/ 112378 w 774600"/>
                <a:gd name="connsiteY24" fmla="*/ 162748 h 259834"/>
                <a:gd name="connsiteX25" fmla="*/ 57675 w 774600"/>
                <a:gd name="connsiteY25" fmla="*/ 223015 h 259834"/>
                <a:gd name="connsiteX26" fmla="*/ 174377 w 774600"/>
                <a:gd name="connsiteY26" fmla="*/ 223015 h 259834"/>
                <a:gd name="connsiteX27" fmla="*/ 371848 w 774600"/>
                <a:gd name="connsiteY27" fmla="*/ 108735 h 259834"/>
                <a:gd name="connsiteX28" fmla="*/ 371848 w 774600"/>
                <a:gd name="connsiteY28" fmla="*/ 150068 h 259834"/>
                <a:gd name="connsiteX29" fmla="*/ 365938 w 774600"/>
                <a:gd name="connsiteY29" fmla="*/ 200783 h 259834"/>
                <a:gd name="connsiteX30" fmla="*/ 349260 w 774600"/>
                <a:gd name="connsiteY30" fmla="*/ 234650 h 259834"/>
                <a:gd name="connsiteX31" fmla="*/ 323035 w 774600"/>
                <a:gd name="connsiteY31" fmla="*/ 253755 h 259834"/>
                <a:gd name="connsiteX32" fmla="*/ 289168 w 774600"/>
                <a:gd name="connsiteY32" fmla="*/ 259834 h 259834"/>
                <a:gd name="connsiteX33" fmla="*/ 261381 w 774600"/>
                <a:gd name="connsiteY33" fmla="*/ 256011 h 259834"/>
                <a:gd name="connsiteX34" fmla="*/ 238468 w 774600"/>
                <a:gd name="connsiteY34" fmla="*/ 244027 h 259834"/>
                <a:gd name="connsiteX35" fmla="*/ 220914 w 774600"/>
                <a:gd name="connsiteY35" fmla="*/ 223011 h 259834"/>
                <a:gd name="connsiteX36" fmla="*/ 209800 w 774600"/>
                <a:gd name="connsiteY36" fmla="*/ 191921 h 259834"/>
                <a:gd name="connsiteX37" fmla="*/ 205972 w 774600"/>
                <a:gd name="connsiteY37" fmla="*/ 150063 h 259834"/>
                <a:gd name="connsiteX38" fmla="*/ 205972 w 774600"/>
                <a:gd name="connsiteY38" fmla="*/ 108730 h 259834"/>
                <a:gd name="connsiteX39" fmla="*/ 211882 w 774600"/>
                <a:gd name="connsiteY39" fmla="*/ 58366 h 259834"/>
                <a:gd name="connsiteX40" fmla="*/ 228730 w 774600"/>
                <a:gd name="connsiteY40" fmla="*/ 24844 h 259834"/>
                <a:gd name="connsiteX41" fmla="*/ 254786 w 774600"/>
                <a:gd name="connsiteY41" fmla="*/ 5914 h 259834"/>
                <a:gd name="connsiteX42" fmla="*/ 288827 w 774600"/>
                <a:gd name="connsiteY42" fmla="*/ 10 h 259834"/>
                <a:gd name="connsiteX43" fmla="*/ 316614 w 774600"/>
                <a:gd name="connsiteY43" fmla="*/ 3833 h 259834"/>
                <a:gd name="connsiteX44" fmla="*/ 339542 w 774600"/>
                <a:gd name="connsiteY44" fmla="*/ 15467 h 259834"/>
                <a:gd name="connsiteX45" fmla="*/ 356906 w 774600"/>
                <a:gd name="connsiteY45" fmla="*/ 36308 h 259834"/>
                <a:gd name="connsiteX46" fmla="*/ 368020 w 774600"/>
                <a:gd name="connsiteY46" fmla="*/ 67048 h 259834"/>
                <a:gd name="connsiteX47" fmla="*/ 371848 w 774600"/>
                <a:gd name="connsiteY47" fmla="*/ 108730 h 259834"/>
                <a:gd name="connsiteX48" fmla="*/ 329995 w 774600"/>
                <a:gd name="connsiteY48" fmla="*/ 155978 h 259834"/>
                <a:gd name="connsiteX49" fmla="*/ 329995 w 774600"/>
                <a:gd name="connsiteY49" fmla="*/ 102485 h 259834"/>
                <a:gd name="connsiteX50" fmla="*/ 328258 w 774600"/>
                <a:gd name="connsiteY50" fmla="*/ 75914 h 259834"/>
                <a:gd name="connsiteX51" fmla="*/ 323039 w 774600"/>
                <a:gd name="connsiteY51" fmla="*/ 56289 h 259834"/>
                <a:gd name="connsiteX52" fmla="*/ 314708 w 774600"/>
                <a:gd name="connsiteY52" fmla="*/ 43088 h 259834"/>
                <a:gd name="connsiteX53" fmla="*/ 303234 w 774600"/>
                <a:gd name="connsiteY53" fmla="*/ 35623 h 259834"/>
                <a:gd name="connsiteX54" fmla="*/ 288823 w 774600"/>
                <a:gd name="connsiteY54" fmla="*/ 33191 h 259834"/>
                <a:gd name="connsiteX55" fmla="*/ 271459 w 774600"/>
                <a:gd name="connsiteY55" fmla="*/ 37014 h 259834"/>
                <a:gd name="connsiteX56" fmla="*/ 258613 w 774600"/>
                <a:gd name="connsiteY56" fmla="*/ 48823 h 259834"/>
                <a:gd name="connsiteX57" fmla="*/ 250608 w 774600"/>
                <a:gd name="connsiteY57" fmla="*/ 70360 h 259834"/>
                <a:gd name="connsiteX58" fmla="*/ 248015 w 774600"/>
                <a:gd name="connsiteY58" fmla="*/ 102490 h 259834"/>
                <a:gd name="connsiteX59" fmla="*/ 248015 w 774600"/>
                <a:gd name="connsiteY59" fmla="*/ 155982 h 259834"/>
                <a:gd name="connsiteX60" fmla="*/ 249752 w 774600"/>
                <a:gd name="connsiteY60" fmla="*/ 182904 h 259834"/>
                <a:gd name="connsiteX61" fmla="*/ 254956 w 774600"/>
                <a:gd name="connsiteY61" fmla="*/ 202874 h 259834"/>
                <a:gd name="connsiteX62" fmla="*/ 263302 w 774600"/>
                <a:gd name="connsiteY62" fmla="*/ 216420 h 259834"/>
                <a:gd name="connsiteX63" fmla="*/ 274756 w 774600"/>
                <a:gd name="connsiteY63" fmla="*/ 224061 h 259834"/>
                <a:gd name="connsiteX64" fmla="*/ 289168 w 774600"/>
                <a:gd name="connsiteY64" fmla="*/ 226493 h 259834"/>
                <a:gd name="connsiteX65" fmla="*/ 306721 w 774600"/>
                <a:gd name="connsiteY65" fmla="*/ 222670 h 259834"/>
                <a:gd name="connsiteX66" fmla="*/ 319567 w 774600"/>
                <a:gd name="connsiteY66" fmla="*/ 210511 h 259834"/>
                <a:gd name="connsiteX67" fmla="*/ 327383 w 774600"/>
                <a:gd name="connsiteY67" fmla="*/ 188453 h 259834"/>
                <a:gd name="connsiteX68" fmla="*/ 329995 w 774600"/>
                <a:gd name="connsiteY68" fmla="*/ 155978 h 259834"/>
                <a:gd name="connsiteX69" fmla="*/ 578701 w 774600"/>
                <a:gd name="connsiteY69" fmla="*/ 223015 h 259834"/>
                <a:gd name="connsiteX70" fmla="*/ 578701 w 774600"/>
                <a:gd name="connsiteY70" fmla="*/ 256362 h 259834"/>
                <a:gd name="connsiteX71" fmla="*/ 409187 w 774600"/>
                <a:gd name="connsiteY71" fmla="*/ 256362 h 259834"/>
                <a:gd name="connsiteX72" fmla="*/ 409187 w 774600"/>
                <a:gd name="connsiteY72" fmla="*/ 227704 h 259834"/>
                <a:gd name="connsiteX73" fmla="*/ 491507 w 774600"/>
                <a:gd name="connsiteY73" fmla="*/ 137913 h 259834"/>
                <a:gd name="connsiteX74" fmla="*/ 512874 w 774600"/>
                <a:gd name="connsiteY74" fmla="*/ 111513 h 259834"/>
                <a:gd name="connsiteX75" fmla="*/ 523813 w 774600"/>
                <a:gd name="connsiteY75" fmla="*/ 91542 h 259834"/>
                <a:gd name="connsiteX76" fmla="*/ 527110 w 774600"/>
                <a:gd name="connsiteY76" fmla="*/ 73998 h 259834"/>
                <a:gd name="connsiteX77" fmla="*/ 522592 w 774600"/>
                <a:gd name="connsiteY77" fmla="*/ 52981 h 259834"/>
                <a:gd name="connsiteX78" fmla="*/ 509746 w 774600"/>
                <a:gd name="connsiteY78" fmla="*/ 38565 h 259834"/>
                <a:gd name="connsiteX79" fmla="*/ 489085 w 774600"/>
                <a:gd name="connsiteY79" fmla="*/ 33181 h 259834"/>
                <a:gd name="connsiteX80" fmla="*/ 465452 w 774600"/>
                <a:gd name="connsiteY80" fmla="*/ 39261 h 259834"/>
                <a:gd name="connsiteX81" fmla="*/ 451040 w 774600"/>
                <a:gd name="connsiteY81" fmla="*/ 56109 h 259834"/>
                <a:gd name="connsiteX82" fmla="*/ 446181 w 774600"/>
                <a:gd name="connsiteY82" fmla="*/ 80423 h 259834"/>
                <a:gd name="connsiteX83" fmla="*/ 404328 w 774600"/>
                <a:gd name="connsiteY83" fmla="*/ 80423 h 259834"/>
                <a:gd name="connsiteX84" fmla="*/ 414391 w 774600"/>
                <a:gd name="connsiteY84" fmla="*/ 40131 h 259834"/>
                <a:gd name="connsiteX85" fmla="*/ 443569 w 774600"/>
                <a:gd name="connsiteY85" fmla="*/ 10953 h 259834"/>
                <a:gd name="connsiteX86" fmla="*/ 489596 w 774600"/>
                <a:gd name="connsiteY86" fmla="*/ 10 h 259834"/>
                <a:gd name="connsiteX87" fmla="*/ 532670 w 774600"/>
                <a:gd name="connsiteY87" fmla="*/ 8521 h 259834"/>
                <a:gd name="connsiteX88" fmla="*/ 559581 w 774600"/>
                <a:gd name="connsiteY88" fmla="*/ 32660 h 259834"/>
                <a:gd name="connsiteX89" fmla="*/ 568958 w 774600"/>
                <a:gd name="connsiteY89" fmla="*/ 69655 h 259834"/>
                <a:gd name="connsiteX90" fmla="*/ 565145 w 774600"/>
                <a:gd name="connsiteY90" fmla="*/ 93103 h 259834"/>
                <a:gd name="connsiteX91" fmla="*/ 554207 w 774600"/>
                <a:gd name="connsiteY91" fmla="*/ 116376 h 259834"/>
                <a:gd name="connsiteX92" fmla="*/ 537704 w 774600"/>
                <a:gd name="connsiteY92" fmla="*/ 139475 h 259834"/>
                <a:gd name="connsiteX93" fmla="*/ 516697 w 774600"/>
                <a:gd name="connsiteY93" fmla="*/ 162748 h 259834"/>
                <a:gd name="connsiteX94" fmla="*/ 461979 w 774600"/>
                <a:gd name="connsiteY94" fmla="*/ 223015 h 259834"/>
                <a:gd name="connsiteX95" fmla="*/ 578701 w 774600"/>
                <a:gd name="connsiteY95" fmla="*/ 223015 h 259834"/>
                <a:gd name="connsiteX96" fmla="*/ 660505 w 774600"/>
                <a:gd name="connsiteY96" fmla="*/ 110992 h 259834"/>
                <a:gd name="connsiteX97" fmla="*/ 685510 w 774600"/>
                <a:gd name="connsiteY97" fmla="*/ 110992 h 259834"/>
                <a:gd name="connsiteX98" fmla="*/ 709639 w 774600"/>
                <a:gd name="connsiteY98" fmla="*/ 105953 h 259834"/>
                <a:gd name="connsiteX99" fmla="*/ 724065 w 774600"/>
                <a:gd name="connsiteY99" fmla="*/ 92057 h 259834"/>
                <a:gd name="connsiteX100" fmla="*/ 728754 w 774600"/>
                <a:gd name="connsiteY100" fmla="*/ 71736 h 259834"/>
                <a:gd name="connsiteX101" fmla="*/ 724411 w 774600"/>
                <a:gd name="connsiteY101" fmla="*/ 51240 h 259834"/>
                <a:gd name="connsiteX102" fmla="*/ 711565 w 774600"/>
                <a:gd name="connsiteY102" fmla="*/ 37865 h 259834"/>
                <a:gd name="connsiteX103" fmla="*/ 689858 w 774600"/>
                <a:gd name="connsiteY103" fmla="*/ 33176 h 259834"/>
                <a:gd name="connsiteX104" fmla="*/ 669712 w 774600"/>
                <a:gd name="connsiteY104" fmla="*/ 37690 h 259834"/>
                <a:gd name="connsiteX105" fmla="*/ 655626 w 774600"/>
                <a:gd name="connsiteY105" fmla="*/ 50195 h 259834"/>
                <a:gd name="connsiteX106" fmla="*/ 650422 w 774600"/>
                <a:gd name="connsiteY106" fmla="*/ 69300 h 259834"/>
                <a:gd name="connsiteX107" fmla="*/ 608394 w 774600"/>
                <a:gd name="connsiteY107" fmla="*/ 69300 h 259834"/>
                <a:gd name="connsiteX108" fmla="*/ 618992 w 774600"/>
                <a:gd name="connsiteY108" fmla="*/ 33521 h 259834"/>
                <a:gd name="connsiteX109" fmla="*/ 647810 w 774600"/>
                <a:gd name="connsiteY109" fmla="*/ 9032 h 259834"/>
                <a:gd name="connsiteX110" fmla="*/ 689148 w 774600"/>
                <a:gd name="connsiteY110" fmla="*/ 0 h 259834"/>
                <a:gd name="connsiteX111" fmla="*/ 731876 w 774600"/>
                <a:gd name="connsiteY111" fmla="*/ 8161 h 259834"/>
                <a:gd name="connsiteX112" fmla="*/ 760524 w 774600"/>
                <a:gd name="connsiteY112" fmla="*/ 32130 h 259834"/>
                <a:gd name="connsiteX113" fmla="*/ 770777 w 774600"/>
                <a:gd name="connsiteY113" fmla="*/ 71731 h 259834"/>
                <a:gd name="connsiteX114" fmla="*/ 765743 w 774600"/>
                <a:gd name="connsiteY114" fmla="*/ 93614 h 259834"/>
                <a:gd name="connsiteX115" fmla="*/ 750802 w 774600"/>
                <a:gd name="connsiteY115" fmla="*/ 113935 h 259834"/>
                <a:gd name="connsiteX116" fmla="*/ 726137 w 774600"/>
                <a:gd name="connsiteY116" fmla="*/ 128696 h 259834"/>
                <a:gd name="connsiteX117" fmla="*/ 691925 w 774600"/>
                <a:gd name="connsiteY117" fmla="*/ 134256 h 259834"/>
                <a:gd name="connsiteX118" fmla="*/ 660495 w 774600"/>
                <a:gd name="connsiteY118" fmla="*/ 134256 h 259834"/>
                <a:gd name="connsiteX119" fmla="*/ 660495 w 774600"/>
                <a:gd name="connsiteY119" fmla="*/ 110982 h 259834"/>
                <a:gd name="connsiteX120" fmla="*/ 660505 w 774600"/>
                <a:gd name="connsiteY120" fmla="*/ 143643 h 259834"/>
                <a:gd name="connsiteX121" fmla="*/ 660505 w 774600"/>
                <a:gd name="connsiteY121" fmla="*/ 120715 h 259834"/>
                <a:gd name="connsiteX122" fmla="*/ 691935 w 774600"/>
                <a:gd name="connsiteY122" fmla="*/ 120715 h 259834"/>
                <a:gd name="connsiteX123" fmla="*/ 729790 w 774600"/>
                <a:gd name="connsiteY123" fmla="*/ 125924 h 259834"/>
                <a:gd name="connsiteX124" fmla="*/ 755500 w 774600"/>
                <a:gd name="connsiteY124" fmla="*/ 140340 h 259834"/>
                <a:gd name="connsiteX125" fmla="*/ 769911 w 774600"/>
                <a:gd name="connsiteY125" fmla="*/ 161007 h 259834"/>
                <a:gd name="connsiteX126" fmla="*/ 774600 w 774600"/>
                <a:gd name="connsiteY126" fmla="*/ 185671 h 259834"/>
                <a:gd name="connsiteX127" fmla="*/ 768175 w 774600"/>
                <a:gd name="connsiteY127" fmla="*/ 217281 h 259834"/>
                <a:gd name="connsiteX128" fmla="*/ 750296 w 774600"/>
                <a:gd name="connsiteY128" fmla="*/ 240554 h 259834"/>
                <a:gd name="connsiteX129" fmla="*/ 723024 w 774600"/>
                <a:gd name="connsiteY129" fmla="*/ 254971 h 259834"/>
                <a:gd name="connsiteX130" fmla="*/ 689328 w 774600"/>
                <a:gd name="connsiteY130" fmla="*/ 259834 h 259834"/>
                <a:gd name="connsiteX131" fmla="*/ 658068 w 774600"/>
                <a:gd name="connsiteY131" fmla="*/ 255316 h 259834"/>
                <a:gd name="connsiteX132" fmla="*/ 631327 w 774600"/>
                <a:gd name="connsiteY132" fmla="*/ 241945 h 259834"/>
                <a:gd name="connsiteX133" fmla="*/ 612572 w 774600"/>
                <a:gd name="connsiteY133" fmla="*/ 219543 h 259834"/>
                <a:gd name="connsiteX134" fmla="*/ 605787 w 774600"/>
                <a:gd name="connsiteY134" fmla="*/ 188283 h 259834"/>
                <a:gd name="connsiteX135" fmla="*/ 647640 w 774600"/>
                <a:gd name="connsiteY135" fmla="*/ 188283 h 259834"/>
                <a:gd name="connsiteX136" fmla="*/ 652859 w 774600"/>
                <a:gd name="connsiteY136" fmla="*/ 208254 h 259834"/>
                <a:gd name="connsiteX137" fmla="*/ 667786 w 774600"/>
                <a:gd name="connsiteY137" fmla="*/ 221624 h 259834"/>
                <a:gd name="connsiteX138" fmla="*/ 690028 w 774600"/>
                <a:gd name="connsiteY138" fmla="*/ 226488 h 259834"/>
                <a:gd name="connsiteX139" fmla="*/ 712767 w 774600"/>
                <a:gd name="connsiteY139" fmla="*/ 221799 h 259834"/>
                <a:gd name="connsiteX140" fmla="*/ 727363 w 774600"/>
                <a:gd name="connsiteY140" fmla="*/ 207904 h 259834"/>
                <a:gd name="connsiteX141" fmla="*/ 732567 w 774600"/>
                <a:gd name="connsiteY141" fmla="*/ 185671 h 259834"/>
                <a:gd name="connsiteX142" fmla="*/ 726847 w 774600"/>
                <a:gd name="connsiteY142" fmla="*/ 161702 h 259834"/>
                <a:gd name="connsiteX143" fmla="*/ 710515 w 774600"/>
                <a:gd name="connsiteY143" fmla="*/ 148157 h 259834"/>
                <a:gd name="connsiteX144" fmla="*/ 685510 w 774600"/>
                <a:gd name="connsiteY144" fmla="*/ 143643 h 259834"/>
                <a:gd name="connsiteX145" fmla="*/ 660505 w 774600"/>
                <a:gd name="connsiteY145" fmla="*/ 143643 h 2598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</a:cxnLst>
              <a:rect l="l" t="t" r="r" b="b"/>
              <a:pathLst>
                <a:path w="774600" h="259834">
                  <a:moveTo>
                    <a:pt x="174372" y="223015"/>
                  </a:moveTo>
                  <a:lnTo>
                    <a:pt x="174372" y="256362"/>
                  </a:lnTo>
                  <a:lnTo>
                    <a:pt x="4859" y="256362"/>
                  </a:lnTo>
                  <a:lnTo>
                    <a:pt x="4859" y="227704"/>
                  </a:lnTo>
                  <a:lnTo>
                    <a:pt x="87193" y="137913"/>
                  </a:lnTo>
                  <a:cubicBezTo>
                    <a:pt x="96211" y="127724"/>
                    <a:pt x="103336" y="118925"/>
                    <a:pt x="108541" y="111513"/>
                  </a:cubicBezTo>
                  <a:cubicBezTo>
                    <a:pt x="113760" y="104100"/>
                    <a:pt x="117403" y="97446"/>
                    <a:pt x="119499" y="91542"/>
                  </a:cubicBezTo>
                  <a:cubicBezTo>
                    <a:pt x="121697" y="85520"/>
                    <a:pt x="122797" y="79674"/>
                    <a:pt x="122797" y="73998"/>
                  </a:cubicBezTo>
                  <a:cubicBezTo>
                    <a:pt x="122797" y="66012"/>
                    <a:pt x="121284" y="59003"/>
                    <a:pt x="118278" y="52981"/>
                  </a:cubicBezTo>
                  <a:cubicBezTo>
                    <a:pt x="115374" y="46843"/>
                    <a:pt x="111099" y="42038"/>
                    <a:pt x="105413" y="38565"/>
                  </a:cubicBezTo>
                  <a:cubicBezTo>
                    <a:pt x="99747" y="34976"/>
                    <a:pt x="92860" y="33181"/>
                    <a:pt x="84752" y="33181"/>
                  </a:cubicBezTo>
                  <a:cubicBezTo>
                    <a:pt x="75374" y="33181"/>
                    <a:pt x="67510" y="35209"/>
                    <a:pt x="61138" y="39261"/>
                  </a:cubicBezTo>
                  <a:cubicBezTo>
                    <a:pt x="54766" y="43312"/>
                    <a:pt x="49956" y="48930"/>
                    <a:pt x="46712" y="56109"/>
                  </a:cubicBezTo>
                  <a:cubicBezTo>
                    <a:pt x="43482" y="63171"/>
                    <a:pt x="41853" y="71279"/>
                    <a:pt x="41853" y="80423"/>
                  </a:cubicBezTo>
                  <a:lnTo>
                    <a:pt x="0" y="80423"/>
                  </a:lnTo>
                  <a:cubicBezTo>
                    <a:pt x="0" y="65720"/>
                    <a:pt x="3366" y="52286"/>
                    <a:pt x="10083" y="40131"/>
                  </a:cubicBezTo>
                  <a:cubicBezTo>
                    <a:pt x="16800" y="27860"/>
                    <a:pt x="26517" y="18132"/>
                    <a:pt x="39261" y="10953"/>
                  </a:cubicBezTo>
                  <a:cubicBezTo>
                    <a:pt x="51989" y="3658"/>
                    <a:pt x="67325" y="10"/>
                    <a:pt x="85272" y="10"/>
                  </a:cubicBezTo>
                  <a:cubicBezTo>
                    <a:pt x="102189" y="10"/>
                    <a:pt x="116546" y="2845"/>
                    <a:pt x="128346" y="8521"/>
                  </a:cubicBezTo>
                  <a:cubicBezTo>
                    <a:pt x="140160" y="14193"/>
                    <a:pt x="149129" y="22242"/>
                    <a:pt x="155277" y="32660"/>
                  </a:cubicBezTo>
                  <a:cubicBezTo>
                    <a:pt x="161527" y="43079"/>
                    <a:pt x="164654" y="55413"/>
                    <a:pt x="164654" y="69655"/>
                  </a:cubicBezTo>
                  <a:cubicBezTo>
                    <a:pt x="164654" y="77529"/>
                    <a:pt x="163385" y="85345"/>
                    <a:pt x="160827" y="93103"/>
                  </a:cubicBezTo>
                  <a:cubicBezTo>
                    <a:pt x="158283" y="100861"/>
                    <a:pt x="154645" y="108619"/>
                    <a:pt x="149888" y="116376"/>
                  </a:cubicBezTo>
                  <a:cubicBezTo>
                    <a:pt x="145267" y="124017"/>
                    <a:pt x="139757" y="131717"/>
                    <a:pt x="133400" y="139475"/>
                  </a:cubicBezTo>
                  <a:cubicBezTo>
                    <a:pt x="127028" y="147116"/>
                    <a:pt x="120019" y="154873"/>
                    <a:pt x="112378" y="162748"/>
                  </a:cubicBezTo>
                  <a:lnTo>
                    <a:pt x="57675" y="223015"/>
                  </a:lnTo>
                  <a:lnTo>
                    <a:pt x="174377" y="223015"/>
                  </a:lnTo>
                  <a:close/>
                  <a:moveTo>
                    <a:pt x="371848" y="108735"/>
                  </a:moveTo>
                  <a:lnTo>
                    <a:pt x="371848" y="150068"/>
                  </a:lnTo>
                  <a:cubicBezTo>
                    <a:pt x="371848" y="169869"/>
                    <a:pt x="369873" y="186770"/>
                    <a:pt x="365938" y="200783"/>
                  </a:cubicBezTo>
                  <a:cubicBezTo>
                    <a:pt x="362125" y="214674"/>
                    <a:pt x="356561" y="225963"/>
                    <a:pt x="349260" y="234650"/>
                  </a:cubicBezTo>
                  <a:cubicBezTo>
                    <a:pt x="341960" y="243332"/>
                    <a:pt x="333219" y="249703"/>
                    <a:pt x="323035" y="253755"/>
                  </a:cubicBezTo>
                  <a:cubicBezTo>
                    <a:pt x="312971" y="257806"/>
                    <a:pt x="301668" y="259834"/>
                    <a:pt x="289168" y="259834"/>
                  </a:cubicBezTo>
                  <a:cubicBezTo>
                    <a:pt x="279221" y="259834"/>
                    <a:pt x="269951" y="258560"/>
                    <a:pt x="261381" y="256011"/>
                  </a:cubicBezTo>
                  <a:cubicBezTo>
                    <a:pt x="252933" y="253463"/>
                    <a:pt x="245287" y="249470"/>
                    <a:pt x="238468" y="244027"/>
                  </a:cubicBezTo>
                  <a:cubicBezTo>
                    <a:pt x="231634" y="238584"/>
                    <a:pt x="225773" y="231581"/>
                    <a:pt x="220914" y="223011"/>
                  </a:cubicBezTo>
                  <a:cubicBezTo>
                    <a:pt x="216172" y="214329"/>
                    <a:pt x="212466" y="203964"/>
                    <a:pt x="209800" y="191921"/>
                  </a:cubicBezTo>
                  <a:cubicBezTo>
                    <a:pt x="207256" y="179878"/>
                    <a:pt x="205972" y="165929"/>
                    <a:pt x="205972" y="150063"/>
                  </a:cubicBezTo>
                  <a:lnTo>
                    <a:pt x="205972" y="108730"/>
                  </a:lnTo>
                  <a:cubicBezTo>
                    <a:pt x="205972" y="88813"/>
                    <a:pt x="207947" y="72028"/>
                    <a:pt x="211882" y="58366"/>
                  </a:cubicBezTo>
                  <a:cubicBezTo>
                    <a:pt x="215831" y="44587"/>
                    <a:pt x="221430" y="33414"/>
                    <a:pt x="228730" y="24844"/>
                  </a:cubicBezTo>
                  <a:cubicBezTo>
                    <a:pt x="236031" y="16162"/>
                    <a:pt x="244722" y="9849"/>
                    <a:pt x="254786" y="5914"/>
                  </a:cubicBezTo>
                  <a:cubicBezTo>
                    <a:pt x="264970" y="1980"/>
                    <a:pt x="276323" y="10"/>
                    <a:pt x="288827" y="10"/>
                  </a:cubicBezTo>
                  <a:cubicBezTo>
                    <a:pt x="298910" y="10"/>
                    <a:pt x="308166" y="1284"/>
                    <a:pt x="316614" y="3833"/>
                  </a:cubicBezTo>
                  <a:cubicBezTo>
                    <a:pt x="325184" y="6265"/>
                    <a:pt x="332825" y="10141"/>
                    <a:pt x="339542" y="15467"/>
                  </a:cubicBezTo>
                  <a:cubicBezTo>
                    <a:pt x="346376" y="20793"/>
                    <a:pt x="352164" y="27743"/>
                    <a:pt x="356906" y="36308"/>
                  </a:cubicBezTo>
                  <a:cubicBezTo>
                    <a:pt x="361765" y="44762"/>
                    <a:pt x="365476" y="55010"/>
                    <a:pt x="368020" y="67048"/>
                  </a:cubicBezTo>
                  <a:cubicBezTo>
                    <a:pt x="370578" y="78974"/>
                    <a:pt x="371848" y="92870"/>
                    <a:pt x="371848" y="108730"/>
                  </a:cubicBezTo>
                  <a:close/>
                  <a:moveTo>
                    <a:pt x="329995" y="155978"/>
                  </a:moveTo>
                  <a:lnTo>
                    <a:pt x="329995" y="102485"/>
                  </a:lnTo>
                  <a:cubicBezTo>
                    <a:pt x="329995" y="92412"/>
                    <a:pt x="329411" y="83555"/>
                    <a:pt x="328258" y="75914"/>
                  </a:cubicBezTo>
                  <a:cubicBezTo>
                    <a:pt x="327091" y="68157"/>
                    <a:pt x="325355" y="61615"/>
                    <a:pt x="323039" y="56289"/>
                  </a:cubicBezTo>
                  <a:cubicBezTo>
                    <a:pt x="320841" y="50846"/>
                    <a:pt x="318059" y="46445"/>
                    <a:pt x="314708" y="43088"/>
                  </a:cubicBezTo>
                  <a:cubicBezTo>
                    <a:pt x="311342" y="39616"/>
                    <a:pt x="307529" y="37125"/>
                    <a:pt x="303234" y="35623"/>
                  </a:cubicBezTo>
                  <a:cubicBezTo>
                    <a:pt x="298959" y="34003"/>
                    <a:pt x="294148" y="33191"/>
                    <a:pt x="288823" y="33191"/>
                  </a:cubicBezTo>
                  <a:cubicBezTo>
                    <a:pt x="282349" y="33191"/>
                    <a:pt x="276542" y="34465"/>
                    <a:pt x="271459" y="37014"/>
                  </a:cubicBezTo>
                  <a:cubicBezTo>
                    <a:pt x="266357" y="39445"/>
                    <a:pt x="262081" y="43380"/>
                    <a:pt x="258613" y="48823"/>
                  </a:cubicBezTo>
                  <a:cubicBezTo>
                    <a:pt x="255126" y="54266"/>
                    <a:pt x="252466" y="61445"/>
                    <a:pt x="250608" y="70360"/>
                  </a:cubicBezTo>
                  <a:cubicBezTo>
                    <a:pt x="248871" y="79159"/>
                    <a:pt x="248015" y="89869"/>
                    <a:pt x="248015" y="102490"/>
                  </a:cubicBezTo>
                  <a:lnTo>
                    <a:pt x="248015" y="155982"/>
                  </a:lnTo>
                  <a:cubicBezTo>
                    <a:pt x="248015" y="166172"/>
                    <a:pt x="248584" y="175146"/>
                    <a:pt x="249752" y="182904"/>
                  </a:cubicBezTo>
                  <a:cubicBezTo>
                    <a:pt x="250904" y="190661"/>
                    <a:pt x="252636" y="197320"/>
                    <a:pt x="254956" y="202874"/>
                  </a:cubicBezTo>
                  <a:cubicBezTo>
                    <a:pt x="257276" y="208317"/>
                    <a:pt x="260058" y="212831"/>
                    <a:pt x="263302" y="216420"/>
                  </a:cubicBezTo>
                  <a:cubicBezTo>
                    <a:pt x="266653" y="219893"/>
                    <a:pt x="270481" y="222441"/>
                    <a:pt x="274756" y="224061"/>
                  </a:cubicBezTo>
                  <a:cubicBezTo>
                    <a:pt x="279153" y="225681"/>
                    <a:pt x="283964" y="226493"/>
                    <a:pt x="289168" y="226493"/>
                  </a:cubicBezTo>
                  <a:cubicBezTo>
                    <a:pt x="295778" y="226493"/>
                    <a:pt x="301619" y="225219"/>
                    <a:pt x="306721" y="222670"/>
                  </a:cubicBezTo>
                  <a:cubicBezTo>
                    <a:pt x="311804" y="220121"/>
                    <a:pt x="316099" y="216070"/>
                    <a:pt x="319567" y="210511"/>
                  </a:cubicBezTo>
                  <a:cubicBezTo>
                    <a:pt x="323035" y="204839"/>
                    <a:pt x="325646" y="197485"/>
                    <a:pt x="327383" y="188453"/>
                  </a:cubicBezTo>
                  <a:cubicBezTo>
                    <a:pt x="329119" y="179421"/>
                    <a:pt x="329995" y="168594"/>
                    <a:pt x="329995" y="155978"/>
                  </a:cubicBezTo>
                  <a:close/>
                  <a:moveTo>
                    <a:pt x="578701" y="223015"/>
                  </a:moveTo>
                  <a:lnTo>
                    <a:pt x="578701" y="256362"/>
                  </a:lnTo>
                  <a:lnTo>
                    <a:pt x="409187" y="256362"/>
                  </a:lnTo>
                  <a:lnTo>
                    <a:pt x="409187" y="227704"/>
                  </a:lnTo>
                  <a:lnTo>
                    <a:pt x="491507" y="137913"/>
                  </a:lnTo>
                  <a:cubicBezTo>
                    <a:pt x="500539" y="127724"/>
                    <a:pt x="507670" y="118925"/>
                    <a:pt x="512874" y="111513"/>
                  </a:cubicBezTo>
                  <a:cubicBezTo>
                    <a:pt x="518078" y="104100"/>
                    <a:pt x="521736" y="97446"/>
                    <a:pt x="523813" y="91542"/>
                  </a:cubicBezTo>
                  <a:cubicBezTo>
                    <a:pt x="526011" y="85520"/>
                    <a:pt x="527110" y="79674"/>
                    <a:pt x="527110" y="73998"/>
                  </a:cubicBezTo>
                  <a:cubicBezTo>
                    <a:pt x="527110" y="66012"/>
                    <a:pt x="525617" y="59003"/>
                    <a:pt x="522592" y="52981"/>
                  </a:cubicBezTo>
                  <a:cubicBezTo>
                    <a:pt x="519708" y="46843"/>
                    <a:pt x="515413" y="42038"/>
                    <a:pt x="509746" y="38565"/>
                  </a:cubicBezTo>
                  <a:cubicBezTo>
                    <a:pt x="504080" y="34976"/>
                    <a:pt x="497193" y="33181"/>
                    <a:pt x="489085" y="33181"/>
                  </a:cubicBezTo>
                  <a:cubicBezTo>
                    <a:pt x="479708" y="33181"/>
                    <a:pt x="471823" y="35209"/>
                    <a:pt x="465452" y="39261"/>
                  </a:cubicBezTo>
                  <a:cubicBezTo>
                    <a:pt x="459095" y="43312"/>
                    <a:pt x="454289" y="48930"/>
                    <a:pt x="451040" y="56109"/>
                  </a:cubicBezTo>
                  <a:cubicBezTo>
                    <a:pt x="447796" y="63171"/>
                    <a:pt x="446181" y="71279"/>
                    <a:pt x="446181" y="80423"/>
                  </a:cubicBezTo>
                  <a:lnTo>
                    <a:pt x="404328" y="80423"/>
                  </a:lnTo>
                  <a:cubicBezTo>
                    <a:pt x="404328" y="65720"/>
                    <a:pt x="407679" y="52286"/>
                    <a:pt x="414391" y="40131"/>
                  </a:cubicBezTo>
                  <a:cubicBezTo>
                    <a:pt x="421108" y="27860"/>
                    <a:pt x="430846" y="18132"/>
                    <a:pt x="443569" y="10953"/>
                  </a:cubicBezTo>
                  <a:cubicBezTo>
                    <a:pt x="456313" y="3658"/>
                    <a:pt x="471648" y="10"/>
                    <a:pt x="489596" y="10"/>
                  </a:cubicBezTo>
                  <a:cubicBezTo>
                    <a:pt x="506497" y="10"/>
                    <a:pt x="520855" y="2845"/>
                    <a:pt x="532670" y="8521"/>
                  </a:cubicBezTo>
                  <a:cubicBezTo>
                    <a:pt x="544484" y="14193"/>
                    <a:pt x="553453" y="22242"/>
                    <a:pt x="559581" y="32660"/>
                  </a:cubicBezTo>
                  <a:cubicBezTo>
                    <a:pt x="565831" y="43079"/>
                    <a:pt x="568958" y="55413"/>
                    <a:pt x="568958" y="69655"/>
                  </a:cubicBezTo>
                  <a:cubicBezTo>
                    <a:pt x="568958" y="77529"/>
                    <a:pt x="567689" y="85345"/>
                    <a:pt x="565145" y="93103"/>
                  </a:cubicBezTo>
                  <a:cubicBezTo>
                    <a:pt x="562601" y="100861"/>
                    <a:pt x="558944" y="108619"/>
                    <a:pt x="554207" y="116376"/>
                  </a:cubicBezTo>
                  <a:cubicBezTo>
                    <a:pt x="549571" y="124017"/>
                    <a:pt x="544075" y="131717"/>
                    <a:pt x="537704" y="139475"/>
                  </a:cubicBezTo>
                  <a:cubicBezTo>
                    <a:pt x="531332" y="147116"/>
                    <a:pt x="524323" y="154873"/>
                    <a:pt x="516697" y="162748"/>
                  </a:cubicBezTo>
                  <a:lnTo>
                    <a:pt x="461979" y="223015"/>
                  </a:lnTo>
                  <a:lnTo>
                    <a:pt x="578701" y="223015"/>
                  </a:lnTo>
                  <a:close/>
                  <a:moveTo>
                    <a:pt x="660505" y="110992"/>
                  </a:moveTo>
                  <a:lnTo>
                    <a:pt x="685510" y="110992"/>
                  </a:lnTo>
                  <a:cubicBezTo>
                    <a:pt x="695233" y="110992"/>
                    <a:pt x="703287" y="109314"/>
                    <a:pt x="709639" y="105953"/>
                  </a:cubicBezTo>
                  <a:cubicBezTo>
                    <a:pt x="716132" y="102597"/>
                    <a:pt x="720943" y="97962"/>
                    <a:pt x="724065" y="92057"/>
                  </a:cubicBezTo>
                  <a:cubicBezTo>
                    <a:pt x="727188" y="86153"/>
                    <a:pt x="728754" y="79377"/>
                    <a:pt x="728754" y="71736"/>
                  </a:cubicBezTo>
                  <a:cubicBezTo>
                    <a:pt x="728754" y="64095"/>
                    <a:pt x="727295" y="56916"/>
                    <a:pt x="724411" y="51240"/>
                  </a:cubicBezTo>
                  <a:cubicBezTo>
                    <a:pt x="721628" y="45452"/>
                    <a:pt x="717353" y="40992"/>
                    <a:pt x="711565" y="37865"/>
                  </a:cubicBezTo>
                  <a:cubicBezTo>
                    <a:pt x="705879" y="34737"/>
                    <a:pt x="698652" y="33176"/>
                    <a:pt x="689858" y="33176"/>
                  </a:cubicBezTo>
                  <a:cubicBezTo>
                    <a:pt x="682441" y="33176"/>
                    <a:pt x="675724" y="34684"/>
                    <a:pt x="669712" y="37690"/>
                  </a:cubicBezTo>
                  <a:cubicBezTo>
                    <a:pt x="663803" y="40584"/>
                    <a:pt x="659114" y="44752"/>
                    <a:pt x="655626" y="50195"/>
                  </a:cubicBezTo>
                  <a:cubicBezTo>
                    <a:pt x="652159" y="55520"/>
                    <a:pt x="650422" y="61887"/>
                    <a:pt x="650422" y="69300"/>
                  </a:cubicBezTo>
                  <a:lnTo>
                    <a:pt x="608394" y="69300"/>
                  </a:lnTo>
                  <a:cubicBezTo>
                    <a:pt x="608394" y="55871"/>
                    <a:pt x="611916" y="43945"/>
                    <a:pt x="618992" y="33521"/>
                  </a:cubicBezTo>
                  <a:cubicBezTo>
                    <a:pt x="626050" y="23103"/>
                    <a:pt x="635670" y="14937"/>
                    <a:pt x="647810" y="9032"/>
                  </a:cubicBezTo>
                  <a:cubicBezTo>
                    <a:pt x="660092" y="3011"/>
                    <a:pt x="673866" y="0"/>
                    <a:pt x="689148" y="0"/>
                  </a:cubicBezTo>
                  <a:cubicBezTo>
                    <a:pt x="705480" y="0"/>
                    <a:pt x="719717" y="2724"/>
                    <a:pt x="731876" y="8161"/>
                  </a:cubicBezTo>
                  <a:cubicBezTo>
                    <a:pt x="744138" y="13487"/>
                    <a:pt x="753705" y="21479"/>
                    <a:pt x="760524" y="32130"/>
                  </a:cubicBezTo>
                  <a:cubicBezTo>
                    <a:pt x="767358" y="42782"/>
                    <a:pt x="770777" y="55982"/>
                    <a:pt x="770777" y="71731"/>
                  </a:cubicBezTo>
                  <a:cubicBezTo>
                    <a:pt x="770777" y="78910"/>
                    <a:pt x="769094" y="86206"/>
                    <a:pt x="765743" y="93614"/>
                  </a:cubicBezTo>
                  <a:cubicBezTo>
                    <a:pt x="762378" y="101026"/>
                    <a:pt x="757397" y="107797"/>
                    <a:pt x="750802" y="113935"/>
                  </a:cubicBezTo>
                  <a:cubicBezTo>
                    <a:pt x="744206" y="119956"/>
                    <a:pt x="735982" y="124873"/>
                    <a:pt x="726137" y="128696"/>
                  </a:cubicBezTo>
                  <a:cubicBezTo>
                    <a:pt x="716298" y="132403"/>
                    <a:pt x="704892" y="134256"/>
                    <a:pt x="691925" y="134256"/>
                  </a:cubicBezTo>
                  <a:lnTo>
                    <a:pt x="660495" y="134256"/>
                  </a:lnTo>
                  <a:lnTo>
                    <a:pt x="660495" y="110982"/>
                  </a:lnTo>
                  <a:close/>
                  <a:moveTo>
                    <a:pt x="660505" y="143643"/>
                  </a:moveTo>
                  <a:lnTo>
                    <a:pt x="660505" y="120715"/>
                  </a:lnTo>
                  <a:lnTo>
                    <a:pt x="691935" y="120715"/>
                  </a:lnTo>
                  <a:cubicBezTo>
                    <a:pt x="706755" y="120715"/>
                    <a:pt x="719381" y="122451"/>
                    <a:pt x="729790" y="125924"/>
                  </a:cubicBezTo>
                  <a:cubicBezTo>
                    <a:pt x="740335" y="129397"/>
                    <a:pt x="748905" y="134202"/>
                    <a:pt x="755500" y="140340"/>
                  </a:cubicBezTo>
                  <a:cubicBezTo>
                    <a:pt x="762095" y="146362"/>
                    <a:pt x="766906" y="153249"/>
                    <a:pt x="769911" y="161007"/>
                  </a:cubicBezTo>
                  <a:cubicBezTo>
                    <a:pt x="773039" y="168764"/>
                    <a:pt x="774600" y="176984"/>
                    <a:pt x="774600" y="185671"/>
                  </a:cubicBezTo>
                  <a:cubicBezTo>
                    <a:pt x="774600" y="197480"/>
                    <a:pt x="772470" y="208015"/>
                    <a:pt x="768175" y="217281"/>
                  </a:cubicBezTo>
                  <a:cubicBezTo>
                    <a:pt x="764016" y="226430"/>
                    <a:pt x="758044" y="234188"/>
                    <a:pt x="750296" y="240554"/>
                  </a:cubicBezTo>
                  <a:cubicBezTo>
                    <a:pt x="742533" y="246921"/>
                    <a:pt x="733447" y="251726"/>
                    <a:pt x="723024" y="254971"/>
                  </a:cubicBezTo>
                  <a:cubicBezTo>
                    <a:pt x="712718" y="258215"/>
                    <a:pt x="701487" y="259834"/>
                    <a:pt x="689328" y="259834"/>
                  </a:cubicBezTo>
                  <a:cubicBezTo>
                    <a:pt x="678457" y="259834"/>
                    <a:pt x="668029" y="258327"/>
                    <a:pt x="658068" y="255316"/>
                  </a:cubicBezTo>
                  <a:cubicBezTo>
                    <a:pt x="648107" y="252305"/>
                    <a:pt x="639192" y="247850"/>
                    <a:pt x="631327" y="241945"/>
                  </a:cubicBezTo>
                  <a:cubicBezTo>
                    <a:pt x="623443" y="235924"/>
                    <a:pt x="617193" y="228458"/>
                    <a:pt x="612572" y="219543"/>
                  </a:cubicBezTo>
                  <a:cubicBezTo>
                    <a:pt x="608054" y="210511"/>
                    <a:pt x="605787" y="200092"/>
                    <a:pt x="605787" y="188283"/>
                  </a:cubicBezTo>
                  <a:lnTo>
                    <a:pt x="647640" y="188283"/>
                  </a:lnTo>
                  <a:cubicBezTo>
                    <a:pt x="647640" y="195807"/>
                    <a:pt x="649377" y="202466"/>
                    <a:pt x="652859" y="208254"/>
                  </a:cubicBezTo>
                  <a:cubicBezTo>
                    <a:pt x="656449" y="213925"/>
                    <a:pt x="661429" y="218385"/>
                    <a:pt x="667786" y="221624"/>
                  </a:cubicBezTo>
                  <a:cubicBezTo>
                    <a:pt x="674279" y="224869"/>
                    <a:pt x="681682" y="226488"/>
                    <a:pt x="690028" y="226488"/>
                  </a:cubicBezTo>
                  <a:cubicBezTo>
                    <a:pt x="698822" y="226488"/>
                    <a:pt x="706415" y="224927"/>
                    <a:pt x="712767" y="221799"/>
                  </a:cubicBezTo>
                  <a:cubicBezTo>
                    <a:pt x="719138" y="218672"/>
                    <a:pt x="723997" y="214042"/>
                    <a:pt x="727363" y="207904"/>
                  </a:cubicBezTo>
                  <a:cubicBezTo>
                    <a:pt x="730831" y="201765"/>
                    <a:pt x="732567" y="194358"/>
                    <a:pt x="732567" y="185671"/>
                  </a:cubicBezTo>
                  <a:cubicBezTo>
                    <a:pt x="732567" y="175827"/>
                    <a:pt x="730660" y="167840"/>
                    <a:pt x="726847" y="161702"/>
                  </a:cubicBezTo>
                  <a:cubicBezTo>
                    <a:pt x="723019" y="155564"/>
                    <a:pt x="717572" y="151050"/>
                    <a:pt x="710515" y="148157"/>
                  </a:cubicBezTo>
                  <a:cubicBezTo>
                    <a:pt x="703457" y="145146"/>
                    <a:pt x="695111" y="143643"/>
                    <a:pt x="685510" y="143643"/>
                  </a:cubicBezTo>
                  <a:lnTo>
                    <a:pt x="660505" y="143643"/>
                  </a:lnTo>
                  <a:close/>
                </a:path>
              </a:pathLst>
            </a:custGeom>
            <a:solidFill>
              <a:srgbClr val="EE3431"/>
            </a:solidFill>
            <a:ln w="4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8" name="Полилиния: фигура 47">
              <a:extLst>
                <a:ext uri="{FF2B5EF4-FFF2-40B4-BE49-F238E27FC236}">
                  <a16:creationId xmlns:a16="http://schemas.microsoft.com/office/drawing/2014/main" id="{C3ADAD60-17B9-4A06-AE0E-BCB35AB4E7E8}"/>
                </a:ext>
              </a:extLst>
            </p:cNvPr>
            <p:cNvSpPr/>
            <p:nvPr/>
          </p:nvSpPr>
          <p:spPr>
            <a:xfrm>
              <a:off x="8902858" y="5870060"/>
              <a:ext cx="774600" cy="259829"/>
            </a:xfrm>
            <a:custGeom>
              <a:avLst/>
              <a:gdLst>
                <a:gd name="connsiteX0" fmla="*/ 174372 w 774600"/>
                <a:gd name="connsiteY0" fmla="*/ 223011 h 259829"/>
                <a:gd name="connsiteX1" fmla="*/ 174372 w 774600"/>
                <a:gd name="connsiteY1" fmla="*/ 256357 h 259829"/>
                <a:gd name="connsiteX2" fmla="*/ 4859 w 774600"/>
                <a:gd name="connsiteY2" fmla="*/ 256357 h 259829"/>
                <a:gd name="connsiteX3" fmla="*/ 4859 w 774600"/>
                <a:gd name="connsiteY3" fmla="*/ 227699 h 259829"/>
                <a:gd name="connsiteX4" fmla="*/ 87193 w 774600"/>
                <a:gd name="connsiteY4" fmla="*/ 137908 h 259829"/>
                <a:gd name="connsiteX5" fmla="*/ 108541 w 774600"/>
                <a:gd name="connsiteY5" fmla="*/ 111508 h 259829"/>
                <a:gd name="connsiteX6" fmla="*/ 119499 w 774600"/>
                <a:gd name="connsiteY6" fmla="*/ 91537 h 259829"/>
                <a:gd name="connsiteX7" fmla="*/ 122797 w 774600"/>
                <a:gd name="connsiteY7" fmla="*/ 73993 h 259829"/>
                <a:gd name="connsiteX8" fmla="*/ 118278 w 774600"/>
                <a:gd name="connsiteY8" fmla="*/ 52977 h 259829"/>
                <a:gd name="connsiteX9" fmla="*/ 105413 w 774600"/>
                <a:gd name="connsiteY9" fmla="*/ 38560 h 259829"/>
                <a:gd name="connsiteX10" fmla="*/ 84752 w 774600"/>
                <a:gd name="connsiteY10" fmla="*/ 33176 h 259829"/>
                <a:gd name="connsiteX11" fmla="*/ 61138 w 774600"/>
                <a:gd name="connsiteY11" fmla="*/ 39256 h 259829"/>
                <a:gd name="connsiteX12" fmla="*/ 46712 w 774600"/>
                <a:gd name="connsiteY12" fmla="*/ 56104 h 259829"/>
                <a:gd name="connsiteX13" fmla="*/ 41853 w 774600"/>
                <a:gd name="connsiteY13" fmla="*/ 80418 h 259829"/>
                <a:gd name="connsiteX14" fmla="*/ 0 w 774600"/>
                <a:gd name="connsiteY14" fmla="*/ 80418 h 259829"/>
                <a:gd name="connsiteX15" fmla="*/ 10083 w 774600"/>
                <a:gd name="connsiteY15" fmla="*/ 40126 h 259829"/>
                <a:gd name="connsiteX16" fmla="*/ 39261 w 774600"/>
                <a:gd name="connsiteY16" fmla="*/ 10948 h 259829"/>
                <a:gd name="connsiteX17" fmla="*/ 85272 w 774600"/>
                <a:gd name="connsiteY17" fmla="*/ 5 h 259829"/>
                <a:gd name="connsiteX18" fmla="*/ 128346 w 774600"/>
                <a:gd name="connsiteY18" fmla="*/ 8517 h 259829"/>
                <a:gd name="connsiteX19" fmla="*/ 155277 w 774600"/>
                <a:gd name="connsiteY19" fmla="*/ 32660 h 259829"/>
                <a:gd name="connsiteX20" fmla="*/ 164654 w 774600"/>
                <a:gd name="connsiteY20" fmla="*/ 69655 h 259829"/>
                <a:gd name="connsiteX21" fmla="*/ 160827 w 774600"/>
                <a:gd name="connsiteY21" fmla="*/ 93103 h 259829"/>
                <a:gd name="connsiteX22" fmla="*/ 149888 w 774600"/>
                <a:gd name="connsiteY22" fmla="*/ 116376 h 259829"/>
                <a:gd name="connsiteX23" fmla="*/ 133400 w 774600"/>
                <a:gd name="connsiteY23" fmla="*/ 139475 h 259829"/>
                <a:gd name="connsiteX24" fmla="*/ 112378 w 774600"/>
                <a:gd name="connsiteY24" fmla="*/ 162748 h 259829"/>
                <a:gd name="connsiteX25" fmla="*/ 57675 w 774600"/>
                <a:gd name="connsiteY25" fmla="*/ 223015 h 259829"/>
                <a:gd name="connsiteX26" fmla="*/ 174377 w 774600"/>
                <a:gd name="connsiteY26" fmla="*/ 223015 h 259829"/>
                <a:gd name="connsiteX27" fmla="*/ 371848 w 774600"/>
                <a:gd name="connsiteY27" fmla="*/ 108730 h 259829"/>
                <a:gd name="connsiteX28" fmla="*/ 371848 w 774600"/>
                <a:gd name="connsiteY28" fmla="*/ 150063 h 259829"/>
                <a:gd name="connsiteX29" fmla="*/ 365938 w 774600"/>
                <a:gd name="connsiteY29" fmla="*/ 200778 h 259829"/>
                <a:gd name="connsiteX30" fmla="*/ 349260 w 774600"/>
                <a:gd name="connsiteY30" fmla="*/ 234645 h 259829"/>
                <a:gd name="connsiteX31" fmla="*/ 323035 w 774600"/>
                <a:gd name="connsiteY31" fmla="*/ 253750 h 259829"/>
                <a:gd name="connsiteX32" fmla="*/ 289168 w 774600"/>
                <a:gd name="connsiteY32" fmla="*/ 259830 h 259829"/>
                <a:gd name="connsiteX33" fmla="*/ 261381 w 774600"/>
                <a:gd name="connsiteY33" fmla="*/ 256011 h 259829"/>
                <a:gd name="connsiteX34" fmla="*/ 238468 w 774600"/>
                <a:gd name="connsiteY34" fmla="*/ 244027 h 259829"/>
                <a:gd name="connsiteX35" fmla="*/ 220914 w 774600"/>
                <a:gd name="connsiteY35" fmla="*/ 223011 h 259829"/>
                <a:gd name="connsiteX36" fmla="*/ 209800 w 774600"/>
                <a:gd name="connsiteY36" fmla="*/ 191921 h 259829"/>
                <a:gd name="connsiteX37" fmla="*/ 205972 w 774600"/>
                <a:gd name="connsiteY37" fmla="*/ 150063 h 259829"/>
                <a:gd name="connsiteX38" fmla="*/ 205972 w 774600"/>
                <a:gd name="connsiteY38" fmla="*/ 108730 h 259829"/>
                <a:gd name="connsiteX39" fmla="*/ 211882 w 774600"/>
                <a:gd name="connsiteY39" fmla="*/ 58366 h 259829"/>
                <a:gd name="connsiteX40" fmla="*/ 228730 w 774600"/>
                <a:gd name="connsiteY40" fmla="*/ 24844 h 259829"/>
                <a:gd name="connsiteX41" fmla="*/ 254786 w 774600"/>
                <a:gd name="connsiteY41" fmla="*/ 5914 h 259829"/>
                <a:gd name="connsiteX42" fmla="*/ 288827 w 774600"/>
                <a:gd name="connsiteY42" fmla="*/ 10 h 259829"/>
                <a:gd name="connsiteX43" fmla="*/ 316614 w 774600"/>
                <a:gd name="connsiteY43" fmla="*/ 3833 h 259829"/>
                <a:gd name="connsiteX44" fmla="*/ 339542 w 774600"/>
                <a:gd name="connsiteY44" fmla="*/ 15467 h 259829"/>
                <a:gd name="connsiteX45" fmla="*/ 356906 w 774600"/>
                <a:gd name="connsiteY45" fmla="*/ 36308 h 259829"/>
                <a:gd name="connsiteX46" fmla="*/ 368020 w 774600"/>
                <a:gd name="connsiteY46" fmla="*/ 67048 h 259829"/>
                <a:gd name="connsiteX47" fmla="*/ 371848 w 774600"/>
                <a:gd name="connsiteY47" fmla="*/ 108730 h 259829"/>
                <a:gd name="connsiteX48" fmla="*/ 329995 w 774600"/>
                <a:gd name="connsiteY48" fmla="*/ 155968 h 259829"/>
                <a:gd name="connsiteX49" fmla="*/ 329995 w 774600"/>
                <a:gd name="connsiteY49" fmla="*/ 102476 h 259829"/>
                <a:gd name="connsiteX50" fmla="*/ 328258 w 774600"/>
                <a:gd name="connsiteY50" fmla="*/ 75905 h 259829"/>
                <a:gd name="connsiteX51" fmla="*/ 323039 w 774600"/>
                <a:gd name="connsiteY51" fmla="*/ 56279 h 259829"/>
                <a:gd name="connsiteX52" fmla="*/ 314708 w 774600"/>
                <a:gd name="connsiteY52" fmla="*/ 43079 h 259829"/>
                <a:gd name="connsiteX53" fmla="*/ 303234 w 774600"/>
                <a:gd name="connsiteY53" fmla="*/ 35613 h 259829"/>
                <a:gd name="connsiteX54" fmla="*/ 288823 w 774600"/>
                <a:gd name="connsiteY54" fmla="*/ 33181 h 259829"/>
                <a:gd name="connsiteX55" fmla="*/ 271459 w 774600"/>
                <a:gd name="connsiteY55" fmla="*/ 37004 h 259829"/>
                <a:gd name="connsiteX56" fmla="*/ 258613 w 774600"/>
                <a:gd name="connsiteY56" fmla="*/ 48813 h 259829"/>
                <a:gd name="connsiteX57" fmla="*/ 250608 w 774600"/>
                <a:gd name="connsiteY57" fmla="*/ 70350 h 259829"/>
                <a:gd name="connsiteX58" fmla="*/ 248015 w 774600"/>
                <a:gd name="connsiteY58" fmla="*/ 102480 h 259829"/>
                <a:gd name="connsiteX59" fmla="*/ 248015 w 774600"/>
                <a:gd name="connsiteY59" fmla="*/ 155973 h 259829"/>
                <a:gd name="connsiteX60" fmla="*/ 249752 w 774600"/>
                <a:gd name="connsiteY60" fmla="*/ 182894 h 259829"/>
                <a:gd name="connsiteX61" fmla="*/ 254956 w 774600"/>
                <a:gd name="connsiteY61" fmla="*/ 202865 h 259829"/>
                <a:gd name="connsiteX62" fmla="*/ 263302 w 774600"/>
                <a:gd name="connsiteY62" fmla="*/ 216410 h 259829"/>
                <a:gd name="connsiteX63" fmla="*/ 274756 w 774600"/>
                <a:gd name="connsiteY63" fmla="*/ 224051 h 259829"/>
                <a:gd name="connsiteX64" fmla="*/ 289168 w 774600"/>
                <a:gd name="connsiteY64" fmla="*/ 226483 h 259829"/>
                <a:gd name="connsiteX65" fmla="*/ 306721 w 774600"/>
                <a:gd name="connsiteY65" fmla="*/ 222660 h 259829"/>
                <a:gd name="connsiteX66" fmla="*/ 319567 w 774600"/>
                <a:gd name="connsiteY66" fmla="*/ 210501 h 259829"/>
                <a:gd name="connsiteX67" fmla="*/ 327383 w 774600"/>
                <a:gd name="connsiteY67" fmla="*/ 188443 h 259829"/>
                <a:gd name="connsiteX68" fmla="*/ 329995 w 774600"/>
                <a:gd name="connsiteY68" fmla="*/ 155963 h 259829"/>
                <a:gd name="connsiteX69" fmla="*/ 578701 w 774600"/>
                <a:gd name="connsiteY69" fmla="*/ 223006 h 259829"/>
                <a:gd name="connsiteX70" fmla="*/ 578701 w 774600"/>
                <a:gd name="connsiteY70" fmla="*/ 256352 h 259829"/>
                <a:gd name="connsiteX71" fmla="*/ 409187 w 774600"/>
                <a:gd name="connsiteY71" fmla="*/ 256352 h 259829"/>
                <a:gd name="connsiteX72" fmla="*/ 409187 w 774600"/>
                <a:gd name="connsiteY72" fmla="*/ 227694 h 259829"/>
                <a:gd name="connsiteX73" fmla="*/ 491507 w 774600"/>
                <a:gd name="connsiteY73" fmla="*/ 137904 h 259829"/>
                <a:gd name="connsiteX74" fmla="*/ 512874 w 774600"/>
                <a:gd name="connsiteY74" fmla="*/ 111503 h 259829"/>
                <a:gd name="connsiteX75" fmla="*/ 523813 w 774600"/>
                <a:gd name="connsiteY75" fmla="*/ 91532 h 259829"/>
                <a:gd name="connsiteX76" fmla="*/ 527110 w 774600"/>
                <a:gd name="connsiteY76" fmla="*/ 73988 h 259829"/>
                <a:gd name="connsiteX77" fmla="*/ 522592 w 774600"/>
                <a:gd name="connsiteY77" fmla="*/ 52972 h 259829"/>
                <a:gd name="connsiteX78" fmla="*/ 509746 w 774600"/>
                <a:gd name="connsiteY78" fmla="*/ 38555 h 259829"/>
                <a:gd name="connsiteX79" fmla="*/ 489085 w 774600"/>
                <a:gd name="connsiteY79" fmla="*/ 33171 h 259829"/>
                <a:gd name="connsiteX80" fmla="*/ 465452 w 774600"/>
                <a:gd name="connsiteY80" fmla="*/ 39251 h 259829"/>
                <a:gd name="connsiteX81" fmla="*/ 451040 w 774600"/>
                <a:gd name="connsiteY81" fmla="*/ 56099 h 259829"/>
                <a:gd name="connsiteX82" fmla="*/ 446181 w 774600"/>
                <a:gd name="connsiteY82" fmla="*/ 80413 h 259829"/>
                <a:gd name="connsiteX83" fmla="*/ 404328 w 774600"/>
                <a:gd name="connsiteY83" fmla="*/ 80413 h 259829"/>
                <a:gd name="connsiteX84" fmla="*/ 414391 w 774600"/>
                <a:gd name="connsiteY84" fmla="*/ 40122 h 259829"/>
                <a:gd name="connsiteX85" fmla="*/ 443569 w 774600"/>
                <a:gd name="connsiteY85" fmla="*/ 10944 h 259829"/>
                <a:gd name="connsiteX86" fmla="*/ 489596 w 774600"/>
                <a:gd name="connsiteY86" fmla="*/ 0 h 259829"/>
                <a:gd name="connsiteX87" fmla="*/ 532670 w 774600"/>
                <a:gd name="connsiteY87" fmla="*/ 8512 h 259829"/>
                <a:gd name="connsiteX88" fmla="*/ 559581 w 774600"/>
                <a:gd name="connsiteY88" fmla="*/ 32656 h 259829"/>
                <a:gd name="connsiteX89" fmla="*/ 568958 w 774600"/>
                <a:gd name="connsiteY89" fmla="*/ 69650 h 259829"/>
                <a:gd name="connsiteX90" fmla="*/ 565145 w 774600"/>
                <a:gd name="connsiteY90" fmla="*/ 93098 h 259829"/>
                <a:gd name="connsiteX91" fmla="*/ 554207 w 774600"/>
                <a:gd name="connsiteY91" fmla="*/ 116372 h 259829"/>
                <a:gd name="connsiteX92" fmla="*/ 537704 w 774600"/>
                <a:gd name="connsiteY92" fmla="*/ 139470 h 259829"/>
                <a:gd name="connsiteX93" fmla="*/ 516697 w 774600"/>
                <a:gd name="connsiteY93" fmla="*/ 162743 h 259829"/>
                <a:gd name="connsiteX94" fmla="*/ 461979 w 774600"/>
                <a:gd name="connsiteY94" fmla="*/ 223011 h 259829"/>
                <a:gd name="connsiteX95" fmla="*/ 578701 w 774600"/>
                <a:gd name="connsiteY95" fmla="*/ 223011 h 259829"/>
                <a:gd name="connsiteX96" fmla="*/ 660505 w 774600"/>
                <a:gd name="connsiteY96" fmla="*/ 110982 h 259829"/>
                <a:gd name="connsiteX97" fmla="*/ 685510 w 774600"/>
                <a:gd name="connsiteY97" fmla="*/ 110982 h 259829"/>
                <a:gd name="connsiteX98" fmla="*/ 709639 w 774600"/>
                <a:gd name="connsiteY98" fmla="*/ 105948 h 259829"/>
                <a:gd name="connsiteX99" fmla="*/ 724065 w 774600"/>
                <a:gd name="connsiteY99" fmla="*/ 92052 h 259829"/>
                <a:gd name="connsiteX100" fmla="*/ 728754 w 774600"/>
                <a:gd name="connsiteY100" fmla="*/ 71731 h 259829"/>
                <a:gd name="connsiteX101" fmla="*/ 724411 w 774600"/>
                <a:gd name="connsiteY101" fmla="*/ 51240 h 259829"/>
                <a:gd name="connsiteX102" fmla="*/ 711565 w 774600"/>
                <a:gd name="connsiteY102" fmla="*/ 37865 h 259829"/>
                <a:gd name="connsiteX103" fmla="*/ 689858 w 774600"/>
                <a:gd name="connsiteY103" fmla="*/ 33176 h 259829"/>
                <a:gd name="connsiteX104" fmla="*/ 669712 w 774600"/>
                <a:gd name="connsiteY104" fmla="*/ 37690 h 259829"/>
                <a:gd name="connsiteX105" fmla="*/ 655626 w 774600"/>
                <a:gd name="connsiteY105" fmla="*/ 50195 h 259829"/>
                <a:gd name="connsiteX106" fmla="*/ 650422 w 774600"/>
                <a:gd name="connsiteY106" fmla="*/ 69300 h 259829"/>
                <a:gd name="connsiteX107" fmla="*/ 608394 w 774600"/>
                <a:gd name="connsiteY107" fmla="*/ 69300 h 259829"/>
                <a:gd name="connsiteX108" fmla="*/ 618992 w 774600"/>
                <a:gd name="connsiteY108" fmla="*/ 33521 h 259829"/>
                <a:gd name="connsiteX109" fmla="*/ 647810 w 774600"/>
                <a:gd name="connsiteY109" fmla="*/ 9032 h 259829"/>
                <a:gd name="connsiteX110" fmla="*/ 689148 w 774600"/>
                <a:gd name="connsiteY110" fmla="*/ 0 h 259829"/>
                <a:gd name="connsiteX111" fmla="*/ 731876 w 774600"/>
                <a:gd name="connsiteY111" fmla="*/ 8161 h 259829"/>
                <a:gd name="connsiteX112" fmla="*/ 760524 w 774600"/>
                <a:gd name="connsiteY112" fmla="*/ 32130 h 259829"/>
                <a:gd name="connsiteX113" fmla="*/ 770777 w 774600"/>
                <a:gd name="connsiteY113" fmla="*/ 71727 h 259829"/>
                <a:gd name="connsiteX114" fmla="*/ 765743 w 774600"/>
                <a:gd name="connsiteY114" fmla="*/ 93609 h 259829"/>
                <a:gd name="connsiteX115" fmla="*/ 750802 w 774600"/>
                <a:gd name="connsiteY115" fmla="*/ 113930 h 259829"/>
                <a:gd name="connsiteX116" fmla="*/ 726137 w 774600"/>
                <a:gd name="connsiteY116" fmla="*/ 128692 h 259829"/>
                <a:gd name="connsiteX117" fmla="*/ 691925 w 774600"/>
                <a:gd name="connsiteY117" fmla="*/ 134251 h 259829"/>
                <a:gd name="connsiteX118" fmla="*/ 660495 w 774600"/>
                <a:gd name="connsiteY118" fmla="*/ 134251 h 259829"/>
                <a:gd name="connsiteX119" fmla="*/ 660495 w 774600"/>
                <a:gd name="connsiteY119" fmla="*/ 110978 h 259829"/>
                <a:gd name="connsiteX120" fmla="*/ 660505 w 774600"/>
                <a:gd name="connsiteY120" fmla="*/ 143633 h 259829"/>
                <a:gd name="connsiteX121" fmla="*/ 660505 w 774600"/>
                <a:gd name="connsiteY121" fmla="*/ 120705 h 259829"/>
                <a:gd name="connsiteX122" fmla="*/ 691935 w 774600"/>
                <a:gd name="connsiteY122" fmla="*/ 120705 h 259829"/>
                <a:gd name="connsiteX123" fmla="*/ 729790 w 774600"/>
                <a:gd name="connsiteY123" fmla="*/ 125914 h 259829"/>
                <a:gd name="connsiteX124" fmla="*/ 755500 w 774600"/>
                <a:gd name="connsiteY124" fmla="*/ 140331 h 259829"/>
                <a:gd name="connsiteX125" fmla="*/ 769911 w 774600"/>
                <a:gd name="connsiteY125" fmla="*/ 160997 h 259829"/>
                <a:gd name="connsiteX126" fmla="*/ 774600 w 774600"/>
                <a:gd name="connsiteY126" fmla="*/ 185661 h 259829"/>
                <a:gd name="connsiteX127" fmla="*/ 768175 w 774600"/>
                <a:gd name="connsiteY127" fmla="*/ 217271 h 259829"/>
                <a:gd name="connsiteX128" fmla="*/ 750296 w 774600"/>
                <a:gd name="connsiteY128" fmla="*/ 240545 h 259829"/>
                <a:gd name="connsiteX129" fmla="*/ 723024 w 774600"/>
                <a:gd name="connsiteY129" fmla="*/ 254961 h 259829"/>
                <a:gd name="connsiteX130" fmla="*/ 689328 w 774600"/>
                <a:gd name="connsiteY130" fmla="*/ 259825 h 259829"/>
                <a:gd name="connsiteX131" fmla="*/ 658068 w 774600"/>
                <a:gd name="connsiteY131" fmla="*/ 255311 h 259829"/>
                <a:gd name="connsiteX132" fmla="*/ 631327 w 774600"/>
                <a:gd name="connsiteY132" fmla="*/ 241940 h 259829"/>
                <a:gd name="connsiteX133" fmla="*/ 612572 w 774600"/>
                <a:gd name="connsiteY133" fmla="*/ 219538 h 259829"/>
                <a:gd name="connsiteX134" fmla="*/ 605787 w 774600"/>
                <a:gd name="connsiteY134" fmla="*/ 188273 h 259829"/>
                <a:gd name="connsiteX135" fmla="*/ 647640 w 774600"/>
                <a:gd name="connsiteY135" fmla="*/ 188273 h 259829"/>
                <a:gd name="connsiteX136" fmla="*/ 652859 w 774600"/>
                <a:gd name="connsiteY136" fmla="*/ 208249 h 259829"/>
                <a:gd name="connsiteX137" fmla="*/ 667786 w 774600"/>
                <a:gd name="connsiteY137" fmla="*/ 221619 h 259829"/>
                <a:gd name="connsiteX138" fmla="*/ 690028 w 774600"/>
                <a:gd name="connsiteY138" fmla="*/ 226483 h 259829"/>
                <a:gd name="connsiteX139" fmla="*/ 712767 w 774600"/>
                <a:gd name="connsiteY139" fmla="*/ 221795 h 259829"/>
                <a:gd name="connsiteX140" fmla="*/ 727363 w 774600"/>
                <a:gd name="connsiteY140" fmla="*/ 207899 h 259829"/>
                <a:gd name="connsiteX141" fmla="*/ 732567 w 774600"/>
                <a:gd name="connsiteY141" fmla="*/ 185671 h 259829"/>
                <a:gd name="connsiteX142" fmla="*/ 726847 w 774600"/>
                <a:gd name="connsiteY142" fmla="*/ 161702 h 259829"/>
                <a:gd name="connsiteX143" fmla="*/ 710515 w 774600"/>
                <a:gd name="connsiteY143" fmla="*/ 148157 h 259829"/>
                <a:gd name="connsiteX144" fmla="*/ 685510 w 774600"/>
                <a:gd name="connsiteY144" fmla="*/ 143643 h 259829"/>
                <a:gd name="connsiteX145" fmla="*/ 660505 w 774600"/>
                <a:gd name="connsiteY145" fmla="*/ 143643 h 2598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</a:cxnLst>
              <a:rect l="l" t="t" r="r" b="b"/>
              <a:pathLst>
                <a:path w="774600" h="259829">
                  <a:moveTo>
                    <a:pt x="174372" y="223011"/>
                  </a:moveTo>
                  <a:lnTo>
                    <a:pt x="174372" y="256357"/>
                  </a:lnTo>
                  <a:lnTo>
                    <a:pt x="4859" y="256357"/>
                  </a:lnTo>
                  <a:lnTo>
                    <a:pt x="4859" y="227699"/>
                  </a:lnTo>
                  <a:lnTo>
                    <a:pt x="87193" y="137908"/>
                  </a:lnTo>
                  <a:cubicBezTo>
                    <a:pt x="96211" y="127719"/>
                    <a:pt x="103336" y="118920"/>
                    <a:pt x="108541" y="111508"/>
                  </a:cubicBezTo>
                  <a:cubicBezTo>
                    <a:pt x="113760" y="104095"/>
                    <a:pt x="117403" y="97442"/>
                    <a:pt x="119499" y="91537"/>
                  </a:cubicBezTo>
                  <a:cubicBezTo>
                    <a:pt x="121697" y="85516"/>
                    <a:pt x="122797" y="79669"/>
                    <a:pt x="122797" y="73993"/>
                  </a:cubicBezTo>
                  <a:cubicBezTo>
                    <a:pt x="122797" y="66002"/>
                    <a:pt x="121284" y="58998"/>
                    <a:pt x="118278" y="52977"/>
                  </a:cubicBezTo>
                  <a:cubicBezTo>
                    <a:pt x="115374" y="46838"/>
                    <a:pt x="111099" y="42033"/>
                    <a:pt x="105413" y="38560"/>
                  </a:cubicBezTo>
                  <a:cubicBezTo>
                    <a:pt x="99747" y="34971"/>
                    <a:pt x="92860" y="33176"/>
                    <a:pt x="84752" y="33176"/>
                  </a:cubicBezTo>
                  <a:cubicBezTo>
                    <a:pt x="75374" y="33176"/>
                    <a:pt x="67510" y="35204"/>
                    <a:pt x="61138" y="39256"/>
                  </a:cubicBezTo>
                  <a:cubicBezTo>
                    <a:pt x="54766" y="43307"/>
                    <a:pt x="49956" y="48925"/>
                    <a:pt x="46712" y="56104"/>
                  </a:cubicBezTo>
                  <a:cubicBezTo>
                    <a:pt x="43482" y="63166"/>
                    <a:pt x="41853" y="71274"/>
                    <a:pt x="41853" y="80418"/>
                  </a:cubicBezTo>
                  <a:lnTo>
                    <a:pt x="0" y="80418"/>
                  </a:lnTo>
                  <a:cubicBezTo>
                    <a:pt x="0" y="65715"/>
                    <a:pt x="3366" y="52281"/>
                    <a:pt x="10083" y="40126"/>
                  </a:cubicBezTo>
                  <a:cubicBezTo>
                    <a:pt x="16800" y="27855"/>
                    <a:pt x="26517" y="18127"/>
                    <a:pt x="39261" y="10948"/>
                  </a:cubicBezTo>
                  <a:cubicBezTo>
                    <a:pt x="51989" y="3653"/>
                    <a:pt x="67325" y="5"/>
                    <a:pt x="85272" y="5"/>
                  </a:cubicBezTo>
                  <a:cubicBezTo>
                    <a:pt x="102189" y="5"/>
                    <a:pt x="116546" y="2840"/>
                    <a:pt x="128346" y="8517"/>
                  </a:cubicBezTo>
                  <a:cubicBezTo>
                    <a:pt x="140160" y="14193"/>
                    <a:pt x="149129" y="22237"/>
                    <a:pt x="155277" y="32660"/>
                  </a:cubicBezTo>
                  <a:cubicBezTo>
                    <a:pt x="161527" y="43079"/>
                    <a:pt x="164654" y="55413"/>
                    <a:pt x="164654" y="69655"/>
                  </a:cubicBezTo>
                  <a:cubicBezTo>
                    <a:pt x="164654" y="77529"/>
                    <a:pt x="163385" y="85345"/>
                    <a:pt x="160827" y="93103"/>
                  </a:cubicBezTo>
                  <a:cubicBezTo>
                    <a:pt x="158283" y="100861"/>
                    <a:pt x="154645" y="108619"/>
                    <a:pt x="149888" y="116376"/>
                  </a:cubicBezTo>
                  <a:cubicBezTo>
                    <a:pt x="145267" y="124017"/>
                    <a:pt x="139757" y="131717"/>
                    <a:pt x="133400" y="139475"/>
                  </a:cubicBezTo>
                  <a:cubicBezTo>
                    <a:pt x="127028" y="147116"/>
                    <a:pt x="120019" y="154873"/>
                    <a:pt x="112378" y="162748"/>
                  </a:cubicBezTo>
                  <a:lnTo>
                    <a:pt x="57675" y="223015"/>
                  </a:lnTo>
                  <a:lnTo>
                    <a:pt x="174377" y="223015"/>
                  </a:lnTo>
                  <a:close/>
                  <a:moveTo>
                    <a:pt x="371848" y="108730"/>
                  </a:moveTo>
                  <a:lnTo>
                    <a:pt x="371848" y="150063"/>
                  </a:lnTo>
                  <a:cubicBezTo>
                    <a:pt x="371848" y="169864"/>
                    <a:pt x="369873" y="186765"/>
                    <a:pt x="365938" y="200778"/>
                  </a:cubicBezTo>
                  <a:cubicBezTo>
                    <a:pt x="362125" y="214674"/>
                    <a:pt x="356561" y="225963"/>
                    <a:pt x="349260" y="234645"/>
                  </a:cubicBezTo>
                  <a:cubicBezTo>
                    <a:pt x="341960" y="243327"/>
                    <a:pt x="333219" y="249698"/>
                    <a:pt x="323035" y="253750"/>
                  </a:cubicBezTo>
                  <a:cubicBezTo>
                    <a:pt x="312971" y="257801"/>
                    <a:pt x="301668" y="259830"/>
                    <a:pt x="289168" y="259830"/>
                  </a:cubicBezTo>
                  <a:cubicBezTo>
                    <a:pt x="279221" y="259830"/>
                    <a:pt x="269951" y="258555"/>
                    <a:pt x="261381" y="256011"/>
                  </a:cubicBezTo>
                  <a:cubicBezTo>
                    <a:pt x="252933" y="253463"/>
                    <a:pt x="245287" y="249470"/>
                    <a:pt x="238468" y="244027"/>
                  </a:cubicBezTo>
                  <a:cubicBezTo>
                    <a:pt x="231634" y="238584"/>
                    <a:pt x="225773" y="231581"/>
                    <a:pt x="220914" y="223011"/>
                  </a:cubicBezTo>
                  <a:cubicBezTo>
                    <a:pt x="216172" y="214329"/>
                    <a:pt x="212466" y="203964"/>
                    <a:pt x="209800" y="191921"/>
                  </a:cubicBezTo>
                  <a:cubicBezTo>
                    <a:pt x="207256" y="179878"/>
                    <a:pt x="205972" y="165929"/>
                    <a:pt x="205972" y="150063"/>
                  </a:cubicBezTo>
                  <a:lnTo>
                    <a:pt x="205972" y="108730"/>
                  </a:lnTo>
                  <a:cubicBezTo>
                    <a:pt x="205972" y="88813"/>
                    <a:pt x="207947" y="72028"/>
                    <a:pt x="211882" y="58366"/>
                  </a:cubicBezTo>
                  <a:cubicBezTo>
                    <a:pt x="215831" y="44587"/>
                    <a:pt x="221430" y="33414"/>
                    <a:pt x="228730" y="24844"/>
                  </a:cubicBezTo>
                  <a:cubicBezTo>
                    <a:pt x="236031" y="16162"/>
                    <a:pt x="244722" y="9849"/>
                    <a:pt x="254786" y="5914"/>
                  </a:cubicBezTo>
                  <a:cubicBezTo>
                    <a:pt x="264970" y="1975"/>
                    <a:pt x="276323" y="10"/>
                    <a:pt x="288827" y="10"/>
                  </a:cubicBezTo>
                  <a:cubicBezTo>
                    <a:pt x="298910" y="10"/>
                    <a:pt x="308166" y="1284"/>
                    <a:pt x="316614" y="3833"/>
                  </a:cubicBezTo>
                  <a:cubicBezTo>
                    <a:pt x="325184" y="6265"/>
                    <a:pt x="332825" y="10141"/>
                    <a:pt x="339542" y="15467"/>
                  </a:cubicBezTo>
                  <a:cubicBezTo>
                    <a:pt x="346376" y="20793"/>
                    <a:pt x="352164" y="27738"/>
                    <a:pt x="356906" y="36308"/>
                  </a:cubicBezTo>
                  <a:cubicBezTo>
                    <a:pt x="361765" y="44762"/>
                    <a:pt x="365476" y="55010"/>
                    <a:pt x="368020" y="67048"/>
                  </a:cubicBezTo>
                  <a:cubicBezTo>
                    <a:pt x="370578" y="78974"/>
                    <a:pt x="371848" y="92870"/>
                    <a:pt x="371848" y="108730"/>
                  </a:cubicBezTo>
                  <a:close/>
                  <a:moveTo>
                    <a:pt x="329995" y="155968"/>
                  </a:moveTo>
                  <a:lnTo>
                    <a:pt x="329995" y="102476"/>
                  </a:lnTo>
                  <a:cubicBezTo>
                    <a:pt x="329995" y="92403"/>
                    <a:pt x="329411" y="83546"/>
                    <a:pt x="328258" y="75905"/>
                  </a:cubicBezTo>
                  <a:cubicBezTo>
                    <a:pt x="327091" y="68147"/>
                    <a:pt x="325355" y="61605"/>
                    <a:pt x="323039" y="56279"/>
                  </a:cubicBezTo>
                  <a:cubicBezTo>
                    <a:pt x="320841" y="50837"/>
                    <a:pt x="318059" y="46440"/>
                    <a:pt x="314708" y="43079"/>
                  </a:cubicBezTo>
                  <a:cubicBezTo>
                    <a:pt x="311342" y="39606"/>
                    <a:pt x="307529" y="37116"/>
                    <a:pt x="303234" y="35613"/>
                  </a:cubicBezTo>
                  <a:cubicBezTo>
                    <a:pt x="298959" y="33993"/>
                    <a:pt x="294148" y="33181"/>
                    <a:pt x="288823" y="33181"/>
                  </a:cubicBezTo>
                  <a:cubicBezTo>
                    <a:pt x="282349" y="33181"/>
                    <a:pt x="276542" y="34455"/>
                    <a:pt x="271459" y="37004"/>
                  </a:cubicBezTo>
                  <a:cubicBezTo>
                    <a:pt x="266357" y="39436"/>
                    <a:pt x="262081" y="43371"/>
                    <a:pt x="258613" y="48813"/>
                  </a:cubicBezTo>
                  <a:cubicBezTo>
                    <a:pt x="255126" y="54256"/>
                    <a:pt x="252466" y="61435"/>
                    <a:pt x="250608" y="70350"/>
                  </a:cubicBezTo>
                  <a:cubicBezTo>
                    <a:pt x="248871" y="79149"/>
                    <a:pt x="248015" y="89859"/>
                    <a:pt x="248015" y="102480"/>
                  </a:cubicBezTo>
                  <a:lnTo>
                    <a:pt x="248015" y="155973"/>
                  </a:lnTo>
                  <a:cubicBezTo>
                    <a:pt x="248015" y="166162"/>
                    <a:pt x="248584" y="175136"/>
                    <a:pt x="249752" y="182894"/>
                  </a:cubicBezTo>
                  <a:cubicBezTo>
                    <a:pt x="250904" y="190652"/>
                    <a:pt x="252636" y="197310"/>
                    <a:pt x="254956" y="202865"/>
                  </a:cubicBezTo>
                  <a:cubicBezTo>
                    <a:pt x="257276" y="208307"/>
                    <a:pt x="260058" y="212821"/>
                    <a:pt x="263302" y="216410"/>
                  </a:cubicBezTo>
                  <a:cubicBezTo>
                    <a:pt x="266653" y="219883"/>
                    <a:pt x="270481" y="222432"/>
                    <a:pt x="274756" y="224051"/>
                  </a:cubicBezTo>
                  <a:cubicBezTo>
                    <a:pt x="279153" y="225671"/>
                    <a:pt x="283964" y="226483"/>
                    <a:pt x="289168" y="226483"/>
                  </a:cubicBezTo>
                  <a:cubicBezTo>
                    <a:pt x="295778" y="226483"/>
                    <a:pt x="301619" y="225209"/>
                    <a:pt x="306721" y="222660"/>
                  </a:cubicBezTo>
                  <a:cubicBezTo>
                    <a:pt x="311804" y="220112"/>
                    <a:pt x="316099" y="216060"/>
                    <a:pt x="319567" y="210501"/>
                  </a:cubicBezTo>
                  <a:cubicBezTo>
                    <a:pt x="323035" y="204830"/>
                    <a:pt x="325646" y="197476"/>
                    <a:pt x="327383" y="188443"/>
                  </a:cubicBezTo>
                  <a:cubicBezTo>
                    <a:pt x="329119" y="179411"/>
                    <a:pt x="329995" y="168585"/>
                    <a:pt x="329995" y="155963"/>
                  </a:cubicBezTo>
                  <a:close/>
                  <a:moveTo>
                    <a:pt x="578701" y="223006"/>
                  </a:moveTo>
                  <a:lnTo>
                    <a:pt x="578701" y="256352"/>
                  </a:lnTo>
                  <a:lnTo>
                    <a:pt x="409187" y="256352"/>
                  </a:lnTo>
                  <a:lnTo>
                    <a:pt x="409187" y="227694"/>
                  </a:lnTo>
                  <a:lnTo>
                    <a:pt x="491507" y="137904"/>
                  </a:lnTo>
                  <a:cubicBezTo>
                    <a:pt x="500539" y="127714"/>
                    <a:pt x="507670" y="118915"/>
                    <a:pt x="512874" y="111503"/>
                  </a:cubicBezTo>
                  <a:cubicBezTo>
                    <a:pt x="518078" y="104090"/>
                    <a:pt x="521736" y="97437"/>
                    <a:pt x="523813" y="91532"/>
                  </a:cubicBezTo>
                  <a:cubicBezTo>
                    <a:pt x="526011" y="85511"/>
                    <a:pt x="527110" y="79664"/>
                    <a:pt x="527110" y="73988"/>
                  </a:cubicBezTo>
                  <a:cubicBezTo>
                    <a:pt x="527110" y="65997"/>
                    <a:pt x="525617" y="58993"/>
                    <a:pt x="522592" y="52972"/>
                  </a:cubicBezTo>
                  <a:cubicBezTo>
                    <a:pt x="519708" y="46834"/>
                    <a:pt x="515413" y="42028"/>
                    <a:pt x="509746" y="38555"/>
                  </a:cubicBezTo>
                  <a:cubicBezTo>
                    <a:pt x="504080" y="34966"/>
                    <a:pt x="497193" y="33171"/>
                    <a:pt x="489085" y="33171"/>
                  </a:cubicBezTo>
                  <a:cubicBezTo>
                    <a:pt x="479708" y="33171"/>
                    <a:pt x="471823" y="35199"/>
                    <a:pt x="465452" y="39251"/>
                  </a:cubicBezTo>
                  <a:cubicBezTo>
                    <a:pt x="459095" y="43302"/>
                    <a:pt x="454289" y="48920"/>
                    <a:pt x="451040" y="56099"/>
                  </a:cubicBezTo>
                  <a:cubicBezTo>
                    <a:pt x="447796" y="63161"/>
                    <a:pt x="446181" y="71269"/>
                    <a:pt x="446181" y="80413"/>
                  </a:cubicBezTo>
                  <a:lnTo>
                    <a:pt x="404328" y="80413"/>
                  </a:lnTo>
                  <a:cubicBezTo>
                    <a:pt x="404328" y="65710"/>
                    <a:pt x="407679" y="52276"/>
                    <a:pt x="414391" y="40122"/>
                  </a:cubicBezTo>
                  <a:cubicBezTo>
                    <a:pt x="421108" y="27850"/>
                    <a:pt x="430846" y="18123"/>
                    <a:pt x="443569" y="10944"/>
                  </a:cubicBezTo>
                  <a:cubicBezTo>
                    <a:pt x="456313" y="3648"/>
                    <a:pt x="471648" y="0"/>
                    <a:pt x="489596" y="0"/>
                  </a:cubicBezTo>
                  <a:cubicBezTo>
                    <a:pt x="506497" y="0"/>
                    <a:pt x="520855" y="2836"/>
                    <a:pt x="532670" y="8512"/>
                  </a:cubicBezTo>
                  <a:cubicBezTo>
                    <a:pt x="544484" y="14188"/>
                    <a:pt x="553453" y="22232"/>
                    <a:pt x="559581" y="32656"/>
                  </a:cubicBezTo>
                  <a:cubicBezTo>
                    <a:pt x="565831" y="43074"/>
                    <a:pt x="568958" y="55409"/>
                    <a:pt x="568958" y="69650"/>
                  </a:cubicBezTo>
                  <a:cubicBezTo>
                    <a:pt x="568958" y="77524"/>
                    <a:pt x="567689" y="85340"/>
                    <a:pt x="565145" y="93098"/>
                  </a:cubicBezTo>
                  <a:cubicBezTo>
                    <a:pt x="562601" y="100856"/>
                    <a:pt x="558944" y="108614"/>
                    <a:pt x="554207" y="116372"/>
                  </a:cubicBezTo>
                  <a:cubicBezTo>
                    <a:pt x="549571" y="124013"/>
                    <a:pt x="544075" y="131712"/>
                    <a:pt x="537704" y="139470"/>
                  </a:cubicBezTo>
                  <a:cubicBezTo>
                    <a:pt x="531332" y="147111"/>
                    <a:pt x="524323" y="154869"/>
                    <a:pt x="516697" y="162743"/>
                  </a:cubicBezTo>
                  <a:lnTo>
                    <a:pt x="461979" y="223011"/>
                  </a:lnTo>
                  <a:lnTo>
                    <a:pt x="578701" y="223011"/>
                  </a:lnTo>
                  <a:close/>
                  <a:moveTo>
                    <a:pt x="660505" y="110982"/>
                  </a:moveTo>
                  <a:lnTo>
                    <a:pt x="685510" y="110982"/>
                  </a:lnTo>
                  <a:cubicBezTo>
                    <a:pt x="695233" y="110982"/>
                    <a:pt x="703287" y="109304"/>
                    <a:pt x="709639" y="105948"/>
                  </a:cubicBezTo>
                  <a:cubicBezTo>
                    <a:pt x="716132" y="102592"/>
                    <a:pt x="720943" y="97957"/>
                    <a:pt x="724065" y="92052"/>
                  </a:cubicBezTo>
                  <a:cubicBezTo>
                    <a:pt x="727193" y="86148"/>
                    <a:pt x="728754" y="79373"/>
                    <a:pt x="728754" y="71731"/>
                  </a:cubicBezTo>
                  <a:cubicBezTo>
                    <a:pt x="728754" y="64090"/>
                    <a:pt x="727295" y="56911"/>
                    <a:pt x="724411" y="51240"/>
                  </a:cubicBezTo>
                  <a:cubicBezTo>
                    <a:pt x="721628" y="45452"/>
                    <a:pt x="717353" y="40992"/>
                    <a:pt x="711565" y="37865"/>
                  </a:cubicBezTo>
                  <a:cubicBezTo>
                    <a:pt x="705879" y="34737"/>
                    <a:pt x="698652" y="33176"/>
                    <a:pt x="689858" y="33176"/>
                  </a:cubicBezTo>
                  <a:cubicBezTo>
                    <a:pt x="682441" y="33176"/>
                    <a:pt x="675724" y="34679"/>
                    <a:pt x="669712" y="37690"/>
                  </a:cubicBezTo>
                  <a:cubicBezTo>
                    <a:pt x="663803" y="40584"/>
                    <a:pt x="659114" y="44752"/>
                    <a:pt x="655626" y="50195"/>
                  </a:cubicBezTo>
                  <a:cubicBezTo>
                    <a:pt x="652159" y="55520"/>
                    <a:pt x="650422" y="61887"/>
                    <a:pt x="650422" y="69300"/>
                  </a:cubicBezTo>
                  <a:lnTo>
                    <a:pt x="608394" y="69300"/>
                  </a:lnTo>
                  <a:cubicBezTo>
                    <a:pt x="608394" y="55866"/>
                    <a:pt x="611916" y="43945"/>
                    <a:pt x="618992" y="33521"/>
                  </a:cubicBezTo>
                  <a:cubicBezTo>
                    <a:pt x="626050" y="23103"/>
                    <a:pt x="635670" y="14937"/>
                    <a:pt x="647810" y="9032"/>
                  </a:cubicBezTo>
                  <a:cubicBezTo>
                    <a:pt x="660092" y="3011"/>
                    <a:pt x="673866" y="0"/>
                    <a:pt x="689148" y="0"/>
                  </a:cubicBezTo>
                  <a:cubicBezTo>
                    <a:pt x="705480" y="0"/>
                    <a:pt x="719717" y="2724"/>
                    <a:pt x="731876" y="8161"/>
                  </a:cubicBezTo>
                  <a:cubicBezTo>
                    <a:pt x="744138" y="13487"/>
                    <a:pt x="753705" y="21479"/>
                    <a:pt x="760524" y="32130"/>
                  </a:cubicBezTo>
                  <a:cubicBezTo>
                    <a:pt x="767358" y="42782"/>
                    <a:pt x="770777" y="55982"/>
                    <a:pt x="770777" y="71727"/>
                  </a:cubicBezTo>
                  <a:cubicBezTo>
                    <a:pt x="770777" y="78906"/>
                    <a:pt x="769094" y="86201"/>
                    <a:pt x="765743" y="93609"/>
                  </a:cubicBezTo>
                  <a:cubicBezTo>
                    <a:pt x="762378" y="101021"/>
                    <a:pt x="757397" y="107792"/>
                    <a:pt x="750802" y="113930"/>
                  </a:cubicBezTo>
                  <a:cubicBezTo>
                    <a:pt x="744206" y="119951"/>
                    <a:pt x="735982" y="124869"/>
                    <a:pt x="726137" y="128692"/>
                  </a:cubicBezTo>
                  <a:cubicBezTo>
                    <a:pt x="716298" y="132398"/>
                    <a:pt x="704892" y="134251"/>
                    <a:pt x="691925" y="134251"/>
                  </a:cubicBezTo>
                  <a:lnTo>
                    <a:pt x="660495" y="134251"/>
                  </a:lnTo>
                  <a:lnTo>
                    <a:pt x="660495" y="110978"/>
                  </a:lnTo>
                  <a:close/>
                  <a:moveTo>
                    <a:pt x="660505" y="143633"/>
                  </a:moveTo>
                  <a:lnTo>
                    <a:pt x="660505" y="120705"/>
                  </a:lnTo>
                  <a:lnTo>
                    <a:pt x="691935" y="120705"/>
                  </a:lnTo>
                  <a:cubicBezTo>
                    <a:pt x="706755" y="120705"/>
                    <a:pt x="719381" y="122442"/>
                    <a:pt x="729790" y="125914"/>
                  </a:cubicBezTo>
                  <a:cubicBezTo>
                    <a:pt x="740335" y="129387"/>
                    <a:pt x="748905" y="134193"/>
                    <a:pt x="755500" y="140331"/>
                  </a:cubicBezTo>
                  <a:cubicBezTo>
                    <a:pt x="762095" y="146352"/>
                    <a:pt x="766906" y="153239"/>
                    <a:pt x="769911" y="160997"/>
                  </a:cubicBezTo>
                  <a:cubicBezTo>
                    <a:pt x="773039" y="168755"/>
                    <a:pt x="774600" y="176975"/>
                    <a:pt x="774600" y="185661"/>
                  </a:cubicBezTo>
                  <a:cubicBezTo>
                    <a:pt x="774600" y="197471"/>
                    <a:pt x="772470" y="208006"/>
                    <a:pt x="768175" y="217271"/>
                  </a:cubicBezTo>
                  <a:cubicBezTo>
                    <a:pt x="764016" y="226420"/>
                    <a:pt x="758044" y="234178"/>
                    <a:pt x="750296" y="240545"/>
                  </a:cubicBezTo>
                  <a:cubicBezTo>
                    <a:pt x="742533" y="246911"/>
                    <a:pt x="733447" y="251717"/>
                    <a:pt x="723024" y="254961"/>
                  </a:cubicBezTo>
                  <a:cubicBezTo>
                    <a:pt x="712718" y="258205"/>
                    <a:pt x="701487" y="259825"/>
                    <a:pt x="689328" y="259825"/>
                  </a:cubicBezTo>
                  <a:cubicBezTo>
                    <a:pt x="678457" y="259825"/>
                    <a:pt x="668029" y="258322"/>
                    <a:pt x="658068" y="255311"/>
                  </a:cubicBezTo>
                  <a:cubicBezTo>
                    <a:pt x="648107" y="252300"/>
                    <a:pt x="639192" y="247845"/>
                    <a:pt x="631327" y="241940"/>
                  </a:cubicBezTo>
                  <a:cubicBezTo>
                    <a:pt x="623443" y="235919"/>
                    <a:pt x="617193" y="228453"/>
                    <a:pt x="612572" y="219538"/>
                  </a:cubicBezTo>
                  <a:cubicBezTo>
                    <a:pt x="608054" y="210506"/>
                    <a:pt x="605787" y="200087"/>
                    <a:pt x="605787" y="188273"/>
                  </a:cubicBezTo>
                  <a:lnTo>
                    <a:pt x="647640" y="188273"/>
                  </a:lnTo>
                  <a:cubicBezTo>
                    <a:pt x="647640" y="195802"/>
                    <a:pt x="649377" y="202456"/>
                    <a:pt x="652859" y="208249"/>
                  </a:cubicBezTo>
                  <a:cubicBezTo>
                    <a:pt x="656449" y="213920"/>
                    <a:pt x="661429" y="218380"/>
                    <a:pt x="667786" y="221619"/>
                  </a:cubicBezTo>
                  <a:cubicBezTo>
                    <a:pt x="674279" y="224864"/>
                    <a:pt x="681682" y="226483"/>
                    <a:pt x="690028" y="226483"/>
                  </a:cubicBezTo>
                  <a:cubicBezTo>
                    <a:pt x="698822" y="226483"/>
                    <a:pt x="706415" y="224922"/>
                    <a:pt x="712767" y="221795"/>
                  </a:cubicBezTo>
                  <a:cubicBezTo>
                    <a:pt x="719138" y="218667"/>
                    <a:pt x="723997" y="214037"/>
                    <a:pt x="727363" y="207899"/>
                  </a:cubicBezTo>
                  <a:cubicBezTo>
                    <a:pt x="730831" y="201761"/>
                    <a:pt x="732567" y="194353"/>
                    <a:pt x="732567" y="185671"/>
                  </a:cubicBezTo>
                  <a:cubicBezTo>
                    <a:pt x="732567" y="175827"/>
                    <a:pt x="730660" y="167840"/>
                    <a:pt x="726847" y="161702"/>
                  </a:cubicBezTo>
                  <a:cubicBezTo>
                    <a:pt x="723019" y="155564"/>
                    <a:pt x="717572" y="151050"/>
                    <a:pt x="710515" y="148157"/>
                  </a:cubicBezTo>
                  <a:cubicBezTo>
                    <a:pt x="703457" y="145146"/>
                    <a:pt x="695111" y="143643"/>
                    <a:pt x="685510" y="143643"/>
                  </a:cubicBezTo>
                  <a:lnTo>
                    <a:pt x="660505" y="143643"/>
                  </a:lnTo>
                  <a:close/>
                </a:path>
              </a:pathLst>
            </a:custGeom>
            <a:solidFill>
              <a:schemeClr val="tx1"/>
            </a:solidFill>
            <a:ln w="4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pic>
        <p:nvPicPr>
          <p:cNvPr id="389" name="Рисунок 388">
            <a:extLst>
              <a:ext uri="{FF2B5EF4-FFF2-40B4-BE49-F238E27FC236}">
                <a16:creationId xmlns:a16="http://schemas.microsoft.com/office/drawing/2014/main" id="{B78B384F-F3A2-4E10-8405-6E2FAB593BD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03721" y="6049020"/>
            <a:ext cx="1688608" cy="472507"/>
          </a:xfrm>
          <a:prstGeom prst="rect">
            <a:avLst/>
          </a:prstGeom>
        </p:spPr>
      </p:pic>
      <p:grpSp>
        <p:nvGrpSpPr>
          <p:cNvPr id="3" name="Группа 2">
            <a:extLst>
              <a:ext uri="{FF2B5EF4-FFF2-40B4-BE49-F238E27FC236}">
                <a16:creationId xmlns:a16="http://schemas.microsoft.com/office/drawing/2014/main" id="{98885CD1-E2EB-4889-AB17-44D56C345C06}"/>
              </a:ext>
            </a:extLst>
          </p:cNvPr>
          <p:cNvGrpSpPr/>
          <p:nvPr/>
        </p:nvGrpSpPr>
        <p:grpSpPr>
          <a:xfrm>
            <a:off x="838784" y="2028337"/>
            <a:ext cx="3166090" cy="2801326"/>
            <a:chOff x="838784" y="2028337"/>
            <a:chExt cx="3166090" cy="2801326"/>
          </a:xfrm>
        </p:grpSpPr>
        <p:sp>
          <p:nvSpPr>
            <p:cNvPr id="31" name="Shape_фон">
              <a:extLst>
                <a:ext uri="{FF2B5EF4-FFF2-40B4-BE49-F238E27FC236}">
                  <a16:creationId xmlns:a16="http://schemas.microsoft.com/office/drawing/2014/main" id="{BB03D6B7-BF89-4805-9BF0-98D134C0B5AF}"/>
                </a:ext>
              </a:extLst>
            </p:cNvPr>
            <p:cNvSpPr/>
            <p:nvPr/>
          </p:nvSpPr>
          <p:spPr>
            <a:xfrm>
              <a:off x="838784" y="2028337"/>
              <a:ext cx="3166090" cy="2801326"/>
            </a:xfrm>
            <a:prstGeom prst="roundRect">
              <a:avLst>
                <a:gd name="adj" fmla="val 8571"/>
              </a:avLst>
            </a:prstGeom>
            <a:solidFill>
              <a:schemeClr val="bg1"/>
            </a:solidFill>
            <a:ln w="12700" cap="flat">
              <a:noFill/>
              <a:prstDash val="solid"/>
              <a:miter/>
            </a:ln>
            <a:effectLst>
              <a:outerShdw blurRad="1003300" sx="102000" sy="102000" algn="ctr" rotWithShape="0">
                <a:schemeClr val="tx1">
                  <a:alpha val="20000"/>
                </a:schemeClr>
              </a:outerShdw>
            </a:effectLst>
          </p:spPr>
          <p:txBody>
            <a:bodyPr lIns="0" tIns="0" rIns="0" bIns="0" anchor="ctr"/>
            <a:lstStyle/>
            <a:p>
              <a:pPr marL="0" marR="0" lvl="0" indent="0" algn="ctr" defTabSz="309563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itchFamily="2" charset="0"/>
                <a:ea typeface="Roboto" pitchFamily="2" charset="0"/>
                <a:cs typeface="Poppins Bold"/>
                <a:sym typeface="Poppins Bold"/>
              </a:endParaRPr>
            </a:p>
          </p:txBody>
        </p:sp>
        <p:sp>
          <p:nvSpPr>
            <p:cNvPr id="37" name="Заголовок">
              <a:extLst>
                <a:ext uri="{FF2B5EF4-FFF2-40B4-BE49-F238E27FC236}">
                  <a16:creationId xmlns:a16="http://schemas.microsoft.com/office/drawing/2014/main" id="{E6A8F930-56C4-43BC-B6E6-B3F52C65F3E5}"/>
                </a:ext>
              </a:extLst>
            </p:cNvPr>
            <p:cNvSpPr txBox="1"/>
            <p:nvPr/>
          </p:nvSpPr>
          <p:spPr>
            <a:xfrm>
              <a:off x="1901643" y="2052179"/>
              <a:ext cx="1040373" cy="186204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ru-RU" sz="11500" dirty="0">
                  <a:solidFill>
                    <a:schemeClr val="bg2"/>
                  </a:solidFill>
                  <a:latin typeface="SB Sans Text Medium" panose="020B0603040504020204" pitchFamily="34" charset="-52"/>
                  <a:ea typeface="Roboto" pitchFamily="2" charset="0"/>
                  <a:cs typeface="SB Sans Text Medium" panose="020B0603040504020204" pitchFamily="34" charset="-52"/>
                </a:rPr>
                <a:t>3</a:t>
              </a:r>
            </a:p>
          </p:txBody>
        </p:sp>
        <p:sp>
          <p:nvSpPr>
            <p:cNvPr id="38" name="Motion design">
              <a:extLst>
                <a:ext uri="{FF2B5EF4-FFF2-40B4-BE49-F238E27FC236}">
                  <a16:creationId xmlns:a16="http://schemas.microsoft.com/office/drawing/2014/main" id="{DA93684F-37BE-48D7-AD10-22B5F35451C6}"/>
                </a:ext>
              </a:extLst>
            </p:cNvPr>
            <p:cNvSpPr txBox="1"/>
            <p:nvPr/>
          </p:nvSpPr>
          <p:spPr>
            <a:xfrm>
              <a:off x="1194247" y="3823693"/>
              <a:ext cx="2455164" cy="613566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</a:ext>
            </a:extLst>
          </p:spPr>
          <p:txBody>
            <a:bodyPr wrap="square" lIns="0" tIns="0" rIns="0" bIns="0" anchor="ctr">
              <a:spAutoFit/>
            </a:bodyPr>
            <a:lstStyle>
              <a:lvl1pPr>
                <a:lnSpc>
                  <a:spcPct val="130000"/>
                </a:lnSpc>
                <a:defRPr sz="3000">
                  <a:latin typeface="+mn-lt"/>
                  <a:ea typeface="+mn-ea"/>
                  <a:cs typeface="+mn-cs"/>
                  <a:sym typeface="Poppins SemiBold"/>
                </a:defRPr>
              </a:lvl1pPr>
            </a:lstStyle>
            <a:p>
              <a:pPr algn="ctr" defTabSz="309563" hangingPunct="0">
                <a:buClrTx/>
                <a:defRPr/>
              </a:pPr>
              <a:r>
                <a:rPr lang="ru-RU" sz="1600" dirty="0">
                  <a:solidFill>
                    <a:srgbClr val="0D0D0D"/>
                  </a:solidFill>
                  <a:latin typeface="SB Sans Text Light" panose="020B0303040504020204" pitchFamily="34" charset="-52"/>
                  <a:ea typeface="Roboto Light" panose="02000000000000000000" pitchFamily="2" charset="0"/>
                  <a:cs typeface="SB Sans Text Light" panose="020B0303040504020204" pitchFamily="34" charset="-52"/>
                </a:rPr>
                <a:t>дочерних и зависимых обществ (ДЗО) Сбера </a:t>
              </a:r>
            </a:p>
          </p:txBody>
        </p:sp>
      </p:grpSp>
      <p:grpSp>
        <p:nvGrpSpPr>
          <p:cNvPr id="4" name="Группа 3">
            <a:extLst>
              <a:ext uri="{FF2B5EF4-FFF2-40B4-BE49-F238E27FC236}">
                <a16:creationId xmlns:a16="http://schemas.microsoft.com/office/drawing/2014/main" id="{21260BF6-9638-48A8-A2C0-DE2001384DAD}"/>
              </a:ext>
            </a:extLst>
          </p:cNvPr>
          <p:cNvGrpSpPr/>
          <p:nvPr/>
        </p:nvGrpSpPr>
        <p:grpSpPr>
          <a:xfrm>
            <a:off x="4512955" y="2028337"/>
            <a:ext cx="3166090" cy="2801326"/>
            <a:chOff x="4512955" y="2028337"/>
            <a:chExt cx="3166090" cy="2801326"/>
          </a:xfrm>
        </p:grpSpPr>
        <p:sp>
          <p:nvSpPr>
            <p:cNvPr id="33" name="Shape_фон">
              <a:extLst>
                <a:ext uri="{FF2B5EF4-FFF2-40B4-BE49-F238E27FC236}">
                  <a16:creationId xmlns:a16="http://schemas.microsoft.com/office/drawing/2014/main" id="{CD095046-E8CC-484B-AEA1-2CAEDE3282EF}"/>
                </a:ext>
              </a:extLst>
            </p:cNvPr>
            <p:cNvSpPr/>
            <p:nvPr/>
          </p:nvSpPr>
          <p:spPr>
            <a:xfrm>
              <a:off x="4512955" y="2028337"/>
              <a:ext cx="3166090" cy="2801326"/>
            </a:xfrm>
            <a:prstGeom prst="roundRect">
              <a:avLst>
                <a:gd name="adj" fmla="val 8571"/>
              </a:avLst>
            </a:prstGeom>
            <a:solidFill>
              <a:schemeClr val="bg1"/>
            </a:solidFill>
            <a:ln w="12700" cap="flat">
              <a:noFill/>
              <a:prstDash val="solid"/>
              <a:miter/>
            </a:ln>
            <a:effectLst>
              <a:outerShdw blurRad="1003300" sx="102000" sy="102000" algn="ctr" rotWithShape="0">
                <a:schemeClr val="tx1">
                  <a:alpha val="20000"/>
                </a:schemeClr>
              </a:outerShdw>
            </a:effectLst>
          </p:spPr>
          <p:txBody>
            <a:bodyPr lIns="0" tIns="0" rIns="0" bIns="0" anchor="ctr"/>
            <a:lstStyle/>
            <a:p>
              <a:pPr marL="0" marR="0" lvl="0" indent="0" algn="ctr" defTabSz="309563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itchFamily="2" charset="0"/>
                <a:ea typeface="Roboto" pitchFamily="2" charset="0"/>
                <a:cs typeface="Poppins Bold"/>
                <a:sym typeface="Poppins Bold"/>
              </a:endParaRPr>
            </a:p>
          </p:txBody>
        </p:sp>
        <p:sp>
          <p:nvSpPr>
            <p:cNvPr id="39" name="Заголовок">
              <a:extLst>
                <a:ext uri="{FF2B5EF4-FFF2-40B4-BE49-F238E27FC236}">
                  <a16:creationId xmlns:a16="http://schemas.microsoft.com/office/drawing/2014/main" id="{1C0C9BDF-E390-4B3D-A681-881B94924572}"/>
                </a:ext>
              </a:extLst>
            </p:cNvPr>
            <p:cNvSpPr txBox="1"/>
            <p:nvPr/>
          </p:nvSpPr>
          <p:spPr>
            <a:xfrm>
              <a:off x="5575814" y="2052179"/>
              <a:ext cx="1040373" cy="186204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ru-RU" sz="11500" b="1" dirty="0">
                  <a:solidFill>
                    <a:schemeClr val="bg2"/>
                  </a:solidFill>
                  <a:latin typeface="SB Sans Text Medium" panose="020B0603040504020204" pitchFamily="34" charset="-52"/>
                  <a:ea typeface="Roboto" pitchFamily="2" charset="0"/>
                  <a:cs typeface="SB Sans Text Medium" panose="020B0603040504020204" pitchFamily="34" charset="-52"/>
                </a:rPr>
                <a:t>2</a:t>
              </a:r>
            </a:p>
          </p:txBody>
        </p:sp>
        <p:sp>
          <p:nvSpPr>
            <p:cNvPr id="40" name="Motion design">
              <a:extLst>
                <a:ext uri="{FF2B5EF4-FFF2-40B4-BE49-F238E27FC236}">
                  <a16:creationId xmlns:a16="http://schemas.microsoft.com/office/drawing/2014/main" id="{69D721E3-D26B-4853-AF00-3723F20ED0A7}"/>
                </a:ext>
              </a:extLst>
            </p:cNvPr>
            <p:cNvSpPr txBox="1"/>
            <p:nvPr/>
          </p:nvSpPr>
          <p:spPr>
            <a:xfrm>
              <a:off x="4829749" y="3823693"/>
              <a:ext cx="2532502" cy="613566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</a:ext>
            </a:extLst>
          </p:spPr>
          <p:txBody>
            <a:bodyPr wrap="square" lIns="0" tIns="0" rIns="0" bIns="0" anchor="ctr">
              <a:spAutoFit/>
            </a:bodyPr>
            <a:lstStyle>
              <a:lvl1pPr>
                <a:lnSpc>
                  <a:spcPct val="130000"/>
                </a:lnSpc>
                <a:defRPr sz="3000">
                  <a:latin typeface="+mn-lt"/>
                  <a:ea typeface="+mn-ea"/>
                  <a:cs typeface="+mn-cs"/>
                  <a:sym typeface="Poppins SemiBold"/>
                </a:defRPr>
              </a:lvl1pPr>
            </a:lstStyle>
            <a:p>
              <a:pPr algn="ctr" defTabSz="309563" hangingPunct="0">
                <a:buClrTx/>
                <a:defRPr/>
              </a:pPr>
              <a:r>
                <a:rPr lang="ru-RU" sz="1600" dirty="0">
                  <a:solidFill>
                    <a:srgbClr val="0D0D0D"/>
                  </a:solidFill>
                  <a:latin typeface="SB Sans Text Light" panose="020B0303040504020204" pitchFamily="34" charset="-52"/>
                  <a:ea typeface="Roboto Light" panose="02000000000000000000" pitchFamily="2" charset="0"/>
                  <a:cs typeface="SB Sans Text Light" panose="020B0303040504020204" pitchFamily="34" charset="-52"/>
                </a:rPr>
                <a:t>генеральных партнера Группы СБЕР (ГПГ)</a:t>
              </a:r>
            </a:p>
          </p:txBody>
        </p:sp>
      </p:grpSp>
      <p:grpSp>
        <p:nvGrpSpPr>
          <p:cNvPr id="5" name="Группа 4">
            <a:extLst>
              <a:ext uri="{FF2B5EF4-FFF2-40B4-BE49-F238E27FC236}">
                <a16:creationId xmlns:a16="http://schemas.microsoft.com/office/drawing/2014/main" id="{9AB1D69B-DAB1-4D54-9D36-1B9742AE0D45}"/>
              </a:ext>
            </a:extLst>
          </p:cNvPr>
          <p:cNvGrpSpPr/>
          <p:nvPr/>
        </p:nvGrpSpPr>
        <p:grpSpPr>
          <a:xfrm>
            <a:off x="8187126" y="2028337"/>
            <a:ext cx="3166090" cy="2801326"/>
            <a:chOff x="8187126" y="2028337"/>
            <a:chExt cx="3166090" cy="2801326"/>
          </a:xfrm>
        </p:grpSpPr>
        <p:sp>
          <p:nvSpPr>
            <p:cNvPr id="34" name="Shape_фон">
              <a:extLst>
                <a:ext uri="{FF2B5EF4-FFF2-40B4-BE49-F238E27FC236}">
                  <a16:creationId xmlns:a16="http://schemas.microsoft.com/office/drawing/2014/main" id="{1A7EE97F-685C-4CD0-813D-8E3617FA9688}"/>
                </a:ext>
              </a:extLst>
            </p:cNvPr>
            <p:cNvSpPr/>
            <p:nvPr/>
          </p:nvSpPr>
          <p:spPr>
            <a:xfrm>
              <a:off x="8187126" y="2028337"/>
              <a:ext cx="3166090" cy="2801326"/>
            </a:xfrm>
            <a:prstGeom prst="roundRect">
              <a:avLst>
                <a:gd name="adj" fmla="val 8571"/>
              </a:avLst>
            </a:prstGeom>
            <a:solidFill>
              <a:schemeClr val="bg1"/>
            </a:solidFill>
            <a:ln w="12700" cap="flat">
              <a:noFill/>
              <a:prstDash val="solid"/>
              <a:miter/>
            </a:ln>
            <a:effectLst>
              <a:outerShdw blurRad="1003300" sx="102000" sy="102000" algn="ctr" rotWithShape="0">
                <a:schemeClr val="tx1">
                  <a:alpha val="20000"/>
                </a:schemeClr>
              </a:outerShdw>
            </a:effectLst>
          </p:spPr>
          <p:txBody>
            <a:bodyPr lIns="0" tIns="0" rIns="0" bIns="0" anchor="ctr"/>
            <a:lstStyle/>
            <a:p>
              <a:pPr marL="0" marR="0" lvl="0" indent="0" algn="ctr" defTabSz="309563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itchFamily="2" charset="0"/>
                <a:ea typeface="Roboto" pitchFamily="2" charset="0"/>
                <a:cs typeface="Poppins Bold"/>
                <a:sym typeface="Poppins Bold"/>
              </a:endParaRPr>
            </a:p>
          </p:txBody>
        </p:sp>
        <p:sp>
          <p:nvSpPr>
            <p:cNvPr id="43" name="Заголовок">
              <a:extLst>
                <a:ext uri="{FF2B5EF4-FFF2-40B4-BE49-F238E27FC236}">
                  <a16:creationId xmlns:a16="http://schemas.microsoft.com/office/drawing/2014/main" id="{F19605E8-E141-4097-925F-46379DCD89D2}"/>
                </a:ext>
              </a:extLst>
            </p:cNvPr>
            <p:cNvSpPr txBox="1"/>
            <p:nvPr/>
          </p:nvSpPr>
          <p:spPr>
            <a:xfrm>
              <a:off x="8732549" y="2052179"/>
              <a:ext cx="2075245" cy="186204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ru-RU" sz="11500" dirty="0">
                  <a:solidFill>
                    <a:schemeClr val="bg2"/>
                  </a:solidFill>
                  <a:latin typeface="SB Sans Text Medium" panose="020B0603040504020204" pitchFamily="34" charset="-52"/>
                  <a:ea typeface="Roboto" pitchFamily="2" charset="0"/>
                  <a:cs typeface="SB Sans Text Medium" panose="020B0603040504020204" pitchFamily="34" charset="-52"/>
                </a:rPr>
                <a:t>15</a:t>
              </a:r>
            </a:p>
          </p:txBody>
        </p:sp>
        <p:sp>
          <p:nvSpPr>
            <p:cNvPr id="50" name="Motion design">
              <a:extLst>
                <a:ext uri="{FF2B5EF4-FFF2-40B4-BE49-F238E27FC236}">
                  <a16:creationId xmlns:a16="http://schemas.microsoft.com/office/drawing/2014/main" id="{C12542EF-0901-4851-ABB5-DCB55110690D}"/>
                </a:ext>
              </a:extLst>
            </p:cNvPr>
            <p:cNvSpPr txBox="1"/>
            <p:nvPr/>
          </p:nvSpPr>
          <p:spPr>
            <a:xfrm>
              <a:off x="8660069" y="3825810"/>
              <a:ext cx="2220204" cy="611449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</a:ext>
            </a:extLst>
          </p:spPr>
          <p:txBody>
            <a:bodyPr wrap="square" lIns="0" tIns="0" rIns="0" bIns="0" anchor="ctr">
              <a:spAutoFit/>
            </a:bodyPr>
            <a:lstStyle>
              <a:lvl1pPr>
                <a:lnSpc>
                  <a:spcPct val="130000"/>
                </a:lnSpc>
                <a:defRPr sz="3000">
                  <a:latin typeface="+mn-lt"/>
                  <a:ea typeface="+mn-ea"/>
                  <a:cs typeface="+mn-cs"/>
                  <a:sym typeface="Poppins SemiBold"/>
                </a:defRPr>
              </a:lvl1pPr>
            </a:lstStyle>
            <a:p>
              <a:pPr algn="ctr" defTabSz="309563" hangingPunct="0">
                <a:buClrTx/>
                <a:defRPr/>
              </a:pPr>
              <a:r>
                <a:rPr lang="ru-RU" sz="1600" dirty="0">
                  <a:solidFill>
                    <a:srgbClr val="0D0D0D"/>
                  </a:solidFill>
                  <a:latin typeface="SB Sans Text Light" panose="020B0303040504020204" pitchFamily="34" charset="-52"/>
                  <a:ea typeface="Roboto Light" panose="02000000000000000000" pitchFamily="2" charset="0"/>
                  <a:cs typeface="SB Sans Text Light" panose="020B0303040504020204" pitchFamily="34" charset="-52"/>
                </a:rPr>
                <a:t>команд из Сбера, </a:t>
              </a:r>
              <a:br>
                <a:rPr lang="ru-RU" sz="1600" dirty="0">
                  <a:solidFill>
                    <a:srgbClr val="0D0D0D"/>
                  </a:solidFill>
                  <a:latin typeface="SB Sans Text Light" panose="020B0303040504020204" pitchFamily="34" charset="-52"/>
                  <a:ea typeface="Roboto Light" panose="02000000000000000000" pitchFamily="2" charset="0"/>
                  <a:cs typeface="SB Sans Text Light" panose="020B0303040504020204" pitchFamily="34" charset="-52"/>
                </a:rPr>
              </a:br>
              <a:r>
                <a:rPr lang="ru-RU" sz="1600" dirty="0">
                  <a:solidFill>
                    <a:srgbClr val="0D0D0D"/>
                  </a:solidFill>
                  <a:latin typeface="SB Sans Text Light" panose="020B0303040504020204" pitchFamily="34" charset="-52"/>
                  <a:ea typeface="Roboto Light" panose="02000000000000000000" pitchFamily="2" charset="0"/>
                  <a:cs typeface="SB Sans Text Light" panose="020B0303040504020204" pitchFamily="34" charset="-52"/>
                </a:rPr>
                <a:t>ДЗО и ГПГ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61773420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1250">
        <p159:morph option="byObject"/>
      </p:transition>
    </mc:Choice>
    <mc:Fallback xmlns="">
      <p:transition spd="slow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CDIConf_Black">
            <a:extLst>
              <a:ext uri="{FF2B5EF4-FFF2-40B4-BE49-F238E27FC236}">
                <a16:creationId xmlns:a16="http://schemas.microsoft.com/office/drawing/2014/main" id="{F3F1710A-CB9B-4080-B969-0477C48F22E5}"/>
              </a:ext>
            </a:extLst>
          </p:cNvPr>
          <p:cNvGrpSpPr/>
          <p:nvPr/>
        </p:nvGrpSpPr>
        <p:grpSpPr>
          <a:xfrm>
            <a:off x="9291334" y="6129083"/>
            <a:ext cx="2270483" cy="296171"/>
            <a:chOff x="7406975" y="5855999"/>
            <a:chExt cx="2270483" cy="296171"/>
          </a:xfrm>
        </p:grpSpPr>
        <p:sp>
          <p:nvSpPr>
            <p:cNvPr id="45" name="Полилиния: фигура 44">
              <a:extLst>
                <a:ext uri="{FF2B5EF4-FFF2-40B4-BE49-F238E27FC236}">
                  <a16:creationId xmlns:a16="http://schemas.microsoft.com/office/drawing/2014/main" id="{13A11B35-F320-4F31-908D-85B2D024FD4B}"/>
                </a:ext>
              </a:extLst>
            </p:cNvPr>
            <p:cNvSpPr/>
            <p:nvPr/>
          </p:nvSpPr>
          <p:spPr>
            <a:xfrm>
              <a:off x="7406975" y="5878280"/>
              <a:ext cx="1394458" cy="273890"/>
            </a:xfrm>
            <a:custGeom>
              <a:avLst/>
              <a:gdLst>
                <a:gd name="connsiteX0" fmla="*/ 157354 w 1394458"/>
                <a:gd name="connsiteY0" fmla="*/ 188093 h 273890"/>
                <a:gd name="connsiteX1" fmla="*/ 200773 w 1394458"/>
                <a:gd name="connsiteY1" fmla="*/ 188093 h 273890"/>
                <a:gd name="connsiteX2" fmla="*/ 186877 w 1394458"/>
                <a:gd name="connsiteY2" fmla="*/ 232383 h 273890"/>
                <a:gd name="connsiteX3" fmla="*/ 153706 w 1394458"/>
                <a:gd name="connsiteY3" fmla="*/ 262777 h 273890"/>
                <a:gd name="connsiteX4" fmla="*/ 101775 w 1394458"/>
                <a:gd name="connsiteY4" fmla="*/ 273891 h 273890"/>
                <a:gd name="connsiteX5" fmla="*/ 59572 w 1394458"/>
                <a:gd name="connsiteY5" fmla="*/ 265554 h 273890"/>
                <a:gd name="connsiteX6" fmla="*/ 27442 w 1394458"/>
                <a:gd name="connsiteY6" fmla="*/ 241585 h 273890"/>
                <a:gd name="connsiteX7" fmla="*/ 6950 w 1394458"/>
                <a:gd name="connsiteY7" fmla="*/ 203896 h 273890"/>
                <a:gd name="connsiteX8" fmla="*/ 0 w 1394458"/>
                <a:gd name="connsiteY8" fmla="*/ 154577 h 273890"/>
                <a:gd name="connsiteX9" fmla="*/ 0 w 1394458"/>
                <a:gd name="connsiteY9" fmla="*/ 133560 h 273890"/>
                <a:gd name="connsiteX10" fmla="*/ 7121 w 1394458"/>
                <a:gd name="connsiteY10" fmla="*/ 84236 h 273890"/>
                <a:gd name="connsiteX11" fmla="*/ 27962 w 1394458"/>
                <a:gd name="connsiteY11" fmla="*/ 46552 h 273890"/>
                <a:gd name="connsiteX12" fmla="*/ 60438 w 1394458"/>
                <a:gd name="connsiteY12" fmla="*/ 22408 h 273890"/>
                <a:gd name="connsiteX13" fmla="*/ 103336 w 1394458"/>
                <a:gd name="connsiteY13" fmla="*/ 14071 h 273890"/>
                <a:gd name="connsiteX14" fmla="*/ 154397 w 1394458"/>
                <a:gd name="connsiteY14" fmla="*/ 25185 h 273890"/>
                <a:gd name="connsiteX15" fmla="*/ 186702 w 1394458"/>
                <a:gd name="connsiteY15" fmla="*/ 55924 h 273890"/>
                <a:gd name="connsiteX16" fmla="*/ 200943 w 1394458"/>
                <a:gd name="connsiteY16" fmla="*/ 100905 h 273890"/>
                <a:gd name="connsiteX17" fmla="*/ 157524 w 1394458"/>
                <a:gd name="connsiteY17" fmla="*/ 100905 h 273890"/>
                <a:gd name="connsiteX18" fmla="*/ 149883 w 1394458"/>
                <a:gd name="connsiteY18" fmla="*/ 72943 h 273890"/>
                <a:gd name="connsiteX19" fmla="*/ 132865 w 1394458"/>
                <a:gd name="connsiteY19" fmla="*/ 55229 h 273890"/>
                <a:gd name="connsiteX20" fmla="*/ 103341 w 1394458"/>
                <a:gd name="connsiteY20" fmla="*/ 48974 h 273890"/>
                <a:gd name="connsiteX21" fmla="*/ 77291 w 1394458"/>
                <a:gd name="connsiteY21" fmla="*/ 54533 h 273890"/>
                <a:gd name="connsiteX22" fmla="*/ 58706 w 1394458"/>
                <a:gd name="connsiteY22" fmla="*/ 70861 h 273890"/>
                <a:gd name="connsiteX23" fmla="*/ 47417 w 1394458"/>
                <a:gd name="connsiteY23" fmla="*/ 97432 h 273890"/>
                <a:gd name="connsiteX24" fmla="*/ 43769 w 1394458"/>
                <a:gd name="connsiteY24" fmla="*/ 133210 h 273890"/>
                <a:gd name="connsiteX25" fmla="*/ 43769 w 1394458"/>
                <a:gd name="connsiteY25" fmla="*/ 154572 h 273890"/>
                <a:gd name="connsiteX26" fmla="*/ 47067 w 1394458"/>
                <a:gd name="connsiteY26" fmla="*/ 189304 h 273890"/>
                <a:gd name="connsiteX27" fmla="*/ 57490 w 1394458"/>
                <a:gd name="connsiteY27" fmla="*/ 215875 h 273890"/>
                <a:gd name="connsiteX28" fmla="*/ 75550 w 1394458"/>
                <a:gd name="connsiteY28" fmla="*/ 233069 h 273890"/>
                <a:gd name="connsiteX29" fmla="*/ 101775 w 1394458"/>
                <a:gd name="connsiteY29" fmla="*/ 239149 h 273890"/>
                <a:gd name="connsiteX30" fmla="*/ 131824 w 1394458"/>
                <a:gd name="connsiteY30" fmla="*/ 233244 h 273890"/>
                <a:gd name="connsiteX31" fmla="*/ 149363 w 1394458"/>
                <a:gd name="connsiteY31" fmla="*/ 216050 h 273890"/>
                <a:gd name="connsiteX32" fmla="*/ 157354 w 1394458"/>
                <a:gd name="connsiteY32" fmla="*/ 188088 h 273890"/>
                <a:gd name="connsiteX33" fmla="*/ 313837 w 1394458"/>
                <a:gd name="connsiteY33" fmla="*/ 270418 h 273890"/>
                <a:gd name="connsiteX34" fmla="*/ 259825 w 1394458"/>
                <a:gd name="connsiteY34" fmla="*/ 270418 h 273890"/>
                <a:gd name="connsiteX35" fmla="*/ 260170 w 1394458"/>
                <a:gd name="connsiteY35" fmla="*/ 235856 h 273890"/>
                <a:gd name="connsiteX36" fmla="*/ 313837 w 1394458"/>
                <a:gd name="connsiteY36" fmla="*/ 235856 h 273890"/>
                <a:gd name="connsiteX37" fmla="*/ 353088 w 1394458"/>
                <a:gd name="connsiteY37" fmla="*/ 225608 h 273890"/>
                <a:gd name="connsiteX38" fmla="*/ 377057 w 1394458"/>
                <a:gd name="connsiteY38" fmla="*/ 196255 h 273890"/>
                <a:gd name="connsiteX39" fmla="*/ 385218 w 1394458"/>
                <a:gd name="connsiteY39" fmla="*/ 150754 h 273890"/>
                <a:gd name="connsiteX40" fmla="*/ 385218 w 1394458"/>
                <a:gd name="connsiteY40" fmla="*/ 137033 h 273890"/>
                <a:gd name="connsiteX41" fmla="*/ 380530 w 1394458"/>
                <a:gd name="connsiteY41" fmla="*/ 100734 h 273890"/>
                <a:gd name="connsiteX42" fmla="*/ 366984 w 1394458"/>
                <a:gd name="connsiteY42" fmla="*/ 74163 h 273890"/>
                <a:gd name="connsiteX43" fmla="*/ 345102 w 1394458"/>
                <a:gd name="connsiteY43" fmla="*/ 57840 h 273890"/>
                <a:gd name="connsiteX44" fmla="*/ 315403 w 1394458"/>
                <a:gd name="connsiteY44" fmla="*/ 52281 h 273890"/>
                <a:gd name="connsiteX45" fmla="*/ 258784 w 1394458"/>
                <a:gd name="connsiteY45" fmla="*/ 52281 h 273890"/>
                <a:gd name="connsiteX46" fmla="*/ 258784 w 1394458"/>
                <a:gd name="connsiteY46" fmla="*/ 17544 h 273890"/>
                <a:gd name="connsiteX47" fmla="*/ 315403 w 1394458"/>
                <a:gd name="connsiteY47" fmla="*/ 17544 h 273890"/>
                <a:gd name="connsiteX48" fmla="*/ 361429 w 1394458"/>
                <a:gd name="connsiteY48" fmla="*/ 26055 h 273890"/>
                <a:gd name="connsiteX49" fmla="*/ 397383 w 1394458"/>
                <a:gd name="connsiteY49" fmla="*/ 50195 h 273890"/>
                <a:gd name="connsiteX50" fmla="*/ 420826 w 1394458"/>
                <a:gd name="connsiteY50" fmla="*/ 88054 h 273890"/>
                <a:gd name="connsiteX51" fmla="*/ 428988 w 1394458"/>
                <a:gd name="connsiteY51" fmla="*/ 137378 h 273890"/>
                <a:gd name="connsiteX52" fmla="*/ 428988 w 1394458"/>
                <a:gd name="connsiteY52" fmla="*/ 150754 h 273890"/>
                <a:gd name="connsiteX53" fmla="*/ 420826 w 1394458"/>
                <a:gd name="connsiteY53" fmla="*/ 200078 h 273890"/>
                <a:gd name="connsiteX54" fmla="*/ 397383 w 1394458"/>
                <a:gd name="connsiteY54" fmla="*/ 237938 h 273890"/>
                <a:gd name="connsiteX55" fmla="*/ 360909 w 1394458"/>
                <a:gd name="connsiteY55" fmla="*/ 262077 h 273890"/>
                <a:gd name="connsiteX56" fmla="*/ 313842 w 1394458"/>
                <a:gd name="connsiteY56" fmla="*/ 270413 h 273890"/>
                <a:gd name="connsiteX57" fmla="*/ 283964 w 1394458"/>
                <a:gd name="connsiteY57" fmla="*/ 17544 h 273890"/>
                <a:gd name="connsiteX58" fmla="*/ 283964 w 1394458"/>
                <a:gd name="connsiteY58" fmla="*/ 270418 h 273890"/>
                <a:gd name="connsiteX59" fmla="*/ 240369 w 1394458"/>
                <a:gd name="connsiteY59" fmla="*/ 270418 h 273890"/>
                <a:gd name="connsiteX60" fmla="*/ 240369 w 1394458"/>
                <a:gd name="connsiteY60" fmla="*/ 17544 h 273890"/>
                <a:gd name="connsiteX61" fmla="*/ 283964 w 1394458"/>
                <a:gd name="connsiteY61" fmla="*/ 17544 h 273890"/>
                <a:gd name="connsiteX62" fmla="*/ 519299 w 1394458"/>
                <a:gd name="connsiteY62" fmla="*/ 17544 h 273890"/>
                <a:gd name="connsiteX63" fmla="*/ 519299 w 1394458"/>
                <a:gd name="connsiteY63" fmla="*/ 270418 h 273890"/>
                <a:gd name="connsiteX64" fmla="*/ 475705 w 1394458"/>
                <a:gd name="connsiteY64" fmla="*/ 270418 h 273890"/>
                <a:gd name="connsiteX65" fmla="*/ 475705 w 1394458"/>
                <a:gd name="connsiteY65" fmla="*/ 17544 h 273890"/>
                <a:gd name="connsiteX66" fmla="*/ 519299 w 1394458"/>
                <a:gd name="connsiteY66" fmla="*/ 17544 h 273890"/>
                <a:gd name="connsiteX67" fmla="*/ 811424 w 1394458"/>
                <a:gd name="connsiteY67" fmla="*/ 188093 h 273890"/>
                <a:gd name="connsiteX68" fmla="*/ 854843 w 1394458"/>
                <a:gd name="connsiteY68" fmla="*/ 188093 h 273890"/>
                <a:gd name="connsiteX69" fmla="*/ 840947 w 1394458"/>
                <a:gd name="connsiteY69" fmla="*/ 232383 h 273890"/>
                <a:gd name="connsiteX70" fmla="*/ 807776 w 1394458"/>
                <a:gd name="connsiteY70" fmla="*/ 262777 h 273890"/>
                <a:gd name="connsiteX71" fmla="*/ 755845 w 1394458"/>
                <a:gd name="connsiteY71" fmla="*/ 273891 h 273890"/>
                <a:gd name="connsiteX72" fmla="*/ 713642 w 1394458"/>
                <a:gd name="connsiteY72" fmla="*/ 265554 h 273890"/>
                <a:gd name="connsiteX73" fmla="*/ 681512 w 1394458"/>
                <a:gd name="connsiteY73" fmla="*/ 241585 h 273890"/>
                <a:gd name="connsiteX74" fmla="*/ 661021 w 1394458"/>
                <a:gd name="connsiteY74" fmla="*/ 203896 h 273890"/>
                <a:gd name="connsiteX75" fmla="*/ 654075 w 1394458"/>
                <a:gd name="connsiteY75" fmla="*/ 154572 h 273890"/>
                <a:gd name="connsiteX76" fmla="*/ 654075 w 1394458"/>
                <a:gd name="connsiteY76" fmla="*/ 133555 h 273890"/>
                <a:gd name="connsiteX77" fmla="*/ 661196 w 1394458"/>
                <a:gd name="connsiteY77" fmla="*/ 84231 h 273890"/>
                <a:gd name="connsiteX78" fmla="*/ 682037 w 1394458"/>
                <a:gd name="connsiteY78" fmla="*/ 46547 h 273890"/>
                <a:gd name="connsiteX79" fmla="*/ 714513 w 1394458"/>
                <a:gd name="connsiteY79" fmla="*/ 22403 h 273890"/>
                <a:gd name="connsiteX80" fmla="*/ 757411 w 1394458"/>
                <a:gd name="connsiteY80" fmla="*/ 14066 h 273890"/>
                <a:gd name="connsiteX81" fmla="*/ 808472 w 1394458"/>
                <a:gd name="connsiteY81" fmla="*/ 25180 h 273890"/>
                <a:gd name="connsiteX82" fmla="*/ 840777 w 1394458"/>
                <a:gd name="connsiteY82" fmla="*/ 55919 h 273890"/>
                <a:gd name="connsiteX83" fmla="*/ 855018 w 1394458"/>
                <a:gd name="connsiteY83" fmla="*/ 100900 h 273890"/>
                <a:gd name="connsiteX84" fmla="*/ 811599 w 1394458"/>
                <a:gd name="connsiteY84" fmla="*/ 100900 h 273890"/>
                <a:gd name="connsiteX85" fmla="*/ 803958 w 1394458"/>
                <a:gd name="connsiteY85" fmla="*/ 72938 h 273890"/>
                <a:gd name="connsiteX86" fmla="*/ 786940 w 1394458"/>
                <a:gd name="connsiteY86" fmla="*/ 55224 h 273890"/>
                <a:gd name="connsiteX87" fmla="*/ 757416 w 1394458"/>
                <a:gd name="connsiteY87" fmla="*/ 48969 h 273890"/>
                <a:gd name="connsiteX88" fmla="*/ 731366 w 1394458"/>
                <a:gd name="connsiteY88" fmla="*/ 54528 h 273890"/>
                <a:gd name="connsiteX89" fmla="*/ 712781 w 1394458"/>
                <a:gd name="connsiteY89" fmla="*/ 70856 h 273890"/>
                <a:gd name="connsiteX90" fmla="*/ 701492 w 1394458"/>
                <a:gd name="connsiteY90" fmla="*/ 97427 h 273890"/>
                <a:gd name="connsiteX91" fmla="*/ 697844 w 1394458"/>
                <a:gd name="connsiteY91" fmla="*/ 133205 h 273890"/>
                <a:gd name="connsiteX92" fmla="*/ 697844 w 1394458"/>
                <a:gd name="connsiteY92" fmla="*/ 154567 h 273890"/>
                <a:gd name="connsiteX93" fmla="*/ 701142 w 1394458"/>
                <a:gd name="connsiteY93" fmla="*/ 189299 h 273890"/>
                <a:gd name="connsiteX94" fmla="*/ 711565 w 1394458"/>
                <a:gd name="connsiteY94" fmla="*/ 215870 h 273890"/>
                <a:gd name="connsiteX95" fmla="*/ 729629 w 1394458"/>
                <a:gd name="connsiteY95" fmla="*/ 233064 h 273890"/>
                <a:gd name="connsiteX96" fmla="*/ 755855 w 1394458"/>
                <a:gd name="connsiteY96" fmla="*/ 239144 h 273890"/>
                <a:gd name="connsiteX97" fmla="*/ 785904 w 1394458"/>
                <a:gd name="connsiteY97" fmla="*/ 233239 h 273890"/>
                <a:gd name="connsiteX98" fmla="*/ 803443 w 1394458"/>
                <a:gd name="connsiteY98" fmla="*/ 216046 h 273890"/>
                <a:gd name="connsiteX99" fmla="*/ 811434 w 1394458"/>
                <a:gd name="connsiteY99" fmla="*/ 188084 h 273890"/>
                <a:gd name="connsiteX100" fmla="*/ 882285 w 1394458"/>
                <a:gd name="connsiteY100" fmla="*/ 178541 h 273890"/>
                <a:gd name="connsiteX101" fmla="*/ 882285 w 1394458"/>
                <a:gd name="connsiteY101" fmla="*/ 174548 h 273890"/>
                <a:gd name="connsiteX102" fmla="*/ 888190 w 1394458"/>
                <a:gd name="connsiteY102" fmla="*/ 136858 h 273890"/>
                <a:gd name="connsiteX103" fmla="*/ 905208 w 1394458"/>
                <a:gd name="connsiteY103" fmla="*/ 106464 h 273890"/>
                <a:gd name="connsiteX104" fmla="*/ 932650 w 1394458"/>
                <a:gd name="connsiteY104" fmla="*/ 86318 h 273890"/>
                <a:gd name="connsiteX105" fmla="*/ 969469 w 1394458"/>
                <a:gd name="connsiteY105" fmla="*/ 79022 h 273890"/>
                <a:gd name="connsiteX106" fmla="*/ 1006288 w 1394458"/>
                <a:gd name="connsiteY106" fmla="*/ 86318 h 273890"/>
                <a:gd name="connsiteX107" fmla="*/ 1033899 w 1394458"/>
                <a:gd name="connsiteY107" fmla="*/ 106464 h 273890"/>
                <a:gd name="connsiteX108" fmla="*/ 1051093 w 1394458"/>
                <a:gd name="connsiteY108" fmla="*/ 136858 h 273890"/>
                <a:gd name="connsiteX109" fmla="*/ 1056998 w 1394458"/>
                <a:gd name="connsiteY109" fmla="*/ 174548 h 273890"/>
                <a:gd name="connsiteX110" fmla="*/ 1056998 w 1394458"/>
                <a:gd name="connsiteY110" fmla="*/ 178541 h 273890"/>
                <a:gd name="connsiteX111" fmla="*/ 1051093 w 1394458"/>
                <a:gd name="connsiteY111" fmla="*/ 216230 h 273890"/>
                <a:gd name="connsiteX112" fmla="*/ 1033899 w 1394458"/>
                <a:gd name="connsiteY112" fmla="*/ 246624 h 273890"/>
                <a:gd name="connsiteX113" fmla="*/ 1006458 w 1394458"/>
                <a:gd name="connsiteY113" fmla="*/ 266770 h 273890"/>
                <a:gd name="connsiteX114" fmla="*/ 969814 w 1394458"/>
                <a:gd name="connsiteY114" fmla="*/ 273891 h 273890"/>
                <a:gd name="connsiteX115" fmla="*/ 932820 w 1394458"/>
                <a:gd name="connsiteY115" fmla="*/ 266770 h 273890"/>
                <a:gd name="connsiteX116" fmla="*/ 905378 w 1394458"/>
                <a:gd name="connsiteY116" fmla="*/ 246624 h 273890"/>
                <a:gd name="connsiteX117" fmla="*/ 888185 w 1394458"/>
                <a:gd name="connsiteY117" fmla="*/ 216230 h 273890"/>
                <a:gd name="connsiteX118" fmla="*/ 882280 w 1394458"/>
                <a:gd name="connsiteY118" fmla="*/ 178541 h 273890"/>
                <a:gd name="connsiteX119" fmla="*/ 924143 w 1394458"/>
                <a:gd name="connsiteY119" fmla="*/ 174548 h 273890"/>
                <a:gd name="connsiteX120" fmla="*/ 924143 w 1394458"/>
                <a:gd name="connsiteY120" fmla="*/ 178541 h 273890"/>
                <a:gd name="connsiteX121" fmla="*/ 926750 w 1394458"/>
                <a:gd name="connsiteY121" fmla="*/ 202510 h 273890"/>
                <a:gd name="connsiteX122" fmla="*/ 934911 w 1394458"/>
                <a:gd name="connsiteY122" fmla="*/ 222310 h 273890"/>
                <a:gd name="connsiteX123" fmla="*/ 949152 w 1394458"/>
                <a:gd name="connsiteY123" fmla="*/ 235681 h 273890"/>
                <a:gd name="connsiteX124" fmla="*/ 969819 w 1394458"/>
                <a:gd name="connsiteY124" fmla="*/ 240545 h 273890"/>
                <a:gd name="connsiteX125" fmla="*/ 989965 w 1394458"/>
                <a:gd name="connsiteY125" fmla="*/ 235681 h 273890"/>
                <a:gd name="connsiteX126" fmla="*/ 1004206 w 1394458"/>
                <a:gd name="connsiteY126" fmla="*/ 222310 h 273890"/>
                <a:gd name="connsiteX127" fmla="*/ 1012367 w 1394458"/>
                <a:gd name="connsiteY127" fmla="*/ 202510 h 273890"/>
                <a:gd name="connsiteX128" fmla="*/ 1015145 w 1394458"/>
                <a:gd name="connsiteY128" fmla="*/ 178541 h 273890"/>
                <a:gd name="connsiteX129" fmla="*/ 1015145 w 1394458"/>
                <a:gd name="connsiteY129" fmla="*/ 174548 h 273890"/>
                <a:gd name="connsiteX130" fmla="*/ 1012367 w 1394458"/>
                <a:gd name="connsiteY130" fmla="*/ 150929 h 273890"/>
                <a:gd name="connsiteX131" fmla="*/ 1004031 w 1394458"/>
                <a:gd name="connsiteY131" fmla="*/ 130958 h 273890"/>
                <a:gd name="connsiteX132" fmla="*/ 989790 w 1394458"/>
                <a:gd name="connsiteY132" fmla="*/ 117412 h 273890"/>
                <a:gd name="connsiteX133" fmla="*/ 969469 w 1394458"/>
                <a:gd name="connsiteY133" fmla="*/ 112378 h 273890"/>
                <a:gd name="connsiteX134" fmla="*/ 948977 w 1394458"/>
                <a:gd name="connsiteY134" fmla="*/ 117412 h 273890"/>
                <a:gd name="connsiteX135" fmla="*/ 934911 w 1394458"/>
                <a:gd name="connsiteY135" fmla="*/ 130958 h 273890"/>
                <a:gd name="connsiteX136" fmla="*/ 926750 w 1394458"/>
                <a:gd name="connsiteY136" fmla="*/ 150929 h 273890"/>
                <a:gd name="connsiteX137" fmla="*/ 924143 w 1394458"/>
                <a:gd name="connsiteY137" fmla="*/ 174548 h 273890"/>
                <a:gd name="connsiteX138" fmla="*/ 1133598 w 1394458"/>
                <a:gd name="connsiteY138" fmla="*/ 122617 h 273890"/>
                <a:gd name="connsiteX139" fmla="*/ 1133598 w 1394458"/>
                <a:gd name="connsiteY139" fmla="*/ 270418 h 273890"/>
                <a:gd name="connsiteX140" fmla="*/ 1091745 w 1394458"/>
                <a:gd name="connsiteY140" fmla="*/ 270418 h 273890"/>
                <a:gd name="connsiteX141" fmla="*/ 1091745 w 1394458"/>
                <a:gd name="connsiteY141" fmla="*/ 82495 h 273890"/>
                <a:gd name="connsiteX142" fmla="*/ 1131171 w 1394458"/>
                <a:gd name="connsiteY142" fmla="*/ 82495 h 273890"/>
                <a:gd name="connsiteX143" fmla="*/ 1133603 w 1394458"/>
                <a:gd name="connsiteY143" fmla="*/ 122617 h 273890"/>
                <a:gd name="connsiteX144" fmla="*/ 1126132 w 1394458"/>
                <a:gd name="connsiteY144" fmla="*/ 169509 h 273890"/>
                <a:gd name="connsiteX145" fmla="*/ 1112586 w 1394458"/>
                <a:gd name="connsiteY145" fmla="*/ 169334 h 273890"/>
                <a:gd name="connsiteX146" fmla="*/ 1118145 w 1394458"/>
                <a:gd name="connsiteY146" fmla="*/ 132690 h 273890"/>
                <a:gd name="connsiteX147" fmla="*/ 1133428 w 1394458"/>
                <a:gd name="connsiteY147" fmla="*/ 104032 h 273890"/>
                <a:gd name="connsiteX148" fmla="*/ 1157046 w 1394458"/>
                <a:gd name="connsiteY148" fmla="*/ 85623 h 273890"/>
                <a:gd name="connsiteX149" fmla="*/ 1187615 w 1394458"/>
                <a:gd name="connsiteY149" fmla="*/ 79022 h 273890"/>
                <a:gd name="connsiteX150" fmla="*/ 1212105 w 1394458"/>
                <a:gd name="connsiteY150" fmla="*/ 82840 h 273890"/>
                <a:gd name="connsiteX151" fmla="*/ 1231034 w 1394458"/>
                <a:gd name="connsiteY151" fmla="*/ 94825 h 273890"/>
                <a:gd name="connsiteX152" fmla="*/ 1243189 w 1394458"/>
                <a:gd name="connsiteY152" fmla="*/ 116532 h 273890"/>
                <a:gd name="connsiteX153" fmla="*/ 1247357 w 1394458"/>
                <a:gd name="connsiteY153" fmla="*/ 149013 h 273890"/>
                <a:gd name="connsiteX154" fmla="*/ 1247357 w 1394458"/>
                <a:gd name="connsiteY154" fmla="*/ 270413 h 273890"/>
                <a:gd name="connsiteX155" fmla="*/ 1205329 w 1394458"/>
                <a:gd name="connsiteY155" fmla="*/ 270413 h 273890"/>
                <a:gd name="connsiteX156" fmla="*/ 1205329 w 1394458"/>
                <a:gd name="connsiteY156" fmla="*/ 148837 h 273890"/>
                <a:gd name="connsiteX157" fmla="*/ 1201336 w 1394458"/>
                <a:gd name="connsiteY157" fmla="*/ 127476 h 273890"/>
                <a:gd name="connsiteX158" fmla="*/ 1190047 w 1394458"/>
                <a:gd name="connsiteY158" fmla="*/ 116187 h 273890"/>
                <a:gd name="connsiteX159" fmla="*/ 1171813 w 1394458"/>
                <a:gd name="connsiteY159" fmla="*/ 112714 h 273890"/>
                <a:gd name="connsiteX160" fmla="*/ 1152533 w 1394458"/>
                <a:gd name="connsiteY160" fmla="*/ 117228 h 273890"/>
                <a:gd name="connsiteX161" fmla="*/ 1138116 w 1394458"/>
                <a:gd name="connsiteY161" fmla="*/ 129557 h 273890"/>
                <a:gd name="connsiteX162" fmla="*/ 1129259 w 1394458"/>
                <a:gd name="connsiteY162" fmla="*/ 147621 h 273890"/>
                <a:gd name="connsiteX163" fmla="*/ 1126132 w 1394458"/>
                <a:gd name="connsiteY163" fmla="*/ 169504 h 273890"/>
                <a:gd name="connsiteX164" fmla="*/ 1346701 w 1394458"/>
                <a:gd name="connsiteY164" fmla="*/ 270418 h 273890"/>
                <a:gd name="connsiteX165" fmla="*/ 1304843 w 1394458"/>
                <a:gd name="connsiteY165" fmla="*/ 270418 h 273890"/>
                <a:gd name="connsiteX166" fmla="*/ 1304843 w 1394458"/>
                <a:gd name="connsiteY166" fmla="*/ 64436 h 273890"/>
                <a:gd name="connsiteX167" fmla="*/ 1312659 w 1394458"/>
                <a:gd name="connsiteY167" fmla="*/ 29178 h 273890"/>
                <a:gd name="connsiteX168" fmla="*/ 1335412 w 1394458"/>
                <a:gd name="connsiteY168" fmla="*/ 7471 h 273890"/>
                <a:gd name="connsiteX169" fmla="*/ 1370319 w 1394458"/>
                <a:gd name="connsiteY169" fmla="*/ 0 h 273890"/>
                <a:gd name="connsiteX170" fmla="*/ 1382649 w 1394458"/>
                <a:gd name="connsiteY170" fmla="*/ 871 h 273890"/>
                <a:gd name="connsiteX171" fmla="*/ 1394458 w 1394458"/>
                <a:gd name="connsiteY171" fmla="*/ 3127 h 273890"/>
                <a:gd name="connsiteX172" fmla="*/ 1393418 w 1394458"/>
                <a:gd name="connsiteY172" fmla="*/ 35433 h 273890"/>
                <a:gd name="connsiteX173" fmla="*/ 1385776 w 1394458"/>
                <a:gd name="connsiteY173" fmla="*/ 34217 h 273890"/>
                <a:gd name="connsiteX174" fmla="*/ 1377095 w 1394458"/>
                <a:gd name="connsiteY174" fmla="*/ 33872 h 273890"/>
                <a:gd name="connsiteX175" fmla="*/ 1360596 w 1394458"/>
                <a:gd name="connsiteY175" fmla="*/ 37519 h 273890"/>
                <a:gd name="connsiteX176" fmla="*/ 1350178 w 1394458"/>
                <a:gd name="connsiteY176" fmla="*/ 47767 h 273890"/>
                <a:gd name="connsiteX177" fmla="*/ 1346706 w 1394458"/>
                <a:gd name="connsiteY177" fmla="*/ 64441 h 273890"/>
                <a:gd name="connsiteX178" fmla="*/ 1346706 w 1394458"/>
                <a:gd name="connsiteY178" fmla="*/ 270423 h 273890"/>
                <a:gd name="connsiteX179" fmla="*/ 1385431 w 1394458"/>
                <a:gd name="connsiteY179" fmla="*/ 82500 h 273890"/>
                <a:gd name="connsiteX180" fmla="*/ 1385431 w 1394458"/>
                <a:gd name="connsiteY180" fmla="*/ 113069 h 273890"/>
                <a:gd name="connsiteX181" fmla="*/ 1276015 w 1394458"/>
                <a:gd name="connsiteY181" fmla="*/ 113069 h 273890"/>
                <a:gd name="connsiteX182" fmla="*/ 1276015 w 1394458"/>
                <a:gd name="connsiteY182" fmla="*/ 82500 h 273890"/>
                <a:gd name="connsiteX183" fmla="*/ 1385431 w 1394458"/>
                <a:gd name="connsiteY183" fmla="*/ 82500 h 2738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</a:cxnLst>
              <a:rect l="l" t="t" r="r" b="b"/>
              <a:pathLst>
                <a:path w="1394458" h="273890">
                  <a:moveTo>
                    <a:pt x="157354" y="188093"/>
                  </a:moveTo>
                  <a:lnTo>
                    <a:pt x="200773" y="188093"/>
                  </a:lnTo>
                  <a:cubicBezTo>
                    <a:pt x="199382" y="204650"/>
                    <a:pt x="194752" y="219411"/>
                    <a:pt x="186877" y="232383"/>
                  </a:cubicBezTo>
                  <a:cubicBezTo>
                    <a:pt x="179003" y="245233"/>
                    <a:pt x="167947" y="255365"/>
                    <a:pt x="153706" y="262777"/>
                  </a:cubicBezTo>
                  <a:cubicBezTo>
                    <a:pt x="139465" y="270185"/>
                    <a:pt x="122155" y="273891"/>
                    <a:pt x="101775" y="273891"/>
                  </a:cubicBezTo>
                  <a:cubicBezTo>
                    <a:pt x="86143" y="273891"/>
                    <a:pt x="72077" y="271114"/>
                    <a:pt x="59572" y="265554"/>
                  </a:cubicBezTo>
                  <a:cubicBezTo>
                    <a:pt x="47067" y="259878"/>
                    <a:pt x="36357" y="251892"/>
                    <a:pt x="27442" y="241585"/>
                  </a:cubicBezTo>
                  <a:cubicBezTo>
                    <a:pt x="18526" y="231162"/>
                    <a:pt x="11697" y="218604"/>
                    <a:pt x="6950" y="203896"/>
                  </a:cubicBezTo>
                  <a:cubicBezTo>
                    <a:pt x="2315" y="189192"/>
                    <a:pt x="0" y="172753"/>
                    <a:pt x="0" y="154577"/>
                  </a:cubicBezTo>
                  <a:lnTo>
                    <a:pt x="0" y="133560"/>
                  </a:lnTo>
                  <a:cubicBezTo>
                    <a:pt x="0" y="115379"/>
                    <a:pt x="2374" y="98940"/>
                    <a:pt x="7121" y="84236"/>
                  </a:cubicBezTo>
                  <a:cubicBezTo>
                    <a:pt x="11984" y="69533"/>
                    <a:pt x="18930" y="56970"/>
                    <a:pt x="27962" y="46552"/>
                  </a:cubicBezTo>
                  <a:cubicBezTo>
                    <a:pt x="36994" y="36017"/>
                    <a:pt x="47816" y="27967"/>
                    <a:pt x="60438" y="22408"/>
                  </a:cubicBezTo>
                  <a:cubicBezTo>
                    <a:pt x="73171" y="16848"/>
                    <a:pt x="87471" y="14071"/>
                    <a:pt x="103336" y="14071"/>
                  </a:cubicBezTo>
                  <a:cubicBezTo>
                    <a:pt x="123482" y="14071"/>
                    <a:pt x="140506" y="17777"/>
                    <a:pt x="154397" y="25185"/>
                  </a:cubicBezTo>
                  <a:cubicBezTo>
                    <a:pt x="168293" y="32597"/>
                    <a:pt x="179056" y="42840"/>
                    <a:pt x="186702" y="55924"/>
                  </a:cubicBezTo>
                  <a:cubicBezTo>
                    <a:pt x="194460" y="69008"/>
                    <a:pt x="199207" y="84003"/>
                    <a:pt x="200943" y="100905"/>
                  </a:cubicBezTo>
                  <a:lnTo>
                    <a:pt x="157524" y="100905"/>
                  </a:lnTo>
                  <a:cubicBezTo>
                    <a:pt x="156367" y="90019"/>
                    <a:pt x="153818" y="80700"/>
                    <a:pt x="149883" y="72943"/>
                  </a:cubicBezTo>
                  <a:cubicBezTo>
                    <a:pt x="146065" y="65185"/>
                    <a:pt x="140389" y="59280"/>
                    <a:pt x="132865" y="55229"/>
                  </a:cubicBezTo>
                  <a:cubicBezTo>
                    <a:pt x="125340" y="51060"/>
                    <a:pt x="115496" y="48974"/>
                    <a:pt x="103341" y="48974"/>
                  </a:cubicBezTo>
                  <a:cubicBezTo>
                    <a:pt x="93385" y="48974"/>
                    <a:pt x="84698" y="50827"/>
                    <a:pt x="77291" y="54533"/>
                  </a:cubicBezTo>
                  <a:cubicBezTo>
                    <a:pt x="69878" y="58239"/>
                    <a:pt x="63687" y="63682"/>
                    <a:pt x="58706" y="70861"/>
                  </a:cubicBezTo>
                  <a:cubicBezTo>
                    <a:pt x="53730" y="78040"/>
                    <a:pt x="49966" y="86897"/>
                    <a:pt x="47417" y="97432"/>
                  </a:cubicBezTo>
                  <a:cubicBezTo>
                    <a:pt x="44985" y="107850"/>
                    <a:pt x="43769" y="119776"/>
                    <a:pt x="43769" y="133210"/>
                  </a:cubicBezTo>
                  <a:lnTo>
                    <a:pt x="43769" y="154572"/>
                  </a:lnTo>
                  <a:cubicBezTo>
                    <a:pt x="43769" y="167305"/>
                    <a:pt x="44869" y="178886"/>
                    <a:pt x="47067" y="189304"/>
                  </a:cubicBezTo>
                  <a:cubicBezTo>
                    <a:pt x="49382" y="199611"/>
                    <a:pt x="52855" y="208468"/>
                    <a:pt x="57490" y="215875"/>
                  </a:cubicBezTo>
                  <a:cubicBezTo>
                    <a:pt x="62237" y="223288"/>
                    <a:pt x="68259" y="229017"/>
                    <a:pt x="75550" y="233069"/>
                  </a:cubicBezTo>
                  <a:cubicBezTo>
                    <a:pt x="82845" y="237120"/>
                    <a:pt x="91585" y="239149"/>
                    <a:pt x="101775" y="239149"/>
                  </a:cubicBezTo>
                  <a:cubicBezTo>
                    <a:pt x="114163" y="239149"/>
                    <a:pt x="124178" y="237179"/>
                    <a:pt x="131824" y="233244"/>
                  </a:cubicBezTo>
                  <a:cubicBezTo>
                    <a:pt x="139582" y="229309"/>
                    <a:pt x="145428" y="223575"/>
                    <a:pt x="149363" y="216050"/>
                  </a:cubicBezTo>
                  <a:cubicBezTo>
                    <a:pt x="153414" y="208409"/>
                    <a:pt x="156080" y="199090"/>
                    <a:pt x="157354" y="188088"/>
                  </a:cubicBezTo>
                  <a:close/>
                  <a:moveTo>
                    <a:pt x="313837" y="270418"/>
                  </a:moveTo>
                  <a:lnTo>
                    <a:pt x="259825" y="270418"/>
                  </a:lnTo>
                  <a:lnTo>
                    <a:pt x="260170" y="235856"/>
                  </a:lnTo>
                  <a:lnTo>
                    <a:pt x="313837" y="235856"/>
                  </a:lnTo>
                  <a:cubicBezTo>
                    <a:pt x="329469" y="235856"/>
                    <a:pt x="342553" y="232441"/>
                    <a:pt x="353088" y="225608"/>
                  </a:cubicBezTo>
                  <a:cubicBezTo>
                    <a:pt x="363740" y="218779"/>
                    <a:pt x="371731" y="208993"/>
                    <a:pt x="377057" y="196255"/>
                  </a:cubicBezTo>
                  <a:cubicBezTo>
                    <a:pt x="382499" y="183521"/>
                    <a:pt x="385218" y="168351"/>
                    <a:pt x="385218" y="150754"/>
                  </a:cubicBezTo>
                  <a:lnTo>
                    <a:pt x="385218" y="137033"/>
                  </a:lnTo>
                  <a:cubicBezTo>
                    <a:pt x="385218" y="123371"/>
                    <a:pt x="383657" y="111269"/>
                    <a:pt x="380530" y="100734"/>
                  </a:cubicBezTo>
                  <a:cubicBezTo>
                    <a:pt x="377519" y="90199"/>
                    <a:pt x="373005" y="81342"/>
                    <a:pt x="366984" y="74163"/>
                  </a:cubicBezTo>
                  <a:cubicBezTo>
                    <a:pt x="361079" y="66984"/>
                    <a:pt x="353784" y="61542"/>
                    <a:pt x="345102" y="57840"/>
                  </a:cubicBezTo>
                  <a:cubicBezTo>
                    <a:pt x="336532" y="54134"/>
                    <a:pt x="326634" y="52281"/>
                    <a:pt x="315403" y="52281"/>
                  </a:cubicBezTo>
                  <a:lnTo>
                    <a:pt x="258784" y="52281"/>
                  </a:lnTo>
                  <a:lnTo>
                    <a:pt x="258784" y="17544"/>
                  </a:lnTo>
                  <a:lnTo>
                    <a:pt x="315403" y="17544"/>
                  </a:lnTo>
                  <a:cubicBezTo>
                    <a:pt x="332193" y="17544"/>
                    <a:pt x="347534" y="20379"/>
                    <a:pt x="361429" y="26055"/>
                  </a:cubicBezTo>
                  <a:cubicBezTo>
                    <a:pt x="375325" y="31615"/>
                    <a:pt x="387310" y="39660"/>
                    <a:pt x="397383" y="50195"/>
                  </a:cubicBezTo>
                  <a:cubicBezTo>
                    <a:pt x="407572" y="60730"/>
                    <a:pt x="415389" y="73351"/>
                    <a:pt x="420826" y="88054"/>
                  </a:cubicBezTo>
                  <a:cubicBezTo>
                    <a:pt x="426269" y="102758"/>
                    <a:pt x="428988" y="119202"/>
                    <a:pt x="428988" y="137378"/>
                  </a:cubicBezTo>
                  <a:lnTo>
                    <a:pt x="428988" y="150754"/>
                  </a:lnTo>
                  <a:cubicBezTo>
                    <a:pt x="428988" y="168930"/>
                    <a:pt x="426269" y="185374"/>
                    <a:pt x="420826" y="200078"/>
                  </a:cubicBezTo>
                  <a:cubicBezTo>
                    <a:pt x="415384" y="214781"/>
                    <a:pt x="407568" y="227403"/>
                    <a:pt x="397383" y="237938"/>
                  </a:cubicBezTo>
                  <a:cubicBezTo>
                    <a:pt x="387193" y="248356"/>
                    <a:pt x="375038" y="256405"/>
                    <a:pt x="360909" y="262077"/>
                  </a:cubicBezTo>
                  <a:cubicBezTo>
                    <a:pt x="346896" y="267636"/>
                    <a:pt x="331211" y="270413"/>
                    <a:pt x="313842" y="270413"/>
                  </a:cubicBezTo>
                  <a:close/>
                  <a:moveTo>
                    <a:pt x="283964" y="17544"/>
                  </a:moveTo>
                  <a:lnTo>
                    <a:pt x="283964" y="270418"/>
                  </a:lnTo>
                  <a:lnTo>
                    <a:pt x="240369" y="270418"/>
                  </a:lnTo>
                  <a:lnTo>
                    <a:pt x="240369" y="17544"/>
                  </a:lnTo>
                  <a:lnTo>
                    <a:pt x="283964" y="17544"/>
                  </a:lnTo>
                  <a:close/>
                  <a:moveTo>
                    <a:pt x="519299" y="17544"/>
                  </a:moveTo>
                  <a:lnTo>
                    <a:pt x="519299" y="270418"/>
                  </a:lnTo>
                  <a:lnTo>
                    <a:pt x="475705" y="270418"/>
                  </a:lnTo>
                  <a:lnTo>
                    <a:pt x="475705" y="17544"/>
                  </a:lnTo>
                  <a:lnTo>
                    <a:pt x="519299" y="17544"/>
                  </a:lnTo>
                  <a:close/>
                  <a:moveTo>
                    <a:pt x="811424" y="188093"/>
                  </a:moveTo>
                  <a:lnTo>
                    <a:pt x="854843" y="188093"/>
                  </a:lnTo>
                  <a:cubicBezTo>
                    <a:pt x="853452" y="204650"/>
                    <a:pt x="848822" y="219411"/>
                    <a:pt x="840947" y="232383"/>
                  </a:cubicBezTo>
                  <a:cubicBezTo>
                    <a:pt x="833073" y="245233"/>
                    <a:pt x="822017" y="255365"/>
                    <a:pt x="807776" y="262777"/>
                  </a:cubicBezTo>
                  <a:cubicBezTo>
                    <a:pt x="793535" y="270185"/>
                    <a:pt x="776225" y="273891"/>
                    <a:pt x="755845" y="273891"/>
                  </a:cubicBezTo>
                  <a:cubicBezTo>
                    <a:pt x="740213" y="273891"/>
                    <a:pt x="726147" y="271114"/>
                    <a:pt x="713642" y="265554"/>
                  </a:cubicBezTo>
                  <a:cubicBezTo>
                    <a:pt x="701137" y="259878"/>
                    <a:pt x="690427" y="251892"/>
                    <a:pt x="681512" y="241585"/>
                  </a:cubicBezTo>
                  <a:cubicBezTo>
                    <a:pt x="672596" y="231162"/>
                    <a:pt x="665768" y="218604"/>
                    <a:pt x="661021" y="203896"/>
                  </a:cubicBezTo>
                  <a:cubicBezTo>
                    <a:pt x="656390" y="189192"/>
                    <a:pt x="654075" y="172748"/>
                    <a:pt x="654075" y="154572"/>
                  </a:cubicBezTo>
                  <a:lnTo>
                    <a:pt x="654075" y="133555"/>
                  </a:lnTo>
                  <a:cubicBezTo>
                    <a:pt x="654075" y="115374"/>
                    <a:pt x="656449" y="98935"/>
                    <a:pt x="661196" y="84231"/>
                  </a:cubicBezTo>
                  <a:cubicBezTo>
                    <a:pt x="666059" y="69528"/>
                    <a:pt x="673005" y="56965"/>
                    <a:pt x="682037" y="46547"/>
                  </a:cubicBezTo>
                  <a:cubicBezTo>
                    <a:pt x="691069" y="36012"/>
                    <a:pt x="701891" y="27962"/>
                    <a:pt x="714513" y="22403"/>
                  </a:cubicBezTo>
                  <a:cubicBezTo>
                    <a:pt x="727246" y="16843"/>
                    <a:pt x="741546" y="14066"/>
                    <a:pt x="757411" y="14066"/>
                  </a:cubicBezTo>
                  <a:cubicBezTo>
                    <a:pt x="777557" y="14066"/>
                    <a:pt x="794581" y="17772"/>
                    <a:pt x="808472" y="25180"/>
                  </a:cubicBezTo>
                  <a:cubicBezTo>
                    <a:pt x="822368" y="32592"/>
                    <a:pt x="833131" y="42836"/>
                    <a:pt x="840777" y="55919"/>
                  </a:cubicBezTo>
                  <a:cubicBezTo>
                    <a:pt x="848535" y="69003"/>
                    <a:pt x="853282" y="83998"/>
                    <a:pt x="855018" y="100900"/>
                  </a:cubicBezTo>
                  <a:lnTo>
                    <a:pt x="811599" y="100900"/>
                  </a:lnTo>
                  <a:cubicBezTo>
                    <a:pt x="810442" y="90015"/>
                    <a:pt x="807893" y="80695"/>
                    <a:pt x="803958" y="72938"/>
                  </a:cubicBezTo>
                  <a:cubicBezTo>
                    <a:pt x="800140" y="65180"/>
                    <a:pt x="794464" y="59275"/>
                    <a:pt x="786940" y="55224"/>
                  </a:cubicBezTo>
                  <a:cubicBezTo>
                    <a:pt x="779415" y="51055"/>
                    <a:pt x="769571" y="48969"/>
                    <a:pt x="757416" y="48969"/>
                  </a:cubicBezTo>
                  <a:cubicBezTo>
                    <a:pt x="747460" y="48969"/>
                    <a:pt x="738773" y="50822"/>
                    <a:pt x="731366" y="54528"/>
                  </a:cubicBezTo>
                  <a:cubicBezTo>
                    <a:pt x="723953" y="58234"/>
                    <a:pt x="717762" y="63677"/>
                    <a:pt x="712781" y="70856"/>
                  </a:cubicBezTo>
                  <a:cubicBezTo>
                    <a:pt x="707801" y="78035"/>
                    <a:pt x="704041" y="86892"/>
                    <a:pt x="701492" y="97427"/>
                  </a:cubicBezTo>
                  <a:cubicBezTo>
                    <a:pt x="699060" y="107845"/>
                    <a:pt x="697844" y="119771"/>
                    <a:pt x="697844" y="133205"/>
                  </a:cubicBezTo>
                  <a:lnTo>
                    <a:pt x="697844" y="154567"/>
                  </a:lnTo>
                  <a:cubicBezTo>
                    <a:pt x="697844" y="167300"/>
                    <a:pt x="698944" y="178881"/>
                    <a:pt x="701142" y="189299"/>
                  </a:cubicBezTo>
                  <a:cubicBezTo>
                    <a:pt x="703457" y="199606"/>
                    <a:pt x="706930" y="208463"/>
                    <a:pt x="711565" y="215870"/>
                  </a:cubicBezTo>
                  <a:cubicBezTo>
                    <a:pt x="716312" y="223283"/>
                    <a:pt x="722334" y="229012"/>
                    <a:pt x="729629" y="233064"/>
                  </a:cubicBezTo>
                  <a:cubicBezTo>
                    <a:pt x="736925" y="237116"/>
                    <a:pt x="745665" y="239144"/>
                    <a:pt x="755855" y="239144"/>
                  </a:cubicBezTo>
                  <a:cubicBezTo>
                    <a:pt x="768243" y="239144"/>
                    <a:pt x="778258" y="237174"/>
                    <a:pt x="785904" y="233239"/>
                  </a:cubicBezTo>
                  <a:cubicBezTo>
                    <a:pt x="793661" y="229304"/>
                    <a:pt x="799508" y="223570"/>
                    <a:pt x="803443" y="216046"/>
                  </a:cubicBezTo>
                  <a:cubicBezTo>
                    <a:pt x="807494" y="208405"/>
                    <a:pt x="810159" y="199085"/>
                    <a:pt x="811434" y="188084"/>
                  </a:cubicBezTo>
                  <a:close/>
                  <a:moveTo>
                    <a:pt x="882285" y="178541"/>
                  </a:moveTo>
                  <a:lnTo>
                    <a:pt x="882285" y="174548"/>
                  </a:lnTo>
                  <a:cubicBezTo>
                    <a:pt x="882285" y="161002"/>
                    <a:pt x="884255" y="148439"/>
                    <a:pt x="888190" y="136858"/>
                  </a:cubicBezTo>
                  <a:cubicBezTo>
                    <a:pt x="892124" y="125165"/>
                    <a:pt x="897800" y="115034"/>
                    <a:pt x="905208" y="106464"/>
                  </a:cubicBezTo>
                  <a:cubicBezTo>
                    <a:pt x="912732" y="97782"/>
                    <a:pt x="921881" y="91065"/>
                    <a:pt x="932650" y="86318"/>
                  </a:cubicBezTo>
                  <a:cubicBezTo>
                    <a:pt x="943535" y="81454"/>
                    <a:pt x="955806" y="79022"/>
                    <a:pt x="969469" y="79022"/>
                  </a:cubicBezTo>
                  <a:cubicBezTo>
                    <a:pt x="983131" y="79022"/>
                    <a:pt x="995519" y="81454"/>
                    <a:pt x="1006288" y="86318"/>
                  </a:cubicBezTo>
                  <a:cubicBezTo>
                    <a:pt x="1017173" y="91065"/>
                    <a:pt x="1026375" y="97782"/>
                    <a:pt x="1033899" y="106464"/>
                  </a:cubicBezTo>
                  <a:cubicBezTo>
                    <a:pt x="1041424" y="115034"/>
                    <a:pt x="1047158" y="125165"/>
                    <a:pt x="1051093" y="136858"/>
                  </a:cubicBezTo>
                  <a:cubicBezTo>
                    <a:pt x="1055028" y="148439"/>
                    <a:pt x="1056998" y="160997"/>
                    <a:pt x="1056998" y="174548"/>
                  </a:cubicBezTo>
                  <a:lnTo>
                    <a:pt x="1056998" y="178541"/>
                  </a:lnTo>
                  <a:cubicBezTo>
                    <a:pt x="1056998" y="192086"/>
                    <a:pt x="1055028" y="204650"/>
                    <a:pt x="1051093" y="216230"/>
                  </a:cubicBezTo>
                  <a:cubicBezTo>
                    <a:pt x="1047153" y="227806"/>
                    <a:pt x="1041424" y="237938"/>
                    <a:pt x="1033899" y="246624"/>
                  </a:cubicBezTo>
                  <a:cubicBezTo>
                    <a:pt x="1026375" y="255194"/>
                    <a:pt x="1017226" y="261906"/>
                    <a:pt x="1006458" y="266770"/>
                  </a:cubicBezTo>
                  <a:cubicBezTo>
                    <a:pt x="995689" y="271517"/>
                    <a:pt x="983476" y="273891"/>
                    <a:pt x="969814" y="273891"/>
                  </a:cubicBezTo>
                  <a:cubicBezTo>
                    <a:pt x="956151" y="273891"/>
                    <a:pt x="943705" y="271517"/>
                    <a:pt x="932820" y="266770"/>
                  </a:cubicBezTo>
                  <a:cubicBezTo>
                    <a:pt x="922051" y="261906"/>
                    <a:pt x="912907" y="255189"/>
                    <a:pt x="905378" y="246624"/>
                  </a:cubicBezTo>
                  <a:cubicBezTo>
                    <a:pt x="897854" y="237942"/>
                    <a:pt x="892119" y="227811"/>
                    <a:pt x="888185" y="216230"/>
                  </a:cubicBezTo>
                  <a:cubicBezTo>
                    <a:pt x="884245" y="204650"/>
                    <a:pt x="882280" y="192086"/>
                    <a:pt x="882280" y="178541"/>
                  </a:cubicBezTo>
                  <a:close/>
                  <a:moveTo>
                    <a:pt x="924143" y="174548"/>
                  </a:moveTo>
                  <a:lnTo>
                    <a:pt x="924143" y="178541"/>
                  </a:lnTo>
                  <a:cubicBezTo>
                    <a:pt x="924143" y="186994"/>
                    <a:pt x="925013" y="194980"/>
                    <a:pt x="926750" y="202510"/>
                  </a:cubicBezTo>
                  <a:cubicBezTo>
                    <a:pt x="928486" y="210034"/>
                    <a:pt x="931210" y="216634"/>
                    <a:pt x="934911" y="222310"/>
                  </a:cubicBezTo>
                  <a:cubicBezTo>
                    <a:pt x="938617" y="227981"/>
                    <a:pt x="943365" y="232441"/>
                    <a:pt x="949152" y="235681"/>
                  </a:cubicBezTo>
                  <a:cubicBezTo>
                    <a:pt x="954940" y="238925"/>
                    <a:pt x="961832" y="240545"/>
                    <a:pt x="969819" y="240545"/>
                  </a:cubicBezTo>
                  <a:cubicBezTo>
                    <a:pt x="977805" y="240545"/>
                    <a:pt x="984293" y="238925"/>
                    <a:pt x="989965" y="235681"/>
                  </a:cubicBezTo>
                  <a:cubicBezTo>
                    <a:pt x="995753" y="232441"/>
                    <a:pt x="1000500" y="227981"/>
                    <a:pt x="1004206" y="222310"/>
                  </a:cubicBezTo>
                  <a:cubicBezTo>
                    <a:pt x="1007912" y="216634"/>
                    <a:pt x="1010631" y="210039"/>
                    <a:pt x="1012367" y="202510"/>
                  </a:cubicBezTo>
                  <a:cubicBezTo>
                    <a:pt x="1014220" y="194985"/>
                    <a:pt x="1015145" y="186994"/>
                    <a:pt x="1015145" y="178541"/>
                  </a:cubicBezTo>
                  <a:lnTo>
                    <a:pt x="1015145" y="174548"/>
                  </a:lnTo>
                  <a:cubicBezTo>
                    <a:pt x="1015145" y="166211"/>
                    <a:pt x="1014220" y="158336"/>
                    <a:pt x="1012367" y="150929"/>
                  </a:cubicBezTo>
                  <a:cubicBezTo>
                    <a:pt x="1010631" y="143405"/>
                    <a:pt x="1007854" y="136746"/>
                    <a:pt x="1004031" y="130958"/>
                  </a:cubicBezTo>
                  <a:cubicBezTo>
                    <a:pt x="1000325" y="125170"/>
                    <a:pt x="995578" y="120652"/>
                    <a:pt x="989790" y="117412"/>
                  </a:cubicBezTo>
                  <a:cubicBezTo>
                    <a:pt x="984118" y="114056"/>
                    <a:pt x="977343" y="112378"/>
                    <a:pt x="969469" y="112378"/>
                  </a:cubicBezTo>
                  <a:cubicBezTo>
                    <a:pt x="961594" y="112378"/>
                    <a:pt x="954765" y="114056"/>
                    <a:pt x="948977" y="117412"/>
                  </a:cubicBezTo>
                  <a:cubicBezTo>
                    <a:pt x="943301" y="120657"/>
                    <a:pt x="938613" y="125170"/>
                    <a:pt x="934911" y="130958"/>
                  </a:cubicBezTo>
                  <a:cubicBezTo>
                    <a:pt x="931205" y="136746"/>
                    <a:pt x="928486" y="143405"/>
                    <a:pt x="926750" y="150929"/>
                  </a:cubicBezTo>
                  <a:cubicBezTo>
                    <a:pt x="925013" y="158341"/>
                    <a:pt x="924143" y="166211"/>
                    <a:pt x="924143" y="174548"/>
                  </a:cubicBezTo>
                  <a:close/>
                  <a:moveTo>
                    <a:pt x="1133598" y="122617"/>
                  </a:moveTo>
                  <a:lnTo>
                    <a:pt x="1133598" y="270418"/>
                  </a:lnTo>
                  <a:lnTo>
                    <a:pt x="1091745" y="270418"/>
                  </a:lnTo>
                  <a:lnTo>
                    <a:pt x="1091745" y="82495"/>
                  </a:lnTo>
                  <a:lnTo>
                    <a:pt x="1131171" y="82495"/>
                  </a:lnTo>
                  <a:lnTo>
                    <a:pt x="1133603" y="122617"/>
                  </a:lnTo>
                  <a:close/>
                  <a:moveTo>
                    <a:pt x="1126132" y="169509"/>
                  </a:moveTo>
                  <a:lnTo>
                    <a:pt x="1112586" y="169334"/>
                  </a:lnTo>
                  <a:cubicBezTo>
                    <a:pt x="1112703" y="156016"/>
                    <a:pt x="1114556" y="143803"/>
                    <a:pt x="1118145" y="132690"/>
                  </a:cubicBezTo>
                  <a:cubicBezTo>
                    <a:pt x="1121852" y="121576"/>
                    <a:pt x="1126944" y="112023"/>
                    <a:pt x="1133428" y="104032"/>
                  </a:cubicBezTo>
                  <a:cubicBezTo>
                    <a:pt x="1140028" y="96041"/>
                    <a:pt x="1147902" y="89908"/>
                    <a:pt x="1157046" y="85623"/>
                  </a:cubicBezTo>
                  <a:cubicBezTo>
                    <a:pt x="1166195" y="81226"/>
                    <a:pt x="1176385" y="79022"/>
                    <a:pt x="1187615" y="79022"/>
                  </a:cubicBezTo>
                  <a:cubicBezTo>
                    <a:pt x="1196647" y="79022"/>
                    <a:pt x="1204809" y="80297"/>
                    <a:pt x="1212105" y="82840"/>
                  </a:cubicBezTo>
                  <a:cubicBezTo>
                    <a:pt x="1219517" y="85272"/>
                    <a:pt x="1225825" y="89265"/>
                    <a:pt x="1231034" y="94825"/>
                  </a:cubicBezTo>
                  <a:cubicBezTo>
                    <a:pt x="1236360" y="100384"/>
                    <a:pt x="1240412" y="107617"/>
                    <a:pt x="1243189" y="116532"/>
                  </a:cubicBezTo>
                  <a:cubicBezTo>
                    <a:pt x="1245966" y="125331"/>
                    <a:pt x="1247357" y="136157"/>
                    <a:pt x="1247357" y="149013"/>
                  </a:cubicBezTo>
                  <a:lnTo>
                    <a:pt x="1247357" y="270413"/>
                  </a:lnTo>
                  <a:lnTo>
                    <a:pt x="1205329" y="270413"/>
                  </a:lnTo>
                  <a:lnTo>
                    <a:pt x="1205329" y="148837"/>
                  </a:lnTo>
                  <a:cubicBezTo>
                    <a:pt x="1205329" y="139805"/>
                    <a:pt x="1203996" y="132685"/>
                    <a:pt x="1201336" y="127476"/>
                  </a:cubicBezTo>
                  <a:cubicBezTo>
                    <a:pt x="1198787" y="122150"/>
                    <a:pt x="1195028" y="118385"/>
                    <a:pt x="1190047" y="116187"/>
                  </a:cubicBezTo>
                  <a:cubicBezTo>
                    <a:pt x="1185183" y="113872"/>
                    <a:pt x="1179104" y="112714"/>
                    <a:pt x="1171813" y="112714"/>
                  </a:cubicBezTo>
                  <a:cubicBezTo>
                    <a:pt x="1164522" y="112714"/>
                    <a:pt x="1158209" y="114217"/>
                    <a:pt x="1152533" y="117228"/>
                  </a:cubicBezTo>
                  <a:cubicBezTo>
                    <a:pt x="1146861" y="120238"/>
                    <a:pt x="1142056" y="124348"/>
                    <a:pt x="1138116" y="129557"/>
                  </a:cubicBezTo>
                  <a:cubicBezTo>
                    <a:pt x="1134293" y="134766"/>
                    <a:pt x="1131341" y="140788"/>
                    <a:pt x="1129259" y="147621"/>
                  </a:cubicBezTo>
                  <a:cubicBezTo>
                    <a:pt x="1127178" y="154450"/>
                    <a:pt x="1126132" y="161746"/>
                    <a:pt x="1126132" y="169504"/>
                  </a:cubicBezTo>
                  <a:close/>
                  <a:moveTo>
                    <a:pt x="1346701" y="270418"/>
                  </a:moveTo>
                  <a:lnTo>
                    <a:pt x="1304843" y="270418"/>
                  </a:lnTo>
                  <a:lnTo>
                    <a:pt x="1304843" y="64436"/>
                  </a:lnTo>
                  <a:cubicBezTo>
                    <a:pt x="1304843" y="50428"/>
                    <a:pt x="1307450" y="38672"/>
                    <a:pt x="1312659" y="29178"/>
                  </a:cubicBezTo>
                  <a:cubicBezTo>
                    <a:pt x="1317985" y="19567"/>
                    <a:pt x="1325567" y="12330"/>
                    <a:pt x="1335412" y="7471"/>
                  </a:cubicBezTo>
                  <a:cubicBezTo>
                    <a:pt x="1345256" y="2490"/>
                    <a:pt x="1356890" y="0"/>
                    <a:pt x="1370319" y="0"/>
                  </a:cubicBezTo>
                  <a:cubicBezTo>
                    <a:pt x="1374488" y="0"/>
                    <a:pt x="1378597" y="292"/>
                    <a:pt x="1382649" y="871"/>
                  </a:cubicBezTo>
                  <a:cubicBezTo>
                    <a:pt x="1386701" y="1333"/>
                    <a:pt x="1390640" y="2087"/>
                    <a:pt x="1394458" y="3127"/>
                  </a:cubicBezTo>
                  <a:lnTo>
                    <a:pt x="1393418" y="35433"/>
                  </a:lnTo>
                  <a:cubicBezTo>
                    <a:pt x="1391102" y="34854"/>
                    <a:pt x="1388554" y="34450"/>
                    <a:pt x="1385776" y="34217"/>
                  </a:cubicBezTo>
                  <a:cubicBezTo>
                    <a:pt x="1383116" y="33983"/>
                    <a:pt x="1380217" y="33872"/>
                    <a:pt x="1377095" y="33872"/>
                  </a:cubicBezTo>
                  <a:cubicBezTo>
                    <a:pt x="1370728" y="33872"/>
                    <a:pt x="1365227" y="35088"/>
                    <a:pt x="1360596" y="37519"/>
                  </a:cubicBezTo>
                  <a:cubicBezTo>
                    <a:pt x="1356083" y="39835"/>
                    <a:pt x="1352605" y="43249"/>
                    <a:pt x="1350178" y="47767"/>
                  </a:cubicBezTo>
                  <a:cubicBezTo>
                    <a:pt x="1347863" y="52286"/>
                    <a:pt x="1346706" y="57840"/>
                    <a:pt x="1346706" y="64441"/>
                  </a:cubicBezTo>
                  <a:lnTo>
                    <a:pt x="1346706" y="270423"/>
                  </a:lnTo>
                  <a:close/>
                  <a:moveTo>
                    <a:pt x="1385431" y="82500"/>
                  </a:moveTo>
                  <a:lnTo>
                    <a:pt x="1385431" y="113069"/>
                  </a:lnTo>
                  <a:lnTo>
                    <a:pt x="1276015" y="113069"/>
                  </a:lnTo>
                  <a:lnTo>
                    <a:pt x="1276015" y="82500"/>
                  </a:lnTo>
                  <a:lnTo>
                    <a:pt x="1385431" y="82500"/>
                  </a:lnTo>
                  <a:close/>
                </a:path>
              </a:pathLst>
            </a:custGeom>
            <a:solidFill>
              <a:srgbClr val="EE3431"/>
            </a:solidFill>
            <a:ln w="4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6" name="Полилиния: фигура 45">
              <a:extLst>
                <a:ext uri="{FF2B5EF4-FFF2-40B4-BE49-F238E27FC236}">
                  <a16:creationId xmlns:a16="http://schemas.microsoft.com/office/drawing/2014/main" id="{EB80AEA3-6D76-4813-B83E-E98064CA7762}"/>
                </a:ext>
              </a:extLst>
            </p:cNvPr>
            <p:cNvSpPr/>
            <p:nvPr/>
          </p:nvSpPr>
          <p:spPr>
            <a:xfrm>
              <a:off x="7406975" y="5855999"/>
              <a:ext cx="1394458" cy="273890"/>
            </a:xfrm>
            <a:custGeom>
              <a:avLst/>
              <a:gdLst>
                <a:gd name="connsiteX0" fmla="*/ 157354 w 1394458"/>
                <a:gd name="connsiteY0" fmla="*/ 188093 h 273890"/>
                <a:gd name="connsiteX1" fmla="*/ 200773 w 1394458"/>
                <a:gd name="connsiteY1" fmla="*/ 188093 h 273890"/>
                <a:gd name="connsiteX2" fmla="*/ 186877 w 1394458"/>
                <a:gd name="connsiteY2" fmla="*/ 232383 h 273890"/>
                <a:gd name="connsiteX3" fmla="*/ 153706 w 1394458"/>
                <a:gd name="connsiteY3" fmla="*/ 262777 h 273890"/>
                <a:gd name="connsiteX4" fmla="*/ 101775 w 1394458"/>
                <a:gd name="connsiteY4" fmla="*/ 273891 h 273890"/>
                <a:gd name="connsiteX5" fmla="*/ 59572 w 1394458"/>
                <a:gd name="connsiteY5" fmla="*/ 265554 h 273890"/>
                <a:gd name="connsiteX6" fmla="*/ 27442 w 1394458"/>
                <a:gd name="connsiteY6" fmla="*/ 241585 h 273890"/>
                <a:gd name="connsiteX7" fmla="*/ 6950 w 1394458"/>
                <a:gd name="connsiteY7" fmla="*/ 203901 h 273890"/>
                <a:gd name="connsiteX8" fmla="*/ 0 w 1394458"/>
                <a:gd name="connsiteY8" fmla="*/ 154572 h 273890"/>
                <a:gd name="connsiteX9" fmla="*/ 0 w 1394458"/>
                <a:gd name="connsiteY9" fmla="*/ 133555 h 273890"/>
                <a:gd name="connsiteX10" fmla="*/ 7121 w 1394458"/>
                <a:gd name="connsiteY10" fmla="*/ 84231 h 273890"/>
                <a:gd name="connsiteX11" fmla="*/ 27962 w 1394458"/>
                <a:gd name="connsiteY11" fmla="*/ 46542 h 273890"/>
                <a:gd name="connsiteX12" fmla="*/ 60438 w 1394458"/>
                <a:gd name="connsiteY12" fmla="*/ 22403 h 273890"/>
                <a:gd name="connsiteX13" fmla="*/ 103336 w 1394458"/>
                <a:gd name="connsiteY13" fmla="*/ 14066 h 273890"/>
                <a:gd name="connsiteX14" fmla="*/ 154397 w 1394458"/>
                <a:gd name="connsiteY14" fmla="*/ 25180 h 273890"/>
                <a:gd name="connsiteX15" fmla="*/ 186702 w 1394458"/>
                <a:gd name="connsiteY15" fmla="*/ 55919 h 273890"/>
                <a:gd name="connsiteX16" fmla="*/ 200943 w 1394458"/>
                <a:gd name="connsiteY16" fmla="*/ 100900 h 273890"/>
                <a:gd name="connsiteX17" fmla="*/ 157524 w 1394458"/>
                <a:gd name="connsiteY17" fmla="*/ 100900 h 273890"/>
                <a:gd name="connsiteX18" fmla="*/ 149883 w 1394458"/>
                <a:gd name="connsiteY18" fmla="*/ 72938 h 273890"/>
                <a:gd name="connsiteX19" fmla="*/ 132865 w 1394458"/>
                <a:gd name="connsiteY19" fmla="*/ 55224 h 273890"/>
                <a:gd name="connsiteX20" fmla="*/ 103341 w 1394458"/>
                <a:gd name="connsiteY20" fmla="*/ 48969 h 273890"/>
                <a:gd name="connsiteX21" fmla="*/ 77291 w 1394458"/>
                <a:gd name="connsiteY21" fmla="*/ 54528 h 273890"/>
                <a:gd name="connsiteX22" fmla="*/ 58706 w 1394458"/>
                <a:gd name="connsiteY22" fmla="*/ 70856 h 273890"/>
                <a:gd name="connsiteX23" fmla="*/ 47417 w 1394458"/>
                <a:gd name="connsiteY23" fmla="*/ 97427 h 273890"/>
                <a:gd name="connsiteX24" fmla="*/ 43769 w 1394458"/>
                <a:gd name="connsiteY24" fmla="*/ 133205 h 273890"/>
                <a:gd name="connsiteX25" fmla="*/ 43769 w 1394458"/>
                <a:gd name="connsiteY25" fmla="*/ 154567 h 273890"/>
                <a:gd name="connsiteX26" fmla="*/ 47067 w 1394458"/>
                <a:gd name="connsiteY26" fmla="*/ 189304 h 273890"/>
                <a:gd name="connsiteX27" fmla="*/ 57490 w 1394458"/>
                <a:gd name="connsiteY27" fmla="*/ 215875 h 273890"/>
                <a:gd name="connsiteX28" fmla="*/ 75550 w 1394458"/>
                <a:gd name="connsiteY28" fmla="*/ 233069 h 273890"/>
                <a:gd name="connsiteX29" fmla="*/ 101775 w 1394458"/>
                <a:gd name="connsiteY29" fmla="*/ 239149 h 273890"/>
                <a:gd name="connsiteX30" fmla="*/ 131824 w 1394458"/>
                <a:gd name="connsiteY30" fmla="*/ 233244 h 273890"/>
                <a:gd name="connsiteX31" fmla="*/ 149363 w 1394458"/>
                <a:gd name="connsiteY31" fmla="*/ 216050 h 273890"/>
                <a:gd name="connsiteX32" fmla="*/ 157354 w 1394458"/>
                <a:gd name="connsiteY32" fmla="*/ 188088 h 273890"/>
                <a:gd name="connsiteX33" fmla="*/ 313837 w 1394458"/>
                <a:gd name="connsiteY33" fmla="*/ 270418 h 273890"/>
                <a:gd name="connsiteX34" fmla="*/ 259825 w 1394458"/>
                <a:gd name="connsiteY34" fmla="*/ 270418 h 273890"/>
                <a:gd name="connsiteX35" fmla="*/ 260170 w 1394458"/>
                <a:gd name="connsiteY35" fmla="*/ 235856 h 273890"/>
                <a:gd name="connsiteX36" fmla="*/ 313837 w 1394458"/>
                <a:gd name="connsiteY36" fmla="*/ 235856 h 273890"/>
                <a:gd name="connsiteX37" fmla="*/ 353088 w 1394458"/>
                <a:gd name="connsiteY37" fmla="*/ 225608 h 273890"/>
                <a:gd name="connsiteX38" fmla="*/ 377057 w 1394458"/>
                <a:gd name="connsiteY38" fmla="*/ 196255 h 273890"/>
                <a:gd name="connsiteX39" fmla="*/ 385218 w 1394458"/>
                <a:gd name="connsiteY39" fmla="*/ 150754 h 273890"/>
                <a:gd name="connsiteX40" fmla="*/ 385218 w 1394458"/>
                <a:gd name="connsiteY40" fmla="*/ 137033 h 273890"/>
                <a:gd name="connsiteX41" fmla="*/ 380530 w 1394458"/>
                <a:gd name="connsiteY41" fmla="*/ 100734 h 273890"/>
                <a:gd name="connsiteX42" fmla="*/ 366984 w 1394458"/>
                <a:gd name="connsiteY42" fmla="*/ 74163 h 273890"/>
                <a:gd name="connsiteX43" fmla="*/ 345102 w 1394458"/>
                <a:gd name="connsiteY43" fmla="*/ 57840 h 273890"/>
                <a:gd name="connsiteX44" fmla="*/ 315403 w 1394458"/>
                <a:gd name="connsiteY44" fmla="*/ 52281 h 273890"/>
                <a:gd name="connsiteX45" fmla="*/ 258784 w 1394458"/>
                <a:gd name="connsiteY45" fmla="*/ 52281 h 273890"/>
                <a:gd name="connsiteX46" fmla="*/ 258784 w 1394458"/>
                <a:gd name="connsiteY46" fmla="*/ 17544 h 273890"/>
                <a:gd name="connsiteX47" fmla="*/ 315403 w 1394458"/>
                <a:gd name="connsiteY47" fmla="*/ 17544 h 273890"/>
                <a:gd name="connsiteX48" fmla="*/ 361429 w 1394458"/>
                <a:gd name="connsiteY48" fmla="*/ 26055 h 273890"/>
                <a:gd name="connsiteX49" fmla="*/ 397383 w 1394458"/>
                <a:gd name="connsiteY49" fmla="*/ 50195 h 273890"/>
                <a:gd name="connsiteX50" fmla="*/ 420826 w 1394458"/>
                <a:gd name="connsiteY50" fmla="*/ 88054 h 273890"/>
                <a:gd name="connsiteX51" fmla="*/ 428988 w 1394458"/>
                <a:gd name="connsiteY51" fmla="*/ 137378 h 273890"/>
                <a:gd name="connsiteX52" fmla="*/ 428988 w 1394458"/>
                <a:gd name="connsiteY52" fmla="*/ 150754 h 273890"/>
                <a:gd name="connsiteX53" fmla="*/ 420826 w 1394458"/>
                <a:gd name="connsiteY53" fmla="*/ 200078 h 273890"/>
                <a:gd name="connsiteX54" fmla="*/ 397383 w 1394458"/>
                <a:gd name="connsiteY54" fmla="*/ 237938 h 273890"/>
                <a:gd name="connsiteX55" fmla="*/ 360909 w 1394458"/>
                <a:gd name="connsiteY55" fmla="*/ 262077 h 273890"/>
                <a:gd name="connsiteX56" fmla="*/ 313842 w 1394458"/>
                <a:gd name="connsiteY56" fmla="*/ 270413 h 273890"/>
                <a:gd name="connsiteX57" fmla="*/ 283964 w 1394458"/>
                <a:gd name="connsiteY57" fmla="*/ 17544 h 273890"/>
                <a:gd name="connsiteX58" fmla="*/ 283964 w 1394458"/>
                <a:gd name="connsiteY58" fmla="*/ 270418 h 273890"/>
                <a:gd name="connsiteX59" fmla="*/ 240369 w 1394458"/>
                <a:gd name="connsiteY59" fmla="*/ 270418 h 273890"/>
                <a:gd name="connsiteX60" fmla="*/ 240369 w 1394458"/>
                <a:gd name="connsiteY60" fmla="*/ 17544 h 273890"/>
                <a:gd name="connsiteX61" fmla="*/ 283964 w 1394458"/>
                <a:gd name="connsiteY61" fmla="*/ 17544 h 273890"/>
                <a:gd name="connsiteX62" fmla="*/ 519299 w 1394458"/>
                <a:gd name="connsiteY62" fmla="*/ 17544 h 273890"/>
                <a:gd name="connsiteX63" fmla="*/ 519299 w 1394458"/>
                <a:gd name="connsiteY63" fmla="*/ 270418 h 273890"/>
                <a:gd name="connsiteX64" fmla="*/ 475705 w 1394458"/>
                <a:gd name="connsiteY64" fmla="*/ 270418 h 273890"/>
                <a:gd name="connsiteX65" fmla="*/ 475705 w 1394458"/>
                <a:gd name="connsiteY65" fmla="*/ 17544 h 273890"/>
                <a:gd name="connsiteX66" fmla="*/ 519299 w 1394458"/>
                <a:gd name="connsiteY66" fmla="*/ 17544 h 273890"/>
                <a:gd name="connsiteX67" fmla="*/ 811424 w 1394458"/>
                <a:gd name="connsiteY67" fmla="*/ 188093 h 273890"/>
                <a:gd name="connsiteX68" fmla="*/ 854843 w 1394458"/>
                <a:gd name="connsiteY68" fmla="*/ 188093 h 273890"/>
                <a:gd name="connsiteX69" fmla="*/ 840947 w 1394458"/>
                <a:gd name="connsiteY69" fmla="*/ 232383 h 273890"/>
                <a:gd name="connsiteX70" fmla="*/ 807776 w 1394458"/>
                <a:gd name="connsiteY70" fmla="*/ 262777 h 273890"/>
                <a:gd name="connsiteX71" fmla="*/ 755845 w 1394458"/>
                <a:gd name="connsiteY71" fmla="*/ 273891 h 273890"/>
                <a:gd name="connsiteX72" fmla="*/ 713642 w 1394458"/>
                <a:gd name="connsiteY72" fmla="*/ 265554 h 273890"/>
                <a:gd name="connsiteX73" fmla="*/ 681512 w 1394458"/>
                <a:gd name="connsiteY73" fmla="*/ 241585 h 273890"/>
                <a:gd name="connsiteX74" fmla="*/ 661021 w 1394458"/>
                <a:gd name="connsiteY74" fmla="*/ 203901 h 273890"/>
                <a:gd name="connsiteX75" fmla="*/ 654075 w 1394458"/>
                <a:gd name="connsiteY75" fmla="*/ 154577 h 273890"/>
                <a:gd name="connsiteX76" fmla="*/ 654075 w 1394458"/>
                <a:gd name="connsiteY76" fmla="*/ 133560 h 273890"/>
                <a:gd name="connsiteX77" fmla="*/ 661196 w 1394458"/>
                <a:gd name="connsiteY77" fmla="*/ 84236 h 273890"/>
                <a:gd name="connsiteX78" fmla="*/ 682037 w 1394458"/>
                <a:gd name="connsiteY78" fmla="*/ 46547 h 273890"/>
                <a:gd name="connsiteX79" fmla="*/ 714513 w 1394458"/>
                <a:gd name="connsiteY79" fmla="*/ 22408 h 273890"/>
                <a:gd name="connsiteX80" fmla="*/ 757411 w 1394458"/>
                <a:gd name="connsiteY80" fmla="*/ 14071 h 273890"/>
                <a:gd name="connsiteX81" fmla="*/ 808472 w 1394458"/>
                <a:gd name="connsiteY81" fmla="*/ 25185 h 273890"/>
                <a:gd name="connsiteX82" fmla="*/ 840777 w 1394458"/>
                <a:gd name="connsiteY82" fmla="*/ 55924 h 273890"/>
                <a:gd name="connsiteX83" fmla="*/ 855018 w 1394458"/>
                <a:gd name="connsiteY83" fmla="*/ 100905 h 273890"/>
                <a:gd name="connsiteX84" fmla="*/ 811599 w 1394458"/>
                <a:gd name="connsiteY84" fmla="*/ 100905 h 273890"/>
                <a:gd name="connsiteX85" fmla="*/ 803958 w 1394458"/>
                <a:gd name="connsiteY85" fmla="*/ 72943 h 273890"/>
                <a:gd name="connsiteX86" fmla="*/ 786940 w 1394458"/>
                <a:gd name="connsiteY86" fmla="*/ 55229 h 273890"/>
                <a:gd name="connsiteX87" fmla="*/ 757416 w 1394458"/>
                <a:gd name="connsiteY87" fmla="*/ 48974 h 273890"/>
                <a:gd name="connsiteX88" fmla="*/ 731366 w 1394458"/>
                <a:gd name="connsiteY88" fmla="*/ 54533 h 273890"/>
                <a:gd name="connsiteX89" fmla="*/ 712781 w 1394458"/>
                <a:gd name="connsiteY89" fmla="*/ 70861 h 273890"/>
                <a:gd name="connsiteX90" fmla="*/ 701492 w 1394458"/>
                <a:gd name="connsiteY90" fmla="*/ 97432 h 273890"/>
                <a:gd name="connsiteX91" fmla="*/ 697844 w 1394458"/>
                <a:gd name="connsiteY91" fmla="*/ 133210 h 273890"/>
                <a:gd name="connsiteX92" fmla="*/ 697844 w 1394458"/>
                <a:gd name="connsiteY92" fmla="*/ 154572 h 273890"/>
                <a:gd name="connsiteX93" fmla="*/ 701142 w 1394458"/>
                <a:gd name="connsiteY93" fmla="*/ 189309 h 273890"/>
                <a:gd name="connsiteX94" fmla="*/ 711565 w 1394458"/>
                <a:gd name="connsiteY94" fmla="*/ 215880 h 273890"/>
                <a:gd name="connsiteX95" fmla="*/ 729629 w 1394458"/>
                <a:gd name="connsiteY95" fmla="*/ 233074 h 273890"/>
                <a:gd name="connsiteX96" fmla="*/ 755855 w 1394458"/>
                <a:gd name="connsiteY96" fmla="*/ 239154 h 273890"/>
                <a:gd name="connsiteX97" fmla="*/ 785904 w 1394458"/>
                <a:gd name="connsiteY97" fmla="*/ 233249 h 273890"/>
                <a:gd name="connsiteX98" fmla="*/ 803443 w 1394458"/>
                <a:gd name="connsiteY98" fmla="*/ 216055 h 273890"/>
                <a:gd name="connsiteX99" fmla="*/ 811434 w 1394458"/>
                <a:gd name="connsiteY99" fmla="*/ 188093 h 273890"/>
                <a:gd name="connsiteX100" fmla="*/ 882285 w 1394458"/>
                <a:gd name="connsiteY100" fmla="*/ 178541 h 273890"/>
                <a:gd name="connsiteX101" fmla="*/ 882285 w 1394458"/>
                <a:gd name="connsiteY101" fmla="*/ 174548 h 273890"/>
                <a:gd name="connsiteX102" fmla="*/ 888190 w 1394458"/>
                <a:gd name="connsiteY102" fmla="*/ 136858 h 273890"/>
                <a:gd name="connsiteX103" fmla="*/ 905208 w 1394458"/>
                <a:gd name="connsiteY103" fmla="*/ 106464 h 273890"/>
                <a:gd name="connsiteX104" fmla="*/ 932650 w 1394458"/>
                <a:gd name="connsiteY104" fmla="*/ 86318 h 273890"/>
                <a:gd name="connsiteX105" fmla="*/ 969469 w 1394458"/>
                <a:gd name="connsiteY105" fmla="*/ 79022 h 273890"/>
                <a:gd name="connsiteX106" fmla="*/ 1006288 w 1394458"/>
                <a:gd name="connsiteY106" fmla="*/ 86318 h 273890"/>
                <a:gd name="connsiteX107" fmla="*/ 1033899 w 1394458"/>
                <a:gd name="connsiteY107" fmla="*/ 106464 h 273890"/>
                <a:gd name="connsiteX108" fmla="*/ 1051093 w 1394458"/>
                <a:gd name="connsiteY108" fmla="*/ 136858 h 273890"/>
                <a:gd name="connsiteX109" fmla="*/ 1056998 w 1394458"/>
                <a:gd name="connsiteY109" fmla="*/ 174548 h 273890"/>
                <a:gd name="connsiteX110" fmla="*/ 1056998 w 1394458"/>
                <a:gd name="connsiteY110" fmla="*/ 178541 h 273890"/>
                <a:gd name="connsiteX111" fmla="*/ 1051093 w 1394458"/>
                <a:gd name="connsiteY111" fmla="*/ 216226 h 273890"/>
                <a:gd name="connsiteX112" fmla="*/ 1033899 w 1394458"/>
                <a:gd name="connsiteY112" fmla="*/ 246619 h 273890"/>
                <a:gd name="connsiteX113" fmla="*/ 1006458 w 1394458"/>
                <a:gd name="connsiteY113" fmla="*/ 266765 h 273890"/>
                <a:gd name="connsiteX114" fmla="*/ 969814 w 1394458"/>
                <a:gd name="connsiteY114" fmla="*/ 273886 h 273890"/>
                <a:gd name="connsiteX115" fmla="*/ 932820 w 1394458"/>
                <a:gd name="connsiteY115" fmla="*/ 266765 h 273890"/>
                <a:gd name="connsiteX116" fmla="*/ 905378 w 1394458"/>
                <a:gd name="connsiteY116" fmla="*/ 246619 h 273890"/>
                <a:gd name="connsiteX117" fmla="*/ 888185 w 1394458"/>
                <a:gd name="connsiteY117" fmla="*/ 216226 h 273890"/>
                <a:gd name="connsiteX118" fmla="*/ 882280 w 1394458"/>
                <a:gd name="connsiteY118" fmla="*/ 178541 h 273890"/>
                <a:gd name="connsiteX119" fmla="*/ 924143 w 1394458"/>
                <a:gd name="connsiteY119" fmla="*/ 174548 h 273890"/>
                <a:gd name="connsiteX120" fmla="*/ 924143 w 1394458"/>
                <a:gd name="connsiteY120" fmla="*/ 178541 h 273890"/>
                <a:gd name="connsiteX121" fmla="*/ 926750 w 1394458"/>
                <a:gd name="connsiteY121" fmla="*/ 202510 h 273890"/>
                <a:gd name="connsiteX122" fmla="*/ 934911 w 1394458"/>
                <a:gd name="connsiteY122" fmla="*/ 222310 h 273890"/>
                <a:gd name="connsiteX123" fmla="*/ 949152 w 1394458"/>
                <a:gd name="connsiteY123" fmla="*/ 235681 h 273890"/>
                <a:gd name="connsiteX124" fmla="*/ 969819 w 1394458"/>
                <a:gd name="connsiteY124" fmla="*/ 240545 h 273890"/>
                <a:gd name="connsiteX125" fmla="*/ 989965 w 1394458"/>
                <a:gd name="connsiteY125" fmla="*/ 235681 h 273890"/>
                <a:gd name="connsiteX126" fmla="*/ 1004206 w 1394458"/>
                <a:gd name="connsiteY126" fmla="*/ 222310 h 273890"/>
                <a:gd name="connsiteX127" fmla="*/ 1012367 w 1394458"/>
                <a:gd name="connsiteY127" fmla="*/ 202510 h 273890"/>
                <a:gd name="connsiteX128" fmla="*/ 1015145 w 1394458"/>
                <a:gd name="connsiteY128" fmla="*/ 178541 h 273890"/>
                <a:gd name="connsiteX129" fmla="*/ 1015145 w 1394458"/>
                <a:gd name="connsiteY129" fmla="*/ 174548 h 273890"/>
                <a:gd name="connsiteX130" fmla="*/ 1012367 w 1394458"/>
                <a:gd name="connsiteY130" fmla="*/ 150929 h 273890"/>
                <a:gd name="connsiteX131" fmla="*/ 1004031 w 1394458"/>
                <a:gd name="connsiteY131" fmla="*/ 130958 h 273890"/>
                <a:gd name="connsiteX132" fmla="*/ 989790 w 1394458"/>
                <a:gd name="connsiteY132" fmla="*/ 117412 h 273890"/>
                <a:gd name="connsiteX133" fmla="*/ 969469 w 1394458"/>
                <a:gd name="connsiteY133" fmla="*/ 112373 h 273890"/>
                <a:gd name="connsiteX134" fmla="*/ 948977 w 1394458"/>
                <a:gd name="connsiteY134" fmla="*/ 117412 h 273890"/>
                <a:gd name="connsiteX135" fmla="*/ 934911 w 1394458"/>
                <a:gd name="connsiteY135" fmla="*/ 130958 h 273890"/>
                <a:gd name="connsiteX136" fmla="*/ 926750 w 1394458"/>
                <a:gd name="connsiteY136" fmla="*/ 150929 h 273890"/>
                <a:gd name="connsiteX137" fmla="*/ 924143 w 1394458"/>
                <a:gd name="connsiteY137" fmla="*/ 174548 h 273890"/>
                <a:gd name="connsiteX138" fmla="*/ 1133598 w 1394458"/>
                <a:gd name="connsiteY138" fmla="*/ 122617 h 273890"/>
                <a:gd name="connsiteX139" fmla="*/ 1133598 w 1394458"/>
                <a:gd name="connsiteY139" fmla="*/ 270418 h 273890"/>
                <a:gd name="connsiteX140" fmla="*/ 1091745 w 1394458"/>
                <a:gd name="connsiteY140" fmla="*/ 270418 h 273890"/>
                <a:gd name="connsiteX141" fmla="*/ 1091745 w 1394458"/>
                <a:gd name="connsiteY141" fmla="*/ 82495 h 273890"/>
                <a:gd name="connsiteX142" fmla="*/ 1131171 w 1394458"/>
                <a:gd name="connsiteY142" fmla="*/ 82495 h 273890"/>
                <a:gd name="connsiteX143" fmla="*/ 1133603 w 1394458"/>
                <a:gd name="connsiteY143" fmla="*/ 122617 h 273890"/>
                <a:gd name="connsiteX144" fmla="*/ 1126132 w 1394458"/>
                <a:gd name="connsiteY144" fmla="*/ 169509 h 273890"/>
                <a:gd name="connsiteX145" fmla="*/ 1112586 w 1394458"/>
                <a:gd name="connsiteY145" fmla="*/ 169334 h 273890"/>
                <a:gd name="connsiteX146" fmla="*/ 1118145 w 1394458"/>
                <a:gd name="connsiteY146" fmla="*/ 132690 h 273890"/>
                <a:gd name="connsiteX147" fmla="*/ 1133428 w 1394458"/>
                <a:gd name="connsiteY147" fmla="*/ 104032 h 273890"/>
                <a:gd name="connsiteX148" fmla="*/ 1157046 w 1394458"/>
                <a:gd name="connsiteY148" fmla="*/ 85623 h 273890"/>
                <a:gd name="connsiteX149" fmla="*/ 1187615 w 1394458"/>
                <a:gd name="connsiteY149" fmla="*/ 79022 h 273890"/>
                <a:gd name="connsiteX150" fmla="*/ 1212105 w 1394458"/>
                <a:gd name="connsiteY150" fmla="*/ 82840 h 273890"/>
                <a:gd name="connsiteX151" fmla="*/ 1231034 w 1394458"/>
                <a:gd name="connsiteY151" fmla="*/ 94825 h 273890"/>
                <a:gd name="connsiteX152" fmla="*/ 1243189 w 1394458"/>
                <a:gd name="connsiteY152" fmla="*/ 116532 h 273890"/>
                <a:gd name="connsiteX153" fmla="*/ 1247357 w 1394458"/>
                <a:gd name="connsiteY153" fmla="*/ 149008 h 273890"/>
                <a:gd name="connsiteX154" fmla="*/ 1247357 w 1394458"/>
                <a:gd name="connsiteY154" fmla="*/ 270408 h 273890"/>
                <a:gd name="connsiteX155" fmla="*/ 1205329 w 1394458"/>
                <a:gd name="connsiteY155" fmla="*/ 270408 h 273890"/>
                <a:gd name="connsiteX156" fmla="*/ 1205329 w 1394458"/>
                <a:gd name="connsiteY156" fmla="*/ 148833 h 273890"/>
                <a:gd name="connsiteX157" fmla="*/ 1201336 w 1394458"/>
                <a:gd name="connsiteY157" fmla="*/ 127471 h 273890"/>
                <a:gd name="connsiteX158" fmla="*/ 1190047 w 1394458"/>
                <a:gd name="connsiteY158" fmla="*/ 116182 h 273890"/>
                <a:gd name="connsiteX159" fmla="*/ 1171813 w 1394458"/>
                <a:gd name="connsiteY159" fmla="*/ 112709 h 273890"/>
                <a:gd name="connsiteX160" fmla="*/ 1152533 w 1394458"/>
                <a:gd name="connsiteY160" fmla="*/ 117223 h 273890"/>
                <a:gd name="connsiteX161" fmla="*/ 1138116 w 1394458"/>
                <a:gd name="connsiteY161" fmla="*/ 129552 h 273890"/>
                <a:gd name="connsiteX162" fmla="*/ 1129259 w 1394458"/>
                <a:gd name="connsiteY162" fmla="*/ 147617 h 273890"/>
                <a:gd name="connsiteX163" fmla="*/ 1126132 w 1394458"/>
                <a:gd name="connsiteY163" fmla="*/ 169499 h 273890"/>
                <a:gd name="connsiteX164" fmla="*/ 1346701 w 1394458"/>
                <a:gd name="connsiteY164" fmla="*/ 270418 h 273890"/>
                <a:gd name="connsiteX165" fmla="*/ 1304843 w 1394458"/>
                <a:gd name="connsiteY165" fmla="*/ 270418 h 273890"/>
                <a:gd name="connsiteX166" fmla="*/ 1304843 w 1394458"/>
                <a:gd name="connsiteY166" fmla="*/ 64436 h 273890"/>
                <a:gd name="connsiteX167" fmla="*/ 1312659 w 1394458"/>
                <a:gd name="connsiteY167" fmla="*/ 29178 h 273890"/>
                <a:gd name="connsiteX168" fmla="*/ 1335412 w 1394458"/>
                <a:gd name="connsiteY168" fmla="*/ 7471 h 273890"/>
                <a:gd name="connsiteX169" fmla="*/ 1370319 w 1394458"/>
                <a:gd name="connsiteY169" fmla="*/ 0 h 273890"/>
                <a:gd name="connsiteX170" fmla="*/ 1382649 w 1394458"/>
                <a:gd name="connsiteY170" fmla="*/ 871 h 273890"/>
                <a:gd name="connsiteX171" fmla="*/ 1394458 w 1394458"/>
                <a:gd name="connsiteY171" fmla="*/ 3127 h 273890"/>
                <a:gd name="connsiteX172" fmla="*/ 1393418 w 1394458"/>
                <a:gd name="connsiteY172" fmla="*/ 35433 h 273890"/>
                <a:gd name="connsiteX173" fmla="*/ 1385776 w 1394458"/>
                <a:gd name="connsiteY173" fmla="*/ 34217 h 273890"/>
                <a:gd name="connsiteX174" fmla="*/ 1377095 w 1394458"/>
                <a:gd name="connsiteY174" fmla="*/ 33867 h 273890"/>
                <a:gd name="connsiteX175" fmla="*/ 1360596 w 1394458"/>
                <a:gd name="connsiteY175" fmla="*/ 37515 h 273890"/>
                <a:gd name="connsiteX176" fmla="*/ 1350178 w 1394458"/>
                <a:gd name="connsiteY176" fmla="*/ 47763 h 273890"/>
                <a:gd name="connsiteX177" fmla="*/ 1346706 w 1394458"/>
                <a:gd name="connsiteY177" fmla="*/ 64436 h 273890"/>
                <a:gd name="connsiteX178" fmla="*/ 1346706 w 1394458"/>
                <a:gd name="connsiteY178" fmla="*/ 270418 h 273890"/>
                <a:gd name="connsiteX179" fmla="*/ 1385431 w 1394458"/>
                <a:gd name="connsiteY179" fmla="*/ 82500 h 273890"/>
                <a:gd name="connsiteX180" fmla="*/ 1385431 w 1394458"/>
                <a:gd name="connsiteY180" fmla="*/ 113069 h 273890"/>
                <a:gd name="connsiteX181" fmla="*/ 1276015 w 1394458"/>
                <a:gd name="connsiteY181" fmla="*/ 113069 h 273890"/>
                <a:gd name="connsiteX182" fmla="*/ 1276015 w 1394458"/>
                <a:gd name="connsiteY182" fmla="*/ 82500 h 273890"/>
                <a:gd name="connsiteX183" fmla="*/ 1385431 w 1394458"/>
                <a:gd name="connsiteY183" fmla="*/ 82500 h 2738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</a:cxnLst>
              <a:rect l="l" t="t" r="r" b="b"/>
              <a:pathLst>
                <a:path w="1394458" h="273890">
                  <a:moveTo>
                    <a:pt x="157354" y="188093"/>
                  </a:moveTo>
                  <a:lnTo>
                    <a:pt x="200773" y="188093"/>
                  </a:lnTo>
                  <a:cubicBezTo>
                    <a:pt x="199382" y="204650"/>
                    <a:pt x="194752" y="219411"/>
                    <a:pt x="186877" y="232383"/>
                  </a:cubicBezTo>
                  <a:cubicBezTo>
                    <a:pt x="179003" y="245233"/>
                    <a:pt x="167947" y="255365"/>
                    <a:pt x="153706" y="262777"/>
                  </a:cubicBezTo>
                  <a:cubicBezTo>
                    <a:pt x="139465" y="270185"/>
                    <a:pt x="122155" y="273891"/>
                    <a:pt x="101775" y="273891"/>
                  </a:cubicBezTo>
                  <a:cubicBezTo>
                    <a:pt x="86143" y="273891"/>
                    <a:pt x="72077" y="271114"/>
                    <a:pt x="59572" y="265554"/>
                  </a:cubicBezTo>
                  <a:cubicBezTo>
                    <a:pt x="47067" y="259878"/>
                    <a:pt x="36357" y="251892"/>
                    <a:pt x="27442" y="241585"/>
                  </a:cubicBezTo>
                  <a:cubicBezTo>
                    <a:pt x="18526" y="231167"/>
                    <a:pt x="11697" y="218604"/>
                    <a:pt x="6950" y="203901"/>
                  </a:cubicBezTo>
                  <a:cubicBezTo>
                    <a:pt x="2315" y="189192"/>
                    <a:pt x="0" y="172753"/>
                    <a:pt x="0" y="154572"/>
                  </a:cubicBezTo>
                  <a:lnTo>
                    <a:pt x="0" y="133555"/>
                  </a:lnTo>
                  <a:cubicBezTo>
                    <a:pt x="0" y="115379"/>
                    <a:pt x="2374" y="98935"/>
                    <a:pt x="7121" y="84231"/>
                  </a:cubicBezTo>
                  <a:cubicBezTo>
                    <a:pt x="11984" y="69528"/>
                    <a:pt x="18930" y="56965"/>
                    <a:pt x="27962" y="46542"/>
                  </a:cubicBezTo>
                  <a:cubicBezTo>
                    <a:pt x="36994" y="36007"/>
                    <a:pt x="47816" y="27957"/>
                    <a:pt x="60438" y="22403"/>
                  </a:cubicBezTo>
                  <a:cubicBezTo>
                    <a:pt x="73171" y="16843"/>
                    <a:pt x="87471" y="14066"/>
                    <a:pt x="103336" y="14066"/>
                  </a:cubicBezTo>
                  <a:cubicBezTo>
                    <a:pt x="123482" y="14066"/>
                    <a:pt x="140506" y="17772"/>
                    <a:pt x="154397" y="25180"/>
                  </a:cubicBezTo>
                  <a:cubicBezTo>
                    <a:pt x="168293" y="32592"/>
                    <a:pt x="179056" y="42836"/>
                    <a:pt x="186702" y="55919"/>
                  </a:cubicBezTo>
                  <a:cubicBezTo>
                    <a:pt x="194460" y="69003"/>
                    <a:pt x="199207" y="83998"/>
                    <a:pt x="200943" y="100900"/>
                  </a:cubicBezTo>
                  <a:lnTo>
                    <a:pt x="157524" y="100900"/>
                  </a:lnTo>
                  <a:cubicBezTo>
                    <a:pt x="156367" y="90015"/>
                    <a:pt x="153818" y="80695"/>
                    <a:pt x="149883" y="72938"/>
                  </a:cubicBezTo>
                  <a:cubicBezTo>
                    <a:pt x="146065" y="65180"/>
                    <a:pt x="140389" y="59275"/>
                    <a:pt x="132865" y="55224"/>
                  </a:cubicBezTo>
                  <a:cubicBezTo>
                    <a:pt x="125340" y="51055"/>
                    <a:pt x="115496" y="48969"/>
                    <a:pt x="103341" y="48969"/>
                  </a:cubicBezTo>
                  <a:cubicBezTo>
                    <a:pt x="93385" y="48969"/>
                    <a:pt x="84698" y="50822"/>
                    <a:pt x="77291" y="54528"/>
                  </a:cubicBezTo>
                  <a:cubicBezTo>
                    <a:pt x="69878" y="58234"/>
                    <a:pt x="63687" y="63677"/>
                    <a:pt x="58706" y="70856"/>
                  </a:cubicBezTo>
                  <a:cubicBezTo>
                    <a:pt x="53730" y="78035"/>
                    <a:pt x="49966" y="86892"/>
                    <a:pt x="47417" y="97427"/>
                  </a:cubicBezTo>
                  <a:cubicBezTo>
                    <a:pt x="44985" y="107845"/>
                    <a:pt x="43769" y="119771"/>
                    <a:pt x="43769" y="133205"/>
                  </a:cubicBezTo>
                  <a:lnTo>
                    <a:pt x="43769" y="154567"/>
                  </a:lnTo>
                  <a:cubicBezTo>
                    <a:pt x="43769" y="167305"/>
                    <a:pt x="44869" y="178881"/>
                    <a:pt x="47067" y="189304"/>
                  </a:cubicBezTo>
                  <a:cubicBezTo>
                    <a:pt x="49382" y="199611"/>
                    <a:pt x="52855" y="208468"/>
                    <a:pt x="57490" y="215875"/>
                  </a:cubicBezTo>
                  <a:cubicBezTo>
                    <a:pt x="62237" y="223288"/>
                    <a:pt x="68259" y="229017"/>
                    <a:pt x="75550" y="233069"/>
                  </a:cubicBezTo>
                  <a:cubicBezTo>
                    <a:pt x="82845" y="237120"/>
                    <a:pt x="91585" y="239149"/>
                    <a:pt x="101775" y="239149"/>
                  </a:cubicBezTo>
                  <a:cubicBezTo>
                    <a:pt x="114163" y="239149"/>
                    <a:pt x="124178" y="237179"/>
                    <a:pt x="131824" y="233244"/>
                  </a:cubicBezTo>
                  <a:cubicBezTo>
                    <a:pt x="139582" y="229304"/>
                    <a:pt x="145428" y="223575"/>
                    <a:pt x="149363" y="216050"/>
                  </a:cubicBezTo>
                  <a:cubicBezTo>
                    <a:pt x="153414" y="208409"/>
                    <a:pt x="156080" y="199090"/>
                    <a:pt x="157354" y="188088"/>
                  </a:cubicBezTo>
                  <a:close/>
                  <a:moveTo>
                    <a:pt x="313837" y="270418"/>
                  </a:moveTo>
                  <a:lnTo>
                    <a:pt x="259825" y="270418"/>
                  </a:lnTo>
                  <a:lnTo>
                    <a:pt x="260170" y="235856"/>
                  </a:lnTo>
                  <a:lnTo>
                    <a:pt x="313837" y="235856"/>
                  </a:lnTo>
                  <a:cubicBezTo>
                    <a:pt x="329469" y="235856"/>
                    <a:pt x="342553" y="232441"/>
                    <a:pt x="353088" y="225608"/>
                  </a:cubicBezTo>
                  <a:cubicBezTo>
                    <a:pt x="363740" y="218779"/>
                    <a:pt x="371731" y="208993"/>
                    <a:pt x="377057" y="196255"/>
                  </a:cubicBezTo>
                  <a:cubicBezTo>
                    <a:pt x="382499" y="183516"/>
                    <a:pt x="385218" y="168351"/>
                    <a:pt x="385218" y="150754"/>
                  </a:cubicBezTo>
                  <a:lnTo>
                    <a:pt x="385218" y="137033"/>
                  </a:lnTo>
                  <a:cubicBezTo>
                    <a:pt x="385218" y="123371"/>
                    <a:pt x="383657" y="111269"/>
                    <a:pt x="380530" y="100734"/>
                  </a:cubicBezTo>
                  <a:cubicBezTo>
                    <a:pt x="377519" y="90199"/>
                    <a:pt x="373005" y="81342"/>
                    <a:pt x="366984" y="74163"/>
                  </a:cubicBezTo>
                  <a:cubicBezTo>
                    <a:pt x="361079" y="66984"/>
                    <a:pt x="353784" y="61542"/>
                    <a:pt x="345102" y="57840"/>
                  </a:cubicBezTo>
                  <a:cubicBezTo>
                    <a:pt x="336532" y="54134"/>
                    <a:pt x="326634" y="52281"/>
                    <a:pt x="315403" y="52281"/>
                  </a:cubicBezTo>
                  <a:lnTo>
                    <a:pt x="258784" y="52281"/>
                  </a:lnTo>
                  <a:lnTo>
                    <a:pt x="258784" y="17544"/>
                  </a:lnTo>
                  <a:lnTo>
                    <a:pt x="315403" y="17544"/>
                  </a:lnTo>
                  <a:cubicBezTo>
                    <a:pt x="332193" y="17544"/>
                    <a:pt x="347534" y="20379"/>
                    <a:pt x="361429" y="26055"/>
                  </a:cubicBezTo>
                  <a:cubicBezTo>
                    <a:pt x="375325" y="31615"/>
                    <a:pt x="387310" y="39660"/>
                    <a:pt x="397383" y="50195"/>
                  </a:cubicBezTo>
                  <a:cubicBezTo>
                    <a:pt x="407572" y="60730"/>
                    <a:pt x="415389" y="73351"/>
                    <a:pt x="420826" y="88054"/>
                  </a:cubicBezTo>
                  <a:cubicBezTo>
                    <a:pt x="426269" y="102758"/>
                    <a:pt x="428988" y="119202"/>
                    <a:pt x="428988" y="137378"/>
                  </a:cubicBezTo>
                  <a:lnTo>
                    <a:pt x="428988" y="150754"/>
                  </a:lnTo>
                  <a:cubicBezTo>
                    <a:pt x="428988" y="168930"/>
                    <a:pt x="426269" y="185374"/>
                    <a:pt x="420826" y="200078"/>
                  </a:cubicBezTo>
                  <a:cubicBezTo>
                    <a:pt x="415384" y="214781"/>
                    <a:pt x="407568" y="227403"/>
                    <a:pt x="397383" y="237938"/>
                  </a:cubicBezTo>
                  <a:cubicBezTo>
                    <a:pt x="387193" y="248356"/>
                    <a:pt x="375038" y="256405"/>
                    <a:pt x="360909" y="262077"/>
                  </a:cubicBezTo>
                  <a:cubicBezTo>
                    <a:pt x="346896" y="267636"/>
                    <a:pt x="331211" y="270413"/>
                    <a:pt x="313842" y="270413"/>
                  </a:cubicBezTo>
                  <a:close/>
                  <a:moveTo>
                    <a:pt x="283964" y="17544"/>
                  </a:moveTo>
                  <a:lnTo>
                    <a:pt x="283964" y="270418"/>
                  </a:lnTo>
                  <a:lnTo>
                    <a:pt x="240369" y="270418"/>
                  </a:lnTo>
                  <a:lnTo>
                    <a:pt x="240369" y="17544"/>
                  </a:lnTo>
                  <a:lnTo>
                    <a:pt x="283964" y="17544"/>
                  </a:lnTo>
                  <a:close/>
                  <a:moveTo>
                    <a:pt x="519299" y="17544"/>
                  </a:moveTo>
                  <a:lnTo>
                    <a:pt x="519299" y="270418"/>
                  </a:lnTo>
                  <a:lnTo>
                    <a:pt x="475705" y="270418"/>
                  </a:lnTo>
                  <a:lnTo>
                    <a:pt x="475705" y="17544"/>
                  </a:lnTo>
                  <a:lnTo>
                    <a:pt x="519299" y="17544"/>
                  </a:lnTo>
                  <a:close/>
                  <a:moveTo>
                    <a:pt x="811424" y="188093"/>
                  </a:moveTo>
                  <a:lnTo>
                    <a:pt x="854843" y="188093"/>
                  </a:lnTo>
                  <a:cubicBezTo>
                    <a:pt x="853452" y="204650"/>
                    <a:pt x="848822" y="219411"/>
                    <a:pt x="840947" y="232383"/>
                  </a:cubicBezTo>
                  <a:cubicBezTo>
                    <a:pt x="833073" y="245233"/>
                    <a:pt x="822017" y="255365"/>
                    <a:pt x="807776" y="262777"/>
                  </a:cubicBezTo>
                  <a:cubicBezTo>
                    <a:pt x="793535" y="270185"/>
                    <a:pt x="776225" y="273891"/>
                    <a:pt x="755845" y="273891"/>
                  </a:cubicBezTo>
                  <a:cubicBezTo>
                    <a:pt x="740213" y="273891"/>
                    <a:pt x="726147" y="271114"/>
                    <a:pt x="713642" y="265554"/>
                  </a:cubicBezTo>
                  <a:cubicBezTo>
                    <a:pt x="701137" y="259878"/>
                    <a:pt x="690427" y="251892"/>
                    <a:pt x="681512" y="241585"/>
                  </a:cubicBezTo>
                  <a:cubicBezTo>
                    <a:pt x="672596" y="231167"/>
                    <a:pt x="665768" y="218604"/>
                    <a:pt x="661021" y="203901"/>
                  </a:cubicBezTo>
                  <a:cubicBezTo>
                    <a:pt x="656390" y="189197"/>
                    <a:pt x="654075" y="172753"/>
                    <a:pt x="654075" y="154577"/>
                  </a:cubicBezTo>
                  <a:lnTo>
                    <a:pt x="654075" y="133560"/>
                  </a:lnTo>
                  <a:cubicBezTo>
                    <a:pt x="654075" y="115384"/>
                    <a:pt x="656449" y="98940"/>
                    <a:pt x="661196" y="84236"/>
                  </a:cubicBezTo>
                  <a:cubicBezTo>
                    <a:pt x="666059" y="69533"/>
                    <a:pt x="673005" y="56970"/>
                    <a:pt x="682037" y="46547"/>
                  </a:cubicBezTo>
                  <a:cubicBezTo>
                    <a:pt x="691069" y="36012"/>
                    <a:pt x="701891" y="27962"/>
                    <a:pt x="714513" y="22408"/>
                  </a:cubicBezTo>
                  <a:cubicBezTo>
                    <a:pt x="727246" y="16848"/>
                    <a:pt x="741546" y="14071"/>
                    <a:pt x="757411" y="14071"/>
                  </a:cubicBezTo>
                  <a:cubicBezTo>
                    <a:pt x="777557" y="14071"/>
                    <a:pt x="794581" y="17777"/>
                    <a:pt x="808472" y="25185"/>
                  </a:cubicBezTo>
                  <a:cubicBezTo>
                    <a:pt x="822368" y="32597"/>
                    <a:pt x="833131" y="42840"/>
                    <a:pt x="840777" y="55924"/>
                  </a:cubicBezTo>
                  <a:cubicBezTo>
                    <a:pt x="848535" y="69008"/>
                    <a:pt x="853282" y="84003"/>
                    <a:pt x="855018" y="100905"/>
                  </a:cubicBezTo>
                  <a:lnTo>
                    <a:pt x="811599" y="100905"/>
                  </a:lnTo>
                  <a:cubicBezTo>
                    <a:pt x="810442" y="90019"/>
                    <a:pt x="807893" y="80700"/>
                    <a:pt x="803958" y="72943"/>
                  </a:cubicBezTo>
                  <a:cubicBezTo>
                    <a:pt x="800140" y="65185"/>
                    <a:pt x="794464" y="59280"/>
                    <a:pt x="786940" y="55229"/>
                  </a:cubicBezTo>
                  <a:cubicBezTo>
                    <a:pt x="779415" y="51060"/>
                    <a:pt x="769571" y="48974"/>
                    <a:pt x="757416" y="48974"/>
                  </a:cubicBezTo>
                  <a:cubicBezTo>
                    <a:pt x="747460" y="48974"/>
                    <a:pt x="738773" y="50827"/>
                    <a:pt x="731366" y="54533"/>
                  </a:cubicBezTo>
                  <a:cubicBezTo>
                    <a:pt x="723953" y="58239"/>
                    <a:pt x="717762" y="63682"/>
                    <a:pt x="712781" y="70861"/>
                  </a:cubicBezTo>
                  <a:cubicBezTo>
                    <a:pt x="707801" y="78040"/>
                    <a:pt x="704041" y="86897"/>
                    <a:pt x="701492" y="97432"/>
                  </a:cubicBezTo>
                  <a:cubicBezTo>
                    <a:pt x="699060" y="107850"/>
                    <a:pt x="697844" y="119776"/>
                    <a:pt x="697844" y="133210"/>
                  </a:cubicBezTo>
                  <a:lnTo>
                    <a:pt x="697844" y="154572"/>
                  </a:lnTo>
                  <a:cubicBezTo>
                    <a:pt x="697844" y="167310"/>
                    <a:pt x="698944" y="178886"/>
                    <a:pt x="701142" y="189309"/>
                  </a:cubicBezTo>
                  <a:cubicBezTo>
                    <a:pt x="703457" y="199616"/>
                    <a:pt x="706930" y="208473"/>
                    <a:pt x="711565" y="215880"/>
                  </a:cubicBezTo>
                  <a:cubicBezTo>
                    <a:pt x="716312" y="223293"/>
                    <a:pt x="722334" y="229022"/>
                    <a:pt x="729629" y="233074"/>
                  </a:cubicBezTo>
                  <a:cubicBezTo>
                    <a:pt x="736925" y="237125"/>
                    <a:pt x="745665" y="239154"/>
                    <a:pt x="755855" y="239154"/>
                  </a:cubicBezTo>
                  <a:cubicBezTo>
                    <a:pt x="768243" y="239154"/>
                    <a:pt x="778258" y="237184"/>
                    <a:pt x="785904" y="233249"/>
                  </a:cubicBezTo>
                  <a:cubicBezTo>
                    <a:pt x="793661" y="229309"/>
                    <a:pt x="799508" y="223580"/>
                    <a:pt x="803443" y="216055"/>
                  </a:cubicBezTo>
                  <a:cubicBezTo>
                    <a:pt x="807494" y="208414"/>
                    <a:pt x="810159" y="199095"/>
                    <a:pt x="811434" y="188093"/>
                  </a:cubicBezTo>
                  <a:close/>
                  <a:moveTo>
                    <a:pt x="882285" y="178541"/>
                  </a:moveTo>
                  <a:lnTo>
                    <a:pt x="882285" y="174548"/>
                  </a:lnTo>
                  <a:cubicBezTo>
                    <a:pt x="882285" y="161002"/>
                    <a:pt x="884255" y="148439"/>
                    <a:pt x="888190" y="136858"/>
                  </a:cubicBezTo>
                  <a:cubicBezTo>
                    <a:pt x="892124" y="125165"/>
                    <a:pt x="897800" y="115034"/>
                    <a:pt x="905208" y="106464"/>
                  </a:cubicBezTo>
                  <a:cubicBezTo>
                    <a:pt x="912732" y="97782"/>
                    <a:pt x="921881" y="91065"/>
                    <a:pt x="932650" y="86318"/>
                  </a:cubicBezTo>
                  <a:cubicBezTo>
                    <a:pt x="943535" y="81454"/>
                    <a:pt x="955806" y="79022"/>
                    <a:pt x="969469" y="79022"/>
                  </a:cubicBezTo>
                  <a:cubicBezTo>
                    <a:pt x="983131" y="79022"/>
                    <a:pt x="995519" y="81454"/>
                    <a:pt x="1006288" y="86318"/>
                  </a:cubicBezTo>
                  <a:cubicBezTo>
                    <a:pt x="1017173" y="91065"/>
                    <a:pt x="1026375" y="97782"/>
                    <a:pt x="1033899" y="106464"/>
                  </a:cubicBezTo>
                  <a:cubicBezTo>
                    <a:pt x="1041424" y="115034"/>
                    <a:pt x="1047158" y="125165"/>
                    <a:pt x="1051093" y="136858"/>
                  </a:cubicBezTo>
                  <a:cubicBezTo>
                    <a:pt x="1055028" y="148434"/>
                    <a:pt x="1056998" y="160997"/>
                    <a:pt x="1056998" y="174548"/>
                  </a:cubicBezTo>
                  <a:lnTo>
                    <a:pt x="1056998" y="178541"/>
                  </a:lnTo>
                  <a:cubicBezTo>
                    <a:pt x="1056998" y="192086"/>
                    <a:pt x="1055028" y="204650"/>
                    <a:pt x="1051093" y="216226"/>
                  </a:cubicBezTo>
                  <a:cubicBezTo>
                    <a:pt x="1047153" y="227806"/>
                    <a:pt x="1041424" y="237938"/>
                    <a:pt x="1033899" y="246619"/>
                  </a:cubicBezTo>
                  <a:cubicBezTo>
                    <a:pt x="1026375" y="255189"/>
                    <a:pt x="1017226" y="261902"/>
                    <a:pt x="1006458" y="266765"/>
                  </a:cubicBezTo>
                  <a:cubicBezTo>
                    <a:pt x="995689" y="271512"/>
                    <a:pt x="983476" y="273886"/>
                    <a:pt x="969814" y="273886"/>
                  </a:cubicBezTo>
                  <a:cubicBezTo>
                    <a:pt x="956151" y="273886"/>
                    <a:pt x="943705" y="271512"/>
                    <a:pt x="932820" y="266765"/>
                  </a:cubicBezTo>
                  <a:cubicBezTo>
                    <a:pt x="922051" y="261902"/>
                    <a:pt x="912907" y="255189"/>
                    <a:pt x="905378" y="246619"/>
                  </a:cubicBezTo>
                  <a:cubicBezTo>
                    <a:pt x="897854" y="237938"/>
                    <a:pt x="892119" y="227806"/>
                    <a:pt x="888185" y="216226"/>
                  </a:cubicBezTo>
                  <a:cubicBezTo>
                    <a:pt x="884245" y="204650"/>
                    <a:pt x="882280" y="192086"/>
                    <a:pt x="882280" y="178541"/>
                  </a:cubicBezTo>
                  <a:close/>
                  <a:moveTo>
                    <a:pt x="924143" y="174548"/>
                  </a:moveTo>
                  <a:lnTo>
                    <a:pt x="924143" y="178541"/>
                  </a:lnTo>
                  <a:cubicBezTo>
                    <a:pt x="924143" y="186994"/>
                    <a:pt x="925013" y="194980"/>
                    <a:pt x="926750" y="202510"/>
                  </a:cubicBezTo>
                  <a:cubicBezTo>
                    <a:pt x="928486" y="210034"/>
                    <a:pt x="931210" y="216634"/>
                    <a:pt x="934911" y="222310"/>
                  </a:cubicBezTo>
                  <a:cubicBezTo>
                    <a:pt x="938617" y="227981"/>
                    <a:pt x="943365" y="232441"/>
                    <a:pt x="949152" y="235681"/>
                  </a:cubicBezTo>
                  <a:cubicBezTo>
                    <a:pt x="954940" y="238925"/>
                    <a:pt x="961832" y="240545"/>
                    <a:pt x="969819" y="240545"/>
                  </a:cubicBezTo>
                  <a:cubicBezTo>
                    <a:pt x="977805" y="240545"/>
                    <a:pt x="984293" y="238925"/>
                    <a:pt x="989965" y="235681"/>
                  </a:cubicBezTo>
                  <a:cubicBezTo>
                    <a:pt x="995753" y="232441"/>
                    <a:pt x="1000500" y="227981"/>
                    <a:pt x="1004206" y="222310"/>
                  </a:cubicBezTo>
                  <a:cubicBezTo>
                    <a:pt x="1007912" y="216634"/>
                    <a:pt x="1010631" y="210039"/>
                    <a:pt x="1012367" y="202510"/>
                  </a:cubicBezTo>
                  <a:cubicBezTo>
                    <a:pt x="1014220" y="194985"/>
                    <a:pt x="1015145" y="186994"/>
                    <a:pt x="1015145" y="178541"/>
                  </a:cubicBezTo>
                  <a:lnTo>
                    <a:pt x="1015145" y="174548"/>
                  </a:lnTo>
                  <a:cubicBezTo>
                    <a:pt x="1015145" y="166211"/>
                    <a:pt x="1014220" y="158336"/>
                    <a:pt x="1012367" y="150929"/>
                  </a:cubicBezTo>
                  <a:cubicBezTo>
                    <a:pt x="1010631" y="143405"/>
                    <a:pt x="1007854" y="136746"/>
                    <a:pt x="1004031" y="130958"/>
                  </a:cubicBezTo>
                  <a:cubicBezTo>
                    <a:pt x="1000325" y="125170"/>
                    <a:pt x="995578" y="120652"/>
                    <a:pt x="989790" y="117412"/>
                  </a:cubicBezTo>
                  <a:cubicBezTo>
                    <a:pt x="984118" y="114056"/>
                    <a:pt x="977343" y="112373"/>
                    <a:pt x="969469" y="112373"/>
                  </a:cubicBezTo>
                  <a:cubicBezTo>
                    <a:pt x="961594" y="112373"/>
                    <a:pt x="954765" y="114051"/>
                    <a:pt x="948977" y="117412"/>
                  </a:cubicBezTo>
                  <a:cubicBezTo>
                    <a:pt x="943301" y="120657"/>
                    <a:pt x="938613" y="125170"/>
                    <a:pt x="934911" y="130958"/>
                  </a:cubicBezTo>
                  <a:cubicBezTo>
                    <a:pt x="931205" y="136746"/>
                    <a:pt x="928486" y="143405"/>
                    <a:pt x="926750" y="150929"/>
                  </a:cubicBezTo>
                  <a:cubicBezTo>
                    <a:pt x="925013" y="158336"/>
                    <a:pt x="924143" y="166211"/>
                    <a:pt x="924143" y="174548"/>
                  </a:cubicBezTo>
                  <a:close/>
                  <a:moveTo>
                    <a:pt x="1133598" y="122617"/>
                  </a:moveTo>
                  <a:lnTo>
                    <a:pt x="1133598" y="270418"/>
                  </a:lnTo>
                  <a:lnTo>
                    <a:pt x="1091745" y="270418"/>
                  </a:lnTo>
                  <a:lnTo>
                    <a:pt x="1091745" y="82495"/>
                  </a:lnTo>
                  <a:lnTo>
                    <a:pt x="1131171" y="82495"/>
                  </a:lnTo>
                  <a:lnTo>
                    <a:pt x="1133603" y="122617"/>
                  </a:lnTo>
                  <a:close/>
                  <a:moveTo>
                    <a:pt x="1126132" y="169509"/>
                  </a:moveTo>
                  <a:lnTo>
                    <a:pt x="1112586" y="169334"/>
                  </a:lnTo>
                  <a:cubicBezTo>
                    <a:pt x="1112703" y="156016"/>
                    <a:pt x="1114556" y="143803"/>
                    <a:pt x="1118145" y="132690"/>
                  </a:cubicBezTo>
                  <a:cubicBezTo>
                    <a:pt x="1121852" y="121576"/>
                    <a:pt x="1126944" y="112023"/>
                    <a:pt x="1133428" y="104032"/>
                  </a:cubicBezTo>
                  <a:cubicBezTo>
                    <a:pt x="1140028" y="96046"/>
                    <a:pt x="1147902" y="89908"/>
                    <a:pt x="1157046" y="85623"/>
                  </a:cubicBezTo>
                  <a:cubicBezTo>
                    <a:pt x="1166195" y="81226"/>
                    <a:pt x="1176385" y="79022"/>
                    <a:pt x="1187615" y="79022"/>
                  </a:cubicBezTo>
                  <a:cubicBezTo>
                    <a:pt x="1196647" y="79022"/>
                    <a:pt x="1204809" y="80297"/>
                    <a:pt x="1212105" y="82840"/>
                  </a:cubicBezTo>
                  <a:cubicBezTo>
                    <a:pt x="1219517" y="85272"/>
                    <a:pt x="1225825" y="89265"/>
                    <a:pt x="1231034" y="94825"/>
                  </a:cubicBezTo>
                  <a:cubicBezTo>
                    <a:pt x="1236360" y="100384"/>
                    <a:pt x="1240412" y="107617"/>
                    <a:pt x="1243189" y="116532"/>
                  </a:cubicBezTo>
                  <a:cubicBezTo>
                    <a:pt x="1245966" y="125331"/>
                    <a:pt x="1247357" y="136157"/>
                    <a:pt x="1247357" y="149008"/>
                  </a:cubicBezTo>
                  <a:lnTo>
                    <a:pt x="1247357" y="270408"/>
                  </a:lnTo>
                  <a:lnTo>
                    <a:pt x="1205329" y="270408"/>
                  </a:lnTo>
                  <a:lnTo>
                    <a:pt x="1205329" y="148833"/>
                  </a:lnTo>
                  <a:cubicBezTo>
                    <a:pt x="1205329" y="139800"/>
                    <a:pt x="1203996" y="132680"/>
                    <a:pt x="1201336" y="127471"/>
                  </a:cubicBezTo>
                  <a:cubicBezTo>
                    <a:pt x="1198787" y="122145"/>
                    <a:pt x="1195028" y="118380"/>
                    <a:pt x="1190047" y="116182"/>
                  </a:cubicBezTo>
                  <a:cubicBezTo>
                    <a:pt x="1185183" y="113867"/>
                    <a:pt x="1179104" y="112709"/>
                    <a:pt x="1171813" y="112709"/>
                  </a:cubicBezTo>
                  <a:cubicBezTo>
                    <a:pt x="1164522" y="112709"/>
                    <a:pt x="1158209" y="114212"/>
                    <a:pt x="1152533" y="117223"/>
                  </a:cubicBezTo>
                  <a:cubicBezTo>
                    <a:pt x="1146861" y="120233"/>
                    <a:pt x="1142056" y="124343"/>
                    <a:pt x="1138116" y="129552"/>
                  </a:cubicBezTo>
                  <a:cubicBezTo>
                    <a:pt x="1134293" y="134762"/>
                    <a:pt x="1131341" y="140783"/>
                    <a:pt x="1129259" y="147617"/>
                  </a:cubicBezTo>
                  <a:cubicBezTo>
                    <a:pt x="1127178" y="154445"/>
                    <a:pt x="1126132" y="161741"/>
                    <a:pt x="1126132" y="169499"/>
                  </a:cubicBezTo>
                  <a:close/>
                  <a:moveTo>
                    <a:pt x="1346701" y="270418"/>
                  </a:moveTo>
                  <a:lnTo>
                    <a:pt x="1304843" y="270418"/>
                  </a:lnTo>
                  <a:lnTo>
                    <a:pt x="1304843" y="64436"/>
                  </a:lnTo>
                  <a:cubicBezTo>
                    <a:pt x="1304843" y="50428"/>
                    <a:pt x="1307450" y="38672"/>
                    <a:pt x="1312659" y="29178"/>
                  </a:cubicBezTo>
                  <a:cubicBezTo>
                    <a:pt x="1317985" y="19567"/>
                    <a:pt x="1325567" y="12330"/>
                    <a:pt x="1335412" y="7471"/>
                  </a:cubicBezTo>
                  <a:cubicBezTo>
                    <a:pt x="1345256" y="2490"/>
                    <a:pt x="1356890" y="0"/>
                    <a:pt x="1370319" y="0"/>
                  </a:cubicBezTo>
                  <a:cubicBezTo>
                    <a:pt x="1374488" y="0"/>
                    <a:pt x="1378597" y="292"/>
                    <a:pt x="1382649" y="871"/>
                  </a:cubicBezTo>
                  <a:cubicBezTo>
                    <a:pt x="1386701" y="1333"/>
                    <a:pt x="1390640" y="2087"/>
                    <a:pt x="1394458" y="3127"/>
                  </a:cubicBezTo>
                  <a:lnTo>
                    <a:pt x="1393418" y="35433"/>
                  </a:lnTo>
                  <a:cubicBezTo>
                    <a:pt x="1391102" y="34854"/>
                    <a:pt x="1388554" y="34450"/>
                    <a:pt x="1385776" y="34217"/>
                  </a:cubicBezTo>
                  <a:cubicBezTo>
                    <a:pt x="1383116" y="33983"/>
                    <a:pt x="1380217" y="33867"/>
                    <a:pt x="1377095" y="33867"/>
                  </a:cubicBezTo>
                  <a:cubicBezTo>
                    <a:pt x="1370728" y="33867"/>
                    <a:pt x="1365227" y="35083"/>
                    <a:pt x="1360596" y="37515"/>
                  </a:cubicBezTo>
                  <a:cubicBezTo>
                    <a:pt x="1356083" y="39830"/>
                    <a:pt x="1352605" y="43244"/>
                    <a:pt x="1350178" y="47763"/>
                  </a:cubicBezTo>
                  <a:cubicBezTo>
                    <a:pt x="1347863" y="52281"/>
                    <a:pt x="1346706" y="57836"/>
                    <a:pt x="1346706" y="64436"/>
                  </a:cubicBezTo>
                  <a:lnTo>
                    <a:pt x="1346706" y="270418"/>
                  </a:lnTo>
                  <a:close/>
                  <a:moveTo>
                    <a:pt x="1385431" y="82500"/>
                  </a:moveTo>
                  <a:lnTo>
                    <a:pt x="1385431" y="113069"/>
                  </a:lnTo>
                  <a:lnTo>
                    <a:pt x="1276015" y="113069"/>
                  </a:lnTo>
                  <a:lnTo>
                    <a:pt x="1276015" y="82500"/>
                  </a:lnTo>
                  <a:lnTo>
                    <a:pt x="1385431" y="82500"/>
                  </a:lnTo>
                  <a:close/>
                </a:path>
              </a:pathLst>
            </a:custGeom>
            <a:solidFill>
              <a:schemeClr val="tx1"/>
            </a:solidFill>
            <a:ln w="4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7" name="Полилиния: фигура 46">
              <a:extLst>
                <a:ext uri="{FF2B5EF4-FFF2-40B4-BE49-F238E27FC236}">
                  <a16:creationId xmlns:a16="http://schemas.microsoft.com/office/drawing/2014/main" id="{0E6F0FB0-99D0-4190-B058-29B8184B7C5F}"/>
                </a:ext>
              </a:extLst>
            </p:cNvPr>
            <p:cNvSpPr/>
            <p:nvPr/>
          </p:nvSpPr>
          <p:spPr>
            <a:xfrm>
              <a:off x="8902858" y="5892336"/>
              <a:ext cx="774600" cy="259834"/>
            </a:xfrm>
            <a:custGeom>
              <a:avLst/>
              <a:gdLst>
                <a:gd name="connsiteX0" fmla="*/ 174372 w 774600"/>
                <a:gd name="connsiteY0" fmla="*/ 223015 h 259834"/>
                <a:gd name="connsiteX1" fmla="*/ 174372 w 774600"/>
                <a:gd name="connsiteY1" fmla="*/ 256362 h 259834"/>
                <a:gd name="connsiteX2" fmla="*/ 4859 w 774600"/>
                <a:gd name="connsiteY2" fmla="*/ 256362 h 259834"/>
                <a:gd name="connsiteX3" fmla="*/ 4859 w 774600"/>
                <a:gd name="connsiteY3" fmla="*/ 227704 h 259834"/>
                <a:gd name="connsiteX4" fmla="*/ 87193 w 774600"/>
                <a:gd name="connsiteY4" fmla="*/ 137913 h 259834"/>
                <a:gd name="connsiteX5" fmla="*/ 108541 w 774600"/>
                <a:gd name="connsiteY5" fmla="*/ 111513 h 259834"/>
                <a:gd name="connsiteX6" fmla="*/ 119499 w 774600"/>
                <a:gd name="connsiteY6" fmla="*/ 91542 h 259834"/>
                <a:gd name="connsiteX7" fmla="*/ 122797 w 774600"/>
                <a:gd name="connsiteY7" fmla="*/ 73998 h 259834"/>
                <a:gd name="connsiteX8" fmla="*/ 118278 w 774600"/>
                <a:gd name="connsiteY8" fmla="*/ 52981 h 259834"/>
                <a:gd name="connsiteX9" fmla="*/ 105413 w 774600"/>
                <a:gd name="connsiteY9" fmla="*/ 38565 h 259834"/>
                <a:gd name="connsiteX10" fmla="*/ 84752 w 774600"/>
                <a:gd name="connsiteY10" fmla="*/ 33181 h 259834"/>
                <a:gd name="connsiteX11" fmla="*/ 61138 w 774600"/>
                <a:gd name="connsiteY11" fmla="*/ 39261 h 259834"/>
                <a:gd name="connsiteX12" fmla="*/ 46712 w 774600"/>
                <a:gd name="connsiteY12" fmla="*/ 56109 h 259834"/>
                <a:gd name="connsiteX13" fmla="*/ 41853 w 774600"/>
                <a:gd name="connsiteY13" fmla="*/ 80423 h 259834"/>
                <a:gd name="connsiteX14" fmla="*/ 0 w 774600"/>
                <a:gd name="connsiteY14" fmla="*/ 80423 h 259834"/>
                <a:gd name="connsiteX15" fmla="*/ 10083 w 774600"/>
                <a:gd name="connsiteY15" fmla="*/ 40131 h 259834"/>
                <a:gd name="connsiteX16" fmla="*/ 39261 w 774600"/>
                <a:gd name="connsiteY16" fmla="*/ 10953 h 259834"/>
                <a:gd name="connsiteX17" fmla="*/ 85272 w 774600"/>
                <a:gd name="connsiteY17" fmla="*/ 10 h 259834"/>
                <a:gd name="connsiteX18" fmla="*/ 128346 w 774600"/>
                <a:gd name="connsiteY18" fmla="*/ 8521 h 259834"/>
                <a:gd name="connsiteX19" fmla="*/ 155277 w 774600"/>
                <a:gd name="connsiteY19" fmla="*/ 32660 h 259834"/>
                <a:gd name="connsiteX20" fmla="*/ 164654 w 774600"/>
                <a:gd name="connsiteY20" fmla="*/ 69655 h 259834"/>
                <a:gd name="connsiteX21" fmla="*/ 160827 w 774600"/>
                <a:gd name="connsiteY21" fmla="*/ 93103 h 259834"/>
                <a:gd name="connsiteX22" fmla="*/ 149888 w 774600"/>
                <a:gd name="connsiteY22" fmla="*/ 116376 h 259834"/>
                <a:gd name="connsiteX23" fmla="*/ 133400 w 774600"/>
                <a:gd name="connsiteY23" fmla="*/ 139475 h 259834"/>
                <a:gd name="connsiteX24" fmla="*/ 112378 w 774600"/>
                <a:gd name="connsiteY24" fmla="*/ 162748 h 259834"/>
                <a:gd name="connsiteX25" fmla="*/ 57675 w 774600"/>
                <a:gd name="connsiteY25" fmla="*/ 223015 h 259834"/>
                <a:gd name="connsiteX26" fmla="*/ 174377 w 774600"/>
                <a:gd name="connsiteY26" fmla="*/ 223015 h 259834"/>
                <a:gd name="connsiteX27" fmla="*/ 371848 w 774600"/>
                <a:gd name="connsiteY27" fmla="*/ 108735 h 259834"/>
                <a:gd name="connsiteX28" fmla="*/ 371848 w 774600"/>
                <a:gd name="connsiteY28" fmla="*/ 150068 h 259834"/>
                <a:gd name="connsiteX29" fmla="*/ 365938 w 774600"/>
                <a:gd name="connsiteY29" fmla="*/ 200783 h 259834"/>
                <a:gd name="connsiteX30" fmla="*/ 349260 w 774600"/>
                <a:gd name="connsiteY30" fmla="*/ 234650 h 259834"/>
                <a:gd name="connsiteX31" fmla="*/ 323035 w 774600"/>
                <a:gd name="connsiteY31" fmla="*/ 253755 h 259834"/>
                <a:gd name="connsiteX32" fmla="*/ 289168 w 774600"/>
                <a:gd name="connsiteY32" fmla="*/ 259834 h 259834"/>
                <a:gd name="connsiteX33" fmla="*/ 261381 w 774600"/>
                <a:gd name="connsiteY33" fmla="*/ 256011 h 259834"/>
                <a:gd name="connsiteX34" fmla="*/ 238468 w 774600"/>
                <a:gd name="connsiteY34" fmla="*/ 244027 h 259834"/>
                <a:gd name="connsiteX35" fmla="*/ 220914 w 774600"/>
                <a:gd name="connsiteY35" fmla="*/ 223011 h 259834"/>
                <a:gd name="connsiteX36" fmla="*/ 209800 w 774600"/>
                <a:gd name="connsiteY36" fmla="*/ 191921 h 259834"/>
                <a:gd name="connsiteX37" fmla="*/ 205972 w 774600"/>
                <a:gd name="connsiteY37" fmla="*/ 150063 h 259834"/>
                <a:gd name="connsiteX38" fmla="*/ 205972 w 774600"/>
                <a:gd name="connsiteY38" fmla="*/ 108730 h 259834"/>
                <a:gd name="connsiteX39" fmla="*/ 211882 w 774600"/>
                <a:gd name="connsiteY39" fmla="*/ 58366 h 259834"/>
                <a:gd name="connsiteX40" fmla="*/ 228730 w 774600"/>
                <a:gd name="connsiteY40" fmla="*/ 24844 h 259834"/>
                <a:gd name="connsiteX41" fmla="*/ 254786 w 774600"/>
                <a:gd name="connsiteY41" fmla="*/ 5914 h 259834"/>
                <a:gd name="connsiteX42" fmla="*/ 288827 w 774600"/>
                <a:gd name="connsiteY42" fmla="*/ 10 h 259834"/>
                <a:gd name="connsiteX43" fmla="*/ 316614 w 774600"/>
                <a:gd name="connsiteY43" fmla="*/ 3833 h 259834"/>
                <a:gd name="connsiteX44" fmla="*/ 339542 w 774600"/>
                <a:gd name="connsiteY44" fmla="*/ 15467 h 259834"/>
                <a:gd name="connsiteX45" fmla="*/ 356906 w 774600"/>
                <a:gd name="connsiteY45" fmla="*/ 36308 h 259834"/>
                <a:gd name="connsiteX46" fmla="*/ 368020 w 774600"/>
                <a:gd name="connsiteY46" fmla="*/ 67048 h 259834"/>
                <a:gd name="connsiteX47" fmla="*/ 371848 w 774600"/>
                <a:gd name="connsiteY47" fmla="*/ 108730 h 259834"/>
                <a:gd name="connsiteX48" fmla="*/ 329995 w 774600"/>
                <a:gd name="connsiteY48" fmla="*/ 155978 h 259834"/>
                <a:gd name="connsiteX49" fmla="*/ 329995 w 774600"/>
                <a:gd name="connsiteY49" fmla="*/ 102485 h 259834"/>
                <a:gd name="connsiteX50" fmla="*/ 328258 w 774600"/>
                <a:gd name="connsiteY50" fmla="*/ 75914 h 259834"/>
                <a:gd name="connsiteX51" fmla="*/ 323039 w 774600"/>
                <a:gd name="connsiteY51" fmla="*/ 56289 h 259834"/>
                <a:gd name="connsiteX52" fmla="*/ 314708 w 774600"/>
                <a:gd name="connsiteY52" fmla="*/ 43088 h 259834"/>
                <a:gd name="connsiteX53" fmla="*/ 303234 w 774600"/>
                <a:gd name="connsiteY53" fmla="*/ 35623 h 259834"/>
                <a:gd name="connsiteX54" fmla="*/ 288823 w 774600"/>
                <a:gd name="connsiteY54" fmla="*/ 33191 h 259834"/>
                <a:gd name="connsiteX55" fmla="*/ 271459 w 774600"/>
                <a:gd name="connsiteY55" fmla="*/ 37014 h 259834"/>
                <a:gd name="connsiteX56" fmla="*/ 258613 w 774600"/>
                <a:gd name="connsiteY56" fmla="*/ 48823 h 259834"/>
                <a:gd name="connsiteX57" fmla="*/ 250608 w 774600"/>
                <a:gd name="connsiteY57" fmla="*/ 70360 h 259834"/>
                <a:gd name="connsiteX58" fmla="*/ 248015 w 774600"/>
                <a:gd name="connsiteY58" fmla="*/ 102490 h 259834"/>
                <a:gd name="connsiteX59" fmla="*/ 248015 w 774600"/>
                <a:gd name="connsiteY59" fmla="*/ 155982 h 259834"/>
                <a:gd name="connsiteX60" fmla="*/ 249752 w 774600"/>
                <a:gd name="connsiteY60" fmla="*/ 182904 h 259834"/>
                <a:gd name="connsiteX61" fmla="*/ 254956 w 774600"/>
                <a:gd name="connsiteY61" fmla="*/ 202874 h 259834"/>
                <a:gd name="connsiteX62" fmla="*/ 263302 w 774600"/>
                <a:gd name="connsiteY62" fmla="*/ 216420 h 259834"/>
                <a:gd name="connsiteX63" fmla="*/ 274756 w 774600"/>
                <a:gd name="connsiteY63" fmla="*/ 224061 h 259834"/>
                <a:gd name="connsiteX64" fmla="*/ 289168 w 774600"/>
                <a:gd name="connsiteY64" fmla="*/ 226493 h 259834"/>
                <a:gd name="connsiteX65" fmla="*/ 306721 w 774600"/>
                <a:gd name="connsiteY65" fmla="*/ 222670 h 259834"/>
                <a:gd name="connsiteX66" fmla="*/ 319567 w 774600"/>
                <a:gd name="connsiteY66" fmla="*/ 210511 h 259834"/>
                <a:gd name="connsiteX67" fmla="*/ 327383 w 774600"/>
                <a:gd name="connsiteY67" fmla="*/ 188453 h 259834"/>
                <a:gd name="connsiteX68" fmla="*/ 329995 w 774600"/>
                <a:gd name="connsiteY68" fmla="*/ 155978 h 259834"/>
                <a:gd name="connsiteX69" fmla="*/ 578701 w 774600"/>
                <a:gd name="connsiteY69" fmla="*/ 223015 h 259834"/>
                <a:gd name="connsiteX70" fmla="*/ 578701 w 774600"/>
                <a:gd name="connsiteY70" fmla="*/ 256362 h 259834"/>
                <a:gd name="connsiteX71" fmla="*/ 409187 w 774600"/>
                <a:gd name="connsiteY71" fmla="*/ 256362 h 259834"/>
                <a:gd name="connsiteX72" fmla="*/ 409187 w 774600"/>
                <a:gd name="connsiteY72" fmla="*/ 227704 h 259834"/>
                <a:gd name="connsiteX73" fmla="*/ 491507 w 774600"/>
                <a:gd name="connsiteY73" fmla="*/ 137913 h 259834"/>
                <a:gd name="connsiteX74" fmla="*/ 512874 w 774600"/>
                <a:gd name="connsiteY74" fmla="*/ 111513 h 259834"/>
                <a:gd name="connsiteX75" fmla="*/ 523813 w 774600"/>
                <a:gd name="connsiteY75" fmla="*/ 91542 h 259834"/>
                <a:gd name="connsiteX76" fmla="*/ 527110 w 774600"/>
                <a:gd name="connsiteY76" fmla="*/ 73998 h 259834"/>
                <a:gd name="connsiteX77" fmla="*/ 522592 w 774600"/>
                <a:gd name="connsiteY77" fmla="*/ 52981 h 259834"/>
                <a:gd name="connsiteX78" fmla="*/ 509746 w 774600"/>
                <a:gd name="connsiteY78" fmla="*/ 38565 h 259834"/>
                <a:gd name="connsiteX79" fmla="*/ 489085 w 774600"/>
                <a:gd name="connsiteY79" fmla="*/ 33181 h 259834"/>
                <a:gd name="connsiteX80" fmla="*/ 465452 w 774600"/>
                <a:gd name="connsiteY80" fmla="*/ 39261 h 259834"/>
                <a:gd name="connsiteX81" fmla="*/ 451040 w 774600"/>
                <a:gd name="connsiteY81" fmla="*/ 56109 h 259834"/>
                <a:gd name="connsiteX82" fmla="*/ 446181 w 774600"/>
                <a:gd name="connsiteY82" fmla="*/ 80423 h 259834"/>
                <a:gd name="connsiteX83" fmla="*/ 404328 w 774600"/>
                <a:gd name="connsiteY83" fmla="*/ 80423 h 259834"/>
                <a:gd name="connsiteX84" fmla="*/ 414391 w 774600"/>
                <a:gd name="connsiteY84" fmla="*/ 40131 h 259834"/>
                <a:gd name="connsiteX85" fmla="*/ 443569 w 774600"/>
                <a:gd name="connsiteY85" fmla="*/ 10953 h 259834"/>
                <a:gd name="connsiteX86" fmla="*/ 489596 w 774600"/>
                <a:gd name="connsiteY86" fmla="*/ 10 h 259834"/>
                <a:gd name="connsiteX87" fmla="*/ 532670 w 774600"/>
                <a:gd name="connsiteY87" fmla="*/ 8521 h 259834"/>
                <a:gd name="connsiteX88" fmla="*/ 559581 w 774600"/>
                <a:gd name="connsiteY88" fmla="*/ 32660 h 259834"/>
                <a:gd name="connsiteX89" fmla="*/ 568958 w 774600"/>
                <a:gd name="connsiteY89" fmla="*/ 69655 h 259834"/>
                <a:gd name="connsiteX90" fmla="*/ 565145 w 774600"/>
                <a:gd name="connsiteY90" fmla="*/ 93103 h 259834"/>
                <a:gd name="connsiteX91" fmla="*/ 554207 w 774600"/>
                <a:gd name="connsiteY91" fmla="*/ 116376 h 259834"/>
                <a:gd name="connsiteX92" fmla="*/ 537704 w 774600"/>
                <a:gd name="connsiteY92" fmla="*/ 139475 h 259834"/>
                <a:gd name="connsiteX93" fmla="*/ 516697 w 774600"/>
                <a:gd name="connsiteY93" fmla="*/ 162748 h 259834"/>
                <a:gd name="connsiteX94" fmla="*/ 461979 w 774600"/>
                <a:gd name="connsiteY94" fmla="*/ 223015 h 259834"/>
                <a:gd name="connsiteX95" fmla="*/ 578701 w 774600"/>
                <a:gd name="connsiteY95" fmla="*/ 223015 h 259834"/>
                <a:gd name="connsiteX96" fmla="*/ 660505 w 774600"/>
                <a:gd name="connsiteY96" fmla="*/ 110992 h 259834"/>
                <a:gd name="connsiteX97" fmla="*/ 685510 w 774600"/>
                <a:gd name="connsiteY97" fmla="*/ 110992 h 259834"/>
                <a:gd name="connsiteX98" fmla="*/ 709639 w 774600"/>
                <a:gd name="connsiteY98" fmla="*/ 105953 h 259834"/>
                <a:gd name="connsiteX99" fmla="*/ 724065 w 774600"/>
                <a:gd name="connsiteY99" fmla="*/ 92057 h 259834"/>
                <a:gd name="connsiteX100" fmla="*/ 728754 w 774600"/>
                <a:gd name="connsiteY100" fmla="*/ 71736 h 259834"/>
                <a:gd name="connsiteX101" fmla="*/ 724411 w 774600"/>
                <a:gd name="connsiteY101" fmla="*/ 51240 h 259834"/>
                <a:gd name="connsiteX102" fmla="*/ 711565 w 774600"/>
                <a:gd name="connsiteY102" fmla="*/ 37865 h 259834"/>
                <a:gd name="connsiteX103" fmla="*/ 689858 w 774600"/>
                <a:gd name="connsiteY103" fmla="*/ 33176 h 259834"/>
                <a:gd name="connsiteX104" fmla="*/ 669712 w 774600"/>
                <a:gd name="connsiteY104" fmla="*/ 37690 h 259834"/>
                <a:gd name="connsiteX105" fmla="*/ 655626 w 774600"/>
                <a:gd name="connsiteY105" fmla="*/ 50195 h 259834"/>
                <a:gd name="connsiteX106" fmla="*/ 650422 w 774600"/>
                <a:gd name="connsiteY106" fmla="*/ 69300 h 259834"/>
                <a:gd name="connsiteX107" fmla="*/ 608394 w 774600"/>
                <a:gd name="connsiteY107" fmla="*/ 69300 h 259834"/>
                <a:gd name="connsiteX108" fmla="*/ 618992 w 774600"/>
                <a:gd name="connsiteY108" fmla="*/ 33521 h 259834"/>
                <a:gd name="connsiteX109" fmla="*/ 647810 w 774600"/>
                <a:gd name="connsiteY109" fmla="*/ 9032 h 259834"/>
                <a:gd name="connsiteX110" fmla="*/ 689148 w 774600"/>
                <a:gd name="connsiteY110" fmla="*/ 0 h 259834"/>
                <a:gd name="connsiteX111" fmla="*/ 731876 w 774600"/>
                <a:gd name="connsiteY111" fmla="*/ 8161 h 259834"/>
                <a:gd name="connsiteX112" fmla="*/ 760524 w 774600"/>
                <a:gd name="connsiteY112" fmla="*/ 32130 h 259834"/>
                <a:gd name="connsiteX113" fmla="*/ 770777 w 774600"/>
                <a:gd name="connsiteY113" fmla="*/ 71731 h 259834"/>
                <a:gd name="connsiteX114" fmla="*/ 765743 w 774600"/>
                <a:gd name="connsiteY114" fmla="*/ 93614 h 259834"/>
                <a:gd name="connsiteX115" fmla="*/ 750802 w 774600"/>
                <a:gd name="connsiteY115" fmla="*/ 113935 h 259834"/>
                <a:gd name="connsiteX116" fmla="*/ 726137 w 774600"/>
                <a:gd name="connsiteY116" fmla="*/ 128696 h 259834"/>
                <a:gd name="connsiteX117" fmla="*/ 691925 w 774600"/>
                <a:gd name="connsiteY117" fmla="*/ 134256 h 259834"/>
                <a:gd name="connsiteX118" fmla="*/ 660495 w 774600"/>
                <a:gd name="connsiteY118" fmla="*/ 134256 h 259834"/>
                <a:gd name="connsiteX119" fmla="*/ 660495 w 774600"/>
                <a:gd name="connsiteY119" fmla="*/ 110982 h 259834"/>
                <a:gd name="connsiteX120" fmla="*/ 660505 w 774600"/>
                <a:gd name="connsiteY120" fmla="*/ 143643 h 259834"/>
                <a:gd name="connsiteX121" fmla="*/ 660505 w 774600"/>
                <a:gd name="connsiteY121" fmla="*/ 120715 h 259834"/>
                <a:gd name="connsiteX122" fmla="*/ 691935 w 774600"/>
                <a:gd name="connsiteY122" fmla="*/ 120715 h 259834"/>
                <a:gd name="connsiteX123" fmla="*/ 729790 w 774600"/>
                <a:gd name="connsiteY123" fmla="*/ 125924 h 259834"/>
                <a:gd name="connsiteX124" fmla="*/ 755500 w 774600"/>
                <a:gd name="connsiteY124" fmla="*/ 140340 h 259834"/>
                <a:gd name="connsiteX125" fmla="*/ 769911 w 774600"/>
                <a:gd name="connsiteY125" fmla="*/ 161007 h 259834"/>
                <a:gd name="connsiteX126" fmla="*/ 774600 w 774600"/>
                <a:gd name="connsiteY126" fmla="*/ 185671 h 259834"/>
                <a:gd name="connsiteX127" fmla="*/ 768175 w 774600"/>
                <a:gd name="connsiteY127" fmla="*/ 217281 h 259834"/>
                <a:gd name="connsiteX128" fmla="*/ 750296 w 774600"/>
                <a:gd name="connsiteY128" fmla="*/ 240554 h 259834"/>
                <a:gd name="connsiteX129" fmla="*/ 723024 w 774600"/>
                <a:gd name="connsiteY129" fmla="*/ 254971 h 259834"/>
                <a:gd name="connsiteX130" fmla="*/ 689328 w 774600"/>
                <a:gd name="connsiteY130" fmla="*/ 259834 h 259834"/>
                <a:gd name="connsiteX131" fmla="*/ 658068 w 774600"/>
                <a:gd name="connsiteY131" fmla="*/ 255316 h 259834"/>
                <a:gd name="connsiteX132" fmla="*/ 631327 w 774600"/>
                <a:gd name="connsiteY132" fmla="*/ 241945 h 259834"/>
                <a:gd name="connsiteX133" fmla="*/ 612572 w 774600"/>
                <a:gd name="connsiteY133" fmla="*/ 219543 h 259834"/>
                <a:gd name="connsiteX134" fmla="*/ 605787 w 774600"/>
                <a:gd name="connsiteY134" fmla="*/ 188283 h 259834"/>
                <a:gd name="connsiteX135" fmla="*/ 647640 w 774600"/>
                <a:gd name="connsiteY135" fmla="*/ 188283 h 259834"/>
                <a:gd name="connsiteX136" fmla="*/ 652859 w 774600"/>
                <a:gd name="connsiteY136" fmla="*/ 208254 h 259834"/>
                <a:gd name="connsiteX137" fmla="*/ 667786 w 774600"/>
                <a:gd name="connsiteY137" fmla="*/ 221624 h 259834"/>
                <a:gd name="connsiteX138" fmla="*/ 690028 w 774600"/>
                <a:gd name="connsiteY138" fmla="*/ 226488 h 259834"/>
                <a:gd name="connsiteX139" fmla="*/ 712767 w 774600"/>
                <a:gd name="connsiteY139" fmla="*/ 221799 h 259834"/>
                <a:gd name="connsiteX140" fmla="*/ 727363 w 774600"/>
                <a:gd name="connsiteY140" fmla="*/ 207904 h 259834"/>
                <a:gd name="connsiteX141" fmla="*/ 732567 w 774600"/>
                <a:gd name="connsiteY141" fmla="*/ 185671 h 259834"/>
                <a:gd name="connsiteX142" fmla="*/ 726847 w 774600"/>
                <a:gd name="connsiteY142" fmla="*/ 161702 h 259834"/>
                <a:gd name="connsiteX143" fmla="*/ 710515 w 774600"/>
                <a:gd name="connsiteY143" fmla="*/ 148157 h 259834"/>
                <a:gd name="connsiteX144" fmla="*/ 685510 w 774600"/>
                <a:gd name="connsiteY144" fmla="*/ 143643 h 259834"/>
                <a:gd name="connsiteX145" fmla="*/ 660505 w 774600"/>
                <a:gd name="connsiteY145" fmla="*/ 143643 h 2598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</a:cxnLst>
              <a:rect l="l" t="t" r="r" b="b"/>
              <a:pathLst>
                <a:path w="774600" h="259834">
                  <a:moveTo>
                    <a:pt x="174372" y="223015"/>
                  </a:moveTo>
                  <a:lnTo>
                    <a:pt x="174372" y="256362"/>
                  </a:lnTo>
                  <a:lnTo>
                    <a:pt x="4859" y="256362"/>
                  </a:lnTo>
                  <a:lnTo>
                    <a:pt x="4859" y="227704"/>
                  </a:lnTo>
                  <a:lnTo>
                    <a:pt x="87193" y="137913"/>
                  </a:lnTo>
                  <a:cubicBezTo>
                    <a:pt x="96211" y="127724"/>
                    <a:pt x="103336" y="118925"/>
                    <a:pt x="108541" y="111513"/>
                  </a:cubicBezTo>
                  <a:cubicBezTo>
                    <a:pt x="113760" y="104100"/>
                    <a:pt x="117403" y="97446"/>
                    <a:pt x="119499" y="91542"/>
                  </a:cubicBezTo>
                  <a:cubicBezTo>
                    <a:pt x="121697" y="85520"/>
                    <a:pt x="122797" y="79674"/>
                    <a:pt x="122797" y="73998"/>
                  </a:cubicBezTo>
                  <a:cubicBezTo>
                    <a:pt x="122797" y="66012"/>
                    <a:pt x="121284" y="59003"/>
                    <a:pt x="118278" y="52981"/>
                  </a:cubicBezTo>
                  <a:cubicBezTo>
                    <a:pt x="115374" y="46843"/>
                    <a:pt x="111099" y="42038"/>
                    <a:pt x="105413" y="38565"/>
                  </a:cubicBezTo>
                  <a:cubicBezTo>
                    <a:pt x="99747" y="34976"/>
                    <a:pt x="92860" y="33181"/>
                    <a:pt x="84752" y="33181"/>
                  </a:cubicBezTo>
                  <a:cubicBezTo>
                    <a:pt x="75374" y="33181"/>
                    <a:pt x="67510" y="35209"/>
                    <a:pt x="61138" y="39261"/>
                  </a:cubicBezTo>
                  <a:cubicBezTo>
                    <a:pt x="54766" y="43312"/>
                    <a:pt x="49956" y="48930"/>
                    <a:pt x="46712" y="56109"/>
                  </a:cubicBezTo>
                  <a:cubicBezTo>
                    <a:pt x="43482" y="63171"/>
                    <a:pt x="41853" y="71279"/>
                    <a:pt x="41853" y="80423"/>
                  </a:cubicBezTo>
                  <a:lnTo>
                    <a:pt x="0" y="80423"/>
                  </a:lnTo>
                  <a:cubicBezTo>
                    <a:pt x="0" y="65720"/>
                    <a:pt x="3366" y="52286"/>
                    <a:pt x="10083" y="40131"/>
                  </a:cubicBezTo>
                  <a:cubicBezTo>
                    <a:pt x="16800" y="27860"/>
                    <a:pt x="26517" y="18132"/>
                    <a:pt x="39261" y="10953"/>
                  </a:cubicBezTo>
                  <a:cubicBezTo>
                    <a:pt x="51989" y="3658"/>
                    <a:pt x="67325" y="10"/>
                    <a:pt x="85272" y="10"/>
                  </a:cubicBezTo>
                  <a:cubicBezTo>
                    <a:pt x="102189" y="10"/>
                    <a:pt x="116546" y="2845"/>
                    <a:pt x="128346" y="8521"/>
                  </a:cubicBezTo>
                  <a:cubicBezTo>
                    <a:pt x="140160" y="14193"/>
                    <a:pt x="149129" y="22242"/>
                    <a:pt x="155277" y="32660"/>
                  </a:cubicBezTo>
                  <a:cubicBezTo>
                    <a:pt x="161527" y="43079"/>
                    <a:pt x="164654" y="55413"/>
                    <a:pt x="164654" y="69655"/>
                  </a:cubicBezTo>
                  <a:cubicBezTo>
                    <a:pt x="164654" y="77529"/>
                    <a:pt x="163385" y="85345"/>
                    <a:pt x="160827" y="93103"/>
                  </a:cubicBezTo>
                  <a:cubicBezTo>
                    <a:pt x="158283" y="100861"/>
                    <a:pt x="154645" y="108619"/>
                    <a:pt x="149888" y="116376"/>
                  </a:cubicBezTo>
                  <a:cubicBezTo>
                    <a:pt x="145267" y="124017"/>
                    <a:pt x="139757" y="131717"/>
                    <a:pt x="133400" y="139475"/>
                  </a:cubicBezTo>
                  <a:cubicBezTo>
                    <a:pt x="127028" y="147116"/>
                    <a:pt x="120019" y="154873"/>
                    <a:pt x="112378" y="162748"/>
                  </a:cubicBezTo>
                  <a:lnTo>
                    <a:pt x="57675" y="223015"/>
                  </a:lnTo>
                  <a:lnTo>
                    <a:pt x="174377" y="223015"/>
                  </a:lnTo>
                  <a:close/>
                  <a:moveTo>
                    <a:pt x="371848" y="108735"/>
                  </a:moveTo>
                  <a:lnTo>
                    <a:pt x="371848" y="150068"/>
                  </a:lnTo>
                  <a:cubicBezTo>
                    <a:pt x="371848" y="169869"/>
                    <a:pt x="369873" y="186770"/>
                    <a:pt x="365938" y="200783"/>
                  </a:cubicBezTo>
                  <a:cubicBezTo>
                    <a:pt x="362125" y="214674"/>
                    <a:pt x="356561" y="225963"/>
                    <a:pt x="349260" y="234650"/>
                  </a:cubicBezTo>
                  <a:cubicBezTo>
                    <a:pt x="341960" y="243332"/>
                    <a:pt x="333219" y="249703"/>
                    <a:pt x="323035" y="253755"/>
                  </a:cubicBezTo>
                  <a:cubicBezTo>
                    <a:pt x="312971" y="257806"/>
                    <a:pt x="301668" y="259834"/>
                    <a:pt x="289168" y="259834"/>
                  </a:cubicBezTo>
                  <a:cubicBezTo>
                    <a:pt x="279221" y="259834"/>
                    <a:pt x="269951" y="258560"/>
                    <a:pt x="261381" y="256011"/>
                  </a:cubicBezTo>
                  <a:cubicBezTo>
                    <a:pt x="252933" y="253463"/>
                    <a:pt x="245287" y="249470"/>
                    <a:pt x="238468" y="244027"/>
                  </a:cubicBezTo>
                  <a:cubicBezTo>
                    <a:pt x="231634" y="238584"/>
                    <a:pt x="225773" y="231581"/>
                    <a:pt x="220914" y="223011"/>
                  </a:cubicBezTo>
                  <a:cubicBezTo>
                    <a:pt x="216172" y="214329"/>
                    <a:pt x="212466" y="203964"/>
                    <a:pt x="209800" y="191921"/>
                  </a:cubicBezTo>
                  <a:cubicBezTo>
                    <a:pt x="207256" y="179878"/>
                    <a:pt x="205972" y="165929"/>
                    <a:pt x="205972" y="150063"/>
                  </a:cubicBezTo>
                  <a:lnTo>
                    <a:pt x="205972" y="108730"/>
                  </a:lnTo>
                  <a:cubicBezTo>
                    <a:pt x="205972" y="88813"/>
                    <a:pt x="207947" y="72028"/>
                    <a:pt x="211882" y="58366"/>
                  </a:cubicBezTo>
                  <a:cubicBezTo>
                    <a:pt x="215831" y="44587"/>
                    <a:pt x="221430" y="33414"/>
                    <a:pt x="228730" y="24844"/>
                  </a:cubicBezTo>
                  <a:cubicBezTo>
                    <a:pt x="236031" y="16162"/>
                    <a:pt x="244722" y="9849"/>
                    <a:pt x="254786" y="5914"/>
                  </a:cubicBezTo>
                  <a:cubicBezTo>
                    <a:pt x="264970" y="1980"/>
                    <a:pt x="276323" y="10"/>
                    <a:pt x="288827" y="10"/>
                  </a:cubicBezTo>
                  <a:cubicBezTo>
                    <a:pt x="298910" y="10"/>
                    <a:pt x="308166" y="1284"/>
                    <a:pt x="316614" y="3833"/>
                  </a:cubicBezTo>
                  <a:cubicBezTo>
                    <a:pt x="325184" y="6265"/>
                    <a:pt x="332825" y="10141"/>
                    <a:pt x="339542" y="15467"/>
                  </a:cubicBezTo>
                  <a:cubicBezTo>
                    <a:pt x="346376" y="20793"/>
                    <a:pt x="352164" y="27743"/>
                    <a:pt x="356906" y="36308"/>
                  </a:cubicBezTo>
                  <a:cubicBezTo>
                    <a:pt x="361765" y="44762"/>
                    <a:pt x="365476" y="55010"/>
                    <a:pt x="368020" y="67048"/>
                  </a:cubicBezTo>
                  <a:cubicBezTo>
                    <a:pt x="370578" y="78974"/>
                    <a:pt x="371848" y="92870"/>
                    <a:pt x="371848" y="108730"/>
                  </a:cubicBezTo>
                  <a:close/>
                  <a:moveTo>
                    <a:pt x="329995" y="155978"/>
                  </a:moveTo>
                  <a:lnTo>
                    <a:pt x="329995" y="102485"/>
                  </a:lnTo>
                  <a:cubicBezTo>
                    <a:pt x="329995" y="92412"/>
                    <a:pt x="329411" y="83555"/>
                    <a:pt x="328258" y="75914"/>
                  </a:cubicBezTo>
                  <a:cubicBezTo>
                    <a:pt x="327091" y="68157"/>
                    <a:pt x="325355" y="61615"/>
                    <a:pt x="323039" y="56289"/>
                  </a:cubicBezTo>
                  <a:cubicBezTo>
                    <a:pt x="320841" y="50846"/>
                    <a:pt x="318059" y="46445"/>
                    <a:pt x="314708" y="43088"/>
                  </a:cubicBezTo>
                  <a:cubicBezTo>
                    <a:pt x="311342" y="39616"/>
                    <a:pt x="307529" y="37125"/>
                    <a:pt x="303234" y="35623"/>
                  </a:cubicBezTo>
                  <a:cubicBezTo>
                    <a:pt x="298959" y="34003"/>
                    <a:pt x="294148" y="33191"/>
                    <a:pt x="288823" y="33191"/>
                  </a:cubicBezTo>
                  <a:cubicBezTo>
                    <a:pt x="282349" y="33191"/>
                    <a:pt x="276542" y="34465"/>
                    <a:pt x="271459" y="37014"/>
                  </a:cubicBezTo>
                  <a:cubicBezTo>
                    <a:pt x="266357" y="39445"/>
                    <a:pt x="262081" y="43380"/>
                    <a:pt x="258613" y="48823"/>
                  </a:cubicBezTo>
                  <a:cubicBezTo>
                    <a:pt x="255126" y="54266"/>
                    <a:pt x="252466" y="61445"/>
                    <a:pt x="250608" y="70360"/>
                  </a:cubicBezTo>
                  <a:cubicBezTo>
                    <a:pt x="248871" y="79159"/>
                    <a:pt x="248015" y="89869"/>
                    <a:pt x="248015" y="102490"/>
                  </a:cubicBezTo>
                  <a:lnTo>
                    <a:pt x="248015" y="155982"/>
                  </a:lnTo>
                  <a:cubicBezTo>
                    <a:pt x="248015" y="166172"/>
                    <a:pt x="248584" y="175146"/>
                    <a:pt x="249752" y="182904"/>
                  </a:cubicBezTo>
                  <a:cubicBezTo>
                    <a:pt x="250904" y="190661"/>
                    <a:pt x="252636" y="197320"/>
                    <a:pt x="254956" y="202874"/>
                  </a:cubicBezTo>
                  <a:cubicBezTo>
                    <a:pt x="257276" y="208317"/>
                    <a:pt x="260058" y="212831"/>
                    <a:pt x="263302" y="216420"/>
                  </a:cubicBezTo>
                  <a:cubicBezTo>
                    <a:pt x="266653" y="219893"/>
                    <a:pt x="270481" y="222441"/>
                    <a:pt x="274756" y="224061"/>
                  </a:cubicBezTo>
                  <a:cubicBezTo>
                    <a:pt x="279153" y="225681"/>
                    <a:pt x="283964" y="226493"/>
                    <a:pt x="289168" y="226493"/>
                  </a:cubicBezTo>
                  <a:cubicBezTo>
                    <a:pt x="295778" y="226493"/>
                    <a:pt x="301619" y="225219"/>
                    <a:pt x="306721" y="222670"/>
                  </a:cubicBezTo>
                  <a:cubicBezTo>
                    <a:pt x="311804" y="220121"/>
                    <a:pt x="316099" y="216070"/>
                    <a:pt x="319567" y="210511"/>
                  </a:cubicBezTo>
                  <a:cubicBezTo>
                    <a:pt x="323035" y="204839"/>
                    <a:pt x="325646" y="197485"/>
                    <a:pt x="327383" y="188453"/>
                  </a:cubicBezTo>
                  <a:cubicBezTo>
                    <a:pt x="329119" y="179421"/>
                    <a:pt x="329995" y="168594"/>
                    <a:pt x="329995" y="155978"/>
                  </a:cubicBezTo>
                  <a:close/>
                  <a:moveTo>
                    <a:pt x="578701" y="223015"/>
                  </a:moveTo>
                  <a:lnTo>
                    <a:pt x="578701" y="256362"/>
                  </a:lnTo>
                  <a:lnTo>
                    <a:pt x="409187" y="256362"/>
                  </a:lnTo>
                  <a:lnTo>
                    <a:pt x="409187" y="227704"/>
                  </a:lnTo>
                  <a:lnTo>
                    <a:pt x="491507" y="137913"/>
                  </a:lnTo>
                  <a:cubicBezTo>
                    <a:pt x="500539" y="127724"/>
                    <a:pt x="507670" y="118925"/>
                    <a:pt x="512874" y="111513"/>
                  </a:cubicBezTo>
                  <a:cubicBezTo>
                    <a:pt x="518078" y="104100"/>
                    <a:pt x="521736" y="97446"/>
                    <a:pt x="523813" y="91542"/>
                  </a:cubicBezTo>
                  <a:cubicBezTo>
                    <a:pt x="526011" y="85520"/>
                    <a:pt x="527110" y="79674"/>
                    <a:pt x="527110" y="73998"/>
                  </a:cubicBezTo>
                  <a:cubicBezTo>
                    <a:pt x="527110" y="66012"/>
                    <a:pt x="525617" y="59003"/>
                    <a:pt x="522592" y="52981"/>
                  </a:cubicBezTo>
                  <a:cubicBezTo>
                    <a:pt x="519708" y="46843"/>
                    <a:pt x="515413" y="42038"/>
                    <a:pt x="509746" y="38565"/>
                  </a:cubicBezTo>
                  <a:cubicBezTo>
                    <a:pt x="504080" y="34976"/>
                    <a:pt x="497193" y="33181"/>
                    <a:pt x="489085" y="33181"/>
                  </a:cubicBezTo>
                  <a:cubicBezTo>
                    <a:pt x="479708" y="33181"/>
                    <a:pt x="471823" y="35209"/>
                    <a:pt x="465452" y="39261"/>
                  </a:cubicBezTo>
                  <a:cubicBezTo>
                    <a:pt x="459095" y="43312"/>
                    <a:pt x="454289" y="48930"/>
                    <a:pt x="451040" y="56109"/>
                  </a:cubicBezTo>
                  <a:cubicBezTo>
                    <a:pt x="447796" y="63171"/>
                    <a:pt x="446181" y="71279"/>
                    <a:pt x="446181" y="80423"/>
                  </a:cubicBezTo>
                  <a:lnTo>
                    <a:pt x="404328" y="80423"/>
                  </a:lnTo>
                  <a:cubicBezTo>
                    <a:pt x="404328" y="65720"/>
                    <a:pt x="407679" y="52286"/>
                    <a:pt x="414391" y="40131"/>
                  </a:cubicBezTo>
                  <a:cubicBezTo>
                    <a:pt x="421108" y="27860"/>
                    <a:pt x="430846" y="18132"/>
                    <a:pt x="443569" y="10953"/>
                  </a:cubicBezTo>
                  <a:cubicBezTo>
                    <a:pt x="456313" y="3658"/>
                    <a:pt x="471648" y="10"/>
                    <a:pt x="489596" y="10"/>
                  </a:cubicBezTo>
                  <a:cubicBezTo>
                    <a:pt x="506497" y="10"/>
                    <a:pt x="520855" y="2845"/>
                    <a:pt x="532670" y="8521"/>
                  </a:cubicBezTo>
                  <a:cubicBezTo>
                    <a:pt x="544484" y="14193"/>
                    <a:pt x="553453" y="22242"/>
                    <a:pt x="559581" y="32660"/>
                  </a:cubicBezTo>
                  <a:cubicBezTo>
                    <a:pt x="565831" y="43079"/>
                    <a:pt x="568958" y="55413"/>
                    <a:pt x="568958" y="69655"/>
                  </a:cubicBezTo>
                  <a:cubicBezTo>
                    <a:pt x="568958" y="77529"/>
                    <a:pt x="567689" y="85345"/>
                    <a:pt x="565145" y="93103"/>
                  </a:cubicBezTo>
                  <a:cubicBezTo>
                    <a:pt x="562601" y="100861"/>
                    <a:pt x="558944" y="108619"/>
                    <a:pt x="554207" y="116376"/>
                  </a:cubicBezTo>
                  <a:cubicBezTo>
                    <a:pt x="549571" y="124017"/>
                    <a:pt x="544075" y="131717"/>
                    <a:pt x="537704" y="139475"/>
                  </a:cubicBezTo>
                  <a:cubicBezTo>
                    <a:pt x="531332" y="147116"/>
                    <a:pt x="524323" y="154873"/>
                    <a:pt x="516697" y="162748"/>
                  </a:cubicBezTo>
                  <a:lnTo>
                    <a:pt x="461979" y="223015"/>
                  </a:lnTo>
                  <a:lnTo>
                    <a:pt x="578701" y="223015"/>
                  </a:lnTo>
                  <a:close/>
                  <a:moveTo>
                    <a:pt x="660505" y="110992"/>
                  </a:moveTo>
                  <a:lnTo>
                    <a:pt x="685510" y="110992"/>
                  </a:lnTo>
                  <a:cubicBezTo>
                    <a:pt x="695233" y="110992"/>
                    <a:pt x="703287" y="109314"/>
                    <a:pt x="709639" y="105953"/>
                  </a:cubicBezTo>
                  <a:cubicBezTo>
                    <a:pt x="716132" y="102597"/>
                    <a:pt x="720943" y="97962"/>
                    <a:pt x="724065" y="92057"/>
                  </a:cubicBezTo>
                  <a:cubicBezTo>
                    <a:pt x="727188" y="86153"/>
                    <a:pt x="728754" y="79377"/>
                    <a:pt x="728754" y="71736"/>
                  </a:cubicBezTo>
                  <a:cubicBezTo>
                    <a:pt x="728754" y="64095"/>
                    <a:pt x="727295" y="56916"/>
                    <a:pt x="724411" y="51240"/>
                  </a:cubicBezTo>
                  <a:cubicBezTo>
                    <a:pt x="721628" y="45452"/>
                    <a:pt x="717353" y="40992"/>
                    <a:pt x="711565" y="37865"/>
                  </a:cubicBezTo>
                  <a:cubicBezTo>
                    <a:pt x="705879" y="34737"/>
                    <a:pt x="698652" y="33176"/>
                    <a:pt x="689858" y="33176"/>
                  </a:cubicBezTo>
                  <a:cubicBezTo>
                    <a:pt x="682441" y="33176"/>
                    <a:pt x="675724" y="34684"/>
                    <a:pt x="669712" y="37690"/>
                  </a:cubicBezTo>
                  <a:cubicBezTo>
                    <a:pt x="663803" y="40584"/>
                    <a:pt x="659114" y="44752"/>
                    <a:pt x="655626" y="50195"/>
                  </a:cubicBezTo>
                  <a:cubicBezTo>
                    <a:pt x="652159" y="55520"/>
                    <a:pt x="650422" y="61887"/>
                    <a:pt x="650422" y="69300"/>
                  </a:cubicBezTo>
                  <a:lnTo>
                    <a:pt x="608394" y="69300"/>
                  </a:lnTo>
                  <a:cubicBezTo>
                    <a:pt x="608394" y="55871"/>
                    <a:pt x="611916" y="43945"/>
                    <a:pt x="618992" y="33521"/>
                  </a:cubicBezTo>
                  <a:cubicBezTo>
                    <a:pt x="626050" y="23103"/>
                    <a:pt x="635670" y="14937"/>
                    <a:pt x="647810" y="9032"/>
                  </a:cubicBezTo>
                  <a:cubicBezTo>
                    <a:pt x="660092" y="3011"/>
                    <a:pt x="673866" y="0"/>
                    <a:pt x="689148" y="0"/>
                  </a:cubicBezTo>
                  <a:cubicBezTo>
                    <a:pt x="705480" y="0"/>
                    <a:pt x="719717" y="2724"/>
                    <a:pt x="731876" y="8161"/>
                  </a:cubicBezTo>
                  <a:cubicBezTo>
                    <a:pt x="744138" y="13487"/>
                    <a:pt x="753705" y="21479"/>
                    <a:pt x="760524" y="32130"/>
                  </a:cubicBezTo>
                  <a:cubicBezTo>
                    <a:pt x="767358" y="42782"/>
                    <a:pt x="770777" y="55982"/>
                    <a:pt x="770777" y="71731"/>
                  </a:cubicBezTo>
                  <a:cubicBezTo>
                    <a:pt x="770777" y="78910"/>
                    <a:pt x="769094" y="86206"/>
                    <a:pt x="765743" y="93614"/>
                  </a:cubicBezTo>
                  <a:cubicBezTo>
                    <a:pt x="762378" y="101026"/>
                    <a:pt x="757397" y="107797"/>
                    <a:pt x="750802" y="113935"/>
                  </a:cubicBezTo>
                  <a:cubicBezTo>
                    <a:pt x="744206" y="119956"/>
                    <a:pt x="735982" y="124873"/>
                    <a:pt x="726137" y="128696"/>
                  </a:cubicBezTo>
                  <a:cubicBezTo>
                    <a:pt x="716298" y="132403"/>
                    <a:pt x="704892" y="134256"/>
                    <a:pt x="691925" y="134256"/>
                  </a:cubicBezTo>
                  <a:lnTo>
                    <a:pt x="660495" y="134256"/>
                  </a:lnTo>
                  <a:lnTo>
                    <a:pt x="660495" y="110982"/>
                  </a:lnTo>
                  <a:close/>
                  <a:moveTo>
                    <a:pt x="660505" y="143643"/>
                  </a:moveTo>
                  <a:lnTo>
                    <a:pt x="660505" y="120715"/>
                  </a:lnTo>
                  <a:lnTo>
                    <a:pt x="691935" y="120715"/>
                  </a:lnTo>
                  <a:cubicBezTo>
                    <a:pt x="706755" y="120715"/>
                    <a:pt x="719381" y="122451"/>
                    <a:pt x="729790" y="125924"/>
                  </a:cubicBezTo>
                  <a:cubicBezTo>
                    <a:pt x="740335" y="129397"/>
                    <a:pt x="748905" y="134202"/>
                    <a:pt x="755500" y="140340"/>
                  </a:cubicBezTo>
                  <a:cubicBezTo>
                    <a:pt x="762095" y="146362"/>
                    <a:pt x="766906" y="153249"/>
                    <a:pt x="769911" y="161007"/>
                  </a:cubicBezTo>
                  <a:cubicBezTo>
                    <a:pt x="773039" y="168764"/>
                    <a:pt x="774600" y="176984"/>
                    <a:pt x="774600" y="185671"/>
                  </a:cubicBezTo>
                  <a:cubicBezTo>
                    <a:pt x="774600" y="197480"/>
                    <a:pt x="772470" y="208015"/>
                    <a:pt x="768175" y="217281"/>
                  </a:cubicBezTo>
                  <a:cubicBezTo>
                    <a:pt x="764016" y="226430"/>
                    <a:pt x="758044" y="234188"/>
                    <a:pt x="750296" y="240554"/>
                  </a:cubicBezTo>
                  <a:cubicBezTo>
                    <a:pt x="742533" y="246921"/>
                    <a:pt x="733447" y="251726"/>
                    <a:pt x="723024" y="254971"/>
                  </a:cubicBezTo>
                  <a:cubicBezTo>
                    <a:pt x="712718" y="258215"/>
                    <a:pt x="701487" y="259834"/>
                    <a:pt x="689328" y="259834"/>
                  </a:cubicBezTo>
                  <a:cubicBezTo>
                    <a:pt x="678457" y="259834"/>
                    <a:pt x="668029" y="258327"/>
                    <a:pt x="658068" y="255316"/>
                  </a:cubicBezTo>
                  <a:cubicBezTo>
                    <a:pt x="648107" y="252305"/>
                    <a:pt x="639192" y="247850"/>
                    <a:pt x="631327" y="241945"/>
                  </a:cubicBezTo>
                  <a:cubicBezTo>
                    <a:pt x="623443" y="235924"/>
                    <a:pt x="617193" y="228458"/>
                    <a:pt x="612572" y="219543"/>
                  </a:cubicBezTo>
                  <a:cubicBezTo>
                    <a:pt x="608054" y="210511"/>
                    <a:pt x="605787" y="200092"/>
                    <a:pt x="605787" y="188283"/>
                  </a:cubicBezTo>
                  <a:lnTo>
                    <a:pt x="647640" y="188283"/>
                  </a:lnTo>
                  <a:cubicBezTo>
                    <a:pt x="647640" y="195807"/>
                    <a:pt x="649377" y="202466"/>
                    <a:pt x="652859" y="208254"/>
                  </a:cubicBezTo>
                  <a:cubicBezTo>
                    <a:pt x="656449" y="213925"/>
                    <a:pt x="661429" y="218385"/>
                    <a:pt x="667786" y="221624"/>
                  </a:cubicBezTo>
                  <a:cubicBezTo>
                    <a:pt x="674279" y="224869"/>
                    <a:pt x="681682" y="226488"/>
                    <a:pt x="690028" y="226488"/>
                  </a:cubicBezTo>
                  <a:cubicBezTo>
                    <a:pt x="698822" y="226488"/>
                    <a:pt x="706415" y="224927"/>
                    <a:pt x="712767" y="221799"/>
                  </a:cubicBezTo>
                  <a:cubicBezTo>
                    <a:pt x="719138" y="218672"/>
                    <a:pt x="723997" y="214042"/>
                    <a:pt x="727363" y="207904"/>
                  </a:cubicBezTo>
                  <a:cubicBezTo>
                    <a:pt x="730831" y="201765"/>
                    <a:pt x="732567" y="194358"/>
                    <a:pt x="732567" y="185671"/>
                  </a:cubicBezTo>
                  <a:cubicBezTo>
                    <a:pt x="732567" y="175827"/>
                    <a:pt x="730660" y="167840"/>
                    <a:pt x="726847" y="161702"/>
                  </a:cubicBezTo>
                  <a:cubicBezTo>
                    <a:pt x="723019" y="155564"/>
                    <a:pt x="717572" y="151050"/>
                    <a:pt x="710515" y="148157"/>
                  </a:cubicBezTo>
                  <a:cubicBezTo>
                    <a:pt x="703457" y="145146"/>
                    <a:pt x="695111" y="143643"/>
                    <a:pt x="685510" y="143643"/>
                  </a:cubicBezTo>
                  <a:lnTo>
                    <a:pt x="660505" y="143643"/>
                  </a:lnTo>
                  <a:close/>
                </a:path>
              </a:pathLst>
            </a:custGeom>
            <a:solidFill>
              <a:srgbClr val="EE3431"/>
            </a:solidFill>
            <a:ln w="4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8" name="Полилиния: фигура 47">
              <a:extLst>
                <a:ext uri="{FF2B5EF4-FFF2-40B4-BE49-F238E27FC236}">
                  <a16:creationId xmlns:a16="http://schemas.microsoft.com/office/drawing/2014/main" id="{C3ADAD60-17B9-4A06-AE0E-BCB35AB4E7E8}"/>
                </a:ext>
              </a:extLst>
            </p:cNvPr>
            <p:cNvSpPr/>
            <p:nvPr/>
          </p:nvSpPr>
          <p:spPr>
            <a:xfrm>
              <a:off x="8902858" y="5870060"/>
              <a:ext cx="774600" cy="259829"/>
            </a:xfrm>
            <a:custGeom>
              <a:avLst/>
              <a:gdLst>
                <a:gd name="connsiteX0" fmla="*/ 174372 w 774600"/>
                <a:gd name="connsiteY0" fmla="*/ 223011 h 259829"/>
                <a:gd name="connsiteX1" fmla="*/ 174372 w 774600"/>
                <a:gd name="connsiteY1" fmla="*/ 256357 h 259829"/>
                <a:gd name="connsiteX2" fmla="*/ 4859 w 774600"/>
                <a:gd name="connsiteY2" fmla="*/ 256357 h 259829"/>
                <a:gd name="connsiteX3" fmla="*/ 4859 w 774600"/>
                <a:gd name="connsiteY3" fmla="*/ 227699 h 259829"/>
                <a:gd name="connsiteX4" fmla="*/ 87193 w 774600"/>
                <a:gd name="connsiteY4" fmla="*/ 137908 h 259829"/>
                <a:gd name="connsiteX5" fmla="*/ 108541 w 774600"/>
                <a:gd name="connsiteY5" fmla="*/ 111508 h 259829"/>
                <a:gd name="connsiteX6" fmla="*/ 119499 w 774600"/>
                <a:gd name="connsiteY6" fmla="*/ 91537 h 259829"/>
                <a:gd name="connsiteX7" fmla="*/ 122797 w 774600"/>
                <a:gd name="connsiteY7" fmla="*/ 73993 h 259829"/>
                <a:gd name="connsiteX8" fmla="*/ 118278 w 774600"/>
                <a:gd name="connsiteY8" fmla="*/ 52977 h 259829"/>
                <a:gd name="connsiteX9" fmla="*/ 105413 w 774600"/>
                <a:gd name="connsiteY9" fmla="*/ 38560 h 259829"/>
                <a:gd name="connsiteX10" fmla="*/ 84752 w 774600"/>
                <a:gd name="connsiteY10" fmla="*/ 33176 h 259829"/>
                <a:gd name="connsiteX11" fmla="*/ 61138 w 774600"/>
                <a:gd name="connsiteY11" fmla="*/ 39256 h 259829"/>
                <a:gd name="connsiteX12" fmla="*/ 46712 w 774600"/>
                <a:gd name="connsiteY12" fmla="*/ 56104 h 259829"/>
                <a:gd name="connsiteX13" fmla="*/ 41853 w 774600"/>
                <a:gd name="connsiteY13" fmla="*/ 80418 h 259829"/>
                <a:gd name="connsiteX14" fmla="*/ 0 w 774600"/>
                <a:gd name="connsiteY14" fmla="*/ 80418 h 259829"/>
                <a:gd name="connsiteX15" fmla="*/ 10083 w 774600"/>
                <a:gd name="connsiteY15" fmla="*/ 40126 h 259829"/>
                <a:gd name="connsiteX16" fmla="*/ 39261 w 774600"/>
                <a:gd name="connsiteY16" fmla="*/ 10948 h 259829"/>
                <a:gd name="connsiteX17" fmla="*/ 85272 w 774600"/>
                <a:gd name="connsiteY17" fmla="*/ 5 h 259829"/>
                <a:gd name="connsiteX18" fmla="*/ 128346 w 774600"/>
                <a:gd name="connsiteY18" fmla="*/ 8517 h 259829"/>
                <a:gd name="connsiteX19" fmla="*/ 155277 w 774600"/>
                <a:gd name="connsiteY19" fmla="*/ 32660 h 259829"/>
                <a:gd name="connsiteX20" fmla="*/ 164654 w 774600"/>
                <a:gd name="connsiteY20" fmla="*/ 69655 h 259829"/>
                <a:gd name="connsiteX21" fmla="*/ 160827 w 774600"/>
                <a:gd name="connsiteY21" fmla="*/ 93103 h 259829"/>
                <a:gd name="connsiteX22" fmla="*/ 149888 w 774600"/>
                <a:gd name="connsiteY22" fmla="*/ 116376 h 259829"/>
                <a:gd name="connsiteX23" fmla="*/ 133400 w 774600"/>
                <a:gd name="connsiteY23" fmla="*/ 139475 h 259829"/>
                <a:gd name="connsiteX24" fmla="*/ 112378 w 774600"/>
                <a:gd name="connsiteY24" fmla="*/ 162748 h 259829"/>
                <a:gd name="connsiteX25" fmla="*/ 57675 w 774600"/>
                <a:gd name="connsiteY25" fmla="*/ 223015 h 259829"/>
                <a:gd name="connsiteX26" fmla="*/ 174377 w 774600"/>
                <a:gd name="connsiteY26" fmla="*/ 223015 h 259829"/>
                <a:gd name="connsiteX27" fmla="*/ 371848 w 774600"/>
                <a:gd name="connsiteY27" fmla="*/ 108730 h 259829"/>
                <a:gd name="connsiteX28" fmla="*/ 371848 w 774600"/>
                <a:gd name="connsiteY28" fmla="*/ 150063 h 259829"/>
                <a:gd name="connsiteX29" fmla="*/ 365938 w 774600"/>
                <a:gd name="connsiteY29" fmla="*/ 200778 h 259829"/>
                <a:gd name="connsiteX30" fmla="*/ 349260 w 774600"/>
                <a:gd name="connsiteY30" fmla="*/ 234645 h 259829"/>
                <a:gd name="connsiteX31" fmla="*/ 323035 w 774600"/>
                <a:gd name="connsiteY31" fmla="*/ 253750 h 259829"/>
                <a:gd name="connsiteX32" fmla="*/ 289168 w 774600"/>
                <a:gd name="connsiteY32" fmla="*/ 259830 h 259829"/>
                <a:gd name="connsiteX33" fmla="*/ 261381 w 774600"/>
                <a:gd name="connsiteY33" fmla="*/ 256011 h 259829"/>
                <a:gd name="connsiteX34" fmla="*/ 238468 w 774600"/>
                <a:gd name="connsiteY34" fmla="*/ 244027 h 259829"/>
                <a:gd name="connsiteX35" fmla="*/ 220914 w 774600"/>
                <a:gd name="connsiteY35" fmla="*/ 223011 h 259829"/>
                <a:gd name="connsiteX36" fmla="*/ 209800 w 774600"/>
                <a:gd name="connsiteY36" fmla="*/ 191921 h 259829"/>
                <a:gd name="connsiteX37" fmla="*/ 205972 w 774600"/>
                <a:gd name="connsiteY37" fmla="*/ 150063 h 259829"/>
                <a:gd name="connsiteX38" fmla="*/ 205972 w 774600"/>
                <a:gd name="connsiteY38" fmla="*/ 108730 h 259829"/>
                <a:gd name="connsiteX39" fmla="*/ 211882 w 774600"/>
                <a:gd name="connsiteY39" fmla="*/ 58366 h 259829"/>
                <a:gd name="connsiteX40" fmla="*/ 228730 w 774600"/>
                <a:gd name="connsiteY40" fmla="*/ 24844 h 259829"/>
                <a:gd name="connsiteX41" fmla="*/ 254786 w 774600"/>
                <a:gd name="connsiteY41" fmla="*/ 5914 h 259829"/>
                <a:gd name="connsiteX42" fmla="*/ 288827 w 774600"/>
                <a:gd name="connsiteY42" fmla="*/ 10 h 259829"/>
                <a:gd name="connsiteX43" fmla="*/ 316614 w 774600"/>
                <a:gd name="connsiteY43" fmla="*/ 3833 h 259829"/>
                <a:gd name="connsiteX44" fmla="*/ 339542 w 774600"/>
                <a:gd name="connsiteY44" fmla="*/ 15467 h 259829"/>
                <a:gd name="connsiteX45" fmla="*/ 356906 w 774600"/>
                <a:gd name="connsiteY45" fmla="*/ 36308 h 259829"/>
                <a:gd name="connsiteX46" fmla="*/ 368020 w 774600"/>
                <a:gd name="connsiteY46" fmla="*/ 67048 h 259829"/>
                <a:gd name="connsiteX47" fmla="*/ 371848 w 774600"/>
                <a:gd name="connsiteY47" fmla="*/ 108730 h 259829"/>
                <a:gd name="connsiteX48" fmla="*/ 329995 w 774600"/>
                <a:gd name="connsiteY48" fmla="*/ 155968 h 259829"/>
                <a:gd name="connsiteX49" fmla="*/ 329995 w 774600"/>
                <a:gd name="connsiteY49" fmla="*/ 102476 h 259829"/>
                <a:gd name="connsiteX50" fmla="*/ 328258 w 774600"/>
                <a:gd name="connsiteY50" fmla="*/ 75905 h 259829"/>
                <a:gd name="connsiteX51" fmla="*/ 323039 w 774600"/>
                <a:gd name="connsiteY51" fmla="*/ 56279 h 259829"/>
                <a:gd name="connsiteX52" fmla="*/ 314708 w 774600"/>
                <a:gd name="connsiteY52" fmla="*/ 43079 h 259829"/>
                <a:gd name="connsiteX53" fmla="*/ 303234 w 774600"/>
                <a:gd name="connsiteY53" fmla="*/ 35613 h 259829"/>
                <a:gd name="connsiteX54" fmla="*/ 288823 w 774600"/>
                <a:gd name="connsiteY54" fmla="*/ 33181 h 259829"/>
                <a:gd name="connsiteX55" fmla="*/ 271459 w 774600"/>
                <a:gd name="connsiteY55" fmla="*/ 37004 h 259829"/>
                <a:gd name="connsiteX56" fmla="*/ 258613 w 774600"/>
                <a:gd name="connsiteY56" fmla="*/ 48813 h 259829"/>
                <a:gd name="connsiteX57" fmla="*/ 250608 w 774600"/>
                <a:gd name="connsiteY57" fmla="*/ 70350 h 259829"/>
                <a:gd name="connsiteX58" fmla="*/ 248015 w 774600"/>
                <a:gd name="connsiteY58" fmla="*/ 102480 h 259829"/>
                <a:gd name="connsiteX59" fmla="*/ 248015 w 774600"/>
                <a:gd name="connsiteY59" fmla="*/ 155973 h 259829"/>
                <a:gd name="connsiteX60" fmla="*/ 249752 w 774600"/>
                <a:gd name="connsiteY60" fmla="*/ 182894 h 259829"/>
                <a:gd name="connsiteX61" fmla="*/ 254956 w 774600"/>
                <a:gd name="connsiteY61" fmla="*/ 202865 h 259829"/>
                <a:gd name="connsiteX62" fmla="*/ 263302 w 774600"/>
                <a:gd name="connsiteY62" fmla="*/ 216410 h 259829"/>
                <a:gd name="connsiteX63" fmla="*/ 274756 w 774600"/>
                <a:gd name="connsiteY63" fmla="*/ 224051 h 259829"/>
                <a:gd name="connsiteX64" fmla="*/ 289168 w 774600"/>
                <a:gd name="connsiteY64" fmla="*/ 226483 h 259829"/>
                <a:gd name="connsiteX65" fmla="*/ 306721 w 774600"/>
                <a:gd name="connsiteY65" fmla="*/ 222660 h 259829"/>
                <a:gd name="connsiteX66" fmla="*/ 319567 w 774600"/>
                <a:gd name="connsiteY66" fmla="*/ 210501 h 259829"/>
                <a:gd name="connsiteX67" fmla="*/ 327383 w 774600"/>
                <a:gd name="connsiteY67" fmla="*/ 188443 h 259829"/>
                <a:gd name="connsiteX68" fmla="*/ 329995 w 774600"/>
                <a:gd name="connsiteY68" fmla="*/ 155963 h 259829"/>
                <a:gd name="connsiteX69" fmla="*/ 578701 w 774600"/>
                <a:gd name="connsiteY69" fmla="*/ 223006 h 259829"/>
                <a:gd name="connsiteX70" fmla="*/ 578701 w 774600"/>
                <a:gd name="connsiteY70" fmla="*/ 256352 h 259829"/>
                <a:gd name="connsiteX71" fmla="*/ 409187 w 774600"/>
                <a:gd name="connsiteY71" fmla="*/ 256352 h 259829"/>
                <a:gd name="connsiteX72" fmla="*/ 409187 w 774600"/>
                <a:gd name="connsiteY72" fmla="*/ 227694 h 259829"/>
                <a:gd name="connsiteX73" fmla="*/ 491507 w 774600"/>
                <a:gd name="connsiteY73" fmla="*/ 137904 h 259829"/>
                <a:gd name="connsiteX74" fmla="*/ 512874 w 774600"/>
                <a:gd name="connsiteY74" fmla="*/ 111503 h 259829"/>
                <a:gd name="connsiteX75" fmla="*/ 523813 w 774600"/>
                <a:gd name="connsiteY75" fmla="*/ 91532 h 259829"/>
                <a:gd name="connsiteX76" fmla="*/ 527110 w 774600"/>
                <a:gd name="connsiteY76" fmla="*/ 73988 h 259829"/>
                <a:gd name="connsiteX77" fmla="*/ 522592 w 774600"/>
                <a:gd name="connsiteY77" fmla="*/ 52972 h 259829"/>
                <a:gd name="connsiteX78" fmla="*/ 509746 w 774600"/>
                <a:gd name="connsiteY78" fmla="*/ 38555 h 259829"/>
                <a:gd name="connsiteX79" fmla="*/ 489085 w 774600"/>
                <a:gd name="connsiteY79" fmla="*/ 33171 h 259829"/>
                <a:gd name="connsiteX80" fmla="*/ 465452 w 774600"/>
                <a:gd name="connsiteY80" fmla="*/ 39251 h 259829"/>
                <a:gd name="connsiteX81" fmla="*/ 451040 w 774600"/>
                <a:gd name="connsiteY81" fmla="*/ 56099 h 259829"/>
                <a:gd name="connsiteX82" fmla="*/ 446181 w 774600"/>
                <a:gd name="connsiteY82" fmla="*/ 80413 h 259829"/>
                <a:gd name="connsiteX83" fmla="*/ 404328 w 774600"/>
                <a:gd name="connsiteY83" fmla="*/ 80413 h 259829"/>
                <a:gd name="connsiteX84" fmla="*/ 414391 w 774600"/>
                <a:gd name="connsiteY84" fmla="*/ 40122 h 259829"/>
                <a:gd name="connsiteX85" fmla="*/ 443569 w 774600"/>
                <a:gd name="connsiteY85" fmla="*/ 10944 h 259829"/>
                <a:gd name="connsiteX86" fmla="*/ 489596 w 774600"/>
                <a:gd name="connsiteY86" fmla="*/ 0 h 259829"/>
                <a:gd name="connsiteX87" fmla="*/ 532670 w 774600"/>
                <a:gd name="connsiteY87" fmla="*/ 8512 h 259829"/>
                <a:gd name="connsiteX88" fmla="*/ 559581 w 774600"/>
                <a:gd name="connsiteY88" fmla="*/ 32656 h 259829"/>
                <a:gd name="connsiteX89" fmla="*/ 568958 w 774600"/>
                <a:gd name="connsiteY89" fmla="*/ 69650 h 259829"/>
                <a:gd name="connsiteX90" fmla="*/ 565145 w 774600"/>
                <a:gd name="connsiteY90" fmla="*/ 93098 h 259829"/>
                <a:gd name="connsiteX91" fmla="*/ 554207 w 774600"/>
                <a:gd name="connsiteY91" fmla="*/ 116372 h 259829"/>
                <a:gd name="connsiteX92" fmla="*/ 537704 w 774600"/>
                <a:gd name="connsiteY92" fmla="*/ 139470 h 259829"/>
                <a:gd name="connsiteX93" fmla="*/ 516697 w 774600"/>
                <a:gd name="connsiteY93" fmla="*/ 162743 h 259829"/>
                <a:gd name="connsiteX94" fmla="*/ 461979 w 774600"/>
                <a:gd name="connsiteY94" fmla="*/ 223011 h 259829"/>
                <a:gd name="connsiteX95" fmla="*/ 578701 w 774600"/>
                <a:gd name="connsiteY95" fmla="*/ 223011 h 259829"/>
                <a:gd name="connsiteX96" fmla="*/ 660505 w 774600"/>
                <a:gd name="connsiteY96" fmla="*/ 110982 h 259829"/>
                <a:gd name="connsiteX97" fmla="*/ 685510 w 774600"/>
                <a:gd name="connsiteY97" fmla="*/ 110982 h 259829"/>
                <a:gd name="connsiteX98" fmla="*/ 709639 w 774600"/>
                <a:gd name="connsiteY98" fmla="*/ 105948 h 259829"/>
                <a:gd name="connsiteX99" fmla="*/ 724065 w 774600"/>
                <a:gd name="connsiteY99" fmla="*/ 92052 h 259829"/>
                <a:gd name="connsiteX100" fmla="*/ 728754 w 774600"/>
                <a:gd name="connsiteY100" fmla="*/ 71731 h 259829"/>
                <a:gd name="connsiteX101" fmla="*/ 724411 w 774600"/>
                <a:gd name="connsiteY101" fmla="*/ 51240 h 259829"/>
                <a:gd name="connsiteX102" fmla="*/ 711565 w 774600"/>
                <a:gd name="connsiteY102" fmla="*/ 37865 h 259829"/>
                <a:gd name="connsiteX103" fmla="*/ 689858 w 774600"/>
                <a:gd name="connsiteY103" fmla="*/ 33176 h 259829"/>
                <a:gd name="connsiteX104" fmla="*/ 669712 w 774600"/>
                <a:gd name="connsiteY104" fmla="*/ 37690 h 259829"/>
                <a:gd name="connsiteX105" fmla="*/ 655626 w 774600"/>
                <a:gd name="connsiteY105" fmla="*/ 50195 h 259829"/>
                <a:gd name="connsiteX106" fmla="*/ 650422 w 774600"/>
                <a:gd name="connsiteY106" fmla="*/ 69300 h 259829"/>
                <a:gd name="connsiteX107" fmla="*/ 608394 w 774600"/>
                <a:gd name="connsiteY107" fmla="*/ 69300 h 259829"/>
                <a:gd name="connsiteX108" fmla="*/ 618992 w 774600"/>
                <a:gd name="connsiteY108" fmla="*/ 33521 h 259829"/>
                <a:gd name="connsiteX109" fmla="*/ 647810 w 774600"/>
                <a:gd name="connsiteY109" fmla="*/ 9032 h 259829"/>
                <a:gd name="connsiteX110" fmla="*/ 689148 w 774600"/>
                <a:gd name="connsiteY110" fmla="*/ 0 h 259829"/>
                <a:gd name="connsiteX111" fmla="*/ 731876 w 774600"/>
                <a:gd name="connsiteY111" fmla="*/ 8161 h 259829"/>
                <a:gd name="connsiteX112" fmla="*/ 760524 w 774600"/>
                <a:gd name="connsiteY112" fmla="*/ 32130 h 259829"/>
                <a:gd name="connsiteX113" fmla="*/ 770777 w 774600"/>
                <a:gd name="connsiteY113" fmla="*/ 71727 h 259829"/>
                <a:gd name="connsiteX114" fmla="*/ 765743 w 774600"/>
                <a:gd name="connsiteY114" fmla="*/ 93609 h 259829"/>
                <a:gd name="connsiteX115" fmla="*/ 750802 w 774600"/>
                <a:gd name="connsiteY115" fmla="*/ 113930 h 259829"/>
                <a:gd name="connsiteX116" fmla="*/ 726137 w 774600"/>
                <a:gd name="connsiteY116" fmla="*/ 128692 h 259829"/>
                <a:gd name="connsiteX117" fmla="*/ 691925 w 774600"/>
                <a:gd name="connsiteY117" fmla="*/ 134251 h 259829"/>
                <a:gd name="connsiteX118" fmla="*/ 660495 w 774600"/>
                <a:gd name="connsiteY118" fmla="*/ 134251 h 259829"/>
                <a:gd name="connsiteX119" fmla="*/ 660495 w 774600"/>
                <a:gd name="connsiteY119" fmla="*/ 110978 h 259829"/>
                <a:gd name="connsiteX120" fmla="*/ 660505 w 774600"/>
                <a:gd name="connsiteY120" fmla="*/ 143633 h 259829"/>
                <a:gd name="connsiteX121" fmla="*/ 660505 w 774600"/>
                <a:gd name="connsiteY121" fmla="*/ 120705 h 259829"/>
                <a:gd name="connsiteX122" fmla="*/ 691935 w 774600"/>
                <a:gd name="connsiteY122" fmla="*/ 120705 h 259829"/>
                <a:gd name="connsiteX123" fmla="*/ 729790 w 774600"/>
                <a:gd name="connsiteY123" fmla="*/ 125914 h 259829"/>
                <a:gd name="connsiteX124" fmla="*/ 755500 w 774600"/>
                <a:gd name="connsiteY124" fmla="*/ 140331 h 259829"/>
                <a:gd name="connsiteX125" fmla="*/ 769911 w 774600"/>
                <a:gd name="connsiteY125" fmla="*/ 160997 h 259829"/>
                <a:gd name="connsiteX126" fmla="*/ 774600 w 774600"/>
                <a:gd name="connsiteY126" fmla="*/ 185661 h 259829"/>
                <a:gd name="connsiteX127" fmla="*/ 768175 w 774600"/>
                <a:gd name="connsiteY127" fmla="*/ 217271 h 259829"/>
                <a:gd name="connsiteX128" fmla="*/ 750296 w 774600"/>
                <a:gd name="connsiteY128" fmla="*/ 240545 h 259829"/>
                <a:gd name="connsiteX129" fmla="*/ 723024 w 774600"/>
                <a:gd name="connsiteY129" fmla="*/ 254961 h 259829"/>
                <a:gd name="connsiteX130" fmla="*/ 689328 w 774600"/>
                <a:gd name="connsiteY130" fmla="*/ 259825 h 259829"/>
                <a:gd name="connsiteX131" fmla="*/ 658068 w 774600"/>
                <a:gd name="connsiteY131" fmla="*/ 255311 h 259829"/>
                <a:gd name="connsiteX132" fmla="*/ 631327 w 774600"/>
                <a:gd name="connsiteY132" fmla="*/ 241940 h 259829"/>
                <a:gd name="connsiteX133" fmla="*/ 612572 w 774600"/>
                <a:gd name="connsiteY133" fmla="*/ 219538 h 259829"/>
                <a:gd name="connsiteX134" fmla="*/ 605787 w 774600"/>
                <a:gd name="connsiteY134" fmla="*/ 188273 h 259829"/>
                <a:gd name="connsiteX135" fmla="*/ 647640 w 774600"/>
                <a:gd name="connsiteY135" fmla="*/ 188273 h 259829"/>
                <a:gd name="connsiteX136" fmla="*/ 652859 w 774600"/>
                <a:gd name="connsiteY136" fmla="*/ 208249 h 259829"/>
                <a:gd name="connsiteX137" fmla="*/ 667786 w 774600"/>
                <a:gd name="connsiteY137" fmla="*/ 221619 h 259829"/>
                <a:gd name="connsiteX138" fmla="*/ 690028 w 774600"/>
                <a:gd name="connsiteY138" fmla="*/ 226483 h 259829"/>
                <a:gd name="connsiteX139" fmla="*/ 712767 w 774600"/>
                <a:gd name="connsiteY139" fmla="*/ 221795 h 259829"/>
                <a:gd name="connsiteX140" fmla="*/ 727363 w 774600"/>
                <a:gd name="connsiteY140" fmla="*/ 207899 h 259829"/>
                <a:gd name="connsiteX141" fmla="*/ 732567 w 774600"/>
                <a:gd name="connsiteY141" fmla="*/ 185671 h 259829"/>
                <a:gd name="connsiteX142" fmla="*/ 726847 w 774600"/>
                <a:gd name="connsiteY142" fmla="*/ 161702 h 259829"/>
                <a:gd name="connsiteX143" fmla="*/ 710515 w 774600"/>
                <a:gd name="connsiteY143" fmla="*/ 148157 h 259829"/>
                <a:gd name="connsiteX144" fmla="*/ 685510 w 774600"/>
                <a:gd name="connsiteY144" fmla="*/ 143643 h 259829"/>
                <a:gd name="connsiteX145" fmla="*/ 660505 w 774600"/>
                <a:gd name="connsiteY145" fmla="*/ 143643 h 2598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</a:cxnLst>
              <a:rect l="l" t="t" r="r" b="b"/>
              <a:pathLst>
                <a:path w="774600" h="259829">
                  <a:moveTo>
                    <a:pt x="174372" y="223011"/>
                  </a:moveTo>
                  <a:lnTo>
                    <a:pt x="174372" y="256357"/>
                  </a:lnTo>
                  <a:lnTo>
                    <a:pt x="4859" y="256357"/>
                  </a:lnTo>
                  <a:lnTo>
                    <a:pt x="4859" y="227699"/>
                  </a:lnTo>
                  <a:lnTo>
                    <a:pt x="87193" y="137908"/>
                  </a:lnTo>
                  <a:cubicBezTo>
                    <a:pt x="96211" y="127719"/>
                    <a:pt x="103336" y="118920"/>
                    <a:pt x="108541" y="111508"/>
                  </a:cubicBezTo>
                  <a:cubicBezTo>
                    <a:pt x="113760" y="104095"/>
                    <a:pt x="117403" y="97442"/>
                    <a:pt x="119499" y="91537"/>
                  </a:cubicBezTo>
                  <a:cubicBezTo>
                    <a:pt x="121697" y="85516"/>
                    <a:pt x="122797" y="79669"/>
                    <a:pt x="122797" y="73993"/>
                  </a:cubicBezTo>
                  <a:cubicBezTo>
                    <a:pt x="122797" y="66002"/>
                    <a:pt x="121284" y="58998"/>
                    <a:pt x="118278" y="52977"/>
                  </a:cubicBezTo>
                  <a:cubicBezTo>
                    <a:pt x="115374" y="46838"/>
                    <a:pt x="111099" y="42033"/>
                    <a:pt x="105413" y="38560"/>
                  </a:cubicBezTo>
                  <a:cubicBezTo>
                    <a:pt x="99747" y="34971"/>
                    <a:pt x="92860" y="33176"/>
                    <a:pt x="84752" y="33176"/>
                  </a:cubicBezTo>
                  <a:cubicBezTo>
                    <a:pt x="75374" y="33176"/>
                    <a:pt x="67510" y="35204"/>
                    <a:pt x="61138" y="39256"/>
                  </a:cubicBezTo>
                  <a:cubicBezTo>
                    <a:pt x="54766" y="43307"/>
                    <a:pt x="49956" y="48925"/>
                    <a:pt x="46712" y="56104"/>
                  </a:cubicBezTo>
                  <a:cubicBezTo>
                    <a:pt x="43482" y="63166"/>
                    <a:pt x="41853" y="71274"/>
                    <a:pt x="41853" y="80418"/>
                  </a:cubicBezTo>
                  <a:lnTo>
                    <a:pt x="0" y="80418"/>
                  </a:lnTo>
                  <a:cubicBezTo>
                    <a:pt x="0" y="65715"/>
                    <a:pt x="3366" y="52281"/>
                    <a:pt x="10083" y="40126"/>
                  </a:cubicBezTo>
                  <a:cubicBezTo>
                    <a:pt x="16800" y="27855"/>
                    <a:pt x="26517" y="18127"/>
                    <a:pt x="39261" y="10948"/>
                  </a:cubicBezTo>
                  <a:cubicBezTo>
                    <a:pt x="51989" y="3653"/>
                    <a:pt x="67325" y="5"/>
                    <a:pt x="85272" y="5"/>
                  </a:cubicBezTo>
                  <a:cubicBezTo>
                    <a:pt x="102189" y="5"/>
                    <a:pt x="116546" y="2840"/>
                    <a:pt x="128346" y="8517"/>
                  </a:cubicBezTo>
                  <a:cubicBezTo>
                    <a:pt x="140160" y="14193"/>
                    <a:pt x="149129" y="22237"/>
                    <a:pt x="155277" y="32660"/>
                  </a:cubicBezTo>
                  <a:cubicBezTo>
                    <a:pt x="161527" y="43079"/>
                    <a:pt x="164654" y="55413"/>
                    <a:pt x="164654" y="69655"/>
                  </a:cubicBezTo>
                  <a:cubicBezTo>
                    <a:pt x="164654" y="77529"/>
                    <a:pt x="163385" y="85345"/>
                    <a:pt x="160827" y="93103"/>
                  </a:cubicBezTo>
                  <a:cubicBezTo>
                    <a:pt x="158283" y="100861"/>
                    <a:pt x="154645" y="108619"/>
                    <a:pt x="149888" y="116376"/>
                  </a:cubicBezTo>
                  <a:cubicBezTo>
                    <a:pt x="145267" y="124017"/>
                    <a:pt x="139757" y="131717"/>
                    <a:pt x="133400" y="139475"/>
                  </a:cubicBezTo>
                  <a:cubicBezTo>
                    <a:pt x="127028" y="147116"/>
                    <a:pt x="120019" y="154873"/>
                    <a:pt x="112378" y="162748"/>
                  </a:cubicBezTo>
                  <a:lnTo>
                    <a:pt x="57675" y="223015"/>
                  </a:lnTo>
                  <a:lnTo>
                    <a:pt x="174377" y="223015"/>
                  </a:lnTo>
                  <a:close/>
                  <a:moveTo>
                    <a:pt x="371848" y="108730"/>
                  </a:moveTo>
                  <a:lnTo>
                    <a:pt x="371848" y="150063"/>
                  </a:lnTo>
                  <a:cubicBezTo>
                    <a:pt x="371848" y="169864"/>
                    <a:pt x="369873" y="186765"/>
                    <a:pt x="365938" y="200778"/>
                  </a:cubicBezTo>
                  <a:cubicBezTo>
                    <a:pt x="362125" y="214674"/>
                    <a:pt x="356561" y="225963"/>
                    <a:pt x="349260" y="234645"/>
                  </a:cubicBezTo>
                  <a:cubicBezTo>
                    <a:pt x="341960" y="243327"/>
                    <a:pt x="333219" y="249698"/>
                    <a:pt x="323035" y="253750"/>
                  </a:cubicBezTo>
                  <a:cubicBezTo>
                    <a:pt x="312971" y="257801"/>
                    <a:pt x="301668" y="259830"/>
                    <a:pt x="289168" y="259830"/>
                  </a:cubicBezTo>
                  <a:cubicBezTo>
                    <a:pt x="279221" y="259830"/>
                    <a:pt x="269951" y="258555"/>
                    <a:pt x="261381" y="256011"/>
                  </a:cubicBezTo>
                  <a:cubicBezTo>
                    <a:pt x="252933" y="253463"/>
                    <a:pt x="245287" y="249470"/>
                    <a:pt x="238468" y="244027"/>
                  </a:cubicBezTo>
                  <a:cubicBezTo>
                    <a:pt x="231634" y="238584"/>
                    <a:pt x="225773" y="231581"/>
                    <a:pt x="220914" y="223011"/>
                  </a:cubicBezTo>
                  <a:cubicBezTo>
                    <a:pt x="216172" y="214329"/>
                    <a:pt x="212466" y="203964"/>
                    <a:pt x="209800" y="191921"/>
                  </a:cubicBezTo>
                  <a:cubicBezTo>
                    <a:pt x="207256" y="179878"/>
                    <a:pt x="205972" y="165929"/>
                    <a:pt x="205972" y="150063"/>
                  </a:cubicBezTo>
                  <a:lnTo>
                    <a:pt x="205972" y="108730"/>
                  </a:lnTo>
                  <a:cubicBezTo>
                    <a:pt x="205972" y="88813"/>
                    <a:pt x="207947" y="72028"/>
                    <a:pt x="211882" y="58366"/>
                  </a:cubicBezTo>
                  <a:cubicBezTo>
                    <a:pt x="215831" y="44587"/>
                    <a:pt x="221430" y="33414"/>
                    <a:pt x="228730" y="24844"/>
                  </a:cubicBezTo>
                  <a:cubicBezTo>
                    <a:pt x="236031" y="16162"/>
                    <a:pt x="244722" y="9849"/>
                    <a:pt x="254786" y="5914"/>
                  </a:cubicBezTo>
                  <a:cubicBezTo>
                    <a:pt x="264970" y="1975"/>
                    <a:pt x="276323" y="10"/>
                    <a:pt x="288827" y="10"/>
                  </a:cubicBezTo>
                  <a:cubicBezTo>
                    <a:pt x="298910" y="10"/>
                    <a:pt x="308166" y="1284"/>
                    <a:pt x="316614" y="3833"/>
                  </a:cubicBezTo>
                  <a:cubicBezTo>
                    <a:pt x="325184" y="6265"/>
                    <a:pt x="332825" y="10141"/>
                    <a:pt x="339542" y="15467"/>
                  </a:cubicBezTo>
                  <a:cubicBezTo>
                    <a:pt x="346376" y="20793"/>
                    <a:pt x="352164" y="27738"/>
                    <a:pt x="356906" y="36308"/>
                  </a:cubicBezTo>
                  <a:cubicBezTo>
                    <a:pt x="361765" y="44762"/>
                    <a:pt x="365476" y="55010"/>
                    <a:pt x="368020" y="67048"/>
                  </a:cubicBezTo>
                  <a:cubicBezTo>
                    <a:pt x="370578" y="78974"/>
                    <a:pt x="371848" y="92870"/>
                    <a:pt x="371848" y="108730"/>
                  </a:cubicBezTo>
                  <a:close/>
                  <a:moveTo>
                    <a:pt x="329995" y="155968"/>
                  </a:moveTo>
                  <a:lnTo>
                    <a:pt x="329995" y="102476"/>
                  </a:lnTo>
                  <a:cubicBezTo>
                    <a:pt x="329995" y="92403"/>
                    <a:pt x="329411" y="83546"/>
                    <a:pt x="328258" y="75905"/>
                  </a:cubicBezTo>
                  <a:cubicBezTo>
                    <a:pt x="327091" y="68147"/>
                    <a:pt x="325355" y="61605"/>
                    <a:pt x="323039" y="56279"/>
                  </a:cubicBezTo>
                  <a:cubicBezTo>
                    <a:pt x="320841" y="50837"/>
                    <a:pt x="318059" y="46440"/>
                    <a:pt x="314708" y="43079"/>
                  </a:cubicBezTo>
                  <a:cubicBezTo>
                    <a:pt x="311342" y="39606"/>
                    <a:pt x="307529" y="37116"/>
                    <a:pt x="303234" y="35613"/>
                  </a:cubicBezTo>
                  <a:cubicBezTo>
                    <a:pt x="298959" y="33993"/>
                    <a:pt x="294148" y="33181"/>
                    <a:pt x="288823" y="33181"/>
                  </a:cubicBezTo>
                  <a:cubicBezTo>
                    <a:pt x="282349" y="33181"/>
                    <a:pt x="276542" y="34455"/>
                    <a:pt x="271459" y="37004"/>
                  </a:cubicBezTo>
                  <a:cubicBezTo>
                    <a:pt x="266357" y="39436"/>
                    <a:pt x="262081" y="43371"/>
                    <a:pt x="258613" y="48813"/>
                  </a:cubicBezTo>
                  <a:cubicBezTo>
                    <a:pt x="255126" y="54256"/>
                    <a:pt x="252466" y="61435"/>
                    <a:pt x="250608" y="70350"/>
                  </a:cubicBezTo>
                  <a:cubicBezTo>
                    <a:pt x="248871" y="79149"/>
                    <a:pt x="248015" y="89859"/>
                    <a:pt x="248015" y="102480"/>
                  </a:cubicBezTo>
                  <a:lnTo>
                    <a:pt x="248015" y="155973"/>
                  </a:lnTo>
                  <a:cubicBezTo>
                    <a:pt x="248015" y="166162"/>
                    <a:pt x="248584" y="175136"/>
                    <a:pt x="249752" y="182894"/>
                  </a:cubicBezTo>
                  <a:cubicBezTo>
                    <a:pt x="250904" y="190652"/>
                    <a:pt x="252636" y="197310"/>
                    <a:pt x="254956" y="202865"/>
                  </a:cubicBezTo>
                  <a:cubicBezTo>
                    <a:pt x="257276" y="208307"/>
                    <a:pt x="260058" y="212821"/>
                    <a:pt x="263302" y="216410"/>
                  </a:cubicBezTo>
                  <a:cubicBezTo>
                    <a:pt x="266653" y="219883"/>
                    <a:pt x="270481" y="222432"/>
                    <a:pt x="274756" y="224051"/>
                  </a:cubicBezTo>
                  <a:cubicBezTo>
                    <a:pt x="279153" y="225671"/>
                    <a:pt x="283964" y="226483"/>
                    <a:pt x="289168" y="226483"/>
                  </a:cubicBezTo>
                  <a:cubicBezTo>
                    <a:pt x="295778" y="226483"/>
                    <a:pt x="301619" y="225209"/>
                    <a:pt x="306721" y="222660"/>
                  </a:cubicBezTo>
                  <a:cubicBezTo>
                    <a:pt x="311804" y="220112"/>
                    <a:pt x="316099" y="216060"/>
                    <a:pt x="319567" y="210501"/>
                  </a:cubicBezTo>
                  <a:cubicBezTo>
                    <a:pt x="323035" y="204830"/>
                    <a:pt x="325646" y="197476"/>
                    <a:pt x="327383" y="188443"/>
                  </a:cubicBezTo>
                  <a:cubicBezTo>
                    <a:pt x="329119" y="179411"/>
                    <a:pt x="329995" y="168585"/>
                    <a:pt x="329995" y="155963"/>
                  </a:cubicBezTo>
                  <a:close/>
                  <a:moveTo>
                    <a:pt x="578701" y="223006"/>
                  </a:moveTo>
                  <a:lnTo>
                    <a:pt x="578701" y="256352"/>
                  </a:lnTo>
                  <a:lnTo>
                    <a:pt x="409187" y="256352"/>
                  </a:lnTo>
                  <a:lnTo>
                    <a:pt x="409187" y="227694"/>
                  </a:lnTo>
                  <a:lnTo>
                    <a:pt x="491507" y="137904"/>
                  </a:lnTo>
                  <a:cubicBezTo>
                    <a:pt x="500539" y="127714"/>
                    <a:pt x="507670" y="118915"/>
                    <a:pt x="512874" y="111503"/>
                  </a:cubicBezTo>
                  <a:cubicBezTo>
                    <a:pt x="518078" y="104090"/>
                    <a:pt x="521736" y="97437"/>
                    <a:pt x="523813" y="91532"/>
                  </a:cubicBezTo>
                  <a:cubicBezTo>
                    <a:pt x="526011" y="85511"/>
                    <a:pt x="527110" y="79664"/>
                    <a:pt x="527110" y="73988"/>
                  </a:cubicBezTo>
                  <a:cubicBezTo>
                    <a:pt x="527110" y="65997"/>
                    <a:pt x="525617" y="58993"/>
                    <a:pt x="522592" y="52972"/>
                  </a:cubicBezTo>
                  <a:cubicBezTo>
                    <a:pt x="519708" y="46834"/>
                    <a:pt x="515413" y="42028"/>
                    <a:pt x="509746" y="38555"/>
                  </a:cubicBezTo>
                  <a:cubicBezTo>
                    <a:pt x="504080" y="34966"/>
                    <a:pt x="497193" y="33171"/>
                    <a:pt x="489085" y="33171"/>
                  </a:cubicBezTo>
                  <a:cubicBezTo>
                    <a:pt x="479708" y="33171"/>
                    <a:pt x="471823" y="35199"/>
                    <a:pt x="465452" y="39251"/>
                  </a:cubicBezTo>
                  <a:cubicBezTo>
                    <a:pt x="459095" y="43302"/>
                    <a:pt x="454289" y="48920"/>
                    <a:pt x="451040" y="56099"/>
                  </a:cubicBezTo>
                  <a:cubicBezTo>
                    <a:pt x="447796" y="63161"/>
                    <a:pt x="446181" y="71269"/>
                    <a:pt x="446181" y="80413"/>
                  </a:cubicBezTo>
                  <a:lnTo>
                    <a:pt x="404328" y="80413"/>
                  </a:lnTo>
                  <a:cubicBezTo>
                    <a:pt x="404328" y="65710"/>
                    <a:pt x="407679" y="52276"/>
                    <a:pt x="414391" y="40122"/>
                  </a:cubicBezTo>
                  <a:cubicBezTo>
                    <a:pt x="421108" y="27850"/>
                    <a:pt x="430846" y="18123"/>
                    <a:pt x="443569" y="10944"/>
                  </a:cubicBezTo>
                  <a:cubicBezTo>
                    <a:pt x="456313" y="3648"/>
                    <a:pt x="471648" y="0"/>
                    <a:pt x="489596" y="0"/>
                  </a:cubicBezTo>
                  <a:cubicBezTo>
                    <a:pt x="506497" y="0"/>
                    <a:pt x="520855" y="2836"/>
                    <a:pt x="532670" y="8512"/>
                  </a:cubicBezTo>
                  <a:cubicBezTo>
                    <a:pt x="544484" y="14188"/>
                    <a:pt x="553453" y="22232"/>
                    <a:pt x="559581" y="32656"/>
                  </a:cubicBezTo>
                  <a:cubicBezTo>
                    <a:pt x="565831" y="43074"/>
                    <a:pt x="568958" y="55409"/>
                    <a:pt x="568958" y="69650"/>
                  </a:cubicBezTo>
                  <a:cubicBezTo>
                    <a:pt x="568958" y="77524"/>
                    <a:pt x="567689" y="85340"/>
                    <a:pt x="565145" y="93098"/>
                  </a:cubicBezTo>
                  <a:cubicBezTo>
                    <a:pt x="562601" y="100856"/>
                    <a:pt x="558944" y="108614"/>
                    <a:pt x="554207" y="116372"/>
                  </a:cubicBezTo>
                  <a:cubicBezTo>
                    <a:pt x="549571" y="124013"/>
                    <a:pt x="544075" y="131712"/>
                    <a:pt x="537704" y="139470"/>
                  </a:cubicBezTo>
                  <a:cubicBezTo>
                    <a:pt x="531332" y="147111"/>
                    <a:pt x="524323" y="154869"/>
                    <a:pt x="516697" y="162743"/>
                  </a:cubicBezTo>
                  <a:lnTo>
                    <a:pt x="461979" y="223011"/>
                  </a:lnTo>
                  <a:lnTo>
                    <a:pt x="578701" y="223011"/>
                  </a:lnTo>
                  <a:close/>
                  <a:moveTo>
                    <a:pt x="660505" y="110982"/>
                  </a:moveTo>
                  <a:lnTo>
                    <a:pt x="685510" y="110982"/>
                  </a:lnTo>
                  <a:cubicBezTo>
                    <a:pt x="695233" y="110982"/>
                    <a:pt x="703287" y="109304"/>
                    <a:pt x="709639" y="105948"/>
                  </a:cubicBezTo>
                  <a:cubicBezTo>
                    <a:pt x="716132" y="102592"/>
                    <a:pt x="720943" y="97957"/>
                    <a:pt x="724065" y="92052"/>
                  </a:cubicBezTo>
                  <a:cubicBezTo>
                    <a:pt x="727193" y="86148"/>
                    <a:pt x="728754" y="79373"/>
                    <a:pt x="728754" y="71731"/>
                  </a:cubicBezTo>
                  <a:cubicBezTo>
                    <a:pt x="728754" y="64090"/>
                    <a:pt x="727295" y="56911"/>
                    <a:pt x="724411" y="51240"/>
                  </a:cubicBezTo>
                  <a:cubicBezTo>
                    <a:pt x="721628" y="45452"/>
                    <a:pt x="717353" y="40992"/>
                    <a:pt x="711565" y="37865"/>
                  </a:cubicBezTo>
                  <a:cubicBezTo>
                    <a:pt x="705879" y="34737"/>
                    <a:pt x="698652" y="33176"/>
                    <a:pt x="689858" y="33176"/>
                  </a:cubicBezTo>
                  <a:cubicBezTo>
                    <a:pt x="682441" y="33176"/>
                    <a:pt x="675724" y="34679"/>
                    <a:pt x="669712" y="37690"/>
                  </a:cubicBezTo>
                  <a:cubicBezTo>
                    <a:pt x="663803" y="40584"/>
                    <a:pt x="659114" y="44752"/>
                    <a:pt x="655626" y="50195"/>
                  </a:cubicBezTo>
                  <a:cubicBezTo>
                    <a:pt x="652159" y="55520"/>
                    <a:pt x="650422" y="61887"/>
                    <a:pt x="650422" y="69300"/>
                  </a:cubicBezTo>
                  <a:lnTo>
                    <a:pt x="608394" y="69300"/>
                  </a:lnTo>
                  <a:cubicBezTo>
                    <a:pt x="608394" y="55866"/>
                    <a:pt x="611916" y="43945"/>
                    <a:pt x="618992" y="33521"/>
                  </a:cubicBezTo>
                  <a:cubicBezTo>
                    <a:pt x="626050" y="23103"/>
                    <a:pt x="635670" y="14937"/>
                    <a:pt x="647810" y="9032"/>
                  </a:cubicBezTo>
                  <a:cubicBezTo>
                    <a:pt x="660092" y="3011"/>
                    <a:pt x="673866" y="0"/>
                    <a:pt x="689148" y="0"/>
                  </a:cubicBezTo>
                  <a:cubicBezTo>
                    <a:pt x="705480" y="0"/>
                    <a:pt x="719717" y="2724"/>
                    <a:pt x="731876" y="8161"/>
                  </a:cubicBezTo>
                  <a:cubicBezTo>
                    <a:pt x="744138" y="13487"/>
                    <a:pt x="753705" y="21479"/>
                    <a:pt x="760524" y="32130"/>
                  </a:cubicBezTo>
                  <a:cubicBezTo>
                    <a:pt x="767358" y="42782"/>
                    <a:pt x="770777" y="55982"/>
                    <a:pt x="770777" y="71727"/>
                  </a:cubicBezTo>
                  <a:cubicBezTo>
                    <a:pt x="770777" y="78906"/>
                    <a:pt x="769094" y="86201"/>
                    <a:pt x="765743" y="93609"/>
                  </a:cubicBezTo>
                  <a:cubicBezTo>
                    <a:pt x="762378" y="101021"/>
                    <a:pt x="757397" y="107792"/>
                    <a:pt x="750802" y="113930"/>
                  </a:cubicBezTo>
                  <a:cubicBezTo>
                    <a:pt x="744206" y="119951"/>
                    <a:pt x="735982" y="124869"/>
                    <a:pt x="726137" y="128692"/>
                  </a:cubicBezTo>
                  <a:cubicBezTo>
                    <a:pt x="716298" y="132398"/>
                    <a:pt x="704892" y="134251"/>
                    <a:pt x="691925" y="134251"/>
                  </a:cubicBezTo>
                  <a:lnTo>
                    <a:pt x="660495" y="134251"/>
                  </a:lnTo>
                  <a:lnTo>
                    <a:pt x="660495" y="110978"/>
                  </a:lnTo>
                  <a:close/>
                  <a:moveTo>
                    <a:pt x="660505" y="143633"/>
                  </a:moveTo>
                  <a:lnTo>
                    <a:pt x="660505" y="120705"/>
                  </a:lnTo>
                  <a:lnTo>
                    <a:pt x="691935" y="120705"/>
                  </a:lnTo>
                  <a:cubicBezTo>
                    <a:pt x="706755" y="120705"/>
                    <a:pt x="719381" y="122442"/>
                    <a:pt x="729790" y="125914"/>
                  </a:cubicBezTo>
                  <a:cubicBezTo>
                    <a:pt x="740335" y="129387"/>
                    <a:pt x="748905" y="134193"/>
                    <a:pt x="755500" y="140331"/>
                  </a:cubicBezTo>
                  <a:cubicBezTo>
                    <a:pt x="762095" y="146352"/>
                    <a:pt x="766906" y="153239"/>
                    <a:pt x="769911" y="160997"/>
                  </a:cubicBezTo>
                  <a:cubicBezTo>
                    <a:pt x="773039" y="168755"/>
                    <a:pt x="774600" y="176975"/>
                    <a:pt x="774600" y="185661"/>
                  </a:cubicBezTo>
                  <a:cubicBezTo>
                    <a:pt x="774600" y="197471"/>
                    <a:pt x="772470" y="208006"/>
                    <a:pt x="768175" y="217271"/>
                  </a:cubicBezTo>
                  <a:cubicBezTo>
                    <a:pt x="764016" y="226420"/>
                    <a:pt x="758044" y="234178"/>
                    <a:pt x="750296" y="240545"/>
                  </a:cubicBezTo>
                  <a:cubicBezTo>
                    <a:pt x="742533" y="246911"/>
                    <a:pt x="733447" y="251717"/>
                    <a:pt x="723024" y="254961"/>
                  </a:cubicBezTo>
                  <a:cubicBezTo>
                    <a:pt x="712718" y="258205"/>
                    <a:pt x="701487" y="259825"/>
                    <a:pt x="689328" y="259825"/>
                  </a:cubicBezTo>
                  <a:cubicBezTo>
                    <a:pt x="678457" y="259825"/>
                    <a:pt x="668029" y="258322"/>
                    <a:pt x="658068" y="255311"/>
                  </a:cubicBezTo>
                  <a:cubicBezTo>
                    <a:pt x="648107" y="252300"/>
                    <a:pt x="639192" y="247845"/>
                    <a:pt x="631327" y="241940"/>
                  </a:cubicBezTo>
                  <a:cubicBezTo>
                    <a:pt x="623443" y="235919"/>
                    <a:pt x="617193" y="228453"/>
                    <a:pt x="612572" y="219538"/>
                  </a:cubicBezTo>
                  <a:cubicBezTo>
                    <a:pt x="608054" y="210506"/>
                    <a:pt x="605787" y="200087"/>
                    <a:pt x="605787" y="188273"/>
                  </a:cubicBezTo>
                  <a:lnTo>
                    <a:pt x="647640" y="188273"/>
                  </a:lnTo>
                  <a:cubicBezTo>
                    <a:pt x="647640" y="195802"/>
                    <a:pt x="649377" y="202456"/>
                    <a:pt x="652859" y="208249"/>
                  </a:cubicBezTo>
                  <a:cubicBezTo>
                    <a:pt x="656449" y="213920"/>
                    <a:pt x="661429" y="218380"/>
                    <a:pt x="667786" y="221619"/>
                  </a:cubicBezTo>
                  <a:cubicBezTo>
                    <a:pt x="674279" y="224864"/>
                    <a:pt x="681682" y="226483"/>
                    <a:pt x="690028" y="226483"/>
                  </a:cubicBezTo>
                  <a:cubicBezTo>
                    <a:pt x="698822" y="226483"/>
                    <a:pt x="706415" y="224922"/>
                    <a:pt x="712767" y="221795"/>
                  </a:cubicBezTo>
                  <a:cubicBezTo>
                    <a:pt x="719138" y="218667"/>
                    <a:pt x="723997" y="214037"/>
                    <a:pt x="727363" y="207899"/>
                  </a:cubicBezTo>
                  <a:cubicBezTo>
                    <a:pt x="730831" y="201761"/>
                    <a:pt x="732567" y="194353"/>
                    <a:pt x="732567" y="185671"/>
                  </a:cubicBezTo>
                  <a:cubicBezTo>
                    <a:pt x="732567" y="175827"/>
                    <a:pt x="730660" y="167840"/>
                    <a:pt x="726847" y="161702"/>
                  </a:cubicBezTo>
                  <a:cubicBezTo>
                    <a:pt x="723019" y="155564"/>
                    <a:pt x="717572" y="151050"/>
                    <a:pt x="710515" y="148157"/>
                  </a:cubicBezTo>
                  <a:cubicBezTo>
                    <a:pt x="703457" y="145146"/>
                    <a:pt x="695111" y="143643"/>
                    <a:pt x="685510" y="143643"/>
                  </a:cubicBezTo>
                  <a:lnTo>
                    <a:pt x="660505" y="143643"/>
                  </a:lnTo>
                  <a:close/>
                </a:path>
              </a:pathLst>
            </a:custGeom>
            <a:solidFill>
              <a:schemeClr val="tx1"/>
            </a:solidFill>
            <a:ln w="4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pic>
        <p:nvPicPr>
          <p:cNvPr id="327" name="Рисунок 326">
            <a:extLst>
              <a:ext uri="{FF2B5EF4-FFF2-40B4-BE49-F238E27FC236}">
                <a16:creationId xmlns:a16="http://schemas.microsoft.com/office/drawing/2014/main" id="{5FBFD731-DA0C-468F-932D-BEB32E313CC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503721" y="6049020"/>
            <a:ext cx="1688608" cy="472507"/>
          </a:xfrm>
          <a:prstGeom prst="rect">
            <a:avLst/>
          </a:prstGeom>
        </p:spPr>
      </p:pic>
      <p:grpSp>
        <p:nvGrpSpPr>
          <p:cNvPr id="2" name="Группа 1">
            <a:extLst>
              <a:ext uri="{FF2B5EF4-FFF2-40B4-BE49-F238E27FC236}">
                <a16:creationId xmlns:a16="http://schemas.microsoft.com/office/drawing/2014/main" id="{CBD1E006-D8D6-478D-A8B3-D65DBCE9A924}"/>
              </a:ext>
            </a:extLst>
          </p:cNvPr>
          <p:cNvGrpSpPr/>
          <p:nvPr/>
        </p:nvGrpSpPr>
        <p:grpSpPr>
          <a:xfrm>
            <a:off x="6311112" y="1353244"/>
            <a:ext cx="6051964" cy="3657505"/>
            <a:chOff x="6047279" y="1844135"/>
            <a:chExt cx="6051964" cy="3657505"/>
          </a:xfrm>
        </p:grpSpPr>
        <p:sp>
          <p:nvSpPr>
            <p:cNvPr id="817" name="Shape_фон">
              <a:extLst>
                <a:ext uri="{FF2B5EF4-FFF2-40B4-BE49-F238E27FC236}">
                  <a16:creationId xmlns:a16="http://schemas.microsoft.com/office/drawing/2014/main" id="{8C3218E2-A51F-4FB1-BED8-CDE77873EB75}"/>
                </a:ext>
              </a:extLst>
            </p:cNvPr>
            <p:cNvSpPr/>
            <p:nvPr/>
          </p:nvSpPr>
          <p:spPr>
            <a:xfrm>
              <a:off x="6047279" y="1844135"/>
              <a:ext cx="6051964" cy="3657505"/>
            </a:xfrm>
            <a:prstGeom prst="roundRect">
              <a:avLst>
                <a:gd name="adj" fmla="val 8571"/>
              </a:avLst>
            </a:prstGeom>
            <a:solidFill>
              <a:schemeClr val="bg1"/>
            </a:solidFill>
            <a:ln w="12700" cap="flat">
              <a:noFill/>
              <a:prstDash val="solid"/>
              <a:miter/>
            </a:ln>
            <a:effectLst>
              <a:outerShdw blurRad="1003300" sx="102000" sy="102000" algn="ctr" rotWithShape="0">
                <a:schemeClr val="tx1">
                  <a:alpha val="20000"/>
                </a:schemeClr>
              </a:outerShdw>
            </a:effectLst>
          </p:spPr>
          <p:txBody>
            <a:bodyPr lIns="0" tIns="0" rIns="0" bIns="0" anchor="ctr"/>
            <a:lstStyle/>
            <a:p>
              <a:pPr marL="0" marR="0" lvl="0" indent="0" algn="ctr" defTabSz="309563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Roboto" pitchFamily="2" charset="0"/>
                  <a:ea typeface="Roboto" pitchFamily="2" charset="0"/>
                  <a:cs typeface="Poppins Bold"/>
                  <a:sym typeface="Poppins Bold"/>
                </a:rPr>
                <a:t> </a:t>
              </a:r>
              <a:endPara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itchFamily="2" charset="0"/>
                <a:ea typeface="Roboto" pitchFamily="2" charset="0"/>
                <a:cs typeface="Poppins Bold"/>
                <a:sym typeface="Poppins Bold"/>
              </a:endParaRPr>
            </a:p>
          </p:txBody>
        </p:sp>
        <p:sp>
          <p:nvSpPr>
            <p:cNvPr id="328" name="Заголовок">
              <a:extLst>
                <a:ext uri="{FF2B5EF4-FFF2-40B4-BE49-F238E27FC236}">
                  <a16:creationId xmlns:a16="http://schemas.microsoft.com/office/drawing/2014/main" id="{0D424A7E-5ED8-4606-A34F-F807A4E10376}"/>
                </a:ext>
              </a:extLst>
            </p:cNvPr>
            <p:cNvSpPr txBox="1"/>
            <p:nvPr/>
          </p:nvSpPr>
          <p:spPr>
            <a:xfrm>
              <a:off x="6500834" y="2120904"/>
              <a:ext cx="4275970" cy="132343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ru-RU" sz="4000" dirty="0">
                  <a:solidFill>
                    <a:schemeClr val="bg2"/>
                  </a:solidFill>
                  <a:latin typeface="SB Sans Text Medium" panose="020B0603040504020204" pitchFamily="34" charset="-52"/>
                  <a:ea typeface="Roboto" pitchFamily="2" charset="0"/>
                  <a:cs typeface="SB Sans Text Medium" panose="020B0603040504020204" pitchFamily="34" charset="-52"/>
                </a:rPr>
                <a:t>Архитектурные решения</a:t>
              </a:r>
            </a:p>
          </p:txBody>
        </p:sp>
        <p:sp>
          <p:nvSpPr>
            <p:cNvPr id="329" name="Motion design">
              <a:extLst>
                <a:ext uri="{FF2B5EF4-FFF2-40B4-BE49-F238E27FC236}">
                  <a16:creationId xmlns:a16="http://schemas.microsoft.com/office/drawing/2014/main" id="{CDE623FD-5797-42BF-A4A5-135CFD69E616}"/>
                </a:ext>
              </a:extLst>
            </p:cNvPr>
            <p:cNvSpPr txBox="1"/>
            <p:nvPr/>
          </p:nvSpPr>
          <p:spPr>
            <a:xfrm>
              <a:off x="6628873" y="3536184"/>
              <a:ext cx="5178643" cy="1564531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</a:ext>
            </a:extLst>
          </p:spPr>
          <p:txBody>
            <a:bodyPr wrap="square" lIns="0" tIns="0" rIns="0" bIns="0" anchor="ctr">
              <a:spAutoFit/>
            </a:bodyPr>
            <a:lstStyle>
              <a:lvl1pPr>
                <a:lnSpc>
                  <a:spcPct val="130000"/>
                </a:lnSpc>
                <a:defRPr sz="3000">
                  <a:latin typeface="+mn-lt"/>
                  <a:ea typeface="+mn-ea"/>
                  <a:cs typeface="+mn-cs"/>
                  <a:sym typeface="Poppins SemiBold"/>
                </a:defRPr>
              </a:lvl1pPr>
            </a:lstStyle>
            <a:p>
              <a:pPr defTabSz="309563" hangingPunct="0">
                <a:buClrTx/>
                <a:defRPr/>
              </a:pPr>
              <a:r>
                <a:rPr lang="ru-RU" sz="2000" dirty="0">
                  <a:solidFill>
                    <a:srgbClr val="0D0D0D"/>
                  </a:solidFill>
                  <a:latin typeface="SB Sans Text Light" panose="020B0303040504020204" pitchFamily="34" charset="-52"/>
                  <a:ea typeface="Roboto Light" panose="02000000000000000000" pitchFamily="2" charset="0"/>
                  <a:cs typeface="SB Sans Text Light" panose="020B0303040504020204" pitchFamily="34" charset="-52"/>
                </a:rPr>
                <a:t>Есть три варианта интеграции со </a:t>
              </a:r>
              <a:r>
                <a:rPr lang="ru-RU" sz="2000" dirty="0" err="1">
                  <a:solidFill>
                    <a:srgbClr val="0D0D0D"/>
                  </a:solidFill>
                  <a:latin typeface="SB Sans Text Light" panose="020B0303040504020204" pitchFamily="34" charset="-52"/>
                  <a:ea typeface="Roboto Light" panose="02000000000000000000" pitchFamily="2" charset="0"/>
                  <a:cs typeface="SB Sans Text Light" panose="020B0303040504020204" pitchFamily="34" charset="-52"/>
                </a:rPr>
                <a:t>Сбером</a:t>
              </a:r>
              <a:r>
                <a:rPr lang="ru-RU" sz="2000" dirty="0">
                  <a:solidFill>
                    <a:srgbClr val="0D0D0D"/>
                  </a:solidFill>
                  <a:latin typeface="SB Sans Text Light" panose="020B0303040504020204" pitchFamily="34" charset="-52"/>
                  <a:ea typeface="Roboto Light" panose="02000000000000000000" pitchFamily="2" charset="0"/>
                  <a:cs typeface="SB Sans Text Light" panose="020B0303040504020204" pitchFamily="34" charset="-52"/>
                </a:rPr>
                <a:t> разной степени сложности. Вариант зависел от ландшафта, требований</a:t>
              </a:r>
              <a:br>
                <a:rPr lang="ru-RU" sz="2000" dirty="0">
                  <a:solidFill>
                    <a:srgbClr val="0D0D0D"/>
                  </a:solidFill>
                  <a:latin typeface="SB Sans Text Light" panose="020B0303040504020204" pitchFamily="34" charset="-52"/>
                  <a:ea typeface="Roboto Light" panose="02000000000000000000" pitchFamily="2" charset="0"/>
                  <a:cs typeface="SB Sans Text Light" panose="020B0303040504020204" pitchFamily="34" charset="-52"/>
                </a:rPr>
              </a:br>
              <a:r>
                <a:rPr lang="ru-RU" sz="2000" dirty="0">
                  <a:solidFill>
                    <a:srgbClr val="0D0D0D"/>
                  </a:solidFill>
                  <a:latin typeface="SB Sans Text Light" panose="020B0303040504020204" pitchFamily="34" charset="-52"/>
                  <a:ea typeface="Roboto Light" panose="02000000000000000000" pitchFamily="2" charset="0"/>
                  <a:cs typeface="SB Sans Text Light" panose="020B0303040504020204" pitchFamily="34" charset="-52"/>
                </a:rPr>
                <a:t>и возможностей ДЗО.</a:t>
              </a:r>
            </a:p>
          </p:txBody>
        </p:sp>
      </p:grpSp>
      <p:sp>
        <p:nvSpPr>
          <p:cNvPr id="1636" name="Полилиния: фигура 1635">
            <a:extLst>
              <a:ext uri="{FF2B5EF4-FFF2-40B4-BE49-F238E27FC236}">
                <a16:creationId xmlns:a16="http://schemas.microsoft.com/office/drawing/2014/main" id="{B0E720FB-4F23-4B1E-A4B0-C3BAE281C89A}"/>
              </a:ext>
            </a:extLst>
          </p:cNvPr>
          <p:cNvSpPr/>
          <p:nvPr/>
        </p:nvSpPr>
        <p:spPr>
          <a:xfrm>
            <a:off x="484733" y="1032358"/>
            <a:ext cx="4799220" cy="4482066"/>
          </a:xfrm>
          <a:custGeom>
            <a:avLst/>
            <a:gdLst>
              <a:gd name="connsiteX0" fmla="*/ 4199191 w 4522181"/>
              <a:gd name="connsiteY0" fmla="*/ 825949 h 4223335"/>
              <a:gd name="connsiteX1" fmla="*/ 4149661 w 4522181"/>
              <a:gd name="connsiteY1" fmla="*/ 748416 h 4223335"/>
              <a:gd name="connsiteX2" fmla="*/ 3168682 w 4522181"/>
              <a:gd name="connsiteY2" fmla="*/ 77094 h 4223335"/>
              <a:gd name="connsiteX3" fmla="*/ 2673286 w 4522181"/>
              <a:gd name="connsiteY3" fmla="*/ 1275 h 4223335"/>
              <a:gd name="connsiteX4" fmla="*/ 829341 w 4522181"/>
              <a:gd name="connsiteY4" fmla="*/ 1093411 h 4223335"/>
              <a:gd name="connsiteX5" fmla="*/ 5810 w 4522181"/>
              <a:gd name="connsiteY5" fmla="*/ 2554261 h 4223335"/>
              <a:gd name="connsiteX6" fmla="*/ 1074896 w 4522181"/>
              <a:gd name="connsiteY6" fmla="*/ 4067878 h 4223335"/>
              <a:gd name="connsiteX7" fmla="*/ 1303115 w 4522181"/>
              <a:gd name="connsiteY7" fmla="*/ 4146650 h 4223335"/>
              <a:gd name="connsiteX8" fmla="*/ 1785175 w 4522181"/>
              <a:gd name="connsiteY8" fmla="*/ 4220755 h 4223335"/>
              <a:gd name="connsiteX9" fmla="*/ 3081052 w 4522181"/>
              <a:gd name="connsiteY9" fmla="*/ 3821276 h 4223335"/>
              <a:gd name="connsiteX10" fmla="*/ 3383280 w 4522181"/>
              <a:gd name="connsiteY10" fmla="*/ 3663352 h 4223335"/>
              <a:gd name="connsiteX11" fmla="*/ 3461480 w 4522181"/>
              <a:gd name="connsiteY11" fmla="*/ 3771841 h 4223335"/>
              <a:gd name="connsiteX12" fmla="*/ 3747897 w 4522181"/>
              <a:gd name="connsiteY12" fmla="*/ 3929290 h 4223335"/>
              <a:gd name="connsiteX13" fmla="*/ 4471797 w 4522181"/>
              <a:gd name="connsiteY13" fmla="*/ 2728092 h 4223335"/>
              <a:gd name="connsiteX14" fmla="*/ 4199191 w 4522181"/>
              <a:gd name="connsiteY14" fmla="*/ 826045 h 4223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4522181" h="4223335">
                <a:moveTo>
                  <a:pt x="4199191" y="825949"/>
                </a:moveTo>
                <a:cubicBezTo>
                  <a:pt x="4183380" y="799565"/>
                  <a:pt x="4166902" y="773752"/>
                  <a:pt x="4149661" y="748416"/>
                </a:cubicBezTo>
                <a:cubicBezTo>
                  <a:pt x="3920585" y="411898"/>
                  <a:pt x="3539299" y="181488"/>
                  <a:pt x="3168682" y="77094"/>
                </a:cubicBezTo>
                <a:cubicBezTo>
                  <a:pt x="3006376" y="31279"/>
                  <a:pt x="2839688" y="7371"/>
                  <a:pt x="2673286" y="1275"/>
                </a:cubicBezTo>
                <a:cubicBezTo>
                  <a:pt x="1581912" y="-38444"/>
                  <a:pt x="1181004" y="861478"/>
                  <a:pt x="829341" y="1093411"/>
                </a:cubicBezTo>
                <a:cubicBezTo>
                  <a:pt x="477678" y="1325440"/>
                  <a:pt x="-61913" y="1721776"/>
                  <a:pt x="5810" y="2554261"/>
                </a:cubicBezTo>
                <a:cubicBezTo>
                  <a:pt x="57150" y="3187197"/>
                  <a:pt x="417290" y="3792511"/>
                  <a:pt x="1074896" y="4067878"/>
                </a:cubicBezTo>
                <a:cubicBezTo>
                  <a:pt x="1147286" y="4098263"/>
                  <a:pt x="1223486" y="4124743"/>
                  <a:pt x="1303115" y="4146650"/>
                </a:cubicBezTo>
                <a:cubicBezTo>
                  <a:pt x="1451324" y="4187417"/>
                  <a:pt x="1612011" y="4213040"/>
                  <a:pt x="1785175" y="4220755"/>
                </a:cubicBezTo>
                <a:cubicBezTo>
                  <a:pt x="2282380" y="4242948"/>
                  <a:pt x="2686145" y="4123028"/>
                  <a:pt x="3081052" y="3821276"/>
                </a:cubicBezTo>
                <a:cubicBezTo>
                  <a:pt x="3172872" y="3751077"/>
                  <a:pt x="3264122" y="3672019"/>
                  <a:pt x="3383280" y="3663352"/>
                </a:cubicBezTo>
                <a:cubicBezTo>
                  <a:pt x="3469862" y="3657065"/>
                  <a:pt x="3551968" y="3688117"/>
                  <a:pt x="3461480" y="3771841"/>
                </a:cubicBezTo>
                <a:cubicBezTo>
                  <a:pt x="3355086" y="3870235"/>
                  <a:pt x="3477863" y="4063688"/>
                  <a:pt x="3747897" y="3929290"/>
                </a:cubicBezTo>
                <a:cubicBezTo>
                  <a:pt x="4198906" y="3704785"/>
                  <a:pt x="4384453" y="3220534"/>
                  <a:pt x="4471797" y="2728092"/>
                </a:cubicBezTo>
                <a:cubicBezTo>
                  <a:pt x="4579048" y="2123636"/>
                  <a:pt x="4527042" y="1371922"/>
                  <a:pt x="4199191" y="826045"/>
                </a:cubicBezTo>
                <a:close/>
              </a:path>
            </a:pathLst>
          </a:custGeom>
          <a:solidFill>
            <a:srgbClr val="21A038"/>
          </a:solidFill>
          <a:ln w="9525" cap="flat">
            <a:solidFill>
              <a:srgbClr val="000000"/>
            </a:solidFill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1637" name="Полилиния: фигура 1636">
            <a:extLst>
              <a:ext uri="{FF2B5EF4-FFF2-40B4-BE49-F238E27FC236}">
                <a16:creationId xmlns:a16="http://schemas.microsoft.com/office/drawing/2014/main" id="{8E06FAEE-72D3-46BF-A9D1-6A3662B60EA5}"/>
              </a:ext>
            </a:extLst>
          </p:cNvPr>
          <p:cNvSpPr/>
          <p:nvPr/>
        </p:nvSpPr>
        <p:spPr>
          <a:xfrm>
            <a:off x="484733" y="1032358"/>
            <a:ext cx="4799220" cy="4482066"/>
          </a:xfrm>
          <a:custGeom>
            <a:avLst/>
            <a:gdLst>
              <a:gd name="connsiteX0" fmla="*/ 4199191 w 4522181"/>
              <a:gd name="connsiteY0" fmla="*/ 825949 h 4223335"/>
              <a:gd name="connsiteX1" fmla="*/ 4149661 w 4522181"/>
              <a:gd name="connsiteY1" fmla="*/ 748416 h 4223335"/>
              <a:gd name="connsiteX2" fmla="*/ 3168682 w 4522181"/>
              <a:gd name="connsiteY2" fmla="*/ 77094 h 4223335"/>
              <a:gd name="connsiteX3" fmla="*/ 2673286 w 4522181"/>
              <a:gd name="connsiteY3" fmla="*/ 1275 h 4223335"/>
              <a:gd name="connsiteX4" fmla="*/ 829341 w 4522181"/>
              <a:gd name="connsiteY4" fmla="*/ 1093411 h 4223335"/>
              <a:gd name="connsiteX5" fmla="*/ 5810 w 4522181"/>
              <a:gd name="connsiteY5" fmla="*/ 2554261 h 4223335"/>
              <a:gd name="connsiteX6" fmla="*/ 1074896 w 4522181"/>
              <a:gd name="connsiteY6" fmla="*/ 4067878 h 4223335"/>
              <a:gd name="connsiteX7" fmla="*/ 1303115 w 4522181"/>
              <a:gd name="connsiteY7" fmla="*/ 4146650 h 4223335"/>
              <a:gd name="connsiteX8" fmla="*/ 1785175 w 4522181"/>
              <a:gd name="connsiteY8" fmla="*/ 4220755 h 4223335"/>
              <a:gd name="connsiteX9" fmla="*/ 3081052 w 4522181"/>
              <a:gd name="connsiteY9" fmla="*/ 3821276 h 4223335"/>
              <a:gd name="connsiteX10" fmla="*/ 3383280 w 4522181"/>
              <a:gd name="connsiteY10" fmla="*/ 3663352 h 4223335"/>
              <a:gd name="connsiteX11" fmla="*/ 3461480 w 4522181"/>
              <a:gd name="connsiteY11" fmla="*/ 3771841 h 4223335"/>
              <a:gd name="connsiteX12" fmla="*/ 3747897 w 4522181"/>
              <a:gd name="connsiteY12" fmla="*/ 3929290 h 4223335"/>
              <a:gd name="connsiteX13" fmla="*/ 4471797 w 4522181"/>
              <a:gd name="connsiteY13" fmla="*/ 2728092 h 4223335"/>
              <a:gd name="connsiteX14" fmla="*/ 4199191 w 4522181"/>
              <a:gd name="connsiteY14" fmla="*/ 826045 h 4223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4522181" h="4223335">
                <a:moveTo>
                  <a:pt x="4199191" y="825949"/>
                </a:moveTo>
                <a:cubicBezTo>
                  <a:pt x="4183380" y="799565"/>
                  <a:pt x="4166902" y="773752"/>
                  <a:pt x="4149661" y="748416"/>
                </a:cubicBezTo>
                <a:cubicBezTo>
                  <a:pt x="3920585" y="411898"/>
                  <a:pt x="3539299" y="181488"/>
                  <a:pt x="3168682" y="77094"/>
                </a:cubicBezTo>
                <a:cubicBezTo>
                  <a:pt x="3006376" y="31279"/>
                  <a:pt x="2839688" y="7371"/>
                  <a:pt x="2673286" y="1275"/>
                </a:cubicBezTo>
                <a:cubicBezTo>
                  <a:pt x="1581912" y="-38444"/>
                  <a:pt x="1181004" y="861478"/>
                  <a:pt x="829341" y="1093411"/>
                </a:cubicBezTo>
                <a:cubicBezTo>
                  <a:pt x="477678" y="1325440"/>
                  <a:pt x="-61913" y="1721776"/>
                  <a:pt x="5810" y="2554261"/>
                </a:cubicBezTo>
                <a:cubicBezTo>
                  <a:pt x="57150" y="3187197"/>
                  <a:pt x="417290" y="3792511"/>
                  <a:pt x="1074896" y="4067878"/>
                </a:cubicBezTo>
                <a:cubicBezTo>
                  <a:pt x="1147286" y="4098263"/>
                  <a:pt x="1223486" y="4124743"/>
                  <a:pt x="1303115" y="4146650"/>
                </a:cubicBezTo>
                <a:cubicBezTo>
                  <a:pt x="1451324" y="4187417"/>
                  <a:pt x="1612011" y="4213040"/>
                  <a:pt x="1785175" y="4220755"/>
                </a:cubicBezTo>
                <a:cubicBezTo>
                  <a:pt x="2282380" y="4242948"/>
                  <a:pt x="2686145" y="4123028"/>
                  <a:pt x="3081052" y="3821276"/>
                </a:cubicBezTo>
                <a:cubicBezTo>
                  <a:pt x="3172872" y="3751077"/>
                  <a:pt x="3264122" y="3672019"/>
                  <a:pt x="3383280" y="3663352"/>
                </a:cubicBezTo>
                <a:cubicBezTo>
                  <a:pt x="3469862" y="3657065"/>
                  <a:pt x="3551968" y="3688117"/>
                  <a:pt x="3461480" y="3771841"/>
                </a:cubicBezTo>
                <a:cubicBezTo>
                  <a:pt x="3355086" y="3870235"/>
                  <a:pt x="3477863" y="4063688"/>
                  <a:pt x="3747897" y="3929290"/>
                </a:cubicBezTo>
                <a:cubicBezTo>
                  <a:pt x="4198906" y="3704785"/>
                  <a:pt x="4384453" y="3220534"/>
                  <a:pt x="4471797" y="2728092"/>
                </a:cubicBezTo>
                <a:cubicBezTo>
                  <a:pt x="4579048" y="2123636"/>
                  <a:pt x="4527042" y="1371922"/>
                  <a:pt x="4199191" y="826045"/>
                </a:cubicBezTo>
                <a:close/>
              </a:path>
            </a:pathLst>
          </a:custGeom>
          <a:solidFill>
            <a:srgbClr val="FFFFFF">
              <a:alpha val="70000"/>
            </a:srgb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grpSp>
        <p:nvGrpSpPr>
          <p:cNvPr id="1731" name="Рисунок 1632">
            <a:extLst>
              <a:ext uri="{FF2B5EF4-FFF2-40B4-BE49-F238E27FC236}">
                <a16:creationId xmlns:a16="http://schemas.microsoft.com/office/drawing/2014/main" id="{43EFCC39-605A-4B67-9598-5653ECE22115}"/>
              </a:ext>
            </a:extLst>
          </p:cNvPr>
          <p:cNvGrpSpPr/>
          <p:nvPr/>
        </p:nvGrpSpPr>
        <p:grpSpPr>
          <a:xfrm>
            <a:off x="1136531" y="865438"/>
            <a:ext cx="3887839" cy="2419474"/>
            <a:chOff x="4262437" y="2290762"/>
            <a:chExt cx="3663410" cy="2279808"/>
          </a:xfrm>
        </p:grpSpPr>
        <p:grpSp>
          <p:nvGrpSpPr>
            <p:cNvPr id="1732" name="Рисунок 1632">
              <a:extLst>
                <a:ext uri="{FF2B5EF4-FFF2-40B4-BE49-F238E27FC236}">
                  <a16:creationId xmlns:a16="http://schemas.microsoft.com/office/drawing/2014/main" id="{43EFCC39-605A-4B67-9598-5653ECE22115}"/>
                </a:ext>
              </a:extLst>
            </p:cNvPr>
            <p:cNvGrpSpPr/>
            <p:nvPr/>
          </p:nvGrpSpPr>
          <p:grpSpPr>
            <a:xfrm>
              <a:off x="4262437" y="2290762"/>
              <a:ext cx="3663410" cy="2279808"/>
              <a:chOff x="4262437" y="2290762"/>
              <a:chExt cx="3663410" cy="2279808"/>
            </a:xfrm>
          </p:grpSpPr>
          <p:sp>
            <p:nvSpPr>
              <p:cNvPr id="1733" name="Полилиния: фигура 1732">
                <a:extLst>
                  <a:ext uri="{FF2B5EF4-FFF2-40B4-BE49-F238E27FC236}">
                    <a16:creationId xmlns:a16="http://schemas.microsoft.com/office/drawing/2014/main" id="{C731D27D-6491-4427-922B-DC0E4E8FE8A1}"/>
                  </a:ext>
                </a:extLst>
              </p:cNvPr>
              <p:cNvSpPr/>
              <p:nvPr/>
            </p:nvSpPr>
            <p:spPr>
              <a:xfrm>
                <a:off x="4262437" y="2290762"/>
                <a:ext cx="3663124" cy="2279808"/>
              </a:xfrm>
              <a:custGeom>
                <a:avLst/>
                <a:gdLst>
                  <a:gd name="connsiteX0" fmla="*/ 0 w 3663124"/>
                  <a:gd name="connsiteY0" fmla="*/ 0 h 2279808"/>
                  <a:gd name="connsiteX1" fmla="*/ 3663124 w 3663124"/>
                  <a:gd name="connsiteY1" fmla="*/ 0 h 2279808"/>
                  <a:gd name="connsiteX2" fmla="*/ 3663124 w 3663124"/>
                  <a:gd name="connsiteY2" fmla="*/ 2279809 h 2279808"/>
                  <a:gd name="connsiteX3" fmla="*/ 0 w 3663124"/>
                  <a:gd name="connsiteY3" fmla="*/ 2279809 h 22798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663124" h="2279808">
                    <a:moveTo>
                      <a:pt x="0" y="0"/>
                    </a:moveTo>
                    <a:lnTo>
                      <a:pt x="3663124" y="0"/>
                    </a:lnTo>
                    <a:lnTo>
                      <a:pt x="3663124" y="2279809"/>
                    </a:lnTo>
                    <a:lnTo>
                      <a:pt x="0" y="2279809"/>
                    </a:lnTo>
                    <a:close/>
                  </a:path>
                </a:pathLst>
              </a:custGeom>
              <a:solidFill>
                <a:srgbClr val="FFFFFF"/>
              </a:solidFill>
              <a:ln w="9525" cap="rnd">
                <a:solidFill>
                  <a:srgbClr val="263238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734" name="Полилиния: фигура 1733">
                <a:extLst>
                  <a:ext uri="{FF2B5EF4-FFF2-40B4-BE49-F238E27FC236}">
                    <a16:creationId xmlns:a16="http://schemas.microsoft.com/office/drawing/2014/main" id="{3A37951A-ED3C-45E2-9762-303CE5D831F3}"/>
                  </a:ext>
                </a:extLst>
              </p:cNvPr>
              <p:cNvSpPr/>
              <p:nvPr/>
            </p:nvSpPr>
            <p:spPr>
              <a:xfrm>
                <a:off x="7828216" y="2464974"/>
                <a:ext cx="92202" cy="1844325"/>
              </a:xfrm>
              <a:custGeom>
                <a:avLst/>
                <a:gdLst>
                  <a:gd name="connsiteX0" fmla="*/ 92202 w 92202"/>
                  <a:gd name="connsiteY0" fmla="*/ 0 h 1844325"/>
                  <a:gd name="connsiteX1" fmla="*/ 0 w 92202"/>
                  <a:gd name="connsiteY1" fmla="*/ 0 h 1844325"/>
                  <a:gd name="connsiteX2" fmla="*/ 0 w 92202"/>
                  <a:gd name="connsiteY2" fmla="*/ 1844326 h 1844325"/>
                  <a:gd name="connsiteX3" fmla="*/ 92202 w 92202"/>
                  <a:gd name="connsiteY3" fmla="*/ 1844326 h 18443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2202" h="1844325">
                    <a:moveTo>
                      <a:pt x="92202" y="0"/>
                    </a:moveTo>
                    <a:lnTo>
                      <a:pt x="0" y="0"/>
                    </a:lnTo>
                    <a:lnTo>
                      <a:pt x="0" y="1844326"/>
                    </a:lnTo>
                    <a:lnTo>
                      <a:pt x="92202" y="1844326"/>
                    </a:lnTo>
                  </a:path>
                </a:pathLst>
              </a:custGeom>
              <a:noFill/>
              <a:ln w="9525" cap="rnd">
                <a:solidFill>
                  <a:srgbClr val="263238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735" name="Полилиния: фигура 1734">
                <a:extLst>
                  <a:ext uri="{FF2B5EF4-FFF2-40B4-BE49-F238E27FC236}">
                    <a16:creationId xmlns:a16="http://schemas.microsoft.com/office/drawing/2014/main" id="{69C98F45-5F69-4307-92B9-274594779FB5}"/>
                  </a:ext>
                </a:extLst>
              </p:cNvPr>
              <p:cNvSpPr/>
              <p:nvPr/>
            </p:nvSpPr>
            <p:spPr>
              <a:xfrm>
                <a:off x="7826787" y="3932491"/>
                <a:ext cx="99060" cy="9525"/>
              </a:xfrm>
              <a:custGeom>
                <a:avLst/>
                <a:gdLst>
                  <a:gd name="connsiteX0" fmla="*/ 0 w 99060"/>
                  <a:gd name="connsiteY0" fmla="*/ 0 h 9525"/>
                  <a:gd name="connsiteX1" fmla="*/ 99060 w 99060"/>
                  <a:gd name="connsiteY1" fmla="*/ 0 h 9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9060" h="9525">
                    <a:moveTo>
                      <a:pt x="0" y="0"/>
                    </a:moveTo>
                    <a:lnTo>
                      <a:pt x="99060" y="0"/>
                    </a:lnTo>
                  </a:path>
                </a:pathLst>
              </a:custGeom>
              <a:ln w="9525" cap="rnd">
                <a:solidFill>
                  <a:srgbClr val="263238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736" name="Полилиния: фигура 1735">
                <a:extLst>
                  <a:ext uri="{FF2B5EF4-FFF2-40B4-BE49-F238E27FC236}">
                    <a16:creationId xmlns:a16="http://schemas.microsoft.com/office/drawing/2014/main" id="{FC81CB59-3A56-4780-A032-39BB7A756877}"/>
                  </a:ext>
                </a:extLst>
              </p:cNvPr>
              <p:cNvSpPr/>
              <p:nvPr/>
            </p:nvSpPr>
            <p:spPr>
              <a:xfrm>
                <a:off x="7830597" y="2885598"/>
                <a:ext cx="91916" cy="9525"/>
              </a:xfrm>
              <a:custGeom>
                <a:avLst/>
                <a:gdLst>
                  <a:gd name="connsiteX0" fmla="*/ 0 w 91916"/>
                  <a:gd name="connsiteY0" fmla="*/ 0 h 9525"/>
                  <a:gd name="connsiteX1" fmla="*/ 91916 w 91916"/>
                  <a:gd name="connsiteY1" fmla="*/ 0 h 9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1916" h="9525">
                    <a:moveTo>
                      <a:pt x="0" y="0"/>
                    </a:moveTo>
                    <a:lnTo>
                      <a:pt x="91916" y="0"/>
                    </a:lnTo>
                  </a:path>
                </a:pathLst>
              </a:custGeom>
              <a:ln w="9525" cap="rnd">
                <a:solidFill>
                  <a:srgbClr val="263238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737" name="Полилиния: фигура 1736">
                <a:extLst>
                  <a:ext uri="{FF2B5EF4-FFF2-40B4-BE49-F238E27FC236}">
                    <a16:creationId xmlns:a16="http://schemas.microsoft.com/office/drawing/2014/main" id="{CCCBFB7E-B688-4887-B5DC-7524E3B36458}"/>
                  </a:ext>
                </a:extLst>
              </p:cNvPr>
              <p:cNvSpPr/>
              <p:nvPr/>
            </p:nvSpPr>
            <p:spPr>
              <a:xfrm>
                <a:off x="7854791" y="2532507"/>
                <a:ext cx="9525" cy="299847"/>
              </a:xfrm>
              <a:custGeom>
                <a:avLst/>
                <a:gdLst>
                  <a:gd name="connsiteX0" fmla="*/ 0 w 9525"/>
                  <a:gd name="connsiteY0" fmla="*/ 0 h 299847"/>
                  <a:gd name="connsiteX1" fmla="*/ 0 w 9525"/>
                  <a:gd name="connsiteY1" fmla="*/ 299847 h 2998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525" h="299847">
                    <a:moveTo>
                      <a:pt x="0" y="0"/>
                    </a:moveTo>
                    <a:lnTo>
                      <a:pt x="0" y="299847"/>
                    </a:lnTo>
                  </a:path>
                </a:pathLst>
              </a:custGeom>
              <a:ln w="9525" cap="rnd">
                <a:solidFill>
                  <a:srgbClr val="263238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738" name="Полилиния: фигура 1737">
                <a:extLst>
                  <a:ext uri="{FF2B5EF4-FFF2-40B4-BE49-F238E27FC236}">
                    <a16:creationId xmlns:a16="http://schemas.microsoft.com/office/drawing/2014/main" id="{1ED0A37E-AA97-4AF8-A539-B0CAA1A5FE1C}"/>
                  </a:ext>
                </a:extLst>
              </p:cNvPr>
              <p:cNvSpPr/>
              <p:nvPr/>
            </p:nvSpPr>
            <p:spPr>
              <a:xfrm>
                <a:off x="7874127" y="2532507"/>
                <a:ext cx="9525" cy="299847"/>
              </a:xfrm>
              <a:custGeom>
                <a:avLst/>
                <a:gdLst>
                  <a:gd name="connsiteX0" fmla="*/ 0 w 9525"/>
                  <a:gd name="connsiteY0" fmla="*/ 0 h 299847"/>
                  <a:gd name="connsiteX1" fmla="*/ 0 w 9525"/>
                  <a:gd name="connsiteY1" fmla="*/ 299847 h 2998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525" h="299847">
                    <a:moveTo>
                      <a:pt x="0" y="0"/>
                    </a:moveTo>
                    <a:lnTo>
                      <a:pt x="0" y="299847"/>
                    </a:lnTo>
                  </a:path>
                </a:pathLst>
              </a:custGeom>
              <a:ln w="9525" cap="rnd">
                <a:solidFill>
                  <a:srgbClr val="263238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739" name="Полилиния: фигура 1738">
                <a:extLst>
                  <a:ext uri="{FF2B5EF4-FFF2-40B4-BE49-F238E27FC236}">
                    <a16:creationId xmlns:a16="http://schemas.microsoft.com/office/drawing/2014/main" id="{C9A2B2A3-DDEE-4192-BB46-7C0A1324D198}"/>
                  </a:ext>
                </a:extLst>
              </p:cNvPr>
              <p:cNvSpPr/>
              <p:nvPr/>
            </p:nvSpPr>
            <p:spPr>
              <a:xfrm>
                <a:off x="7893462" y="2532507"/>
                <a:ext cx="9525" cy="299847"/>
              </a:xfrm>
              <a:custGeom>
                <a:avLst/>
                <a:gdLst>
                  <a:gd name="connsiteX0" fmla="*/ 0 w 9525"/>
                  <a:gd name="connsiteY0" fmla="*/ 0 h 299847"/>
                  <a:gd name="connsiteX1" fmla="*/ 0 w 9525"/>
                  <a:gd name="connsiteY1" fmla="*/ 299847 h 2998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525" h="299847">
                    <a:moveTo>
                      <a:pt x="0" y="0"/>
                    </a:moveTo>
                    <a:lnTo>
                      <a:pt x="0" y="299847"/>
                    </a:lnTo>
                  </a:path>
                </a:pathLst>
              </a:custGeom>
              <a:ln w="9525" cap="rnd">
                <a:solidFill>
                  <a:srgbClr val="263238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</p:grpSp>
        <p:grpSp>
          <p:nvGrpSpPr>
            <p:cNvPr id="1740" name="Рисунок 1632">
              <a:extLst>
                <a:ext uri="{FF2B5EF4-FFF2-40B4-BE49-F238E27FC236}">
                  <a16:creationId xmlns:a16="http://schemas.microsoft.com/office/drawing/2014/main" id="{43EFCC39-605A-4B67-9598-5653ECE22115}"/>
                </a:ext>
              </a:extLst>
            </p:cNvPr>
            <p:cNvGrpSpPr/>
            <p:nvPr/>
          </p:nvGrpSpPr>
          <p:grpSpPr>
            <a:xfrm>
              <a:off x="4566380" y="2446781"/>
              <a:ext cx="2987230" cy="1783270"/>
              <a:chOff x="4566380" y="2446781"/>
              <a:chExt cx="2987230" cy="1783270"/>
            </a:xfrm>
            <a:solidFill>
              <a:srgbClr val="FFFFFF"/>
            </a:solidFill>
          </p:grpSpPr>
          <p:sp>
            <p:nvSpPr>
              <p:cNvPr id="1741" name="Полилиния: фигура 1740">
                <a:extLst>
                  <a:ext uri="{FF2B5EF4-FFF2-40B4-BE49-F238E27FC236}">
                    <a16:creationId xmlns:a16="http://schemas.microsoft.com/office/drawing/2014/main" id="{B035E458-8E80-49DA-B337-67B4D7343CEC}"/>
                  </a:ext>
                </a:extLst>
              </p:cNvPr>
              <p:cNvSpPr/>
              <p:nvPr/>
            </p:nvSpPr>
            <p:spPr>
              <a:xfrm>
                <a:off x="6045231" y="3078765"/>
                <a:ext cx="1298447" cy="536733"/>
              </a:xfrm>
              <a:custGeom>
                <a:avLst/>
                <a:gdLst>
                  <a:gd name="connsiteX0" fmla="*/ 0 w 1298447"/>
                  <a:gd name="connsiteY0" fmla="*/ 534353 h 536733"/>
                  <a:gd name="connsiteX1" fmla="*/ 1298067 w 1298447"/>
                  <a:gd name="connsiteY1" fmla="*/ 536734 h 536733"/>
                  <a:gd name="connsiteX2" fmla="*/ 1298448 w 1298447"/>
                  <a:gd name="connsiteY2" fmla="*/ 2381 h 536733"/>
                  <a:gd name="connsiteX3" fmla="*/ 476 w 1298447"/>
                  <a:gd name="connsiteY3" fmla="*/ 0 h 536733"/>
                  <a:gd name="connsiteX4" fmla="*/ 0 w 1298447"/>
                  <a:gd name="connsiteY4" fmla="*/ 534353 h 5367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98447" h="536733">
                    <a:moveTo>
                      <a:pt x="0" y="534353"/>
                    </a:moveTo>
                    <a:lnTo>
                      <a:pt x="1298067" y="536734"/>
                    </a:lnTo>
                    <a:lnTo>
                      <a:pt x="1298448" y="2381"/>
                    </a:lnTo>
                    <a:lnTo>
                      <a:pt x="476" y="0"/>
                    </a:lnTo>
                    <a:lnTo>
                      <a:pt x="0" y="534353"/>
                    </a:lnTo>
                    <a:close/>
                  </a:path>
                </a:pathLst>
              </a:custGeom>
              <a:solidFill>
                <a:srgbClr val="FFFFFF"/>
              </a:solidFill>
              <a:ln w="4763" cap="rnd">
                <a:solidFill>
                  <a:srgbClr val="263238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742" name="Полилиния: фигура 1741">
                <a:extLst>
                  <a:ext uri="{FF2B5EF4-FFF2-40B4-BE49-F238E27FC236}">
                    <a16:creationId xmlns:a16="http://schemas.microsoft.com/office/drawing/2014/main" id="{04AF3971-327F-4941-B3D5-D8424B3EAA6F}"/>
                  </a:ext>
                </a:extLst>
              </p:cNvPr>
              <p:cNvSpPr/>
              <p:nvPr/>
            </p:nvSpPr>
            <p:spPr>
              <a:xfrm>
                <a:off x="6045612" y="3078765"/>
                <a:ext cx="1298066" cy="53625"/>
              </a:xfrm>
              <a:custGeom>
                <a:avLst/>
                <a:gdLst>
                  <a:gd name="connsiteX0" fmla="*/ 0 w 1298066"/>
                  <a:gd name="connsiteY0" fmla="*/ 51149 h 53625"/>
                  <a:gd name="connsiteX1" fmla="*/ 1298067 w 1298066"/>
                  <a:gd name="connsiteY1" fmla="*/ 53626 h 53625"/>
                  <a:gd name="connsiteX2" fmla="*/ 1298067 w 1298066"/>
                  <a:gd name="connsiteY2" fmla="*/ 2381 h 53625"/>
                  <a:gd name="connsiteX3" fmla="*/ 95 w 1298066"/>
                  <a:gd name="connsiteY3" fmla="*/ 0 h 53625"/>
                  <a:gd name="connsiteX4" fmla="*/ 0 w 1298066"/>
                  <a:gd name="connsiteY4" fmla="*/ 51149 h 536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98066" h="53625">
                    <a:moveTo>
                      <a:pt x="0" y="51149"/>
                    </a:moveTo>
                    <a:lnTo>
                      <a:pt x="1298067" y="53626"/>
                    </a:lnTo>
                    <a:lnTo>
                      <a:pt x="1298067" y="2381"/>
                    </a:lnTo>
                    <a:lnTo>
                      <a:pt x="95" y="0"/>
                    </a:lnTo>
                    <a:lnTo>
                      <a:pt x="0" y="51149"/>
                    </a:lnTo>
                    <a:close/>
                  </a:path>
                </a:pathLst>
              </a:custGeom>
              <a:solidFill>
                <a:srgbClr val="FFFFFF"/>
              </a:solidFill>
              <a:ln w="4763" cap="rnd">
                <a:solidFill>
                  <a:srgbClr val="263238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743" name="Полилиния: фигура 1742">
                <a:extLst>
                  <a:ext uri="{FF2B5EF4-FFF2-40B4-BE49-F238E27FC236}">
                    <a16:creationId xmlns:a16="http://schemas.microsoft.com/office/drawing/2014/main" id="{7C936B67-51FA-46F9-B9B4-B6AB7B7CC949}"/>
                  </a:ext>
                </a:extLst>
              </p:cNvPr>
              <p:cNvSpPr/>
              <p:nvPr/>
            </p:nvSpPr>
            <p:spPr>
              <a:xfrm>
                <a:off x="6051327" y="2697956"/>
                <a:ext cx="1348358" cy="337851"/>
              </a:xfrm>
              <a:custGeom>
                <a:avLst/>
                <a:gdLst>
                  <a:gd name="connsiteX0" fmla="*/ 1348359 w 1348358"/>
                  <a:gd name="connsiteY0" fmla="*/ 337852 h 337851"/>
                  <a:gd name="connsiteX1" fmla="*/ 0 w 1348358"/>
                  <a:gd name="connsiteY1" fmla="*/ 335375 h 337851"/>
                  <a:gd name="connsiteX2" fmla="*/ 286 w 1348358"/>
                  <a:gd name="connsiteY2" fmla="*/ 0 h 337851"/>
                  <a:gd name="connsiteX3" fmla="*/ 1141571 w 1348358"/>
                  <a:gd name="connsiteY3" fmla="*/ 2096 h 337851"/>
                  <a:gd name="connsiteX4" fmla="*/ 1348359 w 1348358"/>
                  <a:gd name="connsiteY4" fmla="*/ 337852 h 3378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348358" h="337851">
                    <a:moveTo>
                      <a:pt x="1348359" y="337852"/>
                    </a:moveTo>
                    <a:lnTo>
                      <a:pt x="0" y="335375"/>
                    </a:lnTo>
                    <a:lnTo>
                      <a:pt x="286" y="0"/>
                    </a:lnTo>
                    <a:lnTo>
                      <a:pt x="1141571" y="2096"/>
                    </a:lnTo>
                    <a:lnTo>
                      <a:pt x="1348359" y="337852"/>
                    </a:lnTo>
                    <a:close/>
                  </a:path>
                </a:pathLst>
              </a:custGeom>
              <a:solidFill>
                <a:srgbClr val="FFFFFF"/>
              </a:solidFill>
              <a:ln w="4763" cap="rnd">
                <a:solidFill>
                  <a:srgbClr val="263238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744" name="Полилиния: фигура 1743">
                <a:extLst>
                  <a:ext uri="{FF2B5EF4-FFF2-40B4-BE49-F238E27FC236}">
                    <a16:creationId xmlns:a16="http://schemas.microsoft.com/office/drawing/2014/main" id="{5F4D4C9A-B6C3-4B3E-A8C4-8E6186A6C225}"/>
                  </a:ext>
                </a:extLst>
              </p:cNvPr>
              <p:cNvSpPr/>
              <p:nvPr/>
            </p:nvSpPr>
            <p:spPr>
              <a:xfrm>
                <a:off x="6040088" y="3033331"/>
                <a:ext cx="1359598" cy="65055"/>
              </a:xfrm>
              <a:custGeom>
                <a:avLst/>
                <a:gdLst>
                  <a:gd name="connsiteX0" fmla="*/ 0 w 1359598"/>
                  <a:gd name="connsiteY0" fmla="*/ 62484 h 65055"/>
                  <a:gd name="connsiteX1" fmla="*/ 1359598 w 1359598"/>
                  <a:gd name="connsiteY1" fmla="*/ 65056 h 65055"/>
                  <a:gd name="connsiteX2" fmla="*/ 1359598 w 1359598"/>
                  <a:gd name="connsiteY2" fmla="*/ 2477 h 65055"/>
                  <a:gd name="connsiteX3" fmla="*/ 0 w 1359598"/>
                  <a:gd name="connsiteY3" fmla="*/ 0 h 65055"/>
                  <a:gd name="connsiteX4" fmla="*/ 0 w 1359598"/>
                  <a:gd name="connsiteY4" fmla="*/ 62484 h 650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359598" h="65055">
                    <a:moveTo>
                      <a:pt x="0" y="62484"/>
                    </a:moveTo>
                    <a:lnTo>
                      <a:pt x="1359598" y="65056"/>
                    </a:lnTo>
                    <a:lnTo>
                      <a:pt x="1359598" y="2477"/>
                    </a:lnTo>
                    <a:lnTo>
                      <a:pt x="0" y="0"/>
                    </a:lnTo>
                    <a:lnTo>
                      <a:pt x="0" y="62484"/>
                    </a:lnTo>
                    <a:close/>
                  </a:path>
                </a:pathLst>
              </a:custGeom>
              <a:solidFill>
                <a:srgbClr val="FFFFFF"/>
              </a:solidFill>
              <a:ln w="4763" cap="rnd">
                <a:solidFill>
                  <a:srgbClr val="263238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745" name="Полилиния: фигура 1744">
                <a:extLst>
                  <a:ext uri="{FF2B5EF4-FFF2-40B4-BE49-F238E27FC236}">
                    <a16:creationId xmlns:a16="http://schemas.microsoft.com/office/drawing/2014/main" id="{61D53E1E-5CCB-4FEF-B988-7D174145B31A}"/>
                  </a:ext>
                </a:extLst>
              </p:cNvPr>
              <p:cNvSpPr/>
              <p:nvPr/>
            </p:nvSpPr>
            <p:spPr>
              <a:xfrm>
                <a:off x="5366289" y="2901505"/>
                <a:ext cx="910018" cy="448817"/>
              </a:xfrm>
              <a:custGeom>
                <a:avLst/>
                <a:gdLst>
                  <a:gd name="connsiteX0" fmla="*/ 910018 w 910018"/>
                  <a:gd name="connsiteY0" fmla="*/ 1715 h 448817"/>
                  <a:gd name="connsiteX1" fmla="*/ 286 w 910018"/>
                  <a:gd name="connsiteY1" fmla="*/ 0 h 448817"/>
                  <a:gd name="connsiteX2" fmla="*/ 0 w 910018"/>
                  <a:gd name="connsiteY2" fmla="*/ 447103 h 448817"/>
                  <a:gd name="connsiteX3" fmla="*/ 909638 w 910018"/>
                  <a:gd name="connsiteY3" fmla="*/ 448818 h 448817"/>
                  <a:gd name="connsiteX4" fmla="*/ 910018 w 910018"/>
                  <a:gd name="connsiteY4" fmla="*/ 1715 h 4488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910018" h="448817">
                    <a:moveTo>
                      <a:pt x="910018" y="1715"/>
                    </a:moveTo>
                    <a:lnTo>
                      <a:pt x="286" y="0"/>
                    </a:lnTo>
                    <a:lnTo>
                      <a:pt x="0" y="447103"/>
                    </a:lnTo>
                    <a:lnTo>
                      <a:pt x="909638" y="448818"/>
                    </a:lnTo>
                    <a:lnTo>
                      <a:pt x="910018" y="1715"/>
                    </a:lnTo>
                    <a:close/>
                  </a:path>
                </a:pathLst>
              </a:custGeom>
              <a:solidFill>
                <a:srgbClr val="FFFFFF"/>
              </a:solidFill>
              <a:ln w="4763" cap="rnd">
                <a:solidFill>
                  <a:srgbClr val="263238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746" name="Полилиния: фигура 1745">
                <a:extLst>
                  <a:ext uri="{FF2B5EF4-FFF2-40B4-BE49-F238E27FC236}">
                    <a16:creationId xmlns:a16="http://schemas.microsoft.com/office/drawing/2014/main" id="{5179A331-E743-4D31-AC78-826ABBB83F0A}"/>
                  </a:ext>
                </a:extLst>
              </p:cNvPr>
              <p:cNvSpPr/>
              <p:nvPr/>
            </p:nvSpPr>
            <p:spPr>
              <a:xfrm>
                <a:off x="5366575" y="2901505"/>
                <a:ext cx="909732" cy="46958"/>
              </a:xfrm>
              <a:custGeom>
                <a:avLst/>
                <a:gdLst>
                  <a:gd name="connsiteX0" fmla="*/ 909733 w 909732"/>
                  <a:gd name="connsiteY0" fmla="*/ 1715 h 46958"/>
                  <a:gd name="connsiteX1" fmla="*/ 0 w 909732"/>
                  <a:gd name="connsiteY1" fmla="*/ 0 h 46958"/>
                  <a:gd name="connsiteX2" fmla="*/ 0 w 909732"/>
                  <a:gd name="connsiteY2" fmla="*/ 45244 h 46958"/>
                  <a:gd name="connsiteX3" fmla="*/ 909638 w 909732"/>
                  <a:gd name="connsiteY3" fmla="*/ 46958 h 46958"/>
                  <a:gd name="connsiteX4" fmla="*/ 909733 w 909732"/>
                  <a:gd name="connsiteY4" fmla="*/ 1715 h 469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909732" h="46958">
                    <a:moveTo>
                      <a:pt x="909733" y="1715"/>
                    </a:moveTo>
                    <a:lnTo>
                      <a:pt x="0" y="0"/>
                    </a:lnTo>
                    <a:lnTo>
                      <a:pt x="0" y="45244"/>
                    </a:lnTo>
                    <a:lnTo>
                      <a:pt x="909638" y="46958"/>
                    </a:lnTo>
                    <a:lnTo>
                      <a:pt x="909733" y="1715"/>
                    </a:lnTo>
                    <a:close/>
                  </a:path>
                </a:pathLst>
              </a:custGeom>
              <a:solidFill>
                <a:srgbClr val="FFFFFF"/>
              </a:solidFill>
              <a:ln w="4763" cap="rnd">
                <a:solidFill>
                  <a:srgbClr val="263238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747" name="Полилиния: фигура 1746">
                <a:extLst>
                  <a:ext uri="{FF2B5EF4-FFF2-40B4-BE49-F238E27FC236}">
                    <a16:creationId xmlns:a16="http://schemas.microsoft.com/office/drawing/2014/main" id="{D4F323BC-C975-4C8E-B44B-9E9F2E255597}"/>
                  </a:ext>
                </a:extLst>
              </p:cNvPr>
              <p:cNvSpPr/>
              <p:nvPr/>
            </p:nvSpPr>
            <p:spPr>
              <a:xfrm>
                <a:off x="5315902" y="2446781"/>
                <a:ext cx="990028" cy="379190"/>
              </a:xfrm>
              <a:custGeom>
                <a:avLst/>
                <a:gdLst>
                  <a:gd name="connsiteX0" fmla="*/ 495300 w 990028"/>
                  <a:gd name="connsiteY0" fmla="*/ 0 h 379190"/>
                  <a:gd name="connsiteX1" fmla="*/ 0 w 990028"/>
                  <a:gd name="connsiteY1" fmla="*/ 377285 h 379190"/>
                  <a:gd name="connsiteX2" fmla="*/ 990028 w 990028"/>
                  <a:gd name="connsiteY2" fmla="*/ 379190 h 379190"/>
                  <a:gd name="connsiteX3" fmla="*/ 495300 w 990028"/>
                  <a:gd name="connsiteY3" fmla="*/ 0 h 3791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90028" h="379190">
                    <a:moveTo>
                      <a:pt x="495300" y="0"/>
                    </a:moveTo>
                    <a:lnTo>
                      <a:pt x="0" y="377285"/>
                    </a:lnTo>
                    <a:lnTo>
                      <a:pt x="990028" y="379190"/>
                    </a:lnTo>
                    <a:lnTo>
                      <a:pt x="495300" y="0"/>
                    </a:lnTo>
                    <a:close/>
                  </a:path>
                </a:pathLst>
              </a:custGeom>
              <a:solidFill>
                <a:srgbClr val="FFFFFF"/>
              </a:solidFill>
              <a:ln w="4763" cap="rnd">
                <a:solidFill>
                  <a:srgbClr val="263238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748" name="Полилиния: фигура 1747">
                <a:extLst>
                  <a:ext uri="{FF2B5EF4-FFF2-40B4-BE49-F238E27FC236}">
                    <a16:creationId xmlns:a16="http://schemas.microsoft.com/office/drawing/2014/main" id="{A6C4DD7D-6B16-42AE-B37C-DD0CB958B1CE}"/>
                  </a:ext>
                </a:extLst>
              </p:cNvPr>
              <p:cNvSpPr/>
              <p:nvPr/>
            </p:nvSpPr>
            <p:spPr>
              <a:xfrm>
                <a:off x="5417153" y="2498312"/>
                <a:ext cx="787527" cy="301656"/>
              </a:xfrm>
              <a:custGeom>
                <a:avLst/>
                <a:gdLst>
                  <a:gd name="connsiteX0" fmla="*/ 394049 w 787527"/>
                  <a:gd name="connsiteY0" fmla="*/ 0 h 301656"/>
                  <a:gd name="connsiteX1" fmla="*/ 0 w 787527"/>
                  <a:gd name="connsiteY1" fmla="*/ 300133 h 301656"/>
                  <a:gd name="connsiteX2" fmla="*/ 787527 w 787527"/>
                  <a:gd name="connsiteY2" fmla="*/ 301657 h 301656"/>
                  <a:gd name="connsiteX3" fmla="*/ 394049 w 787527"/>
                  <a:gd name="connsiteY3" fmla="*/ 0 h 3016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87527" h="301656">
                    <a:moveTo>
                      <a:pt x="394049" y="0"/>
                    </a:moveTo>
                    <a:lnTo>
                      <a:pt x="0" y="300133"/>
                    </a:lnTo>
                    <a:lnTo>
                      <a:pt x="787527" y="301657"/>
                    </a:lnTo>
                    <a:lnTo>
                      <a:pt x="394049" y="0"/>
                    </a:lnTo>
                    <a:close/>
                  </a:path>
                </a:pathLst>
              </a:custGeom>
              <a:solidFill>
                <a:srgbClr val="FFFFFF"/>
              </a:solidFill>
              <a:ln w="4763" cap="rnd">
                <a:solidFill>
                  <a:srgbClr val="263238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749" name="Полилиния: фигура 1748">
                <a:extLst>
                  <a:ext uri="{FF2B5EF4-FFF2-40B4-BE49-F238E27FC236}">
                    <a16:creationId xmlns:a16="http://schemas.microsoft.com/office/drawing/2014/main" id="{D944BF6A-5484-4956-992C-EA77B7AC7F43}"/>
                  </a:ext>
                </a:extLst>
              </p:cNvPr>
              <p:cNvSpPr/>
              <p:nvPr/>
            </p:nvSpPr>
            <p:spPr>
              <a:xfrm>
                <a:off x="4642008" y="3527774"/>
                <a:ext cx="59817" cy="699135"/>
              </a:xfrm>
              <a:custGeom>
                <a:avLst/>
                <a:gdLst>
                  <a:gd name="connsiteX0" fmla="*/ 59246 w 59817"/>
                  <a:gd name="connsiteY0" fmla="*/ 699135 h 699135"/>
                  <a:gd name="connsiteX1" fmla="*/ 0 w 59817"/>
                  <a:gd name="connsiteY1" fmla="*/ 698945 h 699135"/>
                  <a:gd name="connsiteX2" fmla="*/ 572 w 59817"/>
                  <a:gd name="connsiteY2" fmla="*/ 0 h 699135"/>
                  <a:gd name="connsiteX3" fmla="*/ 59817 w 59817"/>
                  <a:gd name="connsiteY3" fmla="*/ 95 h 699135"/>
                  <a:gd name="connsiteX4" fmla="*/ 59246 w 59817"/>
                  <a:gd name="connsiteY4" fmla="*/ 699135 h 6991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9817" h="699135">
                    <a:moveTo>
                      <a:pt x="59246" y="699135"/>
                    </a:moveTo>
                    <a:lnTo>
                      <a:pt x="0" y="698945"/>
                    </a:lnTo>
                    <a:lnTo>
                      <a:pt x="572" y="0"/>
                    </a:lnTo>
                    <a:lnTo>
                      <a:pt x="59817" y="95"/>
                    </a:lnTo>
                    <a:lnTo>
                      <a:pt x="59246" y="699135"/>
                    </a:lnTo>
                    <a:close/>
                  </a:path>
                </a:pathLst>
              </a:custGeom>
              <a:solidFill>
                <a:srgbClr val="FFFFFF"/>
              </a:solidFill>
              <a:ln w="4763" cap="rnd">
                <a:solidFill>
                  <a:srgbClr val="263238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750" name="Полилиния: фигура 1749">
                <a:extLst>
                  <a:ext uri="{FF2B5EF4-FFF2-40B4-BE49-F238E27FC236}">
                    <a16:creationId xmlns:a16="http://schemas.microsoft.com/office/drawing/2014/main" id="{67605D31-BE77-41FC-A062-B5C1CE1ACAC3}"/>
                  </a:ext>
                </a:extLst>
              </p:cNvPr>
              <p:cNvSpPr/>
              <p:nvPr/>
            </p:nvSpPr>
            <p:spPr>
              <a:xfrm>
                <a:off x="4785931" y="3528059"/>
                <a:ext cx="2742247" cy="701992"/>
              </a:xfrm>
              <a:custGeom>
                <a:avLst/>
                <a:gdLst>
                  <a:gd name="connsiteX0" fmla="*/ 2741771 w 2742247"/>
                  <a:gd name="connsiteY0" fmla="*/ 701993 h 701992"/>
                  <a:gd name="connsiteX1" fmla="*/ 0 w 2742247"/>
                  <a:gd name="connsiteY1" fmla="*/ 696944 h 701992"/>
                  <a:gd name="connsiteX2" fmla="*/ 476 w 2742247"/>
                  <a:gd name="connsiteY2" fmla="*/ 0 h 701992"/>
                  <a:gd name="connsiteX3" fmla="*/ 2742247 w 2742247"/>
                  <a:gd name="connsiteY3" fmla="*/ 5048 h 701992"/>
                  <a:gd name="connsiteX4" fmla="*/ 2741771 w 2742247"/>
                  <a:gd name="connsiteY4" fmla="*/ 701993 h 7019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742247" h="701992">
                    <a:moveTo>
                      <a:pt x="2741771" y="701993"/>
                    </a:moveTo>
                    <a:lnTo>
                      <a:pt x="0" y="696944"/>
                    </a:lnTo>
                    <a:lnTo>
                      <a:pt x="476" y="0"/>
                    </a:lnTo>
                    <a:lnTo>
                      <a:pt x="2742247" y="5048"/>
                    </a:lnTo>
                    <a:lnTo>
                      <a:pt x="2741771" y="701993"/>
                    </a:lnTo>
                    <a:close/>
                  </a:path>
                </a:pathLst>
              </a:custGeom>
              <a:solidFill>
                <a:srgbClr val="FFFFFF"/>
              </a:solidFill>
              <a:ln w="4763" cap="rnd">
                <a:solidFill>
                  <a:srgbClr val="263238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751" name="Полилиния: фигура 1750">
                <a:extLst>
                  <a:ext uri="{FF2B5EF4-FFF2-40B4-BE49-F238E27FC236}">
                    <a16:creationId xmlns:a16="http://schemas.microsoft.com/office/drawing/2014/main" id="{FE2330AC-515E-422A-86B9-24E012B4328C}"/>
                  </a:ext>
                </a:extLst>
              </p:cNvPr>
              <p:cNvSpPr/>
              <p:nvPr/>
            </p:nvSpPr>
            <p:spPr>
              <a:xfrm>
                <a:off x="4786407" y="3528059"/>
                <a:ext cx="2741771" cy="82105"/>
              </a:xfrm>
              <a:custGeom>
                <a:avLst/>
                <a:gdLst>
                  <a:gd name="connsiteX0" fmla="*/ 2741771 w 2741771"/>
                  <a:gd name="connsiteY0" fmla="*/ 82106 h 82105"/>
                  <a:gd name="connsiteX1" fmla="*/ 0 w 2741771"/>
                  <a:gd name="connsiteY1" fmla="*/ 76962 h 82105"/>
                  <a:gd name="connsiteX2" fmla="*/ 0 w 2741771"/>
                  <a:gd name="connsiteY2" fmla="*/ 0 h 82105"/>
                  <a:gd name="connsiteX3" fmla="*/ 2741771 w 2741771"/>
                  <a:gd name="connsiteY3" fmla="*/ 5048 h 82105"/>
                  <a:gd name="connsiteX4" fmla="*/ 2741771 w 2741771"/>
                  <a:gd name="connsiteY4" fmla="*/ 82106 h 821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741771" h="82105">
                    <a:moveTo>
                      <a:pt x="2741771" y="82106"/>
                    </a:moveTo>
                    <a:lnTo>
                      <a:pt x="0" y="76962"/>
                    </a:lnTo>
                    <a:lnTo>
                      <a:pt x="0" y="0"/>
                    </a:lnTo>
                    <a:lnTo>
                      <a:pt x="2741771" y="5048"/>
                    </a:lnTo>
                    <a:lnTo>
                      <a:pt x="2741771" y="82106"/>
                    </a:lnTo>
                    <a:close/>
                  </a:path>
                </a:pathLst>
              </a:custGeom>
              <a:solidFill>
                <a:srgbClr val="FFFFFF"/>
              </a:solidFill>
              <a:ln w="4763" cap="rnd">
                <a:solidFill>
                  <a:srgbClr val="263238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752" name="Полилиния: фигура 1751">
                <a:extLst>
                  <a:ext uri="{FF2B5EF4-FFF2-40B4-BE49-F238E27FC236}">
                    <a16:creationId xmlns:a16="http://schemas.microsoft.com/office/drawing/2014/main" id="{D566FC90-BB7A-4270-A037-8B6DB3481281}"/>
                  </a:ext>
                </a:extLst>
              </p:cNvPr>
              <p:cNvSpPr/>
              <p:nvPr/>
            </p:nvSpPr>
            <p:spPr>
              <a:xfrm>
                <a:off x="4566475" y="3300126"/>
                <a:ext cx="1857565" cy="209454"/>
              </a:xfrm>
              <a:custGeom>
                <a:avLst/>
                <a:gdLst>
                  <a:gd name="connsiteX0" fmla="*/ 1857470 w 1857565"/>
                  <a:gd name="connsiteY0" fmla="*/ 209455 h 209454"/>
                  <a:gd name="connsiteX1" fmla="*/ 0 w 1857565"/>
                  <a:gd name="connsiteY1" fmla="*/ 206026 h 209454"/>
                  <a:gd name="connsiteX2" fmla="*/ 156686 w 1857565"/>
                  <a:gd name="connsiteY2" fmla="*/ 0 h 209454"/>
                  <a:gd name="connsiteX3" fmla="*/ 1857566 w 1857565"/>
                  <a:gd name="connsiteY3" fmla="*/ 3143 h 209454"/>
                  <a:gd name="connsiteX4" fmla="*/ 1857470 w 1857565"/>
                  <a:gd name="connsiteY4" fmla="*/ 209455 h 2094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857565" h="209454">
                    <a:moveTo>
                      <a:pt x="1857470" y="209455"/>
                    </a:moveTo>
                    <a:lnTo>
                      <a:pt x="0" y="206026"/>
                    </a:lnTo>
                    <a:lnTo>
                      <a:pt x="156686" y="0"/>
                    </a:lnTo>
                    <a:lnTo>
                      <a:pt x="1857566" y="3143"/>
                    </a:lnTo>
                    <a:lnTo>
                      <a:pt x="1857470" y="209455"/>
                    </a:lnTo>
                    <a:close/>
                  </a:path>
                </a:pathLst>
              </a:custGeom>
              <a:solidFill>
                <a:srgbClr val="FFFFFF"/>
              </a:solidFill>
              <a:ln w="4763" cap="rnd">
                <a:solidFill>
                  <a:srgbClr val="263238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753" name="Полилиния: фигура 1752">
                <a:extLst>
                  <a:ext uri="{FF2B5EF4-FFF2-40B4-BE49-F238E27FC236}">
                    <a16:creationId xmlns:a16="http://schemas.microsoft.com/office/drawing/2014/main" id="{0893B41D-F85D-4B98-AFCB-6C8F2D7A5238}"/>
                  </a:ext>
                </a:extLst>
              </p:cNvPr>
              <p:cNvSpPr/>
              <p:nvPr/>
            </p:nvSpPr>
            <p:spPr>
              <a:xfrm>
                <a:off x="4566380" y="3506152"/>
                <a:ext cx="1510569" cy="45815"/>
              </a:xfrm>
              <a:custGeom>
                <a:avLst/>
                <a:gdLst>
                  <a:gd name="connsiteX0" fmla="*/ 1510570 w 1510569"/>
                  <a:gd name="connsiteY0" fmla="*/ 45815 h 45815"/>
                  <a:gd name="connsiteX1" fmla="*/ 0 w 1510569"/>
                  <a:gd name="connsiteY1" fmla="*/ 42958 h 45815"/>
                  <a:gd name="connsiteX2" fmla="*/ 95 w 1510569"/>
                  <a:gd name="connsiteY2" fmla="*/ 0 h 45815"/>
                  <a:gd name="connsiteX3" fmla="*/ 1510570 w 1510569"/>
                  <a:gd name="connsiteY3" fmla="*/ 2762 h 45815"/>
                  <a:gd name="connsiteX4" fmla="*/ 1510570 w 1510569"/>
                  <a:gd name="connsiteY4" fmla="*/ 45815 h 458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510569" h="45815">
                    <a:moveTo>
                      <a:pt x="1510570" y="45815"/>
                    </a:moveTo>
                    <a:lnTo>
                      <a:pt x="0" y="42958"/>
                    </a:lnTo>
                    <a:lnTo>
                      <a:pt x="95" y="0"/>
                    </a:lnTo>
                    <a:lnTo>
                      <a:pt x="1510570" y="2762"/>
                    </a:lnTo>
                    <a:lnTo>
                      <a:pt x="1510570" y="45815"/>
                    </a:lnTo>
                    <a:close/>
                  </a:path>
                </a:pathLst>
              </a:custGeom>
              <a:solidFill>
                <a:srgbClr val="FFFFFF"/>
              </a:solidFill>
              <a:ln w="4763" cap="rnd">
                <a:solidFill>
                  <a:srgbClr val="263238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754" name="Полилиния: фигура 1753">
                <a:extLst>
                  <a:ext uri="{FF2B5EF4-FFF2-40B4-BE49-F238E27FC236}">
                    <a16:creationId xmlns:a16="http://schemas.microsoft.com/office/drawing/2014/main" id="{803A792E-AA23-487A-A337-1073391DA55F}"/>
                  </a:ext>
                </a:extLst>
              </p:cNvPr>
              <p:cNvSpPr/>
              <p:nvPr/>
            </p:nvSpPr>
            <p:spPr>
              <a:xfrm>
                <a:off x="5995987" y="3508819"/>
                <a:ext cx="1532191" cy="721233"/>
              </a:xfrm>
              <a:custGeom>
                <a:avLst/>
                <a:gdLst>
                  <a:gd name="connsiteX0" fmla="*/ 1532191 w 1532191"/>
                  <a:gd name="connsiteY0" fmla="*/ 2857 h 721233"/>
                  <a:gd name="connsiteX1" fmla="*/ 571 w 1532191"/>
                  <a:gd name="connsiteY1" fmla="*/ 0 h 721233"/>
                  <a:gd name="connsiteX2" fmla="*/ 0 w 1532191"/>
                  <a:gd name="connsiteY2" fmla="*/ 718376 h 721233"/>
                  <a:gd name="connsiteX3" fmla="*/ 1531715 w 1532191"/>
                  <a:gd name="connsiteY3" fmla="*/ 721233 h 721233"/>
                  <a:gd name="connsiteX4" fmla="*/ 1532191 w 1532191"/>
                  <a:gd name="connsiteY4" fmla="*/ 2857 h 7212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532191" h="721233">
                    <a:moveTo>
                      <a:pt x="1532191" y="2857"/>
                    </a:moveTo>
                    <a:lnTo>
                      <a:pt x="571" y="0"/>
                    </a:lnTo>
                    <a:lnTo>
                      <a:pt x="0" y="718376"/>
                    </a:lnTo>
                    <a:lnTo>
                      <a:pt x="1531715" y="721233"/>
                    </a:lnTo>
                    <a:lnTo>
                      <a:pt x="1532191" y="2857"/>
                    </a:lnTo>
                    <a:close/>
                  </a:path>
                </a:pathLst>
              </a:custGeom>
              <a:solidFill>
                <a:srgbClr val="FFFFFF"/>
              </a:solidFill>
              <a:ln w="4763" cap="rnd">
                <a:solidFill>
                  <a:srgbClr val="263238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755" name="Полилиния: фигура 1754">
                <a:extLst>
                  <a:ext uri="{FF2B5EF4-FFF2-40B4-BE49-F238E27FC236}">
                    <a16:creationId xmlns:a16="http://schemas.microsoft.com/office/drawing/2014/main" id="{57B1615E-FD40-4AC8-B66F-BF21F9A2134D}"/>
                  </a:ext>
                </a:extLst>
              </p:cNvPr>
              <p:cNvSpPr/>
              <p:nvPr/>
            </p:nvSpPr>
            <p:spPr>
              <a:xfrm>
                <a:off x="6035420" y="3550538"/>
                <a:ext cx="1453419" cy="679418"/>
              </a:xfrm>
              <a:custGeom>
                <a:avLst/>
                <a:gdLst>
                  <a:gd name="connsiteX0" fmla="*/ 1453420 w 1453419"/>
                  <a:gd name="connsiteY0" fmla="*/ 2667 h 679418"/>
                  <a:gd name="connsiteX1" fmla="*/ 476 w 1453419"/>
                  <a:gd name="connsiteY1" fmla="*/ 0 h 679418"/>
                  <a:gd name="connsiteX2" fmla="*/ 0 w 1453419"/>
                  <a:gd name="connsiteY2" fmla="*/ 676751 h 679418"/>
                  <a:gd name="connsiteX3" fmla="*/ 1452848 w 1453419"/>
                  <a:gd name="connsiteY3" fmla="*/ 679418 h 679418"/>
                  <a:gd name="connsiteX4" fmla="*/ 1453420 w 1453419"/>
                  <a:gd name="connsiteY4" fmla="*/ 2667 h 6794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453419" h="679418">
                    <a:moveTo>
                      <a:pt x="1453420" y="2667"/>
                    </a:moveTo>
                    <a:lnTo>
                      <a:pt x="476" y="0"/>
                    </a:lnTo>
                    <a:lnTo>
                      <a:pt x="0" y="676751"/>
                    </a:lnTo>
                    <a:lnTo>
                      <a:pt x="1452848" y="679418"/>
                    </a:lnTo>
                    <a:lnTo>
                      <a:pt x="1453420" y="2667"/>
                    </a:lnTo>
                    <a:close/>
                  </a:path>
                </a:pathLst>
              </a:custGeom>
              <a:solidFill>
                <a:srgbClr val="FFFFFF"/>
              </a:solidFill>
              <a:ln w="4763" cap="rnd">
                <a:solidFill>
                  <a:srgbClr val="263238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756" name="Полилиния: фигура 1755">
                <a:extLst>
                  <a:ext uri="{FF2B5EF4-FFF2-40B4-BE49-F238E27FC236}">
                    <a16:creationId xmlns:a16="http://schemas.microsoft.com/office/drawing/2014/main" id="{663DB313-D7AC-401F-944F-A69BC7D528F8}"/>
                  </a:ext>
                </a:extLst>
              </p:cNvPr>
              <p:cNvSpPr/>
              <p:nvPr/>
            </p:nvSpPr>
            <p:spPr>
              <a:xfrm>
                <a:off x="6156769" y="3646646"/>
                <a:ext cx="1210532" cy="583120"/>
              </a:xfrm>
              <a:custGeom>
                <a:avLst/>
                <a:gdLst>
                  <a:gd name="connsiteX0" fmla="*/ 1210532 w 1210532"/>
                  <a:gd name="connsiteY0" fmla="*/ 2286 h 583120"/>
                  <a:gd name="connsiteX1" fmla="*/ 476 w 1210532"/>
                  <a:gd name="connsiteY1" fmla="*/ 0 h 583120"/>
                  <a:gd name="connsiteX2" fmla="*/ 0 w 1210532"/>
                  <a:gd name="connsiteY2" fmla="*/ 580834 h 583120"/>
                  <a:gd name="connsiteX3" fmla="*/ 1210151 w 1210532"/>
                  <a:gd name="connsiteY3" fmla="*/ 583121 h 583120"/>
                  <a:gd name="connsiteX4" fmla="*/ 1210532 w 1210532"/>
                  <a:gd name="connsiteY4" fmla="*/ 2286 h 5831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10532" h="583120">
                    <a:moveTo>
                      <a:pt x="1210532" y="2286"/>
                    </a:moveTo>
                    <a:lnTo>
                      <a:pt x="476" y="0"/>
                    </a:lnTo>
                    <a:lnTo>
                      <a:pt x="0" y="580834"/>
                    </a:lnTo>
                    <a:lnTo>
                      <a:pt x="1210151" y="583121"/>
                    </a:lnTo>
                    <a:lnTo>
                      <a:pt x="1210532" y="2286"/>
                    </a:lnTo>
                    <a:close/>
                  </a:path>
                </a:pathLst>
              </a:custGeom>
              <a:solidFill>
                <a:srgbClr val="FFFFFF"/>
              </a:solidFill>
              <a:ln w="4763" cap="rnd">
                <a:solidFill>
                  <a:srgbClr val="263238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grpSp>
            <p:nvGrpSpPr>
              <p:cNvPr id="1757" name="Рисунок 1632">
                <a:extLst>
                  <a:ext uri="{FF2B5EF4-FFF2-40B4-BE49-F238E27FC236}">
                    <a16:creationId xmlns:a16="http://schemas.microsoft.com/office/drawing/2014/main" id="{43EFCC39-605A-4B67-9598-5653ECE22115}"/>
                  </a:ext>
                </a:extLst>
              </p:cNvPr>
              <p:cNvGrpSpPr/>
              <p:nvPr/>
            </p:nvGrpSpPr>
            <p:grpSpPr>
              <a:xfrm>
                <a:off x="6188392" y="3828954"/>
                <a:ext cx="1148619" cy="373189"/>
                <a:chOff x="6188392" y="3828954"/>
                <a:chExt cx="1148619" cy="373189"/>
              </a:xfrm>
              <a:solidFill>
                <a:srgbClr val="FFFFFF"/>
              </a:solidFill>
            </p:grpSpPr>
            <p:sp>
              <p:nvSpPr>
                <p:cNvPr id="1758" name="Полилиния: фигура 1757">
                  <a:extLst>
                    <a:ext uri="{FF2B5EF4-FFF2-40B4-BE49-F238E27FC236}">
                      <a16:creationId xmlns:a16="http://schemas.microsoft.com/office/drawing/2014/main" id="{98F2411F-8B5B-4C7A-8559-25A1E5156604}"/>
                    </a:ext>
                  </a:extLst>
                </p:cNvPr>
                <p:cNvSpPr/>
                <p:nvPr/>
              </p:nvSpPr>
              <p:spPr>
                <a:xfrm>
                  <a:off x="6188583" y="3828954"/>
                  <a:ext cx="273367" cy="109918"/>
                </a:xfrm>
                <a:custGeom>
                  <a:avLst/>
                  <a:gdLst>
                    <a:gd name="connsiteX0" fmla="*/ 273272 w 273367"/>
                    <a:gd name="connsiteY0" fmla="*/ 109918 h 109918"/>
                    <a:gd name="connsiteX1" fmla="*/ 0 w 273367"/>
                    <a:gd name="connsiteY1" fmla="*/ 109442 h 109918"/>
                    <a:gd name="connsiteX2" fmla="*/ 95 w 273367"/>
                    <a:gd name="connsiteY2" fmla="*/ 0 h 109918"/>
                    <a:gd name="connsiteX3" fmla="*/ 273367 w 273367"/>
                    <a:gd name="connsiteY3" fmla="*/ 476 h 109918"/>
                    <a:gd name="connsiteX4" fmla="*/ 273272 w 273367"/>
                    <a:gd name="connsiteY4" fmla="*/ 109918 h 10991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273367" h="109918">
                      <a:moveTo>
                        <a:pt x="273272" y="109918"/>
                      </a:moveTo>
                      <a:lnTo>
                        <a:pt x="0" y="109442"/>
                      </a:lnTo>
                      <a:lnTo>
                        <a:pt x="95" y="0"/>
                      </a:lnTo>
                      <a:lnTo>
                        <a:pt x="273367" y="476"/>
                      </a:lnTo>
                      <a:lnTo>
                        <a:pt x="273272" y="109918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4763" cap="rnd">
                  <a:solidFill>
                    <a:srgbClr val="263238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1759" name="Полилиния: фигура 1758">
                  <a:extLst>
                    <a:ext uri="{FF2B5EF4-FFF2-40B4-BE49-F238E27FC236}">
                      <a16:creationId xmlns:a16="http://schemas.microsoft.com/office/drawing/2014/main" id="{6F5EFAD5-367E-4C34-9F21-9816BD8E6565}"/>
                    </a:ext>
                  </a:extLst>
                </p:cNvPr>
                <p:cNvSpPr/>
                <p:nvPr/>
              </p:nvSpPr>
              <p:spPr>
                <a:xfrm>
                  <a:off x="6480238" y="3829430"/>
                  <a:ext cx="273367" cy="110013"/>
                </a:xfrm>
                <a:custGeom>
                  <a:avLst/>
                  <a:gdLst>
                    <a:gd name="connsiteX0" fmla="*/ 273272 w 273367"/>
                    <a:gd name="connsiteY0" fmla="*/ 110014 h 110013"/>
                    <a:gd name="connsiteX1" fmla="*/ 0 w 273367"/>
                    <a:gd name="connsiteY1" fmla="*/ 109538 h 110013"/>
                    <a:gd name="connsiteX2" fmla="*/ 95 w 273367"/>
                    <a:gd name="connsiteY2" fmla="*/ 0 h 110013"/>
                    <a:gd name="connsiteX3" fmla="*/ 273368 w 273367"/>
                    <a:gd name="connsiteY3" fmla="*/ 572 h 110013"/>
                    <a:gd name="connsiteX4" fmla="*/ 273272 w 273367"/>
                    <a:gd name="connsiteY4" fmla="*/ 110014 h 11001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273367" h="110013">
                      <a:moveTo>
                        <a:pt x="273272" y="110014"/>
                      </a:moveTo>
                      <a:lnTo>
                        <a:pt x="0" y="109538"/>
                      </a:lnTo>
                      <a:lnTo>
                        <a:pt x="95" y="0"/>
                      </a:lnTo>
                      <a:lnTo>
                        <a:pt x="273368" y="572"/>
                      </a:lnTo>
                      <a:lnTo>
                        <a:pt x="273272" y="110014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4763" cap="rnd">
                  <a:solidFill>
                    <a:srgbClr val="263238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1760" name="Полилиния: фигура 1759">
                  <a:extLst>
                    <a:ext uri="{FF2B5EF4-FFF2-40B4-BE49-F238E27FC236}">
                      <a16:creationId xmlns:a16="http://schemas.microsoft.com/office/drawing/2014/main" id="{A36A02AE-49E1-4E7C-91BC-3BA67484289C}"/>
                    </a:ext>
                  </a:extLst>
                </p:cNvPr>
                <p:cNvSpPr/>
                <p:nvPr/>
              </p:nvSpPr>
              <p:spPr>
                <a:xfrm>
                  <a:off x="6188487" y="3959733"/>
                  <a:ext cx="273367" cy="110013"/>
                </a:xfrm>
                <a:custGeom>
                  <a:avLst/>
                  <a:gdLst>
                    <a:gd name="connsiteX0" fmla="*/ 273272 w 273367"/>
                    <a:gd name="connsiteY0" fmla="*/ 110014 h 110013"/>
                    <a:gd name="connsiteX1" fmla="*/ 0 w 273367"/>
                    <a:gd name="connsiteY1" fmla="*/ 109442 h 110013"/>
                    <a:gd name="connsiteX2" fmla="*/ 95 w 273367"/>
                    <a:gd name="connsiteY2" fmla="*/ 0 h 110013"/>
                    <a:gd name="connsiteX3" fmla="*/ 273367 w 273367"/>
                    <a:gd name="connsiteY3" fmla="*/ 476 h 110013"/>
                    <a:gd name="connsiteX4" fmla="*/ 273272 w 273367"/>
                    <a:gd name="connsiteY4" fmla="*/ 110014 h 11001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273367" h="110013">
                      <a:moveTo>
                        <a:pt x="273272" y="110014"/>
                      </a:moveTo>
                      <a:lnTo>
                        <a:pt x="0" y="109442"/>
                      </a:lnTo>
                      <a:lnTo>
                        <a:pt x="95" y="0"/>
                      </a:lnTo>
                      <a:lnTo>
                        <a:pt x="273367" y="476"/>
                      </a:lnTo>
                      <a:lnTo>
                        <a:pt x="273272" y="110014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4763" cap="rnd">
                  <a:solidFill>
                    <a:srgbClr val="263238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1761" name="Полилиния: фигура 1760">
                  <a:extLst>
                    <a:ext uri="{FF2B5EF4-FFF2-40B4-BE49-F238E27FC236}">
                      <a16:creationId xmlns:a16="http://schemas.microsoft.com/office/drawing/2014/main" id="{F4AEFB51-8A3E-488E-8398-78B3504DF91B}"/>
                    </a:ext>
                  </a:extLst>
                </p:cNvPr>
                <p:cNvSpPr/>
                <p:nvPr/>
              </p:nvSpPr>
              <p:spPr>
                <a:xfrm>
                  <a:off x="6480143" y="3960304"/>
                  <a:ext cx="273367" cy="109918"/>
                </a:xfrm>
                <a:custGeom>
                  <a:avLst/>
                  <a:gdLst>
                    <a:gd name="connsiteX0" fmla="*/ 273272 w 273367"/>
                    <a:gd name="connsiteY0" fmla="*/ 109919 h 109918"/>
                    <a:gd name="connsiteX1" fmla="*/ 0 w 273367"/>
                    <a:gd name="connsiteY1" fmla="*/ 109442 h 109918"/>
                    <a:gd name="connsiteX2" fmla="*/ 95 w 273367"/>
                    <a:gd name="connsiteY2" fmla="*/ 0 h 109918"/>
                    <a:gd name="connsiteX3" fmla="*/ 273367 w 273367"/>
                    <a:gd name="connsiteY3" fmla="*/ 476 h 109918"/>
                    <a:gd name="connsiteX4" fmla="*/ 273272 w 273367"/>
                    <a:gd name="connsiteY4" fmla="*/ 109919 h 10991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273367" h="109918">
                      <a:moveTo>
                        <a:pt x="273272" y="109919"/>
                      </a:moveTo>
                      <a:lnTo>
                        <a:pt x="0" y="109442"/>
                      </a:lnTo>
                      <a:lnTo>
                        <a:pt x="95" y="0"/>
                      </a:lnTo>
                      <a:lnTo>
                        <a:pt x="273367" y="476"/>
                      </a:lnTo>
                      <a:lnTo>
                        <a:pt x="273272" y="109919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4763" cap="rnd">
                  <a:solidFill>
                    <a:srgbClr val="263238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1762" name="Полилиния: фигура 1761">
                  <a:extLst>
                    <a:ext uri="{FF2B5EF4-FFF2-40B4-BE49-F238E27FC236}">
                      <a16:creationId xmlns:a16="http://schemas.microsoft.com/office/drawing/2014/main" id="{1CDDE6A4-1708-4FD3-B07C-E247AA19A0AC}"/>
                    </a:ext>
                  </a:extLst>
                </p:cNvPr>
                <p:cNvSpPr/>
                <p:nvPr/>
              </p:nvSpPr>
              <p:spPr>
                <a:xfrm>
                  <a:off x="6188392" y="4090606"/>
                  <a:ext cx="273367" cy="109918"/>
                </a:xfrm>
                <a:custGeom>
                  <a:avLst/>
                  <a:gdLst>
                    <a:gd name="connsiteX0" fmla="*/ 273272 w 273367"/>
                    <a:gd name="connsiteY0" fmla="*/ 109918 h 109918"/>
                    <a:gd name="connsiteX1" fmla="*/ 0 w 273367"/>
                    <a:gd name="connsiteY1" fmla="*/ 109442 h 109918"/>
                    <a:gd name="connsiteX2" fmla="*/ 95 w 273367"/>
                    <a:gd name="connsiteY2" fmla="*/ 0 h 109918"/>
                    <a:gd name="connsiteX3" fmla="*/ 273367 w 273367"/>
                    <a:gd name="connsiteY3" fmla="*/ 476 h 109918"/>
                    <a:gd name="connsiteX4" fmla="*/ 273272 w 273367"/>
                    <a:gd name="connsiteY4" fmla="*/ 109918 h 10991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273367" h="109918">
                      <a:moveTo>
                        <a:pt x="273272" y="109918"/>
                      </a:moveTo>
                      <a:lnTo>
                        <a:pt x="0" y="109442"/>
                      </a:lnTo>
                      <a:lnTo>
                        <a:pt x="95" y="0"/>
                      </a:lnTo>
                      <a:lnTo>
                        <a:pt x="273367" y="476"/>
                      </a:lnTo>
                      <a:lnTo>
                        <a:pt x="273272" y="109918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4763" cap="rnd">
                  <a:solidFill>
                    <a:srgbClr val="263238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1763" name="Полилиния: фигура 1762">
                  <a:extLst>
                    <a:ext uri="{FF2B5EF4-FFF2-40B4-BE49-F238E27FC236}">
                      <a16:creationId xmlns:a16="http://schemas.microsoft.com/office/drawing/2014/main" id="{CA27C2A4-B5F6-4BF9-8245-8E0DCBDB629A}"/>
                    </a:ext>
                  </a:extLst>
                </p:cNvPr>
                <p:cNvSpPr/>
                <p:nvPr/>
              </p:nvSpPr>
              <p:spPr>
                <a:xfrm>
                  <a:off x="6480048" y="4091082"/>
                  <a:ext cx="273367" cy="110013"/>
                </a:xfrm>
                <a:custGeom>
                  <a:avLst/>
                  <a:gdLst>
                    <a:gd name="connsiteX0" fmla="*/ 273272 w 273367"/>
                    <a:gd name="connsiteY0" fmla="*/ 110014 h 110013"/>
                    <a:gd name="connsiteX1" fmla="*/ 0 w 273367"/>
                    <a:gd name="connsiteY1" fmla="*/ 109442 h 110013"/>
                    <a:gd name="connsiteX2" fmla="*/ 95 w 273367"/>
                    <a:gd name="connsiteY2" fmla="*/ 0 h 110013"/>
                    <a:gd name="connsiteX3" fmla="*/ 273367 w 273367"/>
                    <a:gd name="connsiteY3" fmla="*/ 572 h 110013"/>
                    <a:gd name="connsiteX4" fmla="*/ 273272 w 273367"/>
                    <a:gd name="connsiteY4" fmla="*/ 110014 h 11001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273367" h="110013">
                      <a:moveTo>
                        <a:pt x="273272" y="110014"/>
                      </a:moveTo>
                      <a:lnTo>
                        <a:pt x="0" y="109442"/>
                      </a:lnTo>
                      <a:lnTo>
                        <a:pt x="95" y="0"/>
                      </a:lnTo>
                      <a:lnTo>
                        <a:pt x="273367" y="572"/>
                      </a:lnTo>
                      <a:lnTo>
                        <a:pt x="273272" y="110014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4763" cap="rnd">
                  <a:solidFill>
                    <a:srgbClr val="263238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grpSp>
              <p:nvGrpSpPr>
                <p:cNvPr id="1764" name="Рисунок 1632">
                  <a:extLst>
                    <a:ext uri="{FF2B5EF4-FFF2-40B4-BE49-F238E27FC236}">
                      <a16:creationId xmlns:a16="http://schemas.microsoft.com/office/drawing/2014/main" id="{43EFCC39-605A-4B67-9598-5653ECE22115}"/>
                    </a:ext>
                  </a:extLst>
                </p:cNvPr>
                <p:cNvGrpSpPr/>
                <p:nvPr/>
              </p:nvGrpSpPr>
              <p:grpSpPr>
                <a:xfrm>
                  <a:off x="6771798" y="3830002"/>
                  <a:ext cx="565213" cy="372141"/>
                  <a:chOff x="6771798" y="3830002"/>
                  <a:chExt cx="565213" cy="372141"/>
                </a:xfrm>
                <a:solidFill>
                  <a:srgbClr val="FFFFFF"/>
                </a:solidFill>
              </p:grpSpPr>
              <p:sp>
                <p:nvSpPr>
                  <p:cNvPr id="1765" name="Полилиния: фигура 1764">
                    <a:extLst>
                      <a:ext uri="{FF2B5EF4-FFF2-40B4-BE49-F238E27FC236}">
                        <a16:creationId xmlns:a16="http://schemas.microsoft.com/office/drawing/2014/main" id="{2B6BD4BA-7803-4AF3-904D-19B7F8915BDD}"/>
                      </a:ext>
                    </a:extLst>
                  </p:cNvPr>
                  <p:cNvSpPr/>
                  <p:nvPr/>
                </p:nvSpPr>
                <p:spPr>
                  <a:xfrm>
                    <a:off x="6771989" y="3830002"/>
                    <a:ext cx="273367" cy="110013"/>
                  </a:xfrm>
                  <a:custGeom>
                    <a:avLst/>
                    <a:gdLst>
                      <a:gd name="connsiteX0" fmla="*/ 273272 w 273367"/>
                      <a:gd name="connsiteY0" fmla="*/ 110014 h 110013"/>
                      <a:gd name="connsiteX1" fmla="*/ 0 w 273367"/>
                      <a:gd name="connsiteY1" fmla="*/ 109442 h 110013"/>
                      <a:gd name="connsiteX2" fmla="*/ 95 w 273367"/>
                      <a:gd name="connsiteY2" fmla="*/ 0 h 110013"/>
                      <a:gd name="connsiteX3" fmla="*/ 273368 w 273367"/>
                      <a:gd name="connsiteY3" fmla="*/ 476 h 110013"/>
                      <a:gd name="connsiteX4" fmla="*/ 273272 w 273367"/>
                      <a:gd name="connsiteY4" fmla="*/ 110014 h 11001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273367" h="110013">
                        <a:moveTo>
                          <a:pt x="273272" y="110014"/>
                        </a:moveTo>
                        <a:lnTo>
                          <a:pt x="0" y="109442"/>
                        </a:lnTo>
                        <a:lnTo>
                          <a:pt x="95" y="0"/>
                        </a:lnTo>
                        <a:lnTo>
                          <a:pt x="273368" y="476"/>
                        </a:lnTo>
                        <a:lnTo>
                          <a:pt x="273272" y="110014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 w="4763" cap="rnd">
                    <a:solidFill>
                      <a:srgbClr val="263238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ru-RU"/>
                  </a:p>
                </p:txBody>
              </p:sp>
              <p:sp>
                <p:nvSpPr>
                  <p:cNvPr id="1766" name="Полилиния: фигура 1765">
                    <a:extLst>
                      <a:ext uri="{FF2B5EF4-FFF2-40B4-BE49-F238E27FC236}">
                        <a16:creationId xmlns:a16="http://schemas.microsoft.com/office/drawing/2014/main" id="{5B59651A-0BCB-4E18-9442-9B9C57225CBE}"/>
                      </a:ext>
                    </a:extLst>
                  </p:cNvPr>
                  <p:cNvSpPr/>
                  <p:nvPr/>
                </p:nvSpPr>
                <p:spPr>
                  <a:xfrm>
                    <a:off x="7063644" y="3830574"/>
                    <a:ext cx="273367" cy="109918"/>
                  </a:xfrm>
                  <a:custGeom>
                    <a:avLst/>
                    <a:gdLst>
                      <a:gd name="connsiteX0" fmla="*/ 273368 w 273367"/>
                      <a:gd name="connsiteY0" fmla="*/ 109918 h 109918"/>
                      <a:gd name="connsiteX1" fmla="*/ 0 w 273367"/>
                      <a:gd name="connsiteY1" fmla="*/ 109442 h 109918"/>
                      <a:gd name="connsiteX2" fmla="*/ 95 w 273367"/>
                      <a:gd name="connsiteY2" fmla="*/ 0 h 109918"/>
                      <a:gd name="connsiteX3" fmla="*/ 273368 w 273367"/>
                      <a:gd name="connsiteY3" fmla="*/ 476 h 109918"/>
                      <a:gd name="connsiteX4" fmla="*/ 273368 w 273367"/>
                      <a:gd name="connsiteY4" fmla="*/ 109918 h 10991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273367" h="109918">
                        <a:moveTo>
                          <a:pt x="273368" y="109918"/>
                        </a:moveTo>
                        <a:lnTo>
                          <a:pt x="0" y="109442"/>
                        </a:lnTo>
                        <a:lnTo>
                          <a:pt x="95" y="0"/>
                        </a:lnTo>
                        <a:lnTo>
                          <a:pt x="273368" y="476"/>
                        </a:lnTo>
                        <a:lnTo>
                          <a:pt x="273368" y="109918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 w="4763" cap="rnd">
                    <a:solidFill>
                      <a:srgbClr val="263238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ru-RU"/>
                  </a:p>
                </p:txBody>
              </p:sp>
              <p:sp>
                <p:nvSpPr>
                  <p:cNvPr id="1767" name="Полилиния: фигура 1766">
                    <a:extLst>
                      <a:ext uri="{FF2B5EF4-FFF2-40B4-BE49-F238E27FC236}">
                        <a16:creationId xmlns:a16="http://schemas.microsoft.com/office/drawing/2014/main" id="{0465E7BB-8D20-44B1-AE80-3AFD9BF18925}"/>
                      </a:ext>
                    </a:extLst>
                  </p:cNvPr>
                  <p:cNvSpPr/>
                  <p:nvPr/>
                </p:nvSpPr>
                <p:spPr>
                  <a:xfrm>
                    <a:off x="6771893" y="3960875"/>
                    <a:ext cx="273367" cy="109918"/>
                  </a:xfrm>
                  <a:custGeom>
                    <a:avLst/>
                    <a:gdLst>
                      <a:gd name="connsiteX0" fmla="*/ 273272 w 273367"/>
                      <a:gd name="connsiteY0" fmla="*/ 109919 h 109918"/>
                      <a:gd name="connsiteX1" fmla="*/ 0 w 273367"/>
                      <a:gd name="connsiteY1" fmla="*/ 109442 h 109918"/>
                      <a:gd name="connsiteX2" fmla="*/ 95 w 273367"/>
                      <a:gd name="connsiteY2" fmla="*/ 0 h 109918"/>
                      <a:gd name="connsiteX3" fmla="*/ 273368 w 273367"/>
                      <a:gd name="connsiteY3" fmla="*/ 476 h 109918"/>
                      <a:gd name="connsiteX4" fmla="*/ 273272 w 273367"/>
                      <a:gd name="connsiteY4" fmla="*/ 109919 h 10991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273367" h="109918">
                        <a:moveTo>
                          <a:pt x="273272" y="109919"/>
                        </a:moveTo>
                        <a:lnTo>
                          <a:pt x="0" y="109442"/>
                        </a:lnTo>
                        <a:lnTo>
                          <a:pt x="95" y="0"/>
                        </a:lnTo>
                        <a:lnTo>
                          <a:pt x="273368" y="476"/>
                        </a:lnTo>
                        <a:lnTo>
                          <a:pt x="273272" y="109919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 w="4763" cap="rnd">
                    <a:solidFill>
                      <a:srgbClr val="263238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ru-RU"/>
                  </a:p>
                </p:txBody>
              </p:sp>
              <p:sp>
                <p:nvSpPr>
                  <p:cNvPr id="1768" name="Полилиния: фигура 1767">
                    <a:extLst>
                      <a:ext uri="{FF2B5EF4-FFF2-40B4-BE49-F238E27FC236}">
                        <a16:creationId xmlns:a16="http://schemas.microsoft.com/office/drawing/2014/main" id="{6DA0F0E5-3E61-4ABE-8ECE-D0434C52B681}"/>
                      </a:ext>
                    </a:extLst>
                  </p:cNvPr>
                  <p:cNvSpPr/>
                  <p:nvPr/>
                </p:nvSpPr>
                <p:spPr>
                  <a:xfrm>
                    <a:off x="7063549" y="3961352"/>
                    <a:ext cx="273367" cy="110013"/>
                  </a:xfrm>
                  <a:custGeom>
                    <a:avLst/>
                    <a:gdLst>
                      <a:gd name="connsiteX0" fmla="*/ 273272 w 273367"/>
                      <a:gd name="connsiteY0" fmla="*/ 110014 h 110013"/>
                      <a:gd name="connsiteX1" fmla="*/ 0 w 273367"/>
                      <a:gd name="connsiteY1" fmla="*/ 109442 h 110013"/>
                      <a:gd name="connsiteX2" fmla="*/ 95 w 273367"/>
                      <a:gd name="connsiteY2" fmla="*/ 0 h 110013"/>
                      <a:gd name="connsiteX3" fmla="*/ 273368 w 273367"/>
                      <a:gd name="connsiteY3" fmla="*/ 571 h 110013"/>
                      <a:gd name="connsiteX4" fmla="*/ 273272 w 273367"/>
                      <a:gd name="connsiteY4" fmla="*/ 110014 h 11001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273367" h="110013">
                        <a:moveTo>
                          <a:pt x="273272" y="110014"/>
                        </a:moveTo>
                        <a:lnTo>
                          <a:pt x="0" y="109442"/>
                        </a:lnTo>
                        <a:lnTo>
                          <a:pt x="95" y="0"/>
                        </a:lnTo>
                        <a:lnTo>
                          <a:pt x="273368" y="571"/>
                        </a:lnTo>
                        <a:lnTo>
                          <a:pt x="273272" y="110014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 w="4763" cap="rnd">
                    <a:solidFill>
                      <a:srgbClr val="263238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ru-RU"/>
                  </a:p>
                </p:txBody>
              </p:sp>
              <p:sp>
                <p:nvSpPr>
                  <p:cNvPr id="1769" name="Полилиния: фигура 1768">
                    <a:extLst>
                      <a:ext uri="{FF2B5EF4-FFF2-40B4-BE49-F238E27FC236}">
                        <a16:creationId xmlns:a16="http://schemas.microsoft.com/office/drawing/2014/main" id="{2A15E608-D986-465B-B950-9A6266808296}"/>
                      </a:ext>
                    </a:extLst>
                  </p:cNvPr>
                  <p:cNvSpPr/>
                  <p:nvPr/>
                </p:nvSpPr>
                <p:spPr>
                  <a:xfrm>
                    <a:off x="6771798" y="4091654"/>
                    <a:ext cx="273367" cy="109918"/>
                  </a:xfrm>
                  <a:custGeom>
                    <a:avLst/>
                    <a:gdLst>
                      <a:gd name="connsiteX0" fmla="*/ 273272 w 273367"/>
                      <a:gd name="connsiteY0" fmla="*/ 109918 h 109918"/>
                      <a:gd name="connsiteX1" fmla="*/ 0 w 273367"/>
                      <a:gd name="connsiteY1" fmla="*/ 109442 h 109918"/>
                      <a:gd name="connsiteX2" fmla="*/ 95 w 273367"/>
                      <a:gd name="connsiteY2" fmla="*/ 0 h 109918"/>
                      <a:gd name="connsiteX3" fmla="*/ 273367 w 273367"/>
                      <a:gd name="connsiteY3" fmla="*/ 476 h 109918"/>
                      <a:gd name="connsiteX4" fmla="*/ 273272 w 273367"/>
                      <a:gd name="connsiteY4" fmla="*/ 109918 h 10991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273367" h="109918">
                        <a:moveTo>
                          <a:pt x="273272" y="109918"/>
                        </a:moveTo>
                        <a:lnTo>
                          <a:pt x="0" y="109442"/>
                        </a:lnTo>
                        <a:lnTo>
                          <a:pt x="95" y="0"/>
                        </a:lnTo>
                        <a:lnTo>
                          <a:pt x="273367" y="476"/>
                        </a:lnTo>
                        <a:lnTo>
                          <a:pt x="273272" y="109918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 w="4763" cap="rnd">
                    <a:solidFill>
                      <a:srgbClr val="263238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ru-RU"/>
                  </a:p>
                </p:txBody>
              </p:sp>
              <p:sp>
                <p:nvSpPr>
                  <p:cNvPr id="1770" name="Полилиния: фигура 1769">
                    <a:extLst>
                      <a:ext uri="{FF2B5EF4-FFF2-40B4-BE49-F238E27FC236}">
                        <a16:creationId xmlns:a16="http://schemas.microsoft.com/office/drawing/2014/main" id="{B7582B30-A5C2-41A5-81FF-42CFFBE85E80}"/>
                      </a:ext>
                    </a:extLst>
                  </p:cNvPr>
                  <p:cNvSpPr/>
                  <p:nvPr/>
                </p:nvSpPr>
                <p:spPr>
                  <a:xfrm>
                    <a:off x="7063454" y="4092225"/>
                    <a:ext cx="273367" cy="109918"/>
                  </a:xfrm>
                  <a:custGeom>
                    <a:avLst/>
                    <a:gdLst>
                      <a:gd name="connsiteX0" fmla="*/ 273272 w 273367"/>
                      <a:gd name="connsiteY0" fmla="*/ 109918 h 109918"/>
                      <a:gd name="connsiteX1" fmla="*/ 0 w 273367"/>
                      <a:gd name="connsiteY1" fmla="*/ 109442 h 109918"/>
                      <a:gd name="connsiteX2" fmla="*/ 95 w 273367"/>
                      <a:gd name="connsiteY2" fmla="*/ 0 h 109918"/>
                      <a:gd name="connsiteX3" fmla="*/ 273367 w 273367"/>
                      <a:gd name="connsiteY3" fmla="*/ 476 h 109918"/>
                      <a:gd name="connsiteX4" fmla="*/ 273272 w 273367"/>
                      <a:gd name="connsiteY4" fmla="*/ 109918 h 10991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273367" h="109918">
                        <a:moveTo>
                          <a:pt x="273272" y="109918"/>
                        </a:moveTo>
                        <a:lnTo>
                          <a:pt x="0" y="109442"/>
                        </a:lnTo>
                        <a:lnTo>
                          <a:pt x="95" y="0"/>
                        </a:lnTo>
                        <a:lnTo>
                          <a:pt x="273367" y="476"/>
                        </a:lnTo>
                        <a:lnTo>
                          <a:pt x="273272" y="109918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 w="4763" cap="rnd">
                    <a:solidFill>
                      <a:srgbClr val="263238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ru-RU"/>
                  </a:p>
                </p:txBody>
              </p:sp>
            </p:grpSp>
          </p:grpSp>
          <p:sp>
            <p:nvSpPr>
              <p:cNvPr id="1771" name="Полилиния: фигура 1770">
                <a:extLst>
                  <a:ext uri="{FF2B5EF4-FFF2-40B4-BE49-F238E27FC236}">
                    <a16:creationId xmlns:a16="http://schemas.microsoft.com/office/drawing/2014/main" id="{B1A0658D-1134-4082-8526-321C4F5AAA37}"/>
                  </a:ext>
                </a:extLst>
              </p:cNvPr>
              <p:cNvSpPr/>
              <p:nvPr/>
            </p:nvSpPr>
            <p:spPr>
              <a:xfrm>
                <a:off x="5937313" y="2817780"/>
                <a:ext cx="1616297" cy="702563"/>
              </a:xfrm>
              <a:custGeom>
                <a:avLst/>
                <a:gdLst>
                  <a:gd name="connsiteX0" fmla="*/ 808672 w 1616297"/>
                  <a:gd name="connsiteY0" fmla="*/ 0 h 702563"/>
                  <a:gd name="connsiteX1" fmla="*/ 0 w 1616297"/>
                  <a:gd name="connsiteY1" fmla="*/ 699516 h 702563"/>
                  <a:gd name="connsiteX2" fmla="*/ 1616297 w 1616297"/>
                  <a:gd name="connsiteY2" fmla="*/ 702564 h 702563"/>
                  <a:gd name="connsiteX3" fmla="*/ 808672 w 1616297"/>
                  <a:gd name="connsiteY3" fmla="*/ 0 h 7025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616297" h="702563">
                    <a:moveTo>
                      <a:pt x="808672" y="0"/>
                    </a:moveTo>
                    <a:lnTo>
                      <a:pt x="0" y="699516"/>
                    </a:lnTo>
                    <a:lnTo>
                      <a:pt x="1616297" y="702564"/>
                    </a:lnTo>
                    <a:lnTo>
                      <a:pt x="808672" y="0"/>
                    </a:lnTo>
                    <a:close/>
                  </a:path>
                </a:pathLst>
              </a:custGeom>
              <a:solidFill>
                <a:srgbClr val="FFFFFF"/>
              </a:solidFill>
              <a:ln w="4763" cap="rnd">
                <a:solidFill>
                  <a:srgbClr val="263238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772" name="Полилиния: фигура 1771">
                <a:extLst>
                  <a:ext uri="{FF2B5EF4-FFF2-40B4-BE49-F238E27FC236}">
                    <a16:creationId xmlns:a16="http://schemas.microsoft.com/office/drawing/2014/main" id="{CD4D0853-2426-4A59-9D6A-E38B0F84A27D}"/>
                  </a:ext>
                </a:extLst>
              </p:cNvPr>
              <p:cNvSpPr/>
              <p:nvPr/>
            </p:nvSpPr>
            <p:spPr>
              <a:xfrm>
                <a:off x="6102667" y="2913411"/>
                <a:ext cx="1285684" cy="558831"/>
              </a:xfrm>
              <a:custGeom>
                <a:avLst/>
                <a:gdLst>
                  <a:gd name="connsiteX0" fmla="*/ 643223 w 1285684"/>
                  <a:gd name="connsiteY0" fmla="*/ 0 h 558831"/>
                  <a:gd name="connsiteX1" fmla="*/ 0 w 1285684"/>
                  <a:gd name="connsiteY1" fmla="*/ 556355 h 558831"/>
                  <a:gd name="connsiteX2" fmla="*/ 1285685 w 1285684"/>
                  <a:gd name="connsiteY2" fmla="*/ 558832 h 558831"/>
                  <a:gd name="connsiteX3" fmla="*/ 643223 w 1285684"/>
                  <a:gd name="connsiteY3" fmla="*/ 0 h 5588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285684" h="558831">
                    <a:moveTo>
                      <a:pt x="643223" y="0"/>
                    </a:moveTo>
                    <a:lnTo>
                      <a:pt x="0" y="556355"/>
                    </a:lnTo>
                    <a:lnTo>
                      <a:pt x="1285685" y="558832"/>
                    </a:lnTo>
                    <a:lnTo>
                      <a:pt x="643223" y="0"/>
                    </a:lnTo>
                    <a:close/>
                  </a:path>
                </a:pathLst>
              </a:custGeom>
              <a:solidFill>
                <a:srgbClr val="FFFFFF"/>
              </a:solidFill>
              <a:ln w="4763" cap="rnd">
                <a:solidFill>
                  <a:srgbClr val="263238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773" name="Полилиния: фигура 1772">
                <a:extLst>
                  <a:ext uri="{FF2B5EF4-FFF2-40B4-BE49-F238E27FC236}">
                    <a16:creationId xmlns:a16="http://schemas.microsoft.com/office/drawing/2014/main" id="{A266FBD9-F319-4962-9C21-A5460AB3FD01}"/>
                  </a:ext>
                </a:extLst>
              </p:cNvPr>
              <p:cNvSpPr/>
              <p:nvPr/>
            </p:nvSpPr>
            <p:spPr>
              <a:xfrm>
                <a:off x="5315807" y="2824067"/>
                <a:ext cx="1002791" cy="83534"/>
              </a:xfrm>
              <a:custGeom>
                <a:avLst/>
                <a:gdLst>
                  <a:gd name="connsiteX0" fmla="*/ 1002792 w 1002791"/>
                  <a:gd name="connsiteY0" fmla="*/ 83534 h 83534"/>
                  <a:gd name="connsiteX1" fmla="*/ 0 w 1002791"/>
                  <a:gd name="connsiteY1" fmla="*/ 81724 h 83534"/>
                  <a:gd name="connsiteX2" fmla="*/ 95 w 1002791"/>
                  <a:gd name="connsiteY2" fmla="*/ 0 h 83534"/>
                  <a:gd name="connsiteX3" fmla="*/ 1002792 w 1002791"/>
                  <a:gd name="connsiteY3" fmla="*/ 1905 h 83534"/>
                  <a:gd name="connsiteX4" fmla="*/ 1002792 w 1002791"/>
                  <a:gd name="connsiteY4" fmla="*/ 83534 h 835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002791" h="83534">
                    <a:moveTo>
                      <a:pt x="1002792" y="83534"/>
                    </a:moveTo>
                    <a:lnTo>
                      <a:pt x="0" y="81724"/>
                    </a:lnTo>
                    <a:lnTo>
                      <a:pt x="95" y="0"/>
                    </a:lnTo>
                    <a:lnTo>
                      <a:pt x="1002792" y="1905"/>
                    </a:lnTo>
                    <a:lnTo>
                      <a:pt x="1002792" y="83534"/>
                    </a:lnTo>
                    <a:close/>
                  </a:path>
                </a:pathLst>
              </a:custGeom>
              <a:solidFill>
                <a:srgbClr val="FFFFFF"/>
              </a:solidFill>
              <a:ln w="4763" cap="rnd">
                <a:solidFill>
                  <a:srgbClr val="263238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774" name="Полилиния: фигура 1773">
                <a:extLst>
                  <a:ext uri="{FF2B5EF4-FFF2-40B4-BE49-F238E27FC236}">
                    <a16:creationId xmlns:a16="http://schemas.microsoft.com/office/drawing/2014/main" id="{3960456E-4158-43E7-B22E-FF9251858A2D}"/>
                  </a:ext>
                </a:extLst>
              </p:cNvPr>
              <p:cNvSpPr/>
              <p:nvPr/>
            </p:nvSpPr>
            <p:spPr>
              <a:xfrm>
                <a:off x="5522880" y="2927604"/>
                <a:ext cx="592550" cy="349281"/>
              </a:xfrm>
              <a:custGeom>
                <a:avLst/>
                <a:gdLst>
                  <a:gd name="connsiteX0" fmla="*/ 592360 w 592550"/>
                  <a:gd name="connsiteY0" fmla="*/ 349282 h 349281"/>
                  <a:gd name="connsiteX1" fmla="*/ 0 w 592550"/>
                  <a:gd name="connsiteY1" fmla="*/ 348234 h 349281"/>
                  <a:gd name="connsiteX2" fmla="*/ 286 w 592550"/>
                  <a:gd name="connsiteY2" fmla="*/ 0 h 349281"/>
                  <a:gd name="connsiteX3" fmla="*/ 592550 w 592550"/>
                  <a:gd name="connsiteY3" fmla="*/ 1143 h 349281"/>
                  <a:gd name="connsiteX4" fmla="*/ 592360 w 592550"/>
                  <a:gd name="connsiteY4" fmla="*/ 349282 h 3492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92550" h="349281">
                    <a:moveTo>
                      <a:pt x="592360" y="349282"/>
                    </a:moveTo>
                    <a:lnTo>
                      <a:pt x="0" y="348234"/>
                    </a:lnTo>
                    <a:lnTo>
                      <a:pt x="286" y="0"/>
                    </a:lnTo>
                    <a:lnTo>
                      <a:pt x="592550" y="1143"/>
                    </a:lnTo>
                    <a:lnTo>
                      <a:pt x="592360" y="349282"/>
                    </a:lnTo>
                    <a:close/>
                  </a:path>
                </a:pathLst>
              </a:custGeom>
              <a:solidFill>
                <a:srgbClr val="FFFFFF"/>
              </a:solidFill>
              <a:ln w="4763" cap="rnd">
                <a:solidFill>
                  <a:srgbClr val="263238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775" name="Полилиния: фигура 1774">
                <a:extLst>
                  <a:ext uri="{FF2B5EF4-FFF2-40B4-BE49-F238E27FC236}">
                    <a16:creationId xmlns:a16="http://schemas.microsoft.com/office/drawing/2014/main" id="{36AE1344-287D-4D43-B3D7-6F347CC62C82}"/>
                  </a:ext>
                </a:extLst>
              </p:cNvPr>
              <p:cNvSpPr/>
              <p:nvPr/>
            </p:nvSpPr>
            <p:spPr>
              <a:xfrm>
                <a:off x="5607462" y="2927794"/>
                <a:ext cx="423386" cy="348995"/>
              </a:xfrm>
              <a:custGeom>
                <a:avLst/>
                <a:gdLst>
                  <a:gd name="connsiteX0" fmla="*/ 423100 w 423386"/>
                  <a:gd name="connsiteY0" fmla="*/ 348996 h 348995"/>
                  <a:gd name="connsiteX1" fmla="*/ 0 w 423386"/>
                  <a:gd name="connsiteY1" fmla="*/ 348139 h 348995"/>
                  <a:gd name="connsiteX2" fmla="*/ 286 w 423386"/>
                  <a:gd name="connsiteY2" fmla="*/ 0 h 348995"/>
                  <a:gd name="connsiteX3" fmla="*/ 423386 w 423386"/>
                  <a:gd name="connsiteY3" fmla="*/ 762 h 348995"/>
                  <a:gd name="connsiteX4" fmla="*/ 423100 w 423386"/>
                  <a:gd name="connsiteY4" fmla="*/ 348996 h 3489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23386" h="348995">
                    <a:moveTo>
                      <a:pt x="423100" y="348996"/>
                    </a:moveTo>
                    <a:lnTo>
                      <a:pt x="0" y="348139"/>
                    </a:lnTo>
                    <a:lnTo>
                      <a:pt x="286" y="0"/>
                    </a:lnTo>
                    <a:lnTo>
                      <a:pt x="423386" y="762"/>
                    </a:lnTo>
                    <a:lnTo>
                      <a:pt x="423100" y="348996"/>
                    </a:lnTo>
                    <a:close/>
                  </a:path>
                </a:pathLst>
              </a:custGeom>
              <a:solidFill>
                <a:srgbClr val="FFFFFF"/>
              </a:solidFill>
              <a:ln w="4763" cap="rnd">
                <a:solidFill>
                  <a:srgbClr val="263238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776" name="Полилиния: фигура 1775">
                <a:extLst>
                  <a:ext uri="{FF2B5EF4-FFF2-40B4-BE49-F238E27FC236}">
                    <a16:creationId xmlns:a16="http://schemas.microsoft.com/office/drawing/2014/main" id="{09DCBF9F-F972-4CE0-8C48-A6406FC2C810}"/>
                  </a:ext>
                </a:extLst>
              </p:cNvPr>
              <p:cNvSpPr/>
              <p:nvPr/>
            </p:nvSpPr>
            <p:spPr>
              <a:xfrm>
                <a:off x="5802058" y="2928175"/>
                <a:ext cx="34194" cy="348234"/>
              </a:xfrm>
              <a:custGeom>
                <a:avLst/>
                <a:gdLst>
                  <a:gd name="connsiteX0" fmla="*/ 33909 w 34194"/>
                  <a:gd name="connsiteY0" fmla="*/ 348234 h 348234"/>
                  <a:gd name="connsiteX1" fmla="*/ 0 w 34194"/>
                  <a:gd name="connsiteY1" fmla="*/ 348139 h 348234"/>
                  <a:gd name="connsiteX2" fmla="*/ 286 w 34194"/>
                  <a:gd name="connsiteY2" fmla="*/ 0 h 348234"/>
                  <a:gd name="connsiteX3" fmla="*/ 34195 w 34194"/>
                  <a:gd name="connsiteY3" fmla="*/ 0 h 348234"/>
                  <a:gd name="connsiteX4" fmla="*/ 33909 w 34194"/>
                  <a:gd name="connsiteY4" fmla="*/ 348234 h 3482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4194" h="348234">
                    <a:moveTo>
                      <a:pt x="33909" y="348234"/>
                    </a:moveTo>
                    <a:lnTo>
                      <a:pt x="0" y="348139"/>
                    </a:lnTo>
                    <a:lnTo>
                      <a:pt x="286" y="0"/>
                    </a:lnTo>
                    <a:lnTo>
                      <a:pt x="34195" y="0"/>
                    </a:lnTo>
                    <a:lnTo>
                      <a:pt x="33909" y="348234"/>
                    </a:lnTo>
                    <a:close/>
                  </a:path>
                </a:pathLst>
              </a:custGeom>
              <a:solidFill>
                <a:srgbClr val="FFFFFF"/>
              </a:solidFill>
              <a:ln w="4763" cap="rnd">
                <a:solidFill>
                  <a:srgbClr val="263238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777" name="Полилиния: фигура 1776">
                <a:extLst>
                  <a:ext uri="{FF2B5EF4-FFF2-40B4-BE49-F238E27FC236}">
                    <a16:creationId xmlns:a16="http://schemas.microsoft.com/office/drawing/2014/main" id="{915641AE-F003-48D8-8B0C-33BDB375A1FE}"/>
                  </a:ext>
                </a:extLst>
              </p:cNvPr>
              <p:cNvSpPr/>
              <p:nvPr/>
            </p:nvSpPr>
            <p:spPr>
              <a:xfrm>
                <a:off x="5609748" y="3086862"/>
                <a:ext cx="418814" cy="30860"/>
              </a:xfrm>
              <a:custGeom>
                <a:avLst/>
                <a:gdLst>
                  <a:gd name="connsiteX0" fmla="*/ 0 w 418814"/>
                  <a:gd name="connsiteY0" fmla="*/ 30099 h 30860"/>
                  <a:gd name="connsiteX1" fmla="*/ 0 w 418814"/>
                  <a:gd name="connsiteY1" fmla="*/ 0 h 30860"/>
                  <a:gd name="connsiteX2" fmla="*/ 418814 w 418814"/>
                  <a:gd name="connsiteY2" fmla="*/ 762 h 30860"/>
                  <a:gd name="connsiteX3" fmla="*/ 418814 w 418814"/>
                  <a:gd name="connsiteY3" fmla="*/ 30861 h 30860"/>
                  <a:gd name="connsiteX4" fmla="*/ 0 w 418814"/>
                  <a:gd name="connsiteY4" fmla="*/ 30099 h 308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8814" h="30860">
                    <a:moveTo>
                      <a:pt x="0" y="30099"/>
                    </a:moveTo>
                    <a:lnTo>
                      <a:pt x="0" y="0"/>
                    </a:lnTo>
                    <a:lnTo>
                      <a:pt x="418814" y="762"/>
                    </a:lnTo>
                    <a:lnTo>
                      <a:pt x="418814" y="30861"/>
                    </a:lnTo>
                    <a:lnTo>
                      <a:pt x="0" y="30099"/>
                    </a:lnTo>
                    <a:close/>
                  </a:path>
                </a:pathLst>
              </a:custGeom>
              <a:solidFill>
                <a:srgbClr val="FFFFFF"/>
              </a:solidFill>
              <a:ln w="4763" cap="rnd">
                <a:solidFill>
                  <a:srgbClr val="263238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778" name="Полилиния: фигура 1777">
                <a:extLst>
                  <a:ext uri="{FF2B5EF4-FFF2-40B4-BE49-F238E27FC236}">
                    <a16:creationId xmlns:a16="http://schemas.microsoft.com/office/drawing/2014/main" id="{CACAEA06-BD03-40C1-8DDF-987C7AD2CF2E}"/>
                  </a:ext>
                </a:extLst>
              </p:cNvPr>
              <p:cNvSpPr/>
              <p:nvPr/>
            </p:nvSpPr>
            <p:spPr>
              <a:xfrm>
                <a:off x="4912899" y="3683031"/>
                <a:ext cx="592740" cy="430911"/>
              </a:xfrm>
              <a:custGeom>
                <a:avLst/>
                <a:gdLst>
                  <a:gd name="connsiteX0" fmla="*/ 592360 w 592740"/>
                  <a:gd name="connsiteY0" fmla="*/ 430911 h 430911"/>
                  <a:gd name="connsiteX1" fmla="*/ 0 w 592740"/>
                  <a:gd name="connsiteY1" fmla="*/ 429863 h 430911"/>
                  <a:gd name="connsiteX2" fmla="*/ 381 w 592740"/>
                  <a:gd name="connsiteY2" fmla="*/ 0 h 430911"/>
                  <a:gd name="connsiteX3" fmla="*/ 592741 w 592740"/>
                  <a:gd name="connsiteY3" fmla="*/ 1143 h 430911"/>
                  <a:gd name="connsiteX4" fmla="*/ 592360 w 592740"/>
                  <a:gd name="connsiteY4" fmla="*/ 430911 h 4309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92740" h="430911">
                    <a:moveTo>
                      <a:pt x="592360" y="430911"/>
                    </a:moveTo>
                    <a:lnTo>
                      <a:pt x="0" y="429863"/>
                    </a:lnTo>
                    <a:lnTo>
                      <a:pt x="381" y="0"/>
                    </a:lnTo>
                    <a:lnTo>
                      <a:pt x="592741" y="1143"/>
                    </a:lnTo>
                    <a:lnTo>
                      <a:pt x="592360" y="430911"/>
                    </a:lnTo>
                    <a:close/>
                  </a:path>
                </a:pathLst>
              </a:custGeom>
              <a:solidFill>
                <a:srgbClr val="FFFFFF"/>
              </a:solidFill>
              <a:ln w="4763" cap="rnd">
                <a:solidFill>
                  <a:srgbClr val="263238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779" name="Полилиния: фигура 1778">
                <a:extLst>
                  <a:ext uri="{FF2B5EF4-FFF2-40B4-BE49-F238E27FC236}">
                    <a16:creationId xmlns:a16="http://schemas.microsoft.com/office/drawing/2014/main" id="{55FE4513-2097-4035-8292-29549405086B}"/>
                  </a:ext>
                </a:extLst>
              </p:cNvPr>
              <p:cNvSpPr/>
              <p:nvPr/>
            </p:nvSpPr>
            <p:spPr>
              <a:xfrm>
                <a:off x="4997577" y="3683222"/>
                <a:ext cx="423386" cy="430625"/>
              </a:xfrm>
              <a:custGeom>
                <a:avLst/>
                <a:gdLst>
                  <a:gd name="connsiteX0" fmla="*/ 423100 w 423386"/>
                  <a:gd name="connsiteY0" fmla="*/ 430625 h 430625"/>
                  <a:gd name="connsiteX1" fmla="*/ 0 w 423386"/>
                  <a:gd name="connsiteY1" fmla="*/ 429768 h 430625"/>
                  <a:gd name="connsiteX2" fmla="*/ 286 w 423386"/>
                  <a:gd name="connsiteY2" fmla="*/ 0 h 430625"/>
                  <a:gd name="connsiteX3" fmla="*/ 423386 w 423386"/>
                  <a:gd name="connsiteY3" fmla="*/ 762 h 430625"/>
                  <a:gd name="connsiteX4" fmla="*/ 423100 w 423386"/>
                  <a:gd name="connsiteY4" fmla="*/ 430625 h 4306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23386" h="430625">
                    <a:moveTo>
                      <a:pt x="423100" y="430625"/>
                    </a:moveTo>
                    <a:lnTo>
                      <a:pt x="0" y="429768"/>
                    </a:lnTo>
                    <a:lnTo>
                      <a:pt x="286" y="0"/>
                    </a:lnTo>
                    <a:lnTo>
                      <a:pt x="423386" y="762"/>
                    </a:lnTo>
                    <a:lnTo>
                      <a:pt x="423100" y="430625"/>
                    </a:lnTo>
                    <a:close/>
                  </a:path>
                </a:pathLst>
              </a:custGeom>
              <a:solidFill>
                <a:srgbClr val="FFFFFF"/>
              </a:solidFill>
              <a:ln w="4763" cap="rnd">
                <a:solidFill>
                  <a:srgbClr val="263238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780" name="Полилиния: фигура 1779">
                <a:extLst>
                  <a:ext uri="{FF2B5EF4-FFF2-40B4-BE49-F238E27FC236}">
                    <a16:creationId xmlns:a16="http://schemas.microsoft.com/office/drawing/2014/main" id="{32ABE208-3D92-45FC-82B5-7CF03D357B91}"/>
                  </a:ext>
                </a:extLst>
              </p:cNvPr>
              <p:cNvSpPr/>
              <p:nvPr/>
            </p:nvSpPr>
            <p:spPr>
              <a:xfrm>
                <a:off x="5192172" y="3683508"/>
                <a:ext cx="34194" cy="429958"/>
              </a:xfrm>
              <a:custGeom>
                <a:avLst/>
                <a:gdLst>
                  <a:gd name="connsiteX0" fmla="*/ 33814 w 34194"/>
                  <a:gd name="connsiteY0" fmla="*/ 429959 h 429958"/>
                  <a:gd name="connsiteX1" fmla="*/ 0 w 34194"/>
                  <a:gd name="connsiteY1" fmla="*/ 429863 h 429958"/>
                  <a:gd name="connsiteX2" fmla="*/ 381 w 34194"/>
                  <a:gd name="connsiteY2" fmla="*/ 0 h 429958"/>
                  <a:gd name="connsiteX3" fmla="*/ 34195 w 34194"/>
                  <a:gd name="connsiteY3" fmla="*/ 95 h 429958"/>
                  <a:gd name="connsiteX4" fmla="*/ 33814 w 34194"/>
                  <a:gd name="connsiteY4" fmla="*/ 429959 h 4299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4194" h="429958">
                    <a:moveTo>
                      <a:pt x="33814" y="429959"/>
                    </a:moveTo>
                    <a:lnTo>
                      <a:pt x="0" y="429863"/>
                    </a:lnTo>
                    <a:lnTo>
                      <a:pt x="381" y="0"/>
                    </a:lnTo>
                    <a:lnTo>
                      <a:pt x="34195" y="95"/>
                    </a:lnTo>
                    <a:lnTo>
                      <a:pt x="33814" y="429959"/>
                    </a:lnTo>
                    <a:close/>
                  </a:path>
                </a:pathLst>
              </a:custGeom>
              <a:solidFill>
                <a:srgbClr val="FFFFFF"/>
              </a:solidFill>
              <a:ln w="4763" cap="rnd">
                <a:solidFill>
                  <a:srgbClr val="263238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781" name="Полилиния: фигура 1780">
                <a:extLst>
                  <a:ext uri="{FF2B5EF4-FFF2-40B4-BE49-F238E27FC236}">
                    <a16:creationId xmlns:a16="http://schemas.microsoft.com/office/drawing/2014/main" id="{25A3A6EC-2A13-4EA2-BD0B-C03B83F8379A}"/>
                  </a:ext>
                </a:extLst>
              </p:cNvPr>
              <p:cNvSpPr/>
              <p:nvPr/>
            </p:nvSpPr>
            <p:spPr>
              <a:xfrm>
                <a:off x="4999862" y="3879532"/>
                <a:ext cx="420243" cy="37909"/>
              </a:xfrm>
              <a:custGeom>
                <a:avLst/>
                <a:gdLst>
                  <a:gd name="connsiteX0" fmla="*/ 0 w 420243"/>
                  <a:gd name="connsiteY0" fmla="*/ 37147 h 37909"/>
                  <a:gd name="connsiteX1" fmla="*/ 0 w 420243"/>
                  <a:gd name="connsiteY1" fmla="*/ 0 h 37909"/>
                  <a:gd name="connsiteX2" fmla="*/ 420243 w 420243"/>
                  <a:gd name="connsiteY2" fmla="*/ 762 h 37909"/>
                  <a:gd name="connsiteX3" fmla="*/ 420148 w 420243"/>
                  <a:gd name="connsiteY3" fmla="*/ 37909 h 37909"/>
                  <a:gd name="connsiteX4" fmla="*/ 0 w 420243"/>
                  <a:gd name="connsiteY4" fmla="*/ 37147 h 379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20243" h="37909">
                    <a:moveTo>
                      <a:pt x="0" y="37147"/>
                    </a:moveTo>
                    <a:lnTo>
                      <a:pt x="0" y="0"/>
                    </a:lnTo>
                    <a:lnTo>
                      <a:pt x="420243" y="762"/>
                    </a:lnTo>
                    <a:lnTo>
                      <a:pt x="420148" y="37909"/>
                    </a:lnTo>
                    <a:lnTo>
                      <a:pt x="0" y="37147"/>
                    </a:lnTo>
                    <a:close/>
                  </a:path>
                </a:pathLst>
              </a:custGeom>
              <a:solidFill>
                <a:srgbClr val="FFFFFF"/>
              </a:solidFill>
              <a:ln w="4763" cap="rnd">
                <a:solidFill>
                  <a:srgbClr val="263238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782" name="Полилиния: фигура 1781">
                <a:extLst>
                  <a:ext uri="{FF2B5EF4-FFF2-40B4-BE49-F238E27FC236}">
                    <a16:creationId xmlns:a16="http://schemas.microsoft.com/office/drawing/2014/main" id="{893111F6-5A42-4426-AE0C-204AFEF83C59}"/>
                  </a:ext>
                </a:extLst>
              </p:cNvPr>
              <p:cNvSpPr/>
              <p:nvPr/>
            </p:nvSpPr>
            <p:spPr>
              <a:xfrm>
                <a:off x="5695569" y="3693033"/>
                <a:ext cx="228885" cy="529208"/>
              </a:xfrm>
              <a:custGeom>
                <a:avLst/>
                <a:gdLst>
                  <a:gd name="connsiteX0" fmla="*/ 228886 w 228885"/>
                  <a:gd name="connsiteY0" fmla="*/ 476 h 529208"/>
                  <a:gd name="connsiteX1" fmla="*/ 476 w 228885"/>
                  <a:gd name="connsiteY1" fmla="*/ 0 h 529208"/>
                  <a:gd name="connsiteX2" fmla="*/ 0 w 228885"/>
                  <a:gd name="connsiteY2" fmla="*/ 528733 h 529208"/>
                  <a:gd name="connsiteX3" fmla="*/ 228505 w 228885"/>
                  <a:gd name="connsiteY3" fmla="*/ 529209 h 529208"/>
                  <a:gd name="connsiteX4" fmla="*/ 228886 w 228885"/>
                  <a:gd name="connsiteY4" fmla="*/ 476 h 5292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28885" h="529208">
                    <a:moveTo>
                      <a:pt x="228886" y="476"/>
                    </a:moveTo>
                    <a:lnTo>
                      <a:pt x="476" y="0"/>
                    </a:lnTo>
                    <a:lnTo>
                      <a:pt x="0" y="528733"/>
                    </a:lnTo>
                    <a:lnTo>
                      <a:pt x="228505" y="529209"/>
                    </a:lnTo>
                    <a:lnTo>
                      <a:pt x="228886" y="476"/>
                    </a:lnTo>
                    <a:close/>
                  </a:path>
                </a:pathLst>
              </a:custGeom>
              <a:solidFill>
                <a:srgbClr val="FFFFFF"/>
              </a:solidFill>
              <a:ln w="4763" cap="rnd">
                <a:solidFill>
                  <a:srgbClr val="263238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783" name="Полилиния: фигура 1782">
                <a:extLst>
                  <a:ext uri="{FF2B5EF4-FFF2-40B4-BE49-F238E27FC236}">
                    <a16:creationId xmlns:a16="http://schemas.microsoft.com/office/drawing/2014/main" id="{EE64363F-3114-4DA3-9B67-5108DD0748FE}"/>
                  </a:ext>
                </a:extLst>
              </p:cNvPr>
              <p:cNvSpPr/>
              <p:nvPr/>
            </p:nvSpPr>
            <p:spPr>
              <a:xfrm>
                <a:off x="5733764" y="3726179"/>
                <a:ext cx="152590" cy="409956"/>
              </a:xfrm>
              <a:custGeom>
                <a:avLst/>
                <a:gdLst>
                  <a:gd name="connsiteX0" fmla="*/ 152591 w 152590"/>
                  <a:gd name="connsiteY0" fmla="*/ 286 h 409956"/>
                  <a:gd name="connsiteX1" fmla="*/ 286 w 152590"/>
                  <a:gd name="connsiteY1" fmla="*/ 0 h 409956"/>
                  <a:gd name="connsiteX2" fmla="*/ 0 w 152590"/>
                  <a:gd name="connsiteY2" fmla="*/ 409670 h 409956"/>
                  <a:gd name="connsiteX3" fmla="*/ 152305 w 152590"/>
                  <a:gd name="connsiteY3" fmla="*/ 409956 h 409956"/>
                  <a:gd name="connsiteX4" fmla="*/ 152591 w 152590"/>
                  <a:gd name="connsiteY4" fmla="*/ 286 h 4099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52590" h="409956">
                    <a:moveTo>
                      <a:pt x="152591" y="286"/>
                    </a:moveTo>
                    <a:lnTo>
                      <a:pt x="286" y="0"/>
                    </a:lnTo>
                    <a:lnTo>
                      <a:pt x="0" y="409670"/>
                    </a:lnTo>
                    <a:lnTo>
                      <a:pt x="152305" y="409956"/>
                    </a:lnTo>
                    <a:lnTo>
                      <a:pt x="152591" y="286"/>
                    </a:lnTo>
                    <a:close/>
                  </a:path>
                </a:pathLst>
              </a:custGeom>
              <a:solidFill>
                <a:srgbClr val="FFFFFF"/>
              </a:solidFill>
              <a:ln w="4763" cap="rnd">
                <a:solidFill>
                  <a:srgbClr val="263238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grpSp>
            <p:nvGrpSpPr>
              <p:cNvPr id="1784" name="Рисунок 1632">
                <a:extLst>
                  <a:ext uri="{FF2B5EF4-FFF2-40B4-BE49-F238E27FC236}">
                    <a16:creationId xmlns:a16="http://schemas.microsoft.com/office/drawing/2014/main" id="{43EFCC39-605A-4B67-9598-5653ECE22115}"/>
                  </a:ext>
                </a:extLst>
              </p:cNvPr>
              <p:cNvGrpSpPr/>
              <p:nvPr/>
            </p:nvGrpSpPr>
            <p:grpSpPr>
              <a:xfrm>
                <a:off x="6185630" y="3706844"/>
                <a:ext cx="1148048" cy="66103"/>
                <a:chOff x="6185630" y="3706844"/>
                <a:chExt cx="1148048" cy="66103"/>
              </a:xfrm>
              <a:solidFill>
                <a:srgbClr val="FFFFFF"/>
              </a:solidFill>
            </p:grpSpPr>
            <p:grpSp>
              <p:nvGrpSpPr>
                <p:cNvPr id="1785" name="Рисунок 1632">
                  <a:extLst>
                    <a:ext uri="{FF2B5EF4-FFF2-40B4-BE49-F238E27FC236}">
                      <a16:creationId xmlns:a16="http://schemas.microsoft.com/office/drawing/2014/main" id="{43EFCC39-605A-4B67-9598-5653ECE22115}"/>
                    </a:ext>
                  </a:extLst>
                </p:cNvPr>
                <p:cNvGrpSpPr/>
                <p:nvPr/>
              </p:nvGrpSpPr>
              <p:grpSpPr>
                <a:xfrm>
                  <a:off x="6185630" y="3706844"/>
                  <a:ext cx="97345" cy="64103"/>
                  <a:chOff x="6185630" y="3706844"/>
                  <a:chExt cx="97345" cy="64103"/>
                </a:xfrm>
                <a:solidFill>
                  <a:srgbClr val="FFFFFF"/>
                </a:solidFill>
              </p:grpSpPr>
              <p:sp>
                <p:nvSpPr>
                  <p:cNvPr id="1786" name="Полилиния: фигура 1785">
                    <a:extLst>
                      <a:ext uri="{FF2B5EF4-FFF2-40B4-BE49-F238E27FC236}">
                        <a16:creationId xmlns:a16="http://schemas.microsoft.com/office/drawing/2014/main" id="{31A5B2C8-10B0-4ADE-8CA6-F053E0325866}"/>
                      </a:ext>
                    </a:extLst>
                  </p:cNvPr>
                  <p:cNvSpPr/>
                  <p:nvPr/>
                </p:nvSpPr>
                <p:spPr>
                  <a:xfrm>
                    <a:off x="6185630" y="3706844"/>
                    <a:ext cx="39909" cy="22955"/>
                  </a:xfrm>
                  <a:custGeom>
                    <a:avLst/>
                    <a:gdLst>
                      <a:gd name="connsiteX0" fmla="*/ 39814 w 39909"/>
                      <a:gd name="connsiteY0" fmla="*/ 22955 h 22955"/>
                      <a:gd name="connsiteX1" fmla="*/ 39910 w 39909"/>
                      <a:gd name="connsiteY1" fmla="*/ 95 h 22955"/>
                      <a:gd name="connsiteX2" fmla="*/ 0 w 39909"/>
                      <a:gd name="connsiteY2" fmla="*/ 0 h 22955"/>
                      <a:gd name="connsiteX3" fmla="*/ 0 w 39909"/>
                      <a:gd name="connsiteY3" fmla="*/ 22860 h 22955"/>
                      <a:gd name="connsiteX4" fmla="*/ 39814 w 39909"/>
                      <a:gd name="connsiteY4" fmla="*/ 22955 h 2295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39909" h="22955">
                        <a:moveTo>
                          <a:pt x="39814" y="22955"/>
                        </a:moveTo>
                        <a:lnTo>
                          <a:pt x="39910" y="95"/>
                        </a:lnTo>
                        <a:lnTo>
                          <a:pt x="0" y="0"/>
                        </a:lnTo>
                        <a:lnTo>
                          <a:pt x="0" y="22860"/>
                        </a:lnTo>
                        <a:lnTo>
                          <a:pt x="39814" y="22955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 w="4763" cap="rnd">
                    <a:solidFill>
                      <a:srgbClr val="263238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ru-RU"/>
                  </a:p>
                </p:txBody>
              </p:sp>
              <p:sp>
                <p:nvSpPr>
                  <p:cNvPr id="1787" name="Полилиния: фигура 1786">
                    <a:extLst>
                      <a:ext uri="{FF2B5EF4-FFF2-40B4-BE49-F238E27FC236}">
                        <a16:creationId xmlns:a16="http://schemas.microsoft.com/office/drawing/2014/main" id="{E7F3D9C7-288B-45B6-BC91-A76A3750105F}"/>
                      </a:ext>
                    </a:extLst>
                  </p:cNvPr>
                  <p:cNvSpPr/>
                  <p:nvPr/>
                </p:nvSpPr>
                <p:spPr>
                  <a:xfrm>
                    <a:off x="6243066" y="3707034"/>
                    <a:ext cx="39909" cy="22859"/>
                  </a:xfrm>
                  <a:custGeom>
                    <a:avLst/>
                    <a:gdLst>
                      <a:gd name="connsiteX0" fmla="*/ 0 w 39909"/>
                      <a:gd name="connsiteY0" fmla="*/ 22765 h 22859"/>
                      <a:gd name="connsiteX1" fmla="*/ 39910 w 39909"/>
                      <a:gd name="connsiteY1" fmla="*/ 22860 h 22859"/>
                      <a:gd name="connsiteX2" fmla="*/ 39910 w 39909"/>
                      <a:gd name="connsiteY2" fmla="*/ 0 h 22859"/>
                      <a:gd name="connsiteX3" fmla="*/ 0 w 39909"/>
                      <a:gd name="connsiteY3" fmla="*/ 0 h 22859"/>
                      <a:gd name="connsiteX4" fmla="*/ 0 w 39909"/>
                      <a:gd name="connsiteY4" fmla="*/ 22765 h 2285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39909" h="22859">
                        <a:moveTo>
                          <a:pt x="0" y="22765"/>
                        </a:moveTo>
                        <a:lnTo>
                          <a:pt x="39910" y="22860"/>
                        </a:lnTo>
                        <a:lnTo>
                          <a:pt x="39910" y="0"/>
                        </a:lnTo>
                        <a:lnTo>
                          <a:pt x="0" y="0"/>
                        </a:lnTo>
                        <a:lnTo>
                          <a:pt x="0" y="22765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 w="4763" cap="rnd">
                    <a:solidFill>
                      <a:srgbClr val="263238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ru-RU"/>
                  </a:p>
                </p:txBody>
              </p:sp>
              <p:sp>
                <p:nvSpPr>
                  <p:cNvPr id="1788" name="Полилиния: фигура 1787">
                    <a:extLst>
                      <a:ext uri="{FF2B5EF4-FFF2-40B4-BE49-F238E27FC236}">
                        <a16:creationId xmlns:a16="http://schemas.microsoft.com/office/drawing/2014/main" id="{78B17CA4-7386-4A24-9B0D-6C1A363BC450}"/>
                      </a:ext>
                    </a:extLst>
                  </p:cNvPr>
                  <p:cNvSpPr/>
                  <p:nvPr/>
                </p:nvSpPr>
                <p:spPr>
                  <a:xfrm>
                    <a:off x="6185630" y="3742182"/>
                    <a:ext cx="39814" cy="28670"/>
                  </a:xfrm>
                  <a:custGeom>
                    <a:avLst/>
                    <a:gdLst>
                      <a:gd name="connsiteX0" fmla="*/ 39814 w 39814"/>
                      <a:gd name="connsiteY0" fmla="*/ 95 h 28670"/>
                      <a:gd name="connsiteX1" fmla="*/ 0 w 39814"/>
                      <a:gd name="connsiteY1" fmla="*/ 0 h 28670"/>
                      <a:gd name="connsiteX2" fmla="*/ 0 w 39814"/>
                      <a:gd name="connsiteY2" fmla="*/ 28670 h 28670"/>
                      <a:gd name="connsiteX3" fmla="*/ 39814 w 39814"/>
                      <a:gd name="connsiteY3" fmla="*/ 28670 h 28670"/>
                      <a:gd name="connsiteX4" fmla="*/ 39814 w 39814"/>
                      <a:gd name="connsiteY4" fmla="*/ 95 h 2867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39814" h="28670">
                        <a:moveTo>
                          <a:pt x="39814" y="95"/>
                        </a:moveTo>
                        <a:lnTo>
                          <a:pt x="0" y="0"/>
                        </a:lnTo>
                        <a:lnTo>
                          <a:pt x="0" y="28670"/>
                        </a:lnTo>
                        <a:lnTo>
                          <a:pt x="39814" y="28670"/>
                        </a:lnTo>
                        <a:lnTo>
                          <a:pt x="39814" y="95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 w="4763" cap="rnd">
                    <a:solidFill>
                      <a:srgbClr val="263238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ru-RU"/>
                  </a:p>
                </p:txBody>
              </p:sp>
              <p:sp>
                <p:nvSpPr>
                  <p:cNvPr id="1789" name="Полилиния: фигура 1788">
                    <a:extLst>
                      <a:ext uri="{FF2B5EF4-FFF2-40B4-BE49-F238E27FC236}">
                        <a16:creationId xmlns:a16="http://schemas.microsoft.com/office/drawing/2014/main" id="{2890E0AF-101D-4E88-AE1B-CCDAD0137FC7}"/>
                      </a:ext>
                    </a:extLst>
                  </p:cNvPr>
                  <p:cNvSpPr/>
                  <p:nvPr/>
                </p:nvSpPr>
                <p:spPr>
                  <a:xfrm>
                    <a:off x="6243066" y="3742277"/>
                    <a:ext cx="39909" cy="28670"/>
                  </a:xfrm>
                  <a:custGeom>
                    <a:avLst/>
                    <a:gdLst>
                      <a:gd name="connsiteX0" fmla="*/ 0 w 39909"/>
                      <a:gd name="connsiteY0" fmla="*/ 0 h 28670"/>
                      <a:gd name="connsiteX1" fmla="*/ 0 w 39909"/>
                      <a:gd name="connsiteY1" fmla="*/ 28670 h 28670"/>
                      <a:gd name="connsiteX2" fmla="*/ 39814 w 39909"/>
                      <a:gd name="connsiteY2" fmla="*/ 28670 h 28670"/>
                      <a:gd name="connsiteX3" fmla="*/ 39910 w 39909"/>
                      <a:gd name="connsiteY3" fmla="*/ 95 h 28670"/>
                      <a:gd name="connsiteX4" fmla="*/ 0 w 39909"/>
                      <a:gd name="connsiteY4" fmla="*/ 0 h 2867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39909" h="28670">
                        <a:moveTo>
                          <a:pt x="0" y="0"/>
                        </a:moveTo>
                        <a:lnTo>
                          <a:pt x="0" y="28670"/>
                        </a:lnTo>
                        <a:lnTo>
                          <a:pt x="39814" y="28670"/>
                        </a:lnTo>
                        <a:lnTo>
                          <a:pt x="39910" y="95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 w="4763" cap="rnd">
                    <a:solidFill>
                      <a:srgbClr val="263238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ru-RU"/>
                  </a:p>
                </p:txBody>
              </p:sp>
            </p:grpSp>
            <p:grpSp>
              <p:nvGrpSpPr>
                <p:cNvPr id="1790" name="Рисунок 1632">
                  <a:extLst>
                    <a:ext uri="{FF2B5EF4-FFF2-40B4-BE49-F238E27FC236}">
                      <a16:creationId xmlns:a16="http://schemas.microsoft.com/office/drawing/2014/main" id="{43EFCC39-605A-4B67-9598-5653ECE22115}"/>
                    </a:ext>
                  </a:extLst>
                </p:cNvPr>
                <p:cNvGrpSpPr/>
                <p:nvPr/>
              </p:nvGrpSpPr>
              <p:grpSpPr>
                <a:xfrm>
                  <a:off x="6335744" y="3707129"/>
                  <a:ext cx="97345" cy="64103"/>
                  <a:chOff x="6335744" y="3707129"/>
                  <a:chExt cx="97345" cy="64103"/>
                </a:xfrm>
                <a:solidFill>
                  <a:srgbClr val="FFFFFF"/>
                </a:solidFill>
              </p:grpSpPr>
              <p:sp>
                <p:nvSpPr>
                  <p:cNvPr id="1791" name="Полилиния: фигура 1790">
                    <a:extLst>
                      <a:ext uri="{FF2B5EF4-FFF2-40B4-BE49-F238E27FC236}">
                        <a16:creationId xmlns:a16="http://schemas.microsoft.com/office/drawing/2014/main" id="{EA00179E-CDE2-4729-B64C-8E4B3AF47C7E}"/>
                      </a:ext>
                    </a:extLst>
                  </p:cNvPr>
                  <p:cNvSpPr/>
                  <p:nvPr/>
                </p:nvSpPr>
                <p:spPr>
                  <a:xfrm>
                    <a:off x="6335744" y="3707129"/>
                    <a:ext cx="39909" cy="22860"/>
                  </a:xfrm>
                  <a:custGeom>
                    <a:avLst/>
                    <a:gdLst>
                      <a:gd name="connsiteX0" fmla="*/ 39815 w 39909"/>
                      <a:gd name="connsiteY0" fmla="*/ 22860 h 22860"/>
                      <a:gd name="connsiteX1" fmla="*/ 39910 w 39909"/>
                      <a:gd name="connsiteY1" fmla="*/ 95 h 22860"/>
                      <a:gd name="connsiteX2" fmla="*/ 0 w 39909"/>
                      <a:gd name="connsiteY2" fmla="*/ 0 h 22860"/>
                      <a:gd name="connsiteX3" fmla="*/ 0 w 39909"/>
                      <a:gd name="connsiteY3" fmla="*/ 22860 h 22860"/>
                      <a:gd name="connsiteX4" fmla="*/ 39815 w 39909"/>
                      <a:gd name="connsiteY4" fmla="*/ 22860 h 2286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39909" h="22860">
                        <a:moveTo>
                          <a:pt x="39815" y="22860"/>
                        </a:moveTo>
                        <a:lnTo>
                          <a:pt x="39910" y="95"/>
                        </a:lnTo>
                        <a:lnTo>
                          <a:pt x="0" y="0"/>
                        </a:lnTo>
                        <a:lnTo>
                          <a:pt x="0" y="22860"/>
                        </a:lnTo>
                        <a:lnTo>
                          <a:pt x="39815" y="22860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 w="4763" cap="rnd">
                    <a:solidFill>
                      <a:srgbClr val="263238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ru-RU"/>
                  </a:p>
                </p:txBody>
              </p:sp>
              <p:sp>
                <p:nvSpPr>
                  <p:cNvPr id="1792" name="Полилиния: фигура 1791">
                    <a:extLst>
                      <a:ext uri="{FF2B5EF4-FFF2-40B4-BE49-F238E27FC236}">
                        <a16:creationId xmlns:a16="http://schemas.microsoft.com/office/drawing/2014/main" id="{DC93096D-AACA-462F-B39C-BAA856AB34C6}"/>
                      </a:ext>
                    </a:extLst>
                  </p:cNvPr>
                  <p:cNvSpPr/>
                  <p:nvPr/>
                </p:nvSpPr>
                <p:spPr>
                  <a:xfrm>
                    <a:off x="6393179" y="3707320"/>
                    <a:ext cx="39909" cy="22859"/>
                  </a:xfrm>
                  <a:custGeom>
                    <a:avLst/>
                    <a:gdLst>
                      <a:gd name="connsiteX0" fmla="*/ 0 w 39909"/>
                      <a:gd name="connsiteY0" fmla="*/ 22765 h 22859"/>
                      <a:gd name="connsiteX1" fmla="*/ 39910 w 39909"/>
                      <a:gd name="connsiteY1" fmla="*/ 22860 h 22859"/>
                      <a:gd name="connsiteX2" fmla="*/ 39910 w 39909"/>
                      <a:gd name="connsiteY2" fmla="*/ 0 h 22859"/>
                      <a:gd name="connsiteX3" fmla="*/ 0 w 39909"/>
                      <a:gd name="connsiteY3" fmla="*/ 0 h 22859"/>
                      <a:gd name="connsiteX4" fmla="*/ 0 w 39909"/>
                      <a:gd name="connsiteY4" fmla="*/ 22765 h 2285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39909" h="22859">
                        <a:moveTo>
                          <a:pt x="0" y="22765"/>
                        </a:moveTo>
                        <a:lnTo>
                          <a:pt x="39910" y="22860"/>
                        </a:lnTo>
                        <a:lnTo>
                          <a:pt x="39910" y="0"/>
                        </a:lnTo>
                        <a:lnTo>
                          <a:pt x="0" y="0"/>
                        </a:lnTo>
                        <a:lnTo>
                          <a:pt x="0" y="22765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 w="4763" cap="rnd">
                    <a:solidFill>
                      <a:srgbClr val="263238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ru-RU"/>
                  </a:p>
                </p:txBody>
              </p:sp>
              <p:sp>
                <p:nvSpPr>
                  <p:cNvPr id="1793" name="Полилиния: фигура 1792">
                    <a:extLst>
                      <a:ext uri="{FF2B5EF4-FFF2-40B4-BE49-F238E27FC236}">
                        <a16:creationId xmlns:a16="http://schemas.microsoft.com/office/drawing/2014/main" id="{500D429F-B0A9-437C-80C3-48481E41F651}"/>
                      </a:ext>
                    </a:extLst>
                  </p:cNvPr>
                  <p:cNvSpPr/>
                  <p:nvPr/>
                </p:nvSpPr>
                <p:spPr>
                  <a:xfrm>
                    <a:off x="6335744" y="3742467"/>
                    <a:ext cx="39814" cy="28670"/>
                  </a:xfrm>
                  <a:custGeom>
                    <a:avLst/>
                    <a:gdLst>
                      <a:gd name="connsiteX0" fmla="*/ 39815 w 39814"/>
                      <a:gd name="connsiteY0" fmla="*/ 95 h 28670"/>
                      <a:gd name="connsiteX1" fmla="*/ 0 w 39814"/>
                      <a:gd name="connsiteY1" fmla="*/ 0 h 28670"/>
                      <a:gd name="connsiteX2" fmla="*/ 0 w 39814"/>
                      <a:gd name="connsiteY2" fmla="*/ 28575 h 28670"/>
                      <a:gd name="connsiteX3" fmla="*/ 39815 w 39814"/>
                      <a:gd name="connsiteY3" fmla="*/ 28670 h 28670"/>
                      <a:gd name="connsiteX4" fmla="*/ 39815 w 39814"/>
                      <a:gd name="connsiteY4" fmla="*/ 95 h 2867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39814" h="28670">
                        <a:moveTo>
                          <a:pt x="39815" y="95"/>
                        </a:moveTo>
                        <a:lnTo>
                          <a:pt x="0" y="0"/>
                        </a:lnTo>
                        <a:lnTo>
                          <a:pt x="0" y="28575"/>
                        </a:lnTo>
                        <a:lnTo>
                          <a:pt x="39815" y="28670"/>
                        </a:lnTo>
                        <a:lnTo>
                          <a:pt x="39815" y="95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 w="4763" cap="rnd">
                    <a:solidFill>
                      <a:srgbClr val="263238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ru-RU"/>
                  </a:p>
                </p:txBody>
              </p:sp>
              <p:sp>
                <p:nvSpPr>
                  <p:cNvPr id="1794" name="Полилиния: фигура 1793">
                    <a:extLst>
                      <a:ext uri="{FF2B5EF4-FFF2-40B4-BE49-F238E27FC236}">
                        <a16:creationId xmlns:a16="http://schemas.microsoft.com/office/drawing/2014/main" id="{D27CA8D9-4C03-4D62-A6E9-6F5656CFC3B0}"/>
                      </a:ext>
                    </a:extLst>
                  </p:cNvPr>
                  <p:cNvSpPr/>
                  <p:nvPr/>
                </p:nvSpPr>
                <p:spPr>
                  <a:xfrm>
                    <a:off x="6393179" y="3742562"/>
                    <a:ext cx="39909" cy="28670"/>
                  </a:xfrm>
                  <a:custGeom>
                    <a:avLst/>
                    <a:gdLst>
                      <a:gd name="connsiteX0" fmla="*/ 0 w 39909"/>
                      <a:gd name="connsiteY0" fmla="*/ 0 h 28670"/>
                      <a:gd name="connsiteX1" fmla="*/ 0 w 39909"/>
                      <a:gd name="connsiteY1" fmla="*/ 28670 h 28670"/>
                      <a:gd name="connsiteX2" fmla="*/ 39815 w 39909"/>
                      <a:gd name="connsiteY2" fmla="*/ 28670 h 28670"/>
                      <a:gd name="connsiteX3" fmla="*/ 39910 w 39909"/>
                      <a:gd name="connsiteY3" fmla="*/ 95 h 28670"/>
                      <a:gd name="connsiteX4" fmla="*/ 0 w 39909"/>
                      <a:gd name="connsiteY4" fmla="*/ 0 h 2867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39909" h="28670">
                        <a:moveTo>
                          <a:pt x="0" y="0"/>
                        </a:moveTo>
                        <a:lnTo>
                          <a:pt x="0" y="28670"/>
                        </a:lnTo>
                        <a:lnTo>
                          <a:pt x="39815" y="28670"/>
                        </a:lnTo>
                        <a:lnTo>
                          <a:pt x="39910" y="95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 w="4763" cap="rnd">
                    <a:solidFill>
                      <a:srgbClr val="263238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ru-RU"/>
                  </a:p>
                </p:txBody>
              </p:sp>
            </p:grpSp>
            <p:grpSp>
              <p:nvGrpSpPr>
                <p:cNvPr id="1795" name="Рисунок 1632">
                  <a:extLst>
                    <a:ext uri="{FF2B5EF4-FFF2-40B4-BE49-F238E27FC236}">
                      <a16:creationId xmlns:a16="http://schemas.microsoft.com/office/drawing/2014/main" id="{43EFCC39-605A-4B67-9598-5653ECE22115}"/>
                    </a:ext>
                  </a:extLst>
                </p:cNvPr>
                <p:cNvGrpSpPr/>
                <p:nvPr/>
              </p:nvGrpSpPr>
              <p:grpSpPr>
                <a:xfrm>
                  <a:off x="6485762" y="3707415"/>
                  <a:ext cx="97440" cy="64103"/>
                  <a:chOff x="6485762" y="3707415"/>
                  <a:chExt cx="97440" cy="64103"/>
                </a:xfrm>
                <a:solidFill>
                  <a:srgbClr val="FFFFFF"/>
                </a:solidFill>
              </p:grpSpPr>
              <p:sp>
                <p:nvSpPr>
                  <p:cNvPr id="1796" name="Полилиния: фигура 1795">
                    <a:extLst>
                      <a:ext uri="{FF2B5EF4-FFF2-40B4-BE49-F238E27FC236}">
                        <a16:creationId xmlns:a16="http://schemas.microsoft.com/office/drawing/2014/main" id="{F3AC20D8-45C2-4E37-9FA9-17DF906887E0}"/>
                      </a:ext>
                    </a:extLst>
                  </p:cNvPr>
                  <p:cNvSpPr/>
                  <p:nvPr/>
                </p:nvSpPr>
                <p:spPr>
                  <a:xfrm>
                    <a:off x="6485858" y="3707415"/>
                    <a:ext cx="39814" cy="22860"/>
                  </a:xfrm>
                  <a:custGeom>
                    <a:avLst/>
                    <a:gdLst>
                      <a:gd name="connsiteX0" fmla="*/ 39815 w 39814"/>
                      <a:gd name="connsiteY0" fmla="*/ 22860 h 22860"/>
                      <a:gd name="connsiteX1" fmla="*/ 39815 w 39814"/>
                      <a:gd name="connsiteY1" fmla="*/ 95 h 22860"/>
                      <a:gd name="connsiteX2" fmla="*/ 0 w 39814"/>
                      <a:gd name="connsiteY2" fmla="*/ 0 h 22860"/>
                      <a:gd name="connsiteX3" fmla="*/ 0 w 39814"/>
                      <a:gd name="connsiteY3" fmla="*/ 22860 h 22860"/>
                      <a:gd name="connsiteX4" fmla="*/ 39815 w 39814"/>
                      <a:gd name="connsiteY4" fmla="*/ 22860 h 2286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39814" h="22860">
                        <a:moveTo>
                          <a:pt x="39815" y="22860"/>
                        </a:moveTo>
                        <a:lnTo>
                          <a:pt x="39815" y="95"/>
                        </a:lnTo>
                        <a:lnTo>
                          <a:pt x="0" y="0"/>
                        </a:lnTo>
                        <a:lnTo>
                          <a:pt x="0" y="22860"/>
                        </a:lnTo>
                        <a:lnTo>
                          <a:pt x="39815" y="22860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 w="4763" cap="rnd">
                    <a:solidFill>
                      <a:srgbClr val="263238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ru-RU"/>
                  </a:p>
                </p:txBody>
              </p:sp>
              <p:sp>
                <p:nvSpPr>
                  <p:cNvPr id="1797" name="Полилиния: фигура 1796">
                    <a:extLst>
                      <a:ext uri="{FF2B5EF4-FFF2-40B4-BE49-F238E27FC236}">
                        <a16:creationId xmlns:a16="http://schemas.microsoft.com/office/drawing/2014/main" id="{02155506-7E98-49D1-A66E-4EBB53841541}"/>
                      </a:ext>
                    </a:extLst>
                  </p:cNvPr>
                  <p:cNvSpPr/>
                  <p:nvPr/>
                </p:nvSpPr>
                <p:spPr>
                  <a:xfrm>
                    <a:off x="6543294" y="3707511"/>
                    <a:ext cx="39909" cy="22955"/>
                  </a:xfrm>
                  <a:custGeom>
                    <a:avLst/>
                    <a:gdLst>
                      <a:gd name="connsiteX0" fmla="*/ 0 w 39909"/>
                      <a:gd name="connsiteY0" fmla="*/ 22860 h 22955"/>
                      <a:gd name="connsiteX1" fmla="*/ 39910 w 39909"/>
                      <a:gd name="connsiteY1" fmla="*/ 22955 h 22955"/>
                      <a:gd name="connsiteX2" fmla="*/ 39910 w 39909"/>
                      <a:gd name="connsiteY2" fmla="*/ 95 h 22955"/>
                      <a:gd name="connsiteX3" fmla="*/ 0 w 39909"/>
                      <a:gd name="connsiteY3" fmla="*/ 0 h 22955"/>
                      <a:gd name="connsiteX4" fmla="*/ 0 w 39909"/>
                      <a:gd name="connsiteY4" fmla="*/ 22860 h 2295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39909" h="22955">
                        <a:moveTo>
                          <a:pt x="0" y="22860"/>
                        </a:moveTo>
                        <a:lnTo>
                          <a:pt x="39910" y="22955"/>
                        </a:lnTo>
                        <a:lnTo>
                          <a:pt x="39910" y="95"/>
                        </a:lnTo>
                        <a:lnTo>
                          <a:pt x="0" y="0"/>
                        </a:lnTo>
                        <a:lnTo>
                          <a:pt x="0" y="22860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 w="4763" cap="rnd">
                    <a:solidFill>
                      <a:srgbClr val="263238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ru-RU"/>
                  </a:p>
                </p:txBody>
              </p:sp>
              <p:sp>
                <p:nvSpPr>
                  <p:cNvPr id="1798" name="Полилиния: фигура 1797">
                    <a:extLst>
                      <a:ext uri="{FF2B5EF4-FFF2-40B4-BE49-F238E27FC236}">
                        <a16:creationId xmlns:a16="http://schemas.microsoft.com/office/drawing/2014/main" id="{37747336-746C-47CA-916E-9351323962BC}"/>
                      </a:ext>
                    </a:extLst>
                  </p:cNvPr>
                  <p:cNvSpPr/>
                  <p:nvPr/>
                </p:nvSpPr>
                <p:spPr>
                  <a:xfrm>
                    <a:off x="6485762" y="3742753"/>
                    <a:ext cx="39909" cy="28670"/>
                  </a:xfrm>
                  <a:custGeom>
                    <a:avLst/>
                    <a:gdLst>
                      <a:gd name="connsiteX0" fmla="*/ 39910 w 39909"/>
                      <a:gd name="connsiteY0" fmla="*/ 95 h 28670"/>
                      <a:gd name="connsiteX1" fmla="*/ 95 w 39909"/>
                      <a:gd name="connsiteY1" fmla="*/ 0 h 28670"/>
                      <a:gd name="connsiteX2" fmla="*/ 0 w 39909"/>
                      <a:gd name="connsiteY2" fmla="*/ 28575 h 28670"/>
                      <a:gd name="connsiteX3" fmla="*/ 39910 w 39909"/>
                      <a:gd name="connsiteY3" fmla="*/ 28670 h 28670"/>
                      <a:gd name="connsiteX4" fmla="*/ 39910 w 39909"/>
                      <a:gd name="connsiteY4" fmla="*/ 95 h 2867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39909" h="28670">
                        <a:moveTo>
                          <a:pt x="39910" y="95"/>
                        </a:moveTo>
                        <a:lnTo>
                          <a:pt x="95" y="0"/>
                        </a:lnTo>
                        <a:lnTo>
                          <a:pt x="0" y="28575"/>
                        </a:lnTo>
                        <a:lnTo>
                          <a:pt x="39910" y="28670"/>
                        </a:lnTo>
                        <a:lnTo>
                          <a:pt x="39910" y="95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 w="4763" cap="rnd">
                    <a:solidFill>
                      <a:srgbClr val="263238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ru-RU"/>
                  </a:p>
                </p:txBody>
              </p:sp>
              <p:sp>
                <p:nvSpPr>
                  <p:cNvPr id="1799" name="Полилиния: фигура 1798">
                    <a:extLst>
                      <a:ext uri="{FF2B5EF4-FFF2-40B4-BE49-F238E27FC236}">
                        <a16:creationId xmlns:a16="http://schemas.microsoft.com/office/drawing/2014/main" id="{ABCFDCBB-7F2C-4897-95C3-04BC65FEAACD}"/>
                      </a:ext>
                    </a:extLst>
                  </p:cNvPr>
                  <p:cNvSpPr/>
                  <p:nvPr/>
                </p:nvSpPr>
                <p:spPr>
                  <a:xfrm>
                    <a:off x="6543294" y="3742848"/>
                    <a:ext cx="39814" cy="28670"/>
                  </a:xfrm>
                  <a:custGeom>
                    <a:avLst/>
                    <a:gdLst>
                      <a:gd name="connsiteX0" fmla="*/ 0 w 39814"/>
                      <a:gd name="connsiteY0" fmla="*/ 0 h 28670"/>
                      <a:gd name="connsiteX1" fmla="*/ 0 w 39814"/>
                      <a:gd name="connsiteY1" fmla="*/ 28670 h 28670"/>
                      <a:gd name="connsiteX2" fmla="*/ 39814 w 39814"/>
                      <a:gd name="connsiteY2" fmla="*/ 28670 h 28670"/>
                      <a:gd name="connsiteX3" fmla="*/ 39814 w 39814"/>
                      <a:gd name="connsiteY3" fmla="*/ 95 h 28670"/>
                      <a:gd name="connsiteX4" fmla="*/ 0 w 39814"/>
                      <a:gd name="connsiteY4" fmla="*/ 0 h 2867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39814" h="28670">
                        <a:moveTo>
                          <a:pt x="0" y="0"/>
                        </a:moveTo>
                        <a:lnTo>
                          <a:pt x="0" y="28670"/>
                        </a:lnTo>
                        <a:lnTo>
                          <a:pt x="39814" y="28670"/>
                        </a:lnTo>
                        <a:lnTo>
                          <a:pt x="39814" y="95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 w="4763" cap="rnd">
                    <a:solidFill>
                      <a:srgbClr val="263238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ru-RU"/>
                  </a:p>
                </p:txBody>
              </p:sp>
            </p:grpSp>
            <p:grpSp>
              <p:nvGrpSpPr>
                <p:cNvPr id="1800" name="Рисунок 1632">
                  <a:extLst>
                    <a:ext uri="{FF2B5EF4-FFF2-40B4-BE49-F238E27FC236}">
                      <a16:creationId xmlns:a16="http://schemas.microsoft.com/office/drawing/2014/main" id="{43EFCC39-605A-4B67-9598-5653ECE22115}"/>
                    </a:ext>
                  </a:extLst>
                </p:cNvPr>
                <p:cNvGrpSpPr/>
                <p:nvPr/>
              </p:nvGrpSpPr>
              <p:grpSpPr>
                <a:xfrm>
                  <a:off x="6635876" y="3707701"/>
                  <a:ext cx="97440" cy="64103"/>
                  <a:chOff x="6635876" y="3707701"/>
                  <a:chExt cx="97440" cy="64103"/>
                </a:xfrm>
                <a:solidFill>
                  <a:srgbClr val="FFFFFF"/>
                </a:solidFill>
              </p:grpSpPr>
              <p:sp>
                <p:nvSpPr>
                  <p:cNvPr id="1801" name="Полилиния: фигура 1800">
                    <a:extLst>
                      <a:ext uri="{FF2B5EF4-FFF2-40B4-BE49-F238E27FC236}">
                        <a16:creationId xmlns:a16="http://schemas.microsoft.com/office/drawing/2014/main" id="{27F3B278-F203-4642-88EC-9AFF12C86641}"/>
                      </a:ext>
                    </a:extLst>
                  </p:cNvPr>
                  <p:cNvSpPr/>
                  <p:nvPr/>
                </p:nvSpPr>
                <p:spPr>
                  <a:xfrm>
                    <a:off x="6635972" y="3707701"/>
                    <a:ext cx="39814" cy="22860"/>
                  </a:xfrm>
                  <a:custGeom>
                    <a:avLst/>
                    <a:gdLst>
                      <a:gd name="connsiteX0" fmla="*/ 39814 w 39814"/>
                      <a:gd name="connsiteY0" fmla="*/ 22860 h 22860"/>
                      <a:gd name="connsiteX1" fmla="*/ 39814 w 39814"/>
                      <a:gd name="connsiteY1" fmla="*/ 95 h 22860"/>
                      <a:gd name="connsiteX2" fmla="*/ 0 w 39814"/>
                      <a:gd name="connsiteY2" fmla="*/ 0 h 22860"/>
                      <a:gd name="connsiteX3" fmla="*/ 0 w 39814"/>
                      <a:gd name="connsiteY3" fmla="*/ 22860 h 22860"/>
                      <a:gd name="connsiteX4" fmla="*/ 39814 w 39814"/>
                      <a:gd name="connsiteY4" fmla="*/ 22860 h 2286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39814" h="22860">
                        <a:moveTo>
                          <a:pt x="39814" y="22860"/>
                        </a:moveTo>
                        <a:lnTo>
                          <a:pt x="39814" y="95"/>
                        </a:lnTo>
                        <a:lnTo>
                          <a:pt x="0" y="0"/>
                        </a:lnTo>
                        <a:lnTo>
                          <a:pt x="0" y="22860"/>
                        </a:lnTo>
                        <a:lnTo>
                          <a:pt x="39814" y="22860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 w="4763" cap="rnd">
                    <a:solidFill>
                      <a:srgbClr val="263238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ru-RU"/>
                  </a:p>
                </p:txBody>
              </p:sp>
              <p:sp>
                <p:nvSpPr>
                  <p:cNvPr id="1802" name="Полилиния: фигура 1801">
                    <a:extLst>
                      <a:ext uri="{FF2B5EF4-FFF2-40B4-BE49-F238E27FC236}">
                        <a16:creationId xmlns:a16="http://schemas.microsoft.com/office/drawing/2014/main" id="{24C50ADD-CA55-4C81-BA45-97AEBCD23D23}"/>
                      </a:ext>
                    </a:extLst>
                  </p:cNvPr>
                  <p:cNvSpPr/>
                  <p:nvPr/>
                </p:nvSpPr>
                <p:spPr>
                  <a:xfrm>
                    <a:off x="6693408" y="3707796"/>
                    <a:ext cx="39909" cy="22859"/>
                  </a:xfrm>
                  <a:custGeom>
                    <a:avLst/>
                    <a:gdLst>
                      <a:gd name="connsiteX0" fmla="*/ 0 w 39909"/>
                      <a:gd name="connsiteY0" fmla="*/ 22860 h 22859"/>
                      <a:gd name="connsiteX1" fmla="*/ 39814 w 39909"/>
                      <a:gd name="connsiteY1" fmla="*/ 22860 h 22859"/>
                      <a:gd name="connsiteX2" fmla="*/ 39910 w 39909"/>
                      <a:gd name="connsiteY2" fmla="*/ 95 h 22859"/>
                      <a:gd name="connsiteX3" fmla="*/ 0 w 39909"/>
                      <a:gd name="connsiteY3" fmla="*/ 0 h 22859"/>
                      <a:gd name="connsiteX4" fmla="*/ 0 w 39909"/>
                      <a:gd name="connsiteY4" fmla="*/ 22860 h 2285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39909" h="22859">
                        <a:moveTo>
                          <a:pt x="0" y="22860"/>
                        </a:moveTo>
                        <a:lnTo>
                          <a:pt x="39814" y="22860"/>
                        </a:lnTo>
                        <a:lnTo>
                          <a:pt x="39910" y="95"/>
                        </a:lnTo>
                        <a:lnTo>
                          <a:pt x="0" y="0"/>
                        </a:lnTo>
                        <a:lnTo>
                          <a:pt x="0" y="22860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 w="4763" cap="rnd">
                    <a:solidFill>
                      <a:srgbClr val="263238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ru-RU"/>
                  </a:p>
                </p:txBody>
              </p:sp>
              <p:sp>
                <p:nvSpPr>
                  <p:cNvPr id="1803" name="Полилиния: фигура 1802">
                    <a:extLst>
                      <a:ext uri="{FF2B5EF4-FFF2-40B4-BE49-F238E27FC236}">
                        <a16:creationId xmlns:a16="http://schemas.microsoft.com/office/drawing/2014/main" id="{8FF4A551-789B-44AD-9331-A1963CA7A842}"/>
                      </a:ext>
                    </a:extLst>
                  </p:cNvPr>
                  <p:cNvSpPr/>
                  <p:nvPr/>
                </p:nvSpPr>
                <p:spPr>
                  <a:xfrm>
                    <a:off x="6635876" y="3743039"/>
                    <a:ext cx="39909" cy="28670"/>
                  </a:xfrm>
                  <a:custGeom>
                    <a:avLst/>
                    <a:gdLst>
                      <a:gd name="connsiteX0" fmla="*/ 39910 w 39909"/>
                      <a:gd name="connsiteY0" fmla="*/ 95 h 28670"/>
                      <a:gd name="connsiteX1" fmla="*/ 95 w 39909"/>
                      <a:gd name="connsiteY1" fmla="*/ 0 h 28670"/>
                      <a:gd name="connsiteX2" fmla="*/ 0 w 39909"/>
                      <a:gd name="connsiteY2" fmla="*/ 28575 h 28670"/>
                      <a:gd name="connsiteX3" fmla="*/ 39910 w 39909"/>
                      <a:gd name="connsiteY3" fmla="*/ 28670 h 28670"/>
                      <a:gd name="connsiteX4" fmla="*/ 39910 w 39909"/>
                      <a:gd name="connsiteY4" fmla="*/ 95 h 2867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39909" h="28670">
                        <a:moveTo>
                          <a:pt x="39910" y="95"/>
                        </a:moveTo>
                        <a:lnTo>
                          <a:pt x="95" y="0"/>
                        </a:lnTo>
                        <a:lnTo>
                          <a:pt x="0" y="28575"/>
                        </a:lnTo>
                        <a:lnTo>
                          <a:pt x="39910" y="28670"/>
                        </a:lnTo>
                        <a:lnTo>
                          <a:pt x="39910" y="95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 w="4763" cap="rnd">
                    <a:solidFill>
                      <a:srgbClr val="263238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ru-RU"/>
                  </a:p>
                </p:txBody>
              </p:sp>
              <p:sp>
                <p:nvSpPr>
                  <p:cNvPr id="1804" name="Полилиния: фигура 1803">
                    <a:extLst>
                      <a:ext uri="{FF2B5EF4-FFF2-40B4-BE49-F238E27FC236}">
                        <a16:creationId xmlns:a16="http://schemas.microsoft.com/office/drawing/2014/main" id="{1690413C-DB92-4B4D-913F-B2E26BD82254}"/>
                      </a:ext>
                    </a:extLst>
                  </p:cNvPr>
                  <p:cNvSpPr/>
                  <p:nvPr/>
                </p:nvSpPr>
                <p:spPr>
                  <a:xfrm>
                    <a:off x="6693408" y="3743134"/>
                    <a:ext cx="39814" cy="28670"/>
                  </a:xfrm>
                  <a:custGeom>
                    <a:avLst/>
                    <a:gdLst>
                      <a:gd name="connsiteX0" fmla="*/ 0 w 39814"/>
                      <a:gd name="connsiteY0" fmla="*/ 0 h 28670"/>
                      <a:gd name="connsiteX1" fmla="*/ 0 w 39814"/>
                      <a:gd name="connsiteY1" fmla="*/ 28575 h 28670"/>
                      <a:gd name="connsiteX2" fmla="*/ 39814 w 39814"/>
                      <a:gd name="connsiteY2" fmla="*/ 28670 h 28670"/>
                      <a:gd name="connsiteX3" fmla="*/ 39814 w 39814"/>
                      <a:gd name="connsiteY3" fmla="*/ 95 h 28670"/>
                      <a:gd name="connsiteX4" fmla="*/ 0 w 39814"/>
                      <a:gd name="connsiteY4" fmla="*/ 0 h 2867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39814" h="28670">
                        <a:moveTo>
                          <a:pt x="0" y="0"/>
                        </a:moveTo>
                        <a:lnTo>
                          <a:pt x="0" y="28575"/>
                        </a:lnTo>
                        <a:lnTo>
                          <a:pt x="39814" y="28670"/>
                        </a:lnTo>
                        <a:lnTo>
                          <a:pt x="39814" y="95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 w="4763" cap="rnd">
                    <a:solidFill>
                      <a:srgbClr val="263238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ru-RU"/>
                  </a:p>
                </p:txBody>
              </p:sp>
            </p:grpSp>
            <p:grpSp>
              <p:nvGrpSpPr>
                <p:cNvPr id="1805" name="Рисунок 1632">
                  <a:extLst>
                    <a:ext uri="{FF2B5EF4-FFF2-40B4-BE49-F238E27FC236}">
                      <a16:creationId xmlns:a16="http://schemas.microsoft.com/office/drawing/2014/main" id="{43EFCC39-605A-4B67-9598-5653ECE22115}"/>
                    </a:ext>
                  </a:extLst>
                </p:cNvPr>
                <p:cNvGrpSpPr/>
                <p:nvPr/>
              </p:nvGrpSpPr>
              <p:grpSpPr>
                <a:xfrm>
                  <a:off x="6785991" y="3707987"/>
                  <a:ext cx="97440" cy="64103"/>
                  <a:chOff x="6785991" y="3707987"/>
                  <a:chExt cx="97440" cy="64103"/>
                </a:xfrm>
                <a:solidFill>
                  <a:srgbClr val="FFFFFF"/>
                </a:solidFill>
              </p:grpSpPr>
              <p:sp>
                <p:nvSpPr>
                  <p:cNvPr id="1806" name="Полилиния: фигура 1805">
                    <a:extLst>
                      <a:ext uri="{FF2B5EF4-FFF2-40B4-BE49-F238E27FC236}">
                        <a16:creationId xmlns:a16="http://schemas.microsoft.com/office/drawing/2014/main" id="{2A05BC5C-0D3C-4624-A064-4243BC22522F}"/>
                      </a:ext>
                    </a:extLst>
                  </p:cNvPr>
                  <p:cNvSpPr/>
                  <p:nvPr/>
                </p:nvSpPr>
                <p:spPr>
                  <a:xfrm>
                    <a:off x="6786086" y="3707987"/>
                    <a:ext cx="39814" cy="22860"/>
                  </a:xfrm>
                  <a:custGeom>
                    <a:avLst/>
                    <a:gdLst>
                      <a:gd name="connsiteX0" fmla="*/ 39814 w 39814"/>
                      <a:gd name="connsiteY0" fmla="*/ 22860 h 22860"/>
                      <a:gd name="connsiteX1" fmla="*/ 39814 w 39814"/>
                      <a:gd name="connsiteY1" fmla="*/ 95 h 22860"/>
                      <a:gd name="connsiteX2" fmla="*/ 0 w 39814"/>
                      <a:gd name="connsiteY2" fmla="*/ 0 h 22860"/>
                      <a:gd name="connsiteX3" fmla="*/ 0 w 39814"/>
                      <a:gd name="connsiteY3" fmla="*/ 22860 h 22860"/>
                      <a:gd name="connsiteX4" fmla="*/ 39814 w 39814"/>
                      <a:gd name="connsiteY4" fmla="*/ 22860 h 2286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39814" h="22860">
                        <a:moveTo>
                          <a:pt x="39814" y="22860"/>
                        </a:moveTo>
                        <a:lnTo>
                          <a:pt x="39814" y="95"/>
                        </a:lnTo>
                        <a:lnTo>
                          <a:pt x="0" y="0"/>
                        </a:lnTo>
                        <a:lnTo>
                          <a:pt x="0" y="22860"/>
                        </a:lnTo>
                        <a:lnTo>
                          <a:pt x="39814" y="22860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 w="4763" cap="rnd">
                    <a:solidFill>
                      <a:srgbClr val="263238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ru-RU"/>
                  </a:p>
                </p:txBody>
              </p:sp>
              <p:sp>
                <p:nvSpPr>
                  <p:cNvPr id="1807" name="Полилиния: фигура 1806">
                    <a:extLst>
                      <a:ext uri="{FF2B5EF4-FFF2-40B4-BE49-F238E27FC236}">
                        <a16:creationId xmlns:a16="http://schemas.microsoft.com/office/drawing/2014/main" id="{F92712B6-9F73-4230-A5B6-F55F2E675C36}"/>
                      </a:ext>
                    </a:extLst>
                  </p:cNvPr>
                  <p:cNvSpPr/>
                  <p:nvPr/>
                </p:nvSpPr>
                <p:spPr>
                  <a:xfrm>
                    <a:off x="6843522" y="3708082"/>
                    <a:ext cx="39909" cy="22859"/>
                  </a:xfrm>
                  <a:custGeom>
                    <a:avLst/>
                    <a:gdLst>
                      <a:gd name="connsiteX0" fmla="*/ 0 w 39909"/>
                      <a:gd name="connsiteY0" fmla="*/ 22860 h 22859"/>
                      <a:gd name="connsiteX1" fmla="*/ 39814 w 39909"/>
                      <a:gd name="connsiteY1" fmla="*/ 22860 h 22859"/>
                      <a:gd name="connsiteX2" fmla="*/ 39910 w 39909"/>
                      <a:gd name="connsiteY2" fmla="*/ 95 h 22859"/>
                      <a:gd name="connsiteX3" fmla="*/ 0 w 39909"/>
                      <a:gd name="connsiteY3" fmla="*/ 0 h 22859"/>
                      <a:gd name="connsiteX4" fmla="*/ 0 w 39909"/>
                      <a:gd name="connsiteY4" fmla="*/ 22860 h 2285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39909" h="22859">
                        <a:moveTo>
                          <a:pt x="0" y="22860"/>
                        </a:moveTo>
                        <a:lnTo>
                          <a:pt x="39814" y="22860"/>
                        </a:lnTo>
                        <a:lnTo>
                          <a:pt x="39910" y="95"/>
                        </a:lnTo>
                        <a:lnTo>
                          <a:pt x="0" y="0"/>
                        </a:lnTo>
                        <a:lnTo>
                          <a:pt x="0" y="22860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 w="4763" cap="rnd">
                    <a:solidFill>
                      <a:srgbClr val="263238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ru-RU"/>
                  </a:p>
                </p:txBody>
              </p:sp>
              <p:sp>
                <p:nvSpPr>
                  <p:cNvPr id="1808" name="Полилиния: фигура 1807">
                    <a:extLst>
                      <a:ext uri="{FF2B5EF4-FFF2-40B4-BE49-F238E27FC236}">
                        <a16:creationId xmlns:a16="http://schemas.microsoft.com/office/drawing/2014/main" id="{04929B55-15AF-4C05-A36B-114DA13D6D0C}"/>
                      </a:ext>
                    </a:extLst>
                  </p:cNvPr>
                  <p:cNvSpPr/>
                  <p:nvPr/>
                </p:nvSpPr>
                <p:spPr>
                  <a:xfrm>
                    <a:off x="6785991" y="3743325"/>
                    <a:ext cx="39909" cy="28670"/>
                  </a:xfrm>
                  <a:custGeom>
                    <a:avLst/>
                    <a:gdLst>
                      <a:gd name="connsiteX0" fmla="*/ 39910 w 39909"/>
                      <a:gd name="connsiteY0" fmla="*/ 95 h 28670"/>
                      <a:gd name="connsiteX1" fmla="*/ 95 w 39909"/>
                      <a:gd name="connsiteY1" fmla="*/ 0 h 28670"/>
                      <a:gd name="connsiteX2" fmla="*/ 0 w 39909"/>
                      <a:gd name="connsiteY2" fmla="*/ 28575 h 28670"/>
                      <a:gd name="connsiteX3" fmla="*/ 39910 w 39909"/>
                      <a:gd name="connsiteY3" fmla="*/ 28670 h 28670"/>
                      <a:gd name="connsiteX4" fmla="*/ 39910 w 39909"/>
                      <a:gd name="connsiteY4" fmla="*/ 95 h 2867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39909" h="28670">
                        <a:moveTo>
                          <a:pt x="39910" y="95"/>
                        </a:moveTo>
                        <a:lnTo>
                          <a:pt x="95" y="0"/>
                        </a:lnTo>
                        <a:lnTo>
                          <a:pt x="0" y="28575"/>
                        </a:lnTo>
                        <a:lnTo>
                          <a:pt x="39910" y="28670"/>
                        </a:lnTo>
                        <a:lnTo>
                          <a:pt x="39910" y="95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 w="4763" cap="rnd">
                    <a:solidFill>
                      <a:srgbClr val="263238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ru-RU"/>
                  </a:p>
                </p:txBody>
              </p:sp>
              <p:sp>
                <p:nvSpPr>
                  <p:cNvPr id="1809" name="Полилиния: фигура 1808">
                    <a:extLst>
                      <a:ext uri="{FF2B5EF4-FFF2-40B4-BE49-F238E27FC236}">
                        <a16:creationId xmlns:a16="http://schemas.microsoft.com/office/drawing/2014/main" id="{19DEFDEA-4F9C-453D-AC6B-221666FDE994}"/>
                      </a:ext>
                    </a:extLst>
                  </p:cNvPr>
                  <p:cNvSpPr/>
                  <p:nvPr/>
                </p:nvSpPr>
                <p:spPr>
                  <a:xfrm>
                    <a:off x="6843522" y="3743420"/>
                    <a:ext cx="39814" cy="28670"/>
                  </a:xfrm>
                  <a:custGeom>
                    <a:avLst/>
                    <a:gdLst>
                      <a:gd name="connsiteX0" fmla="*/ 0 w 39814"/>
                      <a:gd name="connsiteY0" fmla="*/ 0 h 28670"/>
                      <a:gd name="connsiteX1" fmla="*/ 0 w 39814"/>
                      <a:gd name="connsiteY1" fmla="*/ 28575 h 28670"/>
                      <a:gd name="connsiteX2" fmla="*/ 39814 w 39814"/>
                      <a:gd name="connsiteY2" fmla="*/ 28670 h 28670"/>
                      <a:gd name="connsiteX3" fmla="*/ 39814 w 39814"/>
                      <a:gd name="connsiteY3" fmla="*/ 95 h 28670"/>
                      <a:gd name="connsiteX4" fmla="*/ 0 w 39814"/>
                      <a:gd name="connsiteY4" fmla="*/ 0 h 2867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39814" h="28670">
                        <a:moveTo>
                          <a:pt x="0" y="0"/>
                        </a:moveTo>
                        <a:lnTo>
                          <a:pt x="0" y="28575"/>
                        </a:lnTo>
                        <a:lnTo>
                          <a:pt x="39814" y="28670"/>
                        </a:lnTo>
                        <a:lnTo>
                          <a:pt x="39814" y="95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 w="4763" cap="rnd">
                    <a:solidFill>
                      <a:srgbClr val="263238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ru-RU"/>
                  </a:p>
                </p:txBody>
              </p:sp>
            </p:grpSp>
            <p:grpSp>
              <p:nvGrpSpPr>
                <p:cNvPr id="1810" name="Рисунок 1632">
                  <a:extLst>
                    <a:ext uri="{FF2B5EF4-FFF2-40B4-BE49-F238E27FC236}">
                      <a16:creationId xmlns:a16="http://schemas.microsoft.com/office/drawing/2014/main" id="{43EFCC39-605A-4B67-9598-5653ECE22115}"/>
                    </a:ext>
                  </a:extLst>
                </p:cNvPr>
                <p:cNvGrpSpPr/>
                <p:nvPr/>
              </p:nvGrpSpPr>
              <p:grpSpPr>
                <a:xfrm>
                  <a:off x="6936105" y="3708273"/>
                  <a:ext cx="97345" cy="64103"/>
                  <a:chOff x="6936105" y="3708273"/>
                  <a:chExt cx="97345" cy="64103"/>
                </a:xfrm>
                <a:solidFill>
                  <a:srgbClr val="FFFFFF"/>
                </a:solidFill>
              </p:grpSpPr>
              <p:sp>
                <p:nvSpPr>
                  <p:cNvPr id="1811" name="Полилиния: фигура 1810">
                    <a:extLst>
                      <a:ext uri="{FF2B5EF4-FFF2-40B4-BE49-F238E27FC236}">
                        <a16:creationId xmlns:a16="http://schemas.microsoft.com/office/drawing/2014/main" id="{12D3EC58-2C29-4655-B794-3B95312137AD}"/>
                      </a:ext>
                    </a:extLst>
                  </p:cNvPr>
                  <p:cNvSpPr/>
                  <p:nvPr/>
                </p:nvSpPr>
                <p:spPr>
                  <a:xfrm>
                    <a:off x="6936200" y="3708273"/>
                    <a:ext cx="39814" cy="22859"/>
                  </a:xfrm>
                  <a:custGeom>
                    <a:avLst/>
                    <a:gdLst>
                      <a:gd name="connsiteX0" fmla="*/ 39815 w 39814"/>
                      <a:gd name="connsiteY0" fmla="*/ 22860 h 22859"/>
                      <a:gd name="connsiteX1" fmla="*/ 39815 w 39814"/>
                      <a:gd name="connsiteY1" fmla="*/ 95 h 22859"/>
                      <a:gd name="connsiteX2" fmla="*/ 0 w 39814"/>
                      <a:gd name="connsiteY2" fmla="*/ 0 h 22859"/>
                      <a:gd name="connsiteX3" fmla="*/ 0 w 39814"/>
                      <a:gd name="connsiteY3" fmla="*/ 22765 h 22859"/>
                      <a:gd name="connsiteX4" fmla="*/ 39815 w 39814"/>
                      <a:gd name="connsiteY4" fmla="*/ 22860 h 2285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39814" h="22859">
                        <a:moveTo>
                          <a:pt x="39815" y="22860"/>
                        </a:moveTo>
                        <a:lnTo>
                          <a:pt x="39815" y="95"/>
                        </a:lnTo>
                        <a:lnTo>
                          <a:pt x="0" y="0"/>
                        </a:lnTo>
                        <a:lnTo>
                          <a:pt x="0" y="22765"/>
                        </a:lnTo>
                        <a:lnTo>
                          <a:pt x="39815" y="22860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 w="4763" cap="rnd">
                    <a:solidFill>
                      <a:srgbClr val="263238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ru-RU"/>
                  </a:p>
                </p:txBody>
              </p:sp>
              <p:sp>
                <p:nvSpPr>
                  <p:cNvPr id="1812" name="Полилиния: фигура 1811">
                    <a:extLst>
                      <a:ext uri="{FF2B5EF4-FFF2-40B4-BE49-F238E27FC236}">
                        <a16:creationId xmlns:a16="http://schemas.microsoft.com/office/drawing/2014/main" id="{DFB0325E-FFA0-4CEA-89F2-8631CC386DDC}"/>
                      </a:ext>
                    </a:extLst>
                  </p:cNvPr>
                  <p:cNvSpPr/>
                  <p:nvPr/>
                </p:nvSpPr>
                <p:spPr>
                  <a:xfrm>
                    <a:off x="6993635" y="3708368"/>
                    <a:ext cx="39814" cy="22859"/>
                  </a:xfrm>
                  <a:custGeom>
                    <a:avLst/>
                    <a:gdLst>
                      <a:gd name="connsiteX0" fmla="*/ 0 w 39814"/>
                      <a:gd name="connsiteY0" fmla="*/ 22860 h 22859"/>
                      <a:gd name="connsiteX1" fmla="*/ 39815 w 39814"/>
                      <a:gd name="connsiteY1" fmla="*/ 22860 h 22859"/>
                      <a:gd name="connsiteX2" fmla="*/ 39815 w 39814"/>
                      <a:gd name="connsiteY2" fmla="*/ 95 h 22859"/>
                      <a:gd name="connsiteX3" fmla="*/ 0 w 39814"/>
                      <a:gd name="connsiteY3" fmla="*/ 0 h 22859"/>
                      <a:gd name="connsiteX4" fmla="*/ 0 w 39814"/>
                      <a:gd name="connsiteY4" fmla="*/ 22860 h 2285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39814" h="22859">
                        <a:moveTo>
                          <a:pt x="0" y="22860"/>
                        </a:moveTo>
                        <a:lnTo>
                          <a:pt x="39815" y="22860"/>
                        </a:lnTo>
                        <a:lnTo>
                          <a:pt x="39815" y="95"/>
                        </a:lnTo>
                        <a:lnTo>
                          <a:pt x="0" y="0"/>
                        </a:lnTo>
                        <a:lnTo>
                          <a:pt x="0" y="22860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 w="4763" cap="rnd">
                    <a:solidFill>
                      <a:srgbClr val="263238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ru-RU"/>
                  </a:p>
                </p:txBody>
              </p:sp>
              <p:sp>
                <p:nvSpPr>
                  <p:cNvPr id="1813" name="Полилиния: фигура 1812">
                    <a:extLst>
                      <a:ext uri="{FF2B5EF4-FFF2-40B4-BE49-F238E27FC236}">
                        <a16:creationId xmlns:a16="http://schemas.microsoft.com/office/drawing/2014/main" id="{EDD6584F-DB91-47DC-BC74-A9B0379EA8E3}"/>
                      </a:ext>
                    </a:extLst>
                  </p:cNvPr>
                  <p:cNvSpPr/>
                  <p:nvPr/>
                </p:nvSpPr>
                <p:spPr>
                  <a:xfrm>
                    <a:off x="6936105" y="3743610"/>
                    <a:ext cx="39909" cy="28670"/>
                  </a:xfrm>
                  <a:custGeom>
                    <a:avLst/>
                    <a:gdLst>
                      <a:gd name="connsiteX0" fmla="*/ 39910 w 39909"/>
                      <a:gd name="connsiteY0" fmla="*/ 95 h 28670"/>
                      <a:gd name="connsiteX1" fmla="*/ 0 w 39909"/>
                      <a:gd name="connsiteY1" fmla="*/ 0 h 28670"/>
                      <a:gd name="connsiteX2" fmla="*/ 0 w 39909"/>
                      <a:gd name="connsiteY2" fmla="*/ 28575 h 28670"/>
                      <a:gd name="connsiteX3" fmla="*/ 39910 w 39909"/>
                      <a:gd name="connsiteY3" fmla="*/ 28670 h 28670"/>
                      <a:gd name="connsiteX4" fmla="*/ 39910 w 39909"/>
                      <a:gd name="connsiteY4" fmla="*/ 95 h 2867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39909" h="28670">
                        <a:moveTo>
                          <a:pt x="39910" y="95"/>
                        </a:moveTo>
                        <a:lnTo>
                          <a:pt x="0" y="0"/>
                        </a:lnTo>
                        <a:lnTo>
                          <a:pt x="0" y="28575"/>
                        </a:lnTo>
                        <a:lnTo>
                          <a:pt x="39910" y="28670"/>
                        </a:lnTo>
                        <a:lnTo>
                          <a:pt x="39910" y="95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 w="4763" cap="rnd">
                    <a:solidFill>
                      <a:srgbClr val="263238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ru-RU"/>
                  </a:p>
                </p:txBody>
              </p:sp>
              <p:sp>
                <p:nvSpPr>
                  <p:cNvPr id="1814" name="Полилиния: фигура 1813">
                    <a:extLst>
                      <a:ext uri="{FF2B5EF4-FFF2-40B4-BE49-F238E27FC236}">
                        <a16:creationId xmlns:a16="http://schemas.microsoft.com/office/drawing/2014/main" id="{BF4941E2-98B3-43D0-B0B7-E3BA0A77198C}"/>
                      </a:ext>
                    </a:extLst>
                  </p:cNvPr>
                  <p:cNvSpPr/>
                  <p:nvPr/>
                </p:nvSpPr>
                <p:spPr>
                  <a:xfrm>
                    <a:off x="6993540" y="3743705"/>
                    <a:ext cx="39909" cy="28670"/>
                  </a:xfrm>
                  <a:custGeom>
                    <a:avLst/>
                    <a:gdLst>
                      <a:gd name="connsiteX0" fmla="*/ 95 w 39909"/>
                      <a:gd name="connsiteY0" fmla="*/ 0 h 28670"/>
                      <a:gd name="connsiteX1" fmla="*/ 0 w 39909"/>
                      <a:gd name="connsiteY1" fmla="*/ 28575 h 28670"/>
                      <a:gd name="connsiteX2" fmla="*/ 39910 w 39909"/>
                      <a:gd name="connsiteY2" fmla="*/ 28670 h 28670"/>
                      <a:gd name="connsiteX3" fmla="*/ 39910 w 39909"/>
                      <a:gd name="connsiteY3" fmla="*/ 95 h 28670"/>
                      <a:gd name="connsiteX4" fmla="*/ 95 w 39909"/>
                      <a:gd name="connsiteY4" fmla="*/ 0 h 2867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39909" h="28670">
                        <a:moveTo>
                          <a:pt x="95" y="0"/>
                        </a:moveTo>
                        <a:lnTo>
                          <a:pt x="0" y="28575"/>
                        </a:lnTo>
                        <a:lnTo>
                          <a:pt x="39910" y="28670"/>
                        </a:lnTo>
                        <a:lnTo>
                          <a:pt x="39910" y="95"/>
                        </a:lnTo>
                        <a:lnTo>
                          <a:pt x="95" y="0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 w="4763" cap="rnd">
                    <a:solidFill>
                      <a:srgbClr val="263238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ru-RU"/>
                  </a:p>
                </p:txBody>
              </p:sp>
            </p:grpSp>
            <p:grpSp>
              <p:nvGrpSpPr>
                <p:cNvPr id="1815" name="Рисунок 1632">
                  <a:extLst>
                    <a:ext uri="{FF2B5EF4-FFF2-40B4-BE49-F238E27FC236}">
                      <a16:creationId xmlns:a16="http://schemas.microsoft.com/office/drawing/2014/main" id="{43EFCC39-605A-4B67-9598-5653ECE22115}"/>
                    </a:ext>
                  </a:extLst>
                </p:cNvPr>
                <p:cNvGrpSpPr/>
                <p:nvPr/>
              </p:nvGrpSpPr>
              <p:grpSpPr>
                <a:xfrm>
                  <a:off x="7086218" y="3708558"/>
                  <a:ext cx="97345" cy="64103"/>
                  <a:chOff x="7086218" y="3708558"/>
                  <a:chExt cx="97345" cy="64103"/>
                </a:xfrm>
                <a:solidFill>
                  <a:srgbClr val="FFFFFF"/>
                </a:solidFill>
              </p:grpSpPr>
              <p:sp>
                <p:nvSpPr>
                  <p:cNvPr id="1816" name="Полилиния: фигура 1815">
                    <a:extLst>
                      <a:ext uri="{FF2B5EF4-FFF2-40B4-BE49-F238E27FC236}">
                        <a16:creationId xmlns:a16="http://schemas.microsoft.com/office/drawing/2014/main" id="{0FAAA8B9-45A2-4D4B-9C9A-94D7909FD16A}"/>
                      </a:ext>
                    </a:extLst>
                  </p:cNvPr>
                  <p:cNvSpPr/>
                  <p:nvPr/>
                </p:nvSpPr>
                <p:spPr>
                  <a:xfrm>
                    <a:off x="7086218" y="3708558"/>
                    <a:ext cx="39909" cy="22859"/>
                  </a:xfrm>
                  <a:custGeom>
                    <a:avLst/>
                    <a:gdLst>
                      <a:gd name="connsiteX0" fmla="*/ 39910 w 39909"/>
                      <a:gd name="connsiteY0" fmla="*/ 22860 h 22859"/>
                      <a:gd name="connsiteX1" fmla="*/ 39910 w 39909"/>
                      <a:gd name="connsiteY1" fmla="*/ 95 h 22859"/>
                      <a:gd name="connsiteX2" fmla="*/ 95 w 39909"/>
                      <a:gd name="connsiteY2" fmla="*/ 0 h 22859"/>
                      <a:gd name="connsiteX3" fmla="*/ 0 w 39909"/>
                      <a:gd name="connsiteY3" fmla="*/ 22765 h 22859"/>
                      <a:gd name="connsiteX4" fmla="*/ 39910 w 39909"/>
                      <a:gd name="connsiteY4" fmla="*/ 22860 h 2285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39909" h="22859">
                        <a:moveTo>
                          <a:pt x="39910" y="22860"/>
                        </a:moveTo>
                        <a:lnTo>
                          <a:pt x="39910" y="95"/>
                        </a:lnTo>
                        <a:lnTo>
                          <a:pt x="95" y="0"/>
                        </a:lnTo>
                        <a:lnTo>
                          <a:pt x="0" y="22765"/>
                        </a:lnTo>
                        <a:lnTo>
                          <a:pt x="39910" y="22860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 w="4763" cap="rnd">
                    <a:solidFill>
                      <a:srgbClr val="263238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ru-RU"/>
                  </a:p>
                </p:txBody>
              </p:sp>
              <p:sp>
                <p:nvSpPr>
                  <p:cNvPr id="1817" name="Полилиния: фигура 1816">
                    <a:extLst>
                      <a:ext uri="{FF2B5EF4-FFF2-40B4-BE49-F238E27FC236}">
                        <a16:creationId xmlns:a16="http://schemas.microsoft.com/office/drawing/2014/main" id="{7CC0B3BA-33F6-4E6D-B543-EA06EB82D0CF}"/>
                      </a:ext>
                    </a:extLst>
                  </p:cNvPr>
                  <p:cNvSpPr/>
                  <p:nvPr/>
                </p:nvSpPr>
                <p:spPr>
                  <a:xfrm>
                    <a:off x="7143750" y="3708654"/>
                    <a:ext cx="39814" cy="22859"/>
                  </a:xfrm>
                  <a:custGeom>
                    <a:avLst/>
                    <a:gdLst>
                      <a:gd name="connsiteX0" fmla="*/ 0 w 39814"/>
                      <a:gd name="connsiteY0" fmla="*/ 22860 h 22859"/>
                      <a:gd name="connsiteX1" fmla="*/ 39814 w 39814"/>
                      <a:gd name="connsiteY1" fmla="*/ 22860 h 22859"/>
                      <a:gd name="connsiteX2" fmla="*/ 39814 w 39814"/>
                      <a:gd name="connsiteY2" fmla="*/ 95 h 22859"/>
                      <a:gd name="connsiteX3" fmla="*/ 0 w 39814"/>
                      <a:gd name="connsiteY3" fmla="*/ 0 h 22859"/>
                      <a:gd name="connsiteX4" fmla="*/ 0 w 39814"/>
                      <a:gd name="connsiteY4" fmla="*/ 22860 h 2285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39814" h="22859">
                        <a:moveTo>
                          <a:pt x="0" y="22860"/>
                        </a:moveTo>
                        <a:lnTo>
                          <a:pt x="39814" y="22860"/>
                        </a:lnTo>
                        <a:lnTo>
                          <a:pt x="39814" y="95"/>
                        </a:lnTo>
                        <a:lnTo>
                          <a:pt x="0" y="0"/>
                        </a:lnTo>
                        <a:lnTo>
                          <a:pt x="0" y="22860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 w="4763" cap="rnd">
                    <a:solidFill>
                      <a:srgbClr val="263238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ru-RU"/>
                  </a:p>
                </p:txBody>
              </p:sp>
              <p:sp>
                <p:nvSpPr>
                  <p:cNvPr id="1818" name="Полилиния: фигура 1817">
                    <a:extLst>
                      <a:ext uri="{FF2B5EF4-FFF2-40B4-BE49-F238E27FC236}">
                        <a16:creationId xmlns:a16="http://schemas.microsoft.com/office/drawing/2014/main" id="{3E9DECB4-5D5C-45E0-9941-6A154005E4B1}"/>
                      </a:ext>
                    </a:extLst>
                  </p:cNvPr>
                  <p:cNvSpPr/>
                  <p:nvPr/>
                </p:nvSpPr>
                <p:spPr>
                  <a:xfrm>
                    <a:off x="7086218" y="3743896"/>
                    <a:ext cx="39909" cy="28670"/>
                  </a:xfrm>
                  <a:custGeom>
                    <a:avLst/>
                    <a:gdLst>
                      <a:gd name="connsiteX0" fmla="*/ 39910 w 39909"/>
                      <a:gd name="connsiteY0" fmla="*/ 95 h 28670"/>
                      <a:gd name="connsiteX1" fmla="*/ 0 w 39909"/>
                      <a:gd name="connsiteY1" fmla="*/ 0 h 28670"/>
                      <a:gd name="connsiteX2" fmla="*/ 0 w 39909"/>
                      <a:gd name="connsiteY2" fmla="*/ 28575 h 28670"/>
                      <a:gd name="connsiteX3" fmla="*/ 39910 w 39909"/>
                      <a:gd name="connsiteY3" fmla="*/ 28670 h 28670"/>
                      <a:gd name="connsiteX4" fmla="*/ 39910 w 39909"/>
                      <a:gd name="connsiteY4" fmla="*/ 95 h 2867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39909" h="28670">
                        <a:moveTo>
                          <a:pt x="39910" y="95"/>
                        </a:moveTo>
                        <a:lnTo>
                          <a:pt x="0" y="0"/>
                        </a:lnTo>
                        <a:lnTo>
                          <a:pt x="0" y="28575"/>
                        </a:lnTo>
                        <a:lnTo>
                          <a:pt x="39910" y="28670"/>
                        </a:lnTo>
                        <a:lnTo>
                          <a:pt x="39910" y="95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 w="4763" cap="rnd">
                    <a:solidFill>
                      <a:srgbClr val="263238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ru-RU"/>
                  </a:p>
                </p:txBody>
              </p:sp>
              <p:sp>
                <p:nvSpPr>
                  <p:cNvPr id="1819" name="Полилиния: фигура 1818">
                    <a:extLst>
                      <a:ext uri="{FF2B5EF4-FFF2-40B4-BE49-F238E27FC236}">
                        <a16:creationId xmlns:a16="http://schemas.microsoft.com/office/drawing/2014/main" id="{8B349002-649B-4793-8381-F3A1B8098D01}"/>
                      </a:ext>
                    </a:extLst>
                  </p:cNvPr>
                  <p:cNvSpPr/>
                  <p:nvPr/>
                </p:nvSpPr>
                <p:spPr>
                  <a:xfrm>
                    <a:off x="7143654" y="3743991"/>
                    <a:ext cx="39909" cy="28670"/>
                  </a:xfrm>
                  <a:custGeom>
                    <a:avLst/>
                    <a:gdLst>
                      <a:gd name="connsiteX0" fmla="*/ 95 w 39909"/>
                      <a:gd name="connsiteY0" fmla="*/ 0 h 28670"/>
                      <a:gd name="connsiteX1" fmla="*/ 0 w 39909"/>
                      <a:gd name="connsiteY1" fmla="*/ 28575 h 28670"/>
                      <a:gd name="connsiteX2" fmla="*/ 39910 w 39909"/>
                      <a:gd name="connsiteY2" fmla="*/ 28670 h 28670"/>
                      <a:gd name="connsiteX3" fmla="*/ 39910 w 39909"/>
                      <a:gd name="connsiteY3" fmla="*/ 95 h 28670"/>
                      <a:gd name="connsiteX4" fmla="*/ 95 w 39909"/>
                      <a:gd name="connsiteY4" fmla="*/ 0 h 2867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39909" h="28670">
                        <a:moveTo>
                          <a:pt x="95" y="0"/>
                        </a:moveTo>
                        <a:lnTo>
                          <a:pt x="0" y="28575"/>
                        </a:lnTo>
                        <a:lnTo>
                          <a:pt x="39910" y="28670"/>
                        </a:lnTo>
                        <a:lnTo>
                          <a:pt x="39910" y="95"/>
                        </a:lnTo>
                        <a:lnTo>
                          <a:pt x="95" y="0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 w="4763" cap="rnd">
                    <a:solidFill>
                      <a:srgbClr val="263238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ru-RU"/>
                  </a:p>
                </p:txBody>
              </p:sp>
            </p:grpSp>
            <p:grpSp>
              <p:nvGrpSpPr>
                <p:cNvPr id="1820" name="Рисунок 1632">
                  <a:extLst>
                    <a:ext uri="{FF2B5EF4-FFF2-40B4-BE49-F238E27FC236}">
                      <a16:creationId xmlns:a16="http://schemas.microsoft.com/office/drawing/2014/main" id="{43EFCC39-605A-4B67-9598-5653ECE22115}"/>
                    </a:ext>
                  </a:extLst>
                </p:cNvPr>
                <p:cNvGrpSpPr/>
                <p:nvPr/>
              </p:nvGrpSpPr>
              <p:grpSpPr>
                <a:xfrm>
                  <a:off x="7236333" y="3708844"/>
                  <a:ext cx="97345" cy="64103"/>
                  <a:chOff x="7236333" y="3708844"/>
                  <a:chExt cx="97345" cy="64103"/>
                </a:xfrm>
                <a:solidFill>
                  <a:srgbClr val="FFFFFF"/>
                </a:solidFill>
              </p:grpSpPr>
              <p:sp>
                <p:nvSpPr>
                  <p:cNvPr id="1821" name="Полилиния: фигура 1820">
                    <a:extLst>
                      <a:ext uri="{FF2B5EF4-FFF2-40B4-BE49-F238E27FC236}">
                        <a16:creationId xmlns:a16="http://schemas.microsoft.com/office/drawing/2014/main" id="{44DAB2C2-92FC-4CFA-ACC2-BBE61A46A60E}"/>
                      </a:ext>
                    </a:extLst>
                  </p:cNvPr>
                  <p:cNvSpPr/>
                  <p:nvPr/>
                </p:nvSpPr>
                <p:spPr>
                  <a:xfrm>
                    <a:off x="7236333" y="3708844"/>
                    <a:ext cx="39909" cy="22859"/>
                  </a:xfrm>
                  <a:custGeom>
                    <a:avLst/>
                    <a:gdLst>
                      <a:gd name="connsiteX0" fmla="*/ 39910 w 39909"/>
                      <a:gd name="connsiteY0" fmla="*/ 22860 h 22859"/>
                      <a:gd name="connsiteX1" fmla="*/ 39910 w 39909"/>
                      <a:gd name="connsiteY1" fmla="*/ 95 h 22859"/>
                      <a:gd name="connsiteX2" fmla="*/ 95 w 39909"/>
                      <a:gd name="connsiteY2" fmla="*/ 0 h 22859"/>
                      <a:gd name="connsiteX3" fmla="*/ 0 w 39909"/>
                      <a:gd name="connsiteY3" fmla="*/ 22765 h 22859"/>
                      <a:gd name="connsiteX4" fmla="*/ 39910 w 39909"/>
                      <a:gd name="connsiteY4" fmla="*/ 22860 h 2285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39909" h="22859">
                        <a:moveTo>
                          <a:pt x="39910" y="22860"/>
                        </a:moveTo>
                        <a:lnTo>
                          <a:pt x="39910" y="95"/>
                        </a:lnTo>
                        <a:lnTo>
                          <a:pt x="95" y="0"/>
                        </a:lnTo>
                        <a:lnTo>
                          <a:pt x="0" y="22765"/>
                        </a:lnTo>
                        <a:lnTo>
                          <a:pt x="39910" y="22860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 w="4763" cap="rnd">
                    <a:solidFill>
                      <a:srgbClr val="263238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ru-RU"/>
                  </a:p>
                </p:txBody>
              </p:sp>
              <p:sp>
                <p:nvSpPr>
                  <p:cNvPr id="1822" name="Полилиния: фигура 1821">
                    <a:extLst>
                      <a:ext uri="{FF2B5EF4-FFF2-40B4-BE49-F238E27FC236}">
                        <a16:creationId xmlns:a16="http://schemas.microsoft.com/office/drawing/2014/main" id="{46AEA44B-CFD9-4342-A2CE-A180888F52A3}"/>
                      </a:ext>
                    </a:extLst>
                  </p:cNvPr>
                  <p:cNvSpPr/>
                  <p:nvPr/>
                </p:nvSpPr>
                <p:spPr>
                  <a:xfrm>
                    <a:off x="7293864" y="3708939"/>
                    <a:ext cx="39814" cy="22859"/>
                  </a:xfrm>
                  <a:custGeom>
                    <a:avLst/>
                    <a:gdLst>
                      <a:gd name="connsiteX0" fmla="*/ 0 w 39814"/>
                      <a:gd name="connsiteY0" fmla="*/ 22765 h 22859"/>
                      <a:gd name="connsiteX1" fmla="*/ 39814 w 39814"/>
                      <a:gd name="connsiteY1" fmla="*/ 22860 h 22859"/>
                      <a:gd name="connsiteX2" fmla="*/ 39814 w 39814"/>
                      <a:gd name="connsiteY2" fmla="*/ 95 h 22859"/>
                      <a:gd name="connsiteX3" fmla="*/ 0 w 39814"/>
                      <a:gd name="connsiteY3" fmla="*/ 0 h 22859"/>
                      <a:gd name="connsiteX4" fmla="*/ 0 w 39814"/>
                      <a:gd name="connsiteY4" fmla="*/ 22765 h 2285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39814" h="22859">
                        <a:moveTo>
                          <a:pt x="0" y="22765"/>
                        </a:moveTo>
                        <a:lnTo>
                          <a:pt x="39814" y="22860"/>
                        </a:lnTo>
                        <a:lnTo>
                          <a:pt x="39814" y="95"/>
                        </a:lnTo>
                        <a:lnTo>
                          <a:pt x="0" y="0"/>
                        </a:lnTo>
                        <a:lnTo>
                          <a:pt x="0" y="22765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 w="4763" cap="rnd">
                    <a:solidFill>
                      <a:srgbClr val="263238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ru-RU"/>
                  </a:p>
                </p:txBody>
              </p:sp>
              <p:sp>
                <p:nvSpPr>
                  <p:cNvPr id="1823" name="Полилиния: фигура 1822">
                    <a:extLst>
                      <a:ext uri="{FF2B5EF4-FFF2-40B4-BE49-F238E27FC236}">
                        <a16:creationId xmlns:a16="http://schemas.microsoft.com/office/drawing/2014/main" id="{12C31A38-69D8-4A13-AA6C-A6F03ED95F6F}"/>
                      </a:ext>
                    </a:extLst>
                  </p:cNvPr>
                  <p:cNvSpPr/>
                  <p:nvPr/>
                </p:nvSpPr>
                <p:spPr>
                  <a:xfrm>
                    <a:off x="7236333" y="3744182"/>
                    <a:ext cx="39909" cy="28670"/>
                  </a:xfrm>
                  <a:custGeom>
                    <a:avLst/>
                    <a:gdLst>
                      <a:gd name="connsiteX0" fmla="*/ 39910 w 39909"/>
                      <a:gd name="connsiteY0" fmla="*/ 95 h 28670"/>
                      <a:gd name="connsiteX1" fmla="*/ 0 w 39909"/>
                      <a:gd name="connsiteY1" fmla="*/ 0 h 28670"/>
                      <a:gd name="connsiteX2" fmla="*/ 0 w 39909"/>
                      <a:gd name="connsiteY2" fmla="*/ 28575 h 28670"/>
                      <a:gd name="connsiteX3" fmla="*/ 39910 w 39909"/>
                      <a:gd name="connsiteY3" fmla="*/ 28670 h 28670"/>
                      <a:gd name="connsiteX4" fmla="*/ 39910 w 39909"/>
                      <a:gd name="connsiteY4" fmla="*/ 95 h 2867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39909" h="28670">
                        <a:moveTo>
                          <a:pt x="39910" y="95"/>
                        </a:moveTo>
                        <a:lnTo>
                          <a:pt x="0" y="0"/>
                        </a:lnTo>
                        <a:lnTo>
                          <a:pt x="0" y="28575"/>
                        </a:lnTo>
                        <a:lnTo>
                          <a:pt x="39910" y="28670"/>
                        </a:lnTo>
                        <a:lnTo>
                          <a:pt x="39910" y="95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 w="4763" cap="rnd">
                    <a:solidFill>
                      <a:srgbClr val="263238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ru-RU"/>
                  </a:p>
                </p:txBody>
              </p:sp>
              <p:sp>
                <p:nvSpPr>
                  <p:cNvPr id="1824" name="Полилиния: фигура 1823">
                    <a:extLst>
                      <a:ext uri="{FF2B5EF4-FFF2-40B4-BE49-F238E27FC236}">
                        <a16:creationId xmlns:a16="http://schemas.microsoft.com/office/drawing/2014/main" id="{6A803833-ECF8-4768-A18E-DAF02E7D1593}"/>
                      </a:ext>
                    </a:extLst>
                  </p:cNvPr>
                  <p:cNvSpPr/>
                  <p:nvPr/>
                </p:nvSpPr>
                <p:spPr>
                  <a:xfrm>
                    <a:off x="7293768" y="3744277"/>
                    <a:ext cx="39909" cy="28670"/>
                  </a:xfrm>
                  <a:custGeom>
                    <a:avLst/>
                    <a:gdLst>
                      <a:gd name="connsiteX0" fmla="*/ 95 w 39909"/>
                      <a:gd name="connsiteY0" fmla="*/ 0 h 28670"/>
                      <a:gd name="connsiteX1" fmla="*/ 0 w 39909"/>
                      <a:gd name="connsiteY1" fmla="*/ 28575 h 28670"/>
                      <a:gd name="connsiteX2" fmla="*/ 39910 w 39909"/>
                      <a:gd name="connsiteY2" fmla="*/ 28670 h 28670"/>
                      <a:gd name="connsiteX3" fmla="*/ 39910 w 39909"/>
                      <a:gd name="connsiteY3" fmla="*/ 95 h 28670"/>
                      <a:gd name="connsiteX4" fmla="*/ 95 w 39909"/>
                      <a:gd name="connsiteY4" fmla="*/ 0 h 2867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39909" h="28670">
                        <a:moveTo>
                          <a:pt x="95" y="0"/>
                        </a:moveTo>
                        <a:lnTo>
                          <a:pt x="0" y="28575"/>
                        </a:lnTo>
                        <a:lnTo>
                          <a:pt x="39910" y="28670"/>
                        </a:lnTo>
                        <a:lnTo>
                          <a:pt x="39910" y="95"/>
                        </a:lnTo>
                        <a:lnTo>
                          <a:pt x="95" y="0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 w="4763" cap="rnd">
                    <a:solidFill>
                      <a:srgbClr val="263238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ru-RU"/>
                  </a:p>
                </p:txBody>
              </p:sp>
            </p:grpSp>
          </p:grpSp>
        </p:grpSp>
        <p:sp>
          <p:nvSpPr>
            <p:cNvPr id="1825" name="Полилиния: фигура 1824">
              <a:extLst>
                <a:ext uri="{FF2B5EF4-FFF2-40B4-BE49-F238E27FC236}">
                  <a16:creationId xmlns:a16="http://schemas.microsoft.com/office/drawing/2014/main" id="{AC89AFF0-AC48-47A7-952E-C25A59CDC384}"/>
                </a:ext>
              </a:extLst>
            </p:cNvPr>
            <p:cNvSpPr/>
            <p:nvPr/>
          </p:nvSpPr>
          <p:spPr>
            <a:xfrm>
              <a:off x="4928616" y="2449449"/>
              <a:ext cx="812196" cy="9525"/>
            </a:xfrm>
            <a:custGeom>
              <a:avLst/>
              <a:gdLst>
                <a:gd name="connsiteX0" fmla="*/ 812197 w 812196"/>
                <a:gd name="connsiteY0" fmla="*/ 0 h 9525"/>
                <a:gd name="connsiteX1" fmla="*/ 0 w 812196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12196" h="9525">
                  <a:moveTo>
                    <a:pt x="812197" y="0"/>
                  </a:moveTo>
                  <a:lnTo>
                    <a:pt x="0" y="0"/>
                  </a:lnTo>
                </a:path>
              </a:pathLst>
            </a:custGeom>
            <a:ln w="4763" cap="rnd">
              <a:solidFill>
                <a:srgbClr val="263238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826" name="Полилиния: фигура 1825">
              <a:extLst>
                <a:ext uri="{FF2B5EF4-FFF2-40B4-BE49-F238E27FC236}">
                  <a16:creationId xmlns:a16="http://schemas.microsoft.com/office/drawing/2014/main" id="{DB5A4768-8268-41AB-946B-1B72E5CAEC40}"/>
                </a:ext>
              </a:extLst>
            </p:cNvPr>
            <p:cNvSpPr/>
            <p:nvPr/>
          </p:nvSpPr>
          <p:spPr>
            <a:xfrm>
              <a:off x="4443031" y="2912935"/>
              <a:ext cx="821054" cy="9525"/>
            </a:xfrm>
            <a:custGeom>
              <a:avLst/>
              <a:gdLst>
                <a:gd name="connsiteX0" fmla="*/ 821055 w 821054"/>
                <a:gd name="connsiteY0" fmla="*/ 0 h 9525"/>
                <a:gd name="connsiteX1" fmla="*/ 0 w 821054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21054" h="9525">
                  <a:moveTo>
                    <a:pt x="821055" y="0"/>
                  </a:moveTo>
                  <a:lnTo>
                    <a:pt x="0" y="0"/>
                  </a:lnTo>
                </a:path>
              </a:pathLst>
            </a:custGeom>
            <a:ln w="4763" cap="rnd">
              <a:solidFill>
                <a:srgbClr val="263238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827" name="Полилиния: фигура 1826">
              <a:extLst>
                <a:ext uri="{FF2B5EF4-FFF2-40B4-BE49-F238E27FC236}">
                  <a16:creationId xmlns:a16="http://schemas.microsoft.com/office/drawing/2014/main" id="{BA46F6E8-36D0-47A2-B45E-5EC48DCFF829}"/>
                </a:ext>
              </a:extLst>
            </p:cNvPr>
            <p:cNvSpPr/>
            <p:nvPr/>
          </p:nvSpPr>
          <p:spPr>
            <a:xfrm>
              <a:off x="4981575" y="2400871"/>
              <a:ext cx="9525" cy="551783"/>
            </a:xfrm>
            <a:custGeom>
              <a:avLst/>
              <a:gdLst>
                <a:gd name="connsiteX0" fmla="*/ 0 w 9525"/>
                <a:gd name="connsiteY0" fmla="*/ 0 h 551783"/>
                <a:gd name="connsiteX1" fmla="*/ 0 w 9525"/>
                <a:gd name="connsiteY1" fmla="*/ 551783 h 5517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551783">
                  <a:moveTo>
                    <a:pt x="0" y="0"/>
                  </a:moveTo>
                  <a:lnTo>
                    <a:pt x="0" y="551783"/>
                  </a:lnTo>
                </a:path>
              </a:pathLst>
            </a:custGeom>
            <a:ln w="4763" cap="rnd">
              <a:solidFill>
                <a:srgbClr val="263238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828" name="Полилиния: фигура 1827">
              <a:extLst>
                <a:ext uri="{FF2B5EF4-FFF2-40B4-BE49-F238E27FC236}">
                  <a16:creationId xmlns:a16="http://schemas.microsoft.com/office/drawing/2014/main" id="{F4F589A9-E363-4227-BCB9-46BC40F2076E}"/>
                </a:ext>
              </a:extLst>
            </p:cNvPr>
            <p:cNvSpPr/>
            <p:nvPr/>
          </p:nvSpPr>
          <p:spPr>
            <a:xfrm>
              <a:off x="7188708" y="2444972"/>
              <a:ext cx="9525" cy="225170"/>
            </a:xfrm>
            <a:custGeom>
              <a:avLst/>
              <a:gdLst>
                <a:gd name="connsiteX0" fmla="*/ 0 w 9525"/>
                <a:gd name="connsiteY0" fmla="*/ 225171 h 225170"/>
                <a:gd name="connsiteX1" fmla="*/ 0 w 9525"/>
                <a:gd name="connsiteY1" fmla="*/ 0 h 2251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225170">
                  <a:moveTo>
                    <a:pt x="0" y="225171"/>
                  </a:moveTo>
                  <a:lnTo>
                    <a:pt x="0" y="0"/>
                  </a:lnTo>
                </a:path>
              </a:pathLst>
            </a:custGeom>
            <a:ln w="4763" cap="rnd">
              <a:solidFill>
                <a:srgbClr val="263238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829" name="Полилиния: фигура 1828">
              <a:extLst>
                <a:ext uri="{FF2B5EF4-FFF2-40B4-BE49-F238E27FC236}">
                  <a16:creationId xmlns:a16="http://schemas.microsoft.com/office/drawing/2014/main" id="{EE325FF7-D824-4CDC-8441-E13D52E162F5}"/>
                </a:ext>
              </a:extLst>
            </p:cNvPr>
            <p:cNvSpPr/>
            <p:nvPr/>
          </p:nvSpPr>
          <p:spPr>
            <a:xfrm>
              <a:off x="5895308" y="2458212"/>
              <a:ext cx="1355216" cy="9525"/>
            </a:xfrm>
            <a:custGeom>
              <a:avLst/>
              <a:gdLst>
                <a:gd name="connsiteX0" fmla="*/ 0 w 1355216"/>
                <a:gd name="connsiteY0" fmla="*/ 0 h 9525"/>
                <a:gd name="connsiteX1" fmla="*/ 1355217 w 1355216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355216" h="9525">
                  <a:moveTo>
                    <a:pt x="0" y="0"/>
                  </a:moveTo>
                  <a:lnTo>
                    <a:pt x="1355217" y="0"/>
                  </a:lnTo>
                </a:path>
              </a:pathLst>
            </a:custGeom>
            <a:ln w="4763" cap="rnd">
              <a:solidFill>
                <a:srgbClr val="263238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830" name="Полилиния: фигура 1829">
              <a:extLst>
                <a:ext uri="{FF2B5EF4-FFF2-40B4-BE49-F238E27FC236}">
                  <a16:creationId xmlns:a16="http://schemas.microsoft.com/office/drawing/2014/main" id="{0A7E9704-5118-4162-B0C9-811F0E10EE81}"/>
                </a:ext>
              </a:extLst>
            </p:cNvPr>
            <p:cNvSpPr/>
            <p:nvPr/>
          </p:nvSpPr>
          <p:spPr>
            <a:xfrm>
              <a:off x="7435881" y="3098292"/>
              <a:ext cx="154495" cy="9525"/>
            </a:xfrm>
            <a:custGeom>
              <a:avLst/>
              <a:gdLst>
                <a:gd name="connsiteX0" fmla="*/ 0 w 154495"/>
                <a:gd name="connsiteY0" fmla="*/ 0 h 9525"/>
                <a:gd name="connsiteX1" fmla="*/ 154496 w 154495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4495" h="9525">
                  <a:moveTo>
                    <a:pt x="0" y="0"/>
                  </a:moveTo>
                  <a:lnTo>
                    <a:pt x="154496" y="0"/>
                  </a:lnTo>
                </a:path>
              </a:pathLst>
            </a:custGeom>
            <a:ln w="4763" cap="rnd">
              <a:solidFill>
                <a:srgbClr val="263238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831" name="Полилиния: фигура 1830">
              <a:extLst>
                <a:ext uri="{FF2B5EF4-FFF2-40B4-BE49-F238E27FC236}">
                  <a16:creationId xmlns:a16="http://schemas.microsoft.com/office/drawing/2014/main" id="{966805FD-6C90-4AF9-A47C-3273885736C5}"/>
                </a:ext>
              </a:extLst>
            </p:cNvPr>
            <p:cNvSpPr/>
            <p:nvPr/>
          </p:nvSpPr>
          <p:spPr>
            <a:xfrm>
              <a:off x="7246143" y="2705385"/>
              <a:ext cx="344233" cy="9525"/>
            </a:xfrm>
            <a:custGeom>
              <a:avLst/>
              <a:gdLst>
                <a:gd name="connsiteX0" fmla="*/ 0 w 344233"/>
                <a:gd name="connsiteY0" fmla="*/ 0 h 9525"/>
                <a:gd name="connsiteX1" fmla="*/ 344234 w 344233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44233" h="9525">
                  <a:moveTo>
                    <a:pt x="0" y="0"/>
                  </a:moveTo>
                  <a:lnTo>
                    <a:pt x="344234" y="0"/>
                  </a:lnTo>
                </a:path>
              </a:pathLst>
            </a:custGeom>
            <a:ln w="4763" cap="rnd">
              <a:solidFill>
                <a:srgbClr val="263238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832" name="Полилиния: фигура 1831">
              <a:extLst>
                <a:ext uri="{FF2B5EF4-FFF2-40B4-BE49-F238E27FC236}">
                  <a16:creationId xmlns:a16="http://schemas.microsoft.com/office/drawing/2014/main" id="{5A7D8E67-FF63-465B-BFC0-52528FDB512F}"/>
                </a:ext>
              </a:extLst>
            </p:cNvPr>
            <p:cNvSpPr/>
            <p:nvPr/>
          </p:nvSpPr>
          <p:spPr>
            <a:xfrm>
              <a:off x="7541895" y="2670143"/>
              <a:ext cx="9525" cy="542925"/>
            </a:xfrm>
            <a:custGeom>
              <a:avLst/>
              <a:gdLst>
                <a:gd name="connsiteX0" fmla="*/ 0 w 9525"/>
                <a:gd name="connsiteY0" fmla="*/ 0 h 542925"/>
                <a:gd name="connsiteX1" fmla="*/ 0 w 9525"/>
                <a:gd name="connsiteY1" fmla="*/ 542925 h 5429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542925">
                  <a:moveTo>
                    <a:pt x="0" y="0"/>
                  </a:moveTo>
                  <a:lnTo>
                    <a:pt x="0" y="542925"/>
                  </a:lnTo>
                </a:path>
              </a:pathLst>
            </a:custGeom>
            <a:ln w="4763" cap="rnd">
              <a:solidFill>
                <a:srgbClr val="263238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833" name="Полилиния: фигура 1832">
              <a:extLst>
                <a:ext uri="{FF2B5EF4-FFF2-40B4-BE49-F238E27FC236}">
                  <a16:creationId xmlns:a16="http://schemas.microsoft.com/office/drawing/2014/main" id="{C1E655B2-0870-4445-81AC-E22307EDA143}"/>
                </a:ext>
              </a:extLst>
            </p:cNvPr>
            <p:cNvSpPr/>
            <p:nvPr/>
          </p:nvSpPr>
          <p:spPr>
            <a:xfrm>
              <a:off x="7594854" y="3513296"/>
              <a:ext cx="101536" cy="9525"/>
            </a:xfrm>
            <a:custGeom>
              <a:avLst/>
              <a:gdLst>
                <a:gd name="connsiteX0" fmla="*/ 0 w 101536"/>
                <a:gd name="connsiteY0" fmla="*/ 0 h 9525"/>
                <a:gd name="connsiteX1" fmla="*/ 101536 w 101536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1536" h="9525">
                  <a:moveTo>
                    <a:pt x="0" y="0"/>
                  </a:moveTo>
                  <a:lnTo>
                    <a:pt x="101536" y="0"/>
                  </a:lnTo>
                </a:path>
              </a:pathLst>
            </a:custGeom>
            <a:ln w="4763" cap="rnd">
              <a:solidFill>
                <a:srgbClr val="263238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834" name="Полилиния: фигура 1833">
              <a:extLst>
                <a:ext uri="{FF2B5EF4-FFF2-40B4-BE49-F238E27FC236}">
                  <a16:creationId xmlns:a16="http://schemas.microsoft.com/office/drawing/2014/main" id="{BCB16A52-382F-4B39-B8E1-BE7B48652854}"/>
                </a:ext>
              </a:extLst>
            </p:cNvPr>
            <p:cNvSpPr/>
            <p:nvPr/>
          </p:nvSpPr>
          <p:spPr>
            <a:xfrm>
              <a:off x="7669911" y="3482340"/>
              <a:ext cx="9525" cy="759237"/>
            </a:xfrm>
            <a:custGeom>
              <a:avLst/>
              <a:gdLst>
                <a:gd name="connsiteX0" fmla="*/ 0 w 9525"/>
                <a:gd name="connsiteY0" fmla="*/ 0 h 759237"/>
                <a:gd name="connsiteX1" fmla="*/ 0 w 9525"/>
                <a:gd name="connsiteY1" fmla="*/ 759238 h 7592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759237">
                  <a:moveTo>
                    <a:pt x="0" y="0"/>
                  </a:moveTo>
                  <a:lnTo>
                    <a:pt x="0" y="759238"/>
                  </a:lnTo>
                </a:path>
              </a:pathLst>
            </a:custGeom>
            <a:ln w="4763" cap="rnd">
              <a:solidFill>
                <a:srgbClr val="263238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835" name="Полилиния: фигура 1834">
              <a:extLst>
                <a:ext uri="{FF2B5EF4-FFF2-40B4-BE49-F238E27FC236}">
                  <a16:creationId xmlns:a16="http://schemas.microsoft.com/office/drawing/2014/main" id="{AB34682F-33BA-49D0-9EC9-70DFDC1E8A85}"/>
                </a:ext>
              </a:extLst>
            </p:cNvPr>
            <p:cNvSpPr/>
            <p:nvPr/>
          </p:nvSpPr>
          <p:spPr>
            <a:xfrm>
              <a:off x="7585995" y="4237196"/>
              <a:ext cx="176593" cy="9525"/>
            </a:xfrm>
            <a:custGeom>
              <a:avLst/>
              <a:gdLst>
                <a:gd name="connsiteX0" fmla="*/ 0 w 176593"/>
                <a:gd name="connsiteY0" fmla="*/ 0 h 9525"/>
                <a:gd name="connsiteX1" fmla="*/ 176594 w 176593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76593" h="9525">
                  <a:moveTo>
                    <a:pt x="0" y="0"/>
                  </a:moveTo>
                  <a:lnTo>
                    <a:pt x="176594" y="0"/>
                  </a:lnTo>
                </a:path>
              </a:pathLst>
            </a:custGeom>
            <a:ln w="4763" cap="rnd">
              <a:solidFill>
                <a:srgbClr val="263238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836" name="Полилиния: фигура 1835">
              <a:extLst>
                <a:ext uri="{FF2B5EF4-FFF2-40B4-BE49-F238E27FC236}">
                  <a16:creationId xmlns:a16="http://schemas.microsoft.com/office/drawing/2014/main" id="{06BA71CF-A188-4841-9403-88B24B98AA83}"/>
                </a:ext>
              </a:extLst>
            </p:cNvPr>
            <p:cNvSpPr/>
            <p:nvPr/>
          </p:nvSpPr>
          <p:spPr>
            <a:xfrm>
              <a:off x="4443031" y="3301365"/>
              <a:ext cx="220694" cy="9525"/>
            </a:xfrm>
            <a:custGeom>
              <a:avLst/>
              <a:gdLst>
                <a:gd name="connsiteX0" fmla="*/ 220694 w 220694"/>
                <a:gd name="connsiteY0" fmla="*/ 0 h 9525"/>
                <a:gd name="connsiteX1" fmla="*/ 0 w 220694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20694" h="9525">
                  <a:moveTo>
                    <a:pt x="220694" y="0"/>
                  </a:moveTo>
                  <a:lnTo>
                    <a:pt x="0" y="0"/>
                  </a:lnTo>
                </a:path>
              </a:pathLst>
            </a:custGeom>
            <a:ln w="4763" cap="rnd">
              <a:solidFill>
                <a:srgbClr val="263238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837" name="Полилиния: фигура 1836">
              <a:extLst>
                <a:ext uri="{FF2B5EF4-FFF2-40B4-BE49-F238E27FC236}">
                  <a16:creationId xmlns:a16="http://schemas.microsoft.com/office/drawing/2014/main" id="{372C4974-BFB1-4F33-9EF1-82664D8EB265}"/>
                </a:ext>
              </a:extLst>
            </p:cNvPr>
            <p:cNvSpPr/>
            <p:nvPr/>
          </p:nvSpPr>
          <p:spPr>
            <a:xfrm>
              <a:off x="4443031" y="3557397"/>
              <a:ext cx="83820" cy="9525"/>
            </a:xfrm>
            <a:custGeom>
              <a:avLst/>
              <a:gdLst>
                <a:gd name="connsiteX0" fmla="*/ 83820 w 83820"/>
                <a:gd name="connsiteY0" fmla="*/ 0 h 9525"/>
                <a:gd name="connsiteX1" fmla="*/ 0 w 83820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3820" h="9525">
                  <a:moveTo>
                    <a:pt x="83820" y="0"/>
                  </a:moveTo>
                  <a:lnTo>
                    <a:pt x="0" y="0"/>
                  </a:lnTo>
                </a:path>
              </a:pathLst>
            </a:custGeom>
            <a:ln w="4763" cap="rnd">
              <a:solidFill>
                <a:srgbClr val="263238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838" name="Полилиния: фигура 1837">
              <a:extLst>
                <a:ext uri="{FF2B5EF4-FFF2-40B4-BE49-F238E27FC236}">
                  <a16:creationId xmlns:a16="http://schemas.microsoft.com/office/drawing/2014/main" id="{EE1AE7DE-B621-42CD-91D0-7CF26327FC73}"/>
                </a:ext>
              </a:extLst>
            </p:cNvPr>
            <p:cNvSpPr/>
            <p:nvPr/>
          </p:nvSpPr>
          <p:spPr>
            <a:xfrm>
              <a:off x="4482750" y="2881979"/>
              <a:ext cx="9525" cy="776954"/>
            </a:xfrm>
            <a:custGeom>
              <a:avLst/>
              <a:gdLst>
                <a:gd name="connsiteX0" fmla="*/ 0 w 9525"/>
                <a:gd name="connsiteY0" fmla="*/ 0 h 776954"/>
                <a:gd name="connsiteX1" fmla="*/ 0 w 9525"/>
                <a:gd name="connsiteY1" fmla="*/ 776954 h 7769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525" h="776954">
                  <a:moveTo>
                    <a:pt x="0" y="0"/>
                  </a:moveTo>
                  <a:lnTo>
                    <a:pt x="0" y="776954"/>
                  </a:lnTo>
                </a:path>
              </a:pathLst>
            </a:custGeom>
            <a:ln w="4763" cap="rnd">
              <a:solidFill>
                <a:srgbClr val="263238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839" name="Полилиния: фигура 1838">
              <a:extLst>
                <a:ext uri="{FF2B5EF4-FFF2-40B4-BE49-F238E27FC236}">
                  <a16:creationId xmlns:a16="http://schemas.microsoft.com/office/drawing/2014/main" id="{E3C928CA-8AD5-4B0E-993F-627A7CED2E66}"/>
                </a:ext>
              </a:extLst>
            </p:cNvPr>
            <p:cNvSpPr/>
            <p:nvPr/>
          </p:nvSpPr>
          <p:spPr>
            <a:xfrm>
              <a:off x="4473892" y="4232814"/>
              <a:ext cx="128016" cy="9525"/>
            </a:xfrm>
            <a:custGeom>
              <a:avLst/>
              <a:gdLst>
                <a:gd name="connsiteX0" fmla="*/ 128016 w 128016"/>
                <a:gd name="connsiteY0" fmla="*/ 0 h 9525"/>
                <a:gd name="connsiteX1" fmla="*/ 0 w 128016"/>
                <a:gd name="connsiteY1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8016" h="9525">
                  <a:moveTo>
                    <a:pt x="128016" y="0"/>
                  </a:moveTo>
                  <a:lnTo>
                    <a:pt x="0" y="0"/>
                  </a:lnTo>
                </a:path>
              </a:pathLst>
            </a:custGeom>
            <a:ln w="4763" cap="rnd">
              <a:solidFill>
                <a:srgbClr val="263238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1638" name="Рисунок 1631">
            <a:extLst>
              <a:ext uri="{FF2B5EF4-FFF2-40B4-BE49-F238E27FC236}">
                <a16:creationId xmlns:a16="http://schemas.microsoft.com/office/drawing/2014/main" id="{9C91D8E5-555C-42B4-A22C-E503A1627E60}"/>
              </a:ext>
            </a:extLst>
          </p:cNvPr>
          <p:cNvGrpSpPr/>
          <p:nvPr/>
        </p:nvGrpSpPr>
        <p:grpSpPr>
          <a:xfrm>
            <a:off x="1293061" y="2409439"/>
            <a:ext cx="3731976" cy="3142275"/>
            <a:chOff x="1384919" y="2455569"/>
            <a:chExt cx="3516545" cy="2960885"/>
          </a:xfrm>
        </p:grpSpPr>
        <p:grpSp>
          <p:nvGrpSpPr>
            <p:cNvPr id="1639" name="Рисунок 1631">
              <a:extLst>
                <a:ext uri="{FF2B5EF4-FFF2-40B4-BE49-F238E27FC236}">
                  <a16:creationId xmlns:a16="http://schemas.microsoft.com/office/drawing/2014/main" id="{9C91D8E5-555C-42B4-A22C-E503A1627E60}"/>
                </a:ext>
              </a:extLst>
            </p:cNvPr>
            <p:cNvGrpSpPr/>
            <p:nvPr/>
          </p:nvGrpSpPr>
          <p:grpSpPr>
            <a:xfrm>
              <a:off x="2576716" y="2567146"/>
              <a:ext cx="2139307" cy="2849308"/>
              <a:chOff x="2576716" y="2567146"/>
              <a:chExt cx="2139307" cy="2849308"/>
            </a:xfrm>
          </p:grpSpPr>
          <p:grpSp>
            <p:nvGrpSpPr>
              <p:cNvPr id="1640" name="Рисунок 1631">
                <a:extLst>
                  <a:ext uri="{FF2B5EF4-FFF2-40B4-BE49-F238E27FC236}">
                    <a16:creationId xmlns:a16="http://schemas.microsoft.com/office/drawing/2014/main" id="{9C91D8E5-555C-42B4-A22C-E503A1627E60}"/>
                  </a:ext>
                </a:extLst>
              </p:cNvPr>
              <p:cNvGrpSpPr/>
              <p:nvPr/>
            </p:nvGrpSpPr>
            <p:grpSpPr>
              <a:xfrm>
                <a:off x="3836320" y="3421996"/>
                <a:ext cx="879702" cy="877250"/>
                <a:chOff x="3836320" y="3421996"/>
                <a:chExt cx="879702" cy="877250"/>
              </a:xfrm>
              <a:solidFill>
                <a:srgbClr val="FFFFFF"/>
              </a:solidFill>
            </p:grpSpPr>
            <p:sp>
              <p:nvSpPr>
                <p:cNvPr id="1641" name="Полилиния: фигура 1640">
                  <a:extLst>
                    <a:ext uri="{FF2B5EF4-FFF2-40B4-BE49-F238E27FC236}">
                      <a16:creationId xmlns:a16="http://schemas.microsoft.com/office/drawing/2014/main" id="{301839D1-78BC-4532-859B-316E244264FB}"/>
                    </a:ext>
                  </a:extLst>
                </p:cNvPr>
                <p:cNvSpPr/>
                <p:nvPr/>
              </p:nvSpPr>
              <p:spPr>
                <a:xfrm>
                  <a:off x="3836320" y="3421996"/>
                  <a:ext cx="879702" cy="873098"/>
                </a:xfrm>
                <a:custGeom>
                  <a:avLst/>
                  <a:gdLst>
                    <a:gd name="connsiteX0" fmla="*/ 878967 w 879702"/>
                    <a:gd name="connsiteY0" fmla="*/ 654576 h 873098"/>
                    <a:gd name="connsiteX1" fmla="*/ 848487 w 879702"/>
                    <a:gd name="connsiteY1" fmla="*/ 642194 h 873098"/>
                    <a:gd name="connsiteX2" fmla="*/ 800767 w 879702"/>
                    <a:gd name="connsiteY2" fmla="*/ 652195 h 873098"/>
                    <a:gd name="connsiteX3" fmla="*/ 759524 w 879702"/>
                    <a:gd name="connsiteY3" fmla="*/ 655719 h 873098"/>
                    <a:gd name="connsiteX4" fmla="*/ 680180 w 879702"/>
                    <a:gd name="connsiteY4" fmla="*/ 686961 h 873098"/>
                    <a:gd name="connsiteX5" fmla="*/ 407670 w 879702"/>
                    <a:gd name="connsiteY5" fmla="*/ 574947 h 873098"/>
                    <a:gd name="connsiteX6" fmla="*/ 216122 w 879702"/>
                    <a:gd name="connsiteY6" fmla="*/ 518369 h 873098"/>
                    <a:gd name="connsiteX7" fmla="*/ 159925 w 879702"/>
                    <a:gd name="connsiteY7" fmla="*/ 301484 h 873098"/>
                    <a:gd name="connsiteX8" fmla="*/ 32195 w 879702"/>
                    <a:gd name="connsiteY8" fmla="*/ 5447 h 873098"/>
                    <a:gd name="connsiteX9" fmla="*/ 0 w 879702"/>
                    <a:gd name="connsiteY9" fmla="*/ 40404 h 873098"/>
                    <a:gd name="connsiteX10" fmla="*/ 36957 w 879702"/>
                    <a:gd name="connsiteY10" fmla="*/ 511987 h 873098"/>
                    <a:gd name="connsiteX11" fmla="*/ 50197 w 879702"/>
                    <a:gd name="connsiteY11" fmla="*/ 681246 h 873098"/>
                    <a:gd name="connsiteX12" fmla="*/ 51816 w 879702"/>
                    <a:gd name="connsiteY12" fmla="*/ 701344 h 873098"/>
                    <a:gd name="connsiteX13" fmla="*/ 124778 w 879702"/>
                    <a:gd name="connsiteY13" fmla="*/ 755446 h 873098"/>
                    <a:gd name="connsiteX14" fmla="*/ 175641 w 879702"/>
                    <a:gd name="connsiteY14" fmla="*/ 774782 h 873098"/>
                    <a:gd name="connsiteX15" fmla="*/ 185928 w 879702"/>
                    <a:gd name="connsiteY15" fmla="*/ 778973 h 873098"/>
                    <a:gd name="connsiteX16" fmla="*/ 564547 w 879702"/>
                    <a:gd name="connsiteY16" fmla="*/ 817358 h 873098"/>
                    <a:gd name="connsiteX17" fmla="*/ 661988 w 879702"/>
                    <a:gd name="connsiteY17" fmla="*/ 868603 h 873098"/>
                    <a:gd name="connsiteX18" fmla="*/ 749427 w 879702"/>
                    <a:gd name="connsiteY18" fmla="*/ 869460 h 873098"/>
                    <a:gd name="connsiteX19" fmla="*/ 866109 w 879702"/>
                    <a:gd name="connsiteY19" fmla="*/ 734872 h 873098"/>
                    <a:gd name="connsiteX20" fmla="*/ 782955 w 879702"/>
                    <a:gd name="connsiteY20" fmla="*/ 709059 h 873098"/>
                    <a:gd name="connsiteX21" fmla="*/ 845058 w 879702"/>
                    <a:gd name="connsiteY21" fmla="*/ 690485 h 873098"/>
                    <a:gd name="connsiteX22" fmla="*/ 879158 w 879702"/>
                    <a:gd name="connsiteY22" fmla="*/ 654576 h 8730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</a:cxnLst>
                  <a:rect l="l" t="t" r="r" b="b"/>
                  <a:pathLst>
                    <a:path w="879702" h="873098">
                      <a:moveTo>
                        <a:pt x="878967" y="654576"/>
                      </a:moveTo>
                      <a:cubicBezTo>
                        <a:pt x="884016" y="631240"/>
                        <a:pt x="861917" y="634288"/>
                        <a:pt x="848487" y="642194"/>
                      </a:cubicBezTo>
                      <a:cubicBezTo>
                        <a:pt x="835724" y="649718"/>
                        <a:pt x="815435" y="650766"/>
                        <a:pt x="800767" y="652195"/>
                      </a:cubicBezTo>
                      <a:cubicBezTo>
                        <a:pt x="786956" y="653528"/>
                        <a:pt x="772954" y="651338"/>
                        <a:pt x="759524" y="655719"/>
                      </a:cubicBezTo>
                      <a:cubicBezTo>
                        <a:pt x="741426" y="661529"/>
                        <a:pt x="692563" y="683437"/>
                        <a:pt x="680180" y="686961"/>
                      </a:cubicBezTo>
                      <a:cubicBezTo>
                        <a:pt x="642557" y="697534"/>
                        <a:pt x="464058" y="612380"/>
                        <a:pt x="407670" y="574947"/>
                      </a:cubicBezTo>
                      <a:cubicBezTo>
                        <a:pt x="351282" y="537514"/>
                        <a:pt x="216122" y="518369"/>
                        <a:pt x="216122" y="518369"/>
                      </a:cubicBezTo>
                      <a:cubicBezTo>
                        <a:pt x="216122" y="518369"/>
                        <a:pt x="188119" y="449598"/>
                        <a:pt x="159925" y="301484"/>
                      </a:cubicBezTo>
                      <a:cubicBezTo>
                        <a:pt x="131731" y="153275"/>
                        <a:pt x="32195" y="5447"/>
                        <a:pt x="32195" y="5447"/>
                      </a:cubicBezTo>
                      <a:cubicBezTo>
                        <a:pt x="8001" y="-17698"/>
                        <a:pt x="0" y="40404"/>
                        <a:pt x="0" y="40404"/>
                      </a:cubicBezTo>
                      <a:lnTo>
                        <a:pt x="36957" y="511987"/>
                      </a:lnTo>
                      <a:cubicBezTo>
                        <a:pt x="36957" y="511987"/>
                        <a:pt x="32766" y="664863"/>
                        <a:pt x="50197" y="681246"/>
                      </a:cubicBezTo>
                      <a:lnTo>
                        <a:pt x="51816" y="701344"/>
                      </a:lnTo>
                      <a:cubicBezTo>
                        <a:pt x="51816" y="701344"/>
                        <a:pt x="91821" y="743635"/>
                        <a:pt x="124778" y="755446"/>
                      </a:cubicBezTo>
                      <a:cubicBezTo>
                        <a:pt x="145637" y="762875"/>
                        <a:pt x="164497" y="770305"/>
                        <a:pt x="175641" y="774782"/>
                      </a:cubicBezTo>
                      <a:cubicBezTo>
                        <a:pt x="179166" y="776401"/>
                        <a:pt x="182594" y="777830"/>
                        <a:pt x="185928" y="778973"/>
                      </a:cubicBezTo>
                      <a:cubicBezTo>
                        <a:pt x="247364" y="800499"/>
                        <a:pt x="564547" y="817358"/>
                        <a:pt x="564547" y="817358"/>
                      </a:cubicBezTo>
                      <a:cubicBezTo>
                        <a:pt x="564547" y="817358"/>
                        <a:pt x="609981" y="865841"/>
                        <a:pt x="661988" y="868603"/>
                      </a:cubicBezTo>
                      <a:cubicBezTo>
                        <a:pt x="713994" y="871365"/>
                        <a:pt x="738569" y="876699"/>
                        <a:pt x="749427" y="869460"/>
                      </a:cubicBezTo>
                      <a:cubicBezTo>
                        <a:pt x="760286" y="862221"/>
                        <a:pt x="870490" y="760113"/>
                        <a:pt x="866109" y="734872"/>
                      </a:cubicBezTo>
                      <a:cubicBezTo>
                        <a:pt x="861727" y="709631"/>
                        <a:pt x="782955" y="709059"/>
                        <a:pt x="782955" y="709059"/>
                      </a:cubicBezTo>
                      <a:lnTo>
                        <a:pt x="845058" y="690485"/>
                      </a:lnTo>
                      <a:cubicBezTo>
                        <a:pt x="857345" y="682389"/>
                        <a:pt x="875919" y="669816"/>
                        <a:pt x="879158" y="654576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9525" cap="flat">
                  <a:solidFill>
                    <a:srgbClr val="263238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1642" name="Полилиния: фигура 1641">
                  <a:extLst>
                    <a:ext uri="{FF2B5EF4-FFF2-40B4-BE49-F238E27FC236}">
                      <a16:creationId xmlns:a16="http://schemas.microsoft.com/office/drawing/2014/main" id="{31D4100A-48CB-43BD-8E20-B4D105C70826}"/>
                    </a:ext>
                  </a:extLst>
                </p:cNvPr>
                <p:cNvSpPr/>
                <p:nvPr/>
              </p:nvSpPr>
              <p:spPr>
                <a:xfrm>
                  <a:off x="4362957" y="4058394"/>
                  <a:ext cx="352970" cy="236796"/>
                </a:xfrm>
                <a:custGeom>
                  <a:avLst/>
                  <a:gdLst>
                    <a:gd name="connsiteX0" fmla="*/ 339185 w 352970"/>
                    <a:gd name="connsiteY0" fmla="*/ 98474 h 236796"/>
                    <a:gd name="connsiteX1" fmla="*/ 256032 w 352970"/>
                    <a:gd name="connsiteY1" fmla="*/ 72661 h 236796"/>
                    <a:gd name="connsiteX2" fmla="*/ 318135 w 352970"/>
                    <a:gd name="connsiteY2" fmla="*/ 54087 h 236796"/>
                    <a:gd name="connsiteX3" fmla="*/ 352235 w 352970"/>
                    <a:gd name="connsiteY3" fmla="*/ 18178 h 236796"/>
                    <a:gd name="connsiteX4" fmla="*/ 321755 w 352970"/>
                    <a:gd name="connsiteY4" fmla="*/ 5796 h 236796"/>
                    <a:gd name="connsiteX5" fmla="*/ 274034 w 352970"/>
                    <a:gd name="connsiteY5" fmla="*/ 15797 h 236796"/>
                    <a:gd name="connsiteX6" fmla="*/ 232791 w 352970"/>
                    <a:gd name="connsiteY6" fmla="*/ 19321 h 236796"/>
                    <a:gd name="connsiteX7" fmla="*/ 153448 w 352970"/>
                    <a:gd name="connsiteY7" fmla="*/ 50563 h 236796"/>
                    <a:gd name="connsiteX8" fmla="*/ 95821 w 352970"/>
                    <a:gd name="connsiteY8" fmla="*/ 40562 h 236796"/>
                    <a:gd name="connsiteX9" fmla="*/ 0 w 352970"/>
                    <a:gd name="connsiteY9" fmla="*/ 178865 h 236796"/>
                    <a:gd name="connsiteX10" fmla="*/ 37624 w 352970"/>
                    <a:gd name="connsiteY10" fmla="*/ 181056 h 236796"/>
                    <a:gd name="connsiteX11" fmla="*/ 135064 w 352970"/>
                    <a:gd name="connsiteY11" fmla="*/ 232300 h 236796"/>
                    <a:gd name="connsiteX12" fmla="*/ 222504 w 352970"/>
                    <a:gd name="connsiteY12" fmla="*/ 233157 h 236796"/>
                    <a:gd name="connsiteX13" fmla="*/ 339185 w 352970"/>
                    <a:gd name="connsiteY13" fmla="*/ 98569 h 23679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</a:cxnLst>
                  <a:rect l="l" t="t" r="r" b="b"/>
                  <a:pathLst>
                    <a:path w="352970" h="236796">
                      <a:moveTo>
                        <a:pt x="339185" y="98474"/>
                      </a:moveTo>
                      <a:cubicBezTo>
                        <a:pt x="334804" y="73233"/>
                        <a:pt x="256032" y="72661"/>
                        <a:pt x="256032" y="72661"/>
                      </a:cubicBezTo>
                      <a:lnTo>
                        <a:pt x="318135" y="54087"/>
                      </a:lnTo>
                      <a:cubicBezTo>
                        <a:pt x="330422" y="45991"/>
                        <a:pt x="348996" y="33418"/>
                        <a:pt x="352235" y="18178"/>
                      </a:cubicBezTo>
                      <a:cubicBezTo>
                        <a:pt x="357283" y="-5158"/>
                        <a:pt x="335185" y="-2110"/>
                        <a:pt x="321755" y="5796"/>
                      </a:cubicBezTo>
                      <a:cubicBezTo>
                        <a:pt x="308991" y="13320"/>
                        <a:pt x="288703" y="14368"/>
                        <a:pt x="274034" y="15797"/>
                      </a:cubicBezTo>
                      <a:cubicBezTo>
                        <a:pt x="260223" y="17130"/>
                        <a:pt x="246221" y="14940"/>
                        <a:pt x="232791" y="19321"/>
                      </a:cubicBezTo>
                      <a:cubicBezTo>
                        <a:pt x="214694" y="25131"/>
                        <a:pt x="165830" y="47039"/>
                        <a:pt x="153448" y="50563"/>
                      </a:cubicBezTo>
                      <a:cubicBezTo>
                        <a:pt x="143066" y="53516"/>
                        <a:pt x="122015" y="49135"/>
                        <a:pt x="95821" y="40562"/>
                      </a:cubicBezTo>
                      <a:cubicBezTo>
                        <a:pt x="16097" y="78471"/>
                        <a:pt x="2000" y="146575"/>
                        <a:pt x="0" y="178865"/>
                      </a:cubicBezTo>
                      <a:cubicBezTo>
                        <a:pt x="23146" y="180294"/>
                        <a:pt x="37624" y="181056"/>
                        <a:pt x="37624" y="181056"/>
                      </a:cubicBezTo>
                      <a:cubicBezTo>
                        <a:pt x="37624" y="181056"/>
                        <a:pt x="83058" y="229538"/>
                        <a:pt x="135064" y="232300"/>
                      </a:cubicBezTo>
                      <a:cubicBezTo>
                        <a:pt x="187071" y="235062"/>
                        <a:pt x="211646" y="240396"/>
                        <a:pt x="222504" y="233157"/>
                      </a:cubicBezTo>
                      <a:cubicBezTo>
                        <a:pt x="233363" y="225919"/>
                        <a:pt x="343567" y="123811"/>
                        <a:pt x="339185" y="98569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9525" cap="rnd">
                  <a:solidFill>
                    <a:srgbClr val="263238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1643" name="Полилиния: фигура 1642">
                  <a:extLst>
                    <a:ext uri="{FF2B5EF4-FFF2-40B4-BE49-F238E27FC236}">
                      <a16:creationId xmlns:a16="http://schemas.microsoft.com/office/drawing/2014/main" id="{C7F5C0E3-65DD-4A9E-A19D-D669A021F5C6}"/>
                    </a:ext>
                  </a:extLst>
                </p:cNvPr>
                <p:cNvSpPr/>
                <p:nvPr/>
              </p:nvSpPr>
              <p:spPr>
                <a:xfrm>
                  <a:off x="4627276" y="4132793"/>
                  <a:ext cx="76220" cy="63156"/>
                </a:xfrm>
                <a:custGeom>
                  <a:avLst/>
                  <a:gdLst>
                    <a:gd name="connsiteX0" fmla="*/ 9049 w 76220"/>
                    <a:gd name="connsiteY0" fmla="*/ 29981 h 63156"/>
                    <a:gd name="connsiteX1" fmla="*/ 52959 w 76220"/>
                    <a:gd name="connsiteY1" fmla="*/ 63128 h 63156"/>
                    <a:gd name="connsiteX2" fmla="*/ 74867 w 76220"/>
                    <a:gd name="connsiteY2" fmla="*/ 24075 h 63156"/>
                    <a:gd name="connsiteX3" fmla="*/ 17812 w 76220"/>
                    <a:gd name="connsiteY3" fmla="*/ 72 h 63156"/>
                    <a:gd name="connsiteX4" fmla="*/ 9049 w 76220"/>
                    <a:gd name="connsiteY4" fmla="*/ 29981 h 6315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76220" h="63156">
                      <a:moveTo>
                        <a:pt x="9049" y="29981"/>
                      </a:moveTo>
                      <a:cubicBezTo>
                        <a:pt x="9049" y="29981"/>
                        <a:pt x="40196" y="62080"/>
                        <a:pt x="52959" y="63128"/>
                      </a:cubicBezTo>
                      <a:cubicBezTo>
                        <a:pt x="65723" y="64175"/>
                        <a:pt x="80868" y="36553"/>
                        <a:pt x="74867" y="24075"/>
                      </a:cubicBezTo>
                      <a:cubicBezTo>
                        <a:pt x="68866" y="11597"/>
                        <a:pt x="33909" y="-1071"/>
                        <a:pt x="17812" y="72"/>
                      </a:cubicBezTo>
                      <a:cubicBezTo>
                        <a:pt x="1715" y="1215"/>
                        <a:pt x="-8191" y="15122"/>
                        <a:pt x="9049" y="29981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9525" cap="rnd">
                  <a:solidFill>
                    <a:srgbClr val="263238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1644" name="Полилиния: фигура 1643">
                  <a:extLst>
                    <a:ext uri="{FF2B5EF4-FFF2-40B4-BE49-F238E27FC236}">
                      <a16:creationId xmlns:a16="http://schemas.microsoft.com/office/drawing/2014/main" id="{4A8126EB-E31A-4B2C-B75C-701AC802CFE7}"/>
                    </a:ext>
                  </a:extLst>
                </p:cNvPr>
                <p:cNvSpPr/>
                <p:nvPr/>
              </p:nvSpPr>
              <p:spPr>
                <a:xfrm>
                  <a:off x="4611789" y="4162774"/>
                  <a:ext cx="79085" cy="72199"/>
                </a:xfrm>
                <a:custGeom>
                  <a:avLst/>
                  <a:gdLst>
                    <a:gd name="connsiteX0" fmla="*/ 24536 w 79085"/>
                    <a:gd name="connsiteY0" fmla="*/ 0 h 72199"/>
                    <a:gd name="connsiteX1" fmla="*/ 56 w 79085"/>
                    <a:gd name="connsiteY1" fmla="*/ 21431 h 72199"/>
                    <a:gd name="connsiteX2" fmla="*/ 53206 w 79085"/>
                    <a:gd name="connsiteY2" fmla="*/ 72199 h 72199"/>
                    <a:gd name="connsiteX3" fmla="*/ 79019 w 79085"/>
                    <a:gd name="connsiteY3" fmla="*/ 45244 h 72199"/>
                    <a:gd name="connsiteX4" fmla="*/ 24536 w 79085"/>
                    <a:gd name="connsiteY4" fmla="*/ 0 h 7219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79085" h="72199">
                      <a:moveTo>
                        <a:pt x="24536" y="0"/>
                      </a:moveTo>
                      <a:cubicBezTo>
                        <a:pt x="24536" y="0"/>
                        <a:pt x="1866" y="7811"/>
                        <a:pt x="56" y="21431"/>
                      </a:cubicBezTo>
                      <a:cubicBezTo>
                        <a:pt x="-1849" y="35052"/>
                        <a:pt x="45014" y="72199"/>
                        <a:pt x="53206" y="72199"/>
                      </a:cubicBezTo>
                      <a:cubicBezTo>
                        <a:pt x="61398" y="72199"/>
                        <a:pt x="80352" y="51245"/>
                        <a:pt x="79019" y="45244"/>
                      </a:cubicBezTo>
                      <a:cubicBezTo>
                        <a:pt x="77781" y="39243"/>
                        <a:pt x="55397" y="12763"/>
                        <a:pt x="24536" y="0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9525" cap="rnd">
                  <a:solidFill>
                    <a:srgbClr val="263238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1645" name="Полилиния: фигура 1644">
                  <a:extLst>
                    <a:ext uri="{FF2B5EF4-FFF2-40B4-BE49-F238E27FC236}">
                      <a16:creationId xmlns:a16="http://schemas.microsoft.com/office/drawing/2014/main" id="{FF2A45EE-3E86-4821-BAFD-1BC448840D56}"/>
                    </a:ext>
                  </a:extLst>
                </p:cNvPr>
                <p:cNvSpPr/>
                <p:nvPr/>
              </p:nvSpPr>
              <p:spPr>
                <a:xfrm>
                  <a:off x="4588199" y="4203658"/>
                  <a:ext cx="62336" cy="69514"/>
                </a:xfrm>
                <a:custGeom>
                  <a:avLst/>
                  <a:gdLst>
                    <a:gd name="connsiteX0" fmla="*/ 29743 w 62336"/>
                    <a:gd name="connsiteY0" fmla="*/ 3884 h 69514"/>
                    <a:gd name="connsiteX1" fmla="*/ 691 w 62336"/>
                    <a:gd name="connsiteY1" fmla="*/ 13790 h 69514"/>
                    <a:gd name="connsiteX2" fmla="*/ 39077 w 62336"/>
                    <a:gd name="connsiteY2" fmla="*/ 68939 h 69514"/>
                    <a:gd name="connsiteX3" fmla="*/ 61746 w 62336"/>
                    <a:gd name="connsiteY3" fmla="*/ 49604 h 69514"/>
                    <a:gd name="connsiteX4" fmla="*/ 29743 w 62336"/>
                    <a:gd name="connsiteY4" fmla="*/ 3884 h 6951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62336" h="69514">
                      <a:moveTo>
                        <a:pt x="29743" y="3884"/>
                      </a:moveTo>
                      <a:cubicBezTo>
                        <a:pt x="29743" y="3884"/>
                        <a:pt x="-5310" y="-9642"/>
                        <a:pt x="691" y="13790"/>
                      </a:cubicBezTo>
                      <a:cubicBezTo>
                        <a:pt x="6787" y="37126"/>
                        <a:pt x="31457" y="65796"/>
                        <a:pt x="39077" y="68939"/>
                      </a:cubicBezTo>
                      <a:cubicBezTo>
                        <a:pt x="46697" y="72082"/>
                        <a:pt x="65937" y="61891"/>
                        <a:pt x="61746" y="49604"/>
                      </a:cubicBezTo>
                      <a:cubicBezTo>
                        <a:pt x="57651" y="37316"/>
                        <a:pt x="39553" y="16456"/>
                        <a:pt x="29743" y="3884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9525" cap="rnd">
                  <a:solidFill>
                    <a:srgbClr val="263238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1646" name="Полилиния: фигура 1645">
                  <a:extLst>
                    <a:ext uri="{FF2B5EF4-FFF2-40B4-BE49-F238E27FC236}">
                      <a16:creationId xmlns:a16="http://schemas.microsoft.com/office/drawing/2014/main" id="{06469827-4330-457D-A3DC-B53059563610}"/>
                    </a:ext>
                  </a:extLst>
                </p:cNvPr>
                <p:cNvSpPr/>
                <p:nvPr/>
              </p:nvSpPr>
              <p:spPr>
                <a:xfrm>
                  <a:off x="4565265" y="4232298"/>
                  <a:ext cx="50363" cy="66948"/>
                </a:xfrm>
                <a:custGeom>
                  <a:avLst/>
                  <a:gdLst>
                    <a:gd name="connsiteX0" fmla="*/ 28103 w 50363"/>
                    <a:gd name="connsiteY0" fmla="*/ 4104 h 66948"/>
                    <a:gd name="connsiteX1" fmla="*/ 4 w 50363"/>
                    <a:gd name="connsiteY1" fmla="*/ 13343 h 66948"/>
                    <a:gd name="connsiteX2" fmla="*/ 31436 w 50363"/>
                    <a:gd name="connsiteY2" fmla="*/ 66302 h 66948"/>
                    <a:gd name="connsiteX3" fmla="*/ 50010 w 50363"/>
                    <a:gd name="connsiteY3" fmla="*/ 46967 h 66948"/>
                    <a:gd name="connsiteX4" fmla="*/ 28103 w 50363"/>
                    <a:gd name="connsiteY4" fmla="*/ 4104 h 669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0363" h="66948">
                      <a:moveTo>
                        <a:pt x="28103" y="4104"/>
                      </a:moveTo>
                      <a:cubicBezTo>
                        <a:pt x="28103" y="4104"/>
                        <a:pt x="-377" y="-9707"/>
                        <a:pt x="4" y="13343"/>
                      </a:cubicBezTo>
                      <a:cubicBezTo>
                        <a:pt x="385" y="36394"/>
                        <a:pt x="22197" y="62873"/>
                        <a:pt x="31436" y="66302"/>
                      </a:cubicBezTo>
                      <a:cubicBezTo>
                        <a:pt x="40580" y="69731"/>
                        <a:pt x="52582" y="58968"/>
                        <a:pt x="50010" y="46967"/>
                      </a:cubicBezTo>
                      <a:cubicBezTo>
                        <a:pt x="47438" y="34965"/>
                        <a:pt x="28103" y="4104"/>
                        <a:pt x="28103" y="4104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9525" cap="rnd">
                  <a:solidFill>
                    <a:srgbClr val="263238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</p:grpSp>
          <p:sp>
            <p:nvSpPr>
              <p:cNvPr id="1647" name="Полилиния: фигура 1646">
                <a:extLst>
                  <a:ext uri="{FF2B5EF4-FFF2-40B4-BE49-F238E27FC236}">
                    <a16:creationId xmlns:a16="http://schemas.microsoft.com/office/drawing/2014/main" id="{5E32B0FF-4BB2-4C59-AEB3-0BDFD9730BCD}"/>
                  </a:ext>
                </a:extLst>
              </p:cNvPr>
              <p:cNvSpPr/>
              <p:nvPr/>
            </p:nvSpPr>
            <p:spPr>
              <a:xfrm>
                <a:off x="2860103" y="4811521"/>
                <a:ext cx="1046225" cy="604932"/>
              </a:xfrm>
              <a:custGeom>
                <a:avLst/>
                <a:gdLst>
                  <a:gd name="connsiteX0" fmla="*/ 515874 w 1046225"/>
                  <a:gd name="connsiteY0" fmla="*/ 604933 h 604932"/>
                  <a:gd name="connsiteX1" fmla="*/ 550355 w 1046225"/>
                  <a:gd name="connsiteY1" fmla="*/ 374904 h 604932"/>
                  <a:gd name="connsiteX2" fmla="*/ 579882 w 1046225"/>
                  <a:gd name="connsiteY2" fmla="*/ 604933 h 604932"/>
                  <a:gd name="connsiteX3" fmla="*/ 1028319 w 1046225"/>
                  <a:gd name="connsiteY3" fmla="*/ 604933 h 604932"/>
                  <a:gd name="connsiteX4" fmla="*/ 1046226 w 1046225"/>
                  <a:gd name="connsiteY4" fmla="*/ 12097 h 604932"/>
                  <a:gd name="connsiteX5" fmla="*/ 0 w 1046225"/>
                  <a:gd name="connsiteY5" fmla="*/ 0 h 604932"/>
                  <a:gd name="connsiteX6" fmla="*/ 17907 w 1046225"/>
                  <a:gd name="connsiteY6" fmla="*/ 604933 h 604932"/>
                  <a:gd name="connsiteX7" fmla="*/ 515874 w 1046225"/>
                  <a:gd name="connsiteY7" fmla="*/ 604933 h 6049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046225" h="604932">
                    <a:moveTo>
                      <a:pt x="515874" y="604933"/>
                    </a:moveTo>
                    <a:lnTo>
                      <a:pt x="550355" y="374904"/>
                    </a:lnTo>
                    <a:lnTo>
                      <a:pt x="579882" y="604933"/>
                    </a:lnTo>
                    <a:lnTo>
                      <a:pt x="1028319" y="604933"/>
                    </a:lnTo>
                    <a:lnTo>
                      <a:pt x="1046226" y="12097"/>
                    </a:lnTo>
                    <a:lnTo>
                      <a:pt x="0" y="0"/>
                    </a:lnTo>
                    <a:lnTo>
                      <a:pt x="17907" y="604933"/>
                    </a:lnTo>
                    <a:lnTo>
                      <a:pt x="515874" y="604933"/>
                    </a:lnTo>
                    <a:close/>
                  </a:path>
                </a:pathLst>
              </a:custGeom>
              <a:solidFill>
                <a:srgbClr val="263238"/>
              </a:solidFill>
              <a:ln w="9525" cap="flat">
                <a:solidFill>
                  <a:srgbClr val="26323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648" name="Полилиния: фигура 1647">
                <a:extLst>
                  <a:ext uri="{FF2B5EF4-FFF2-40B4-BE49-F238E27FC236}">
                    <a16:creationId xmlns:a16="http://schemas.microsoft.com/office/drawing/2014/main" id="{9E114ECA-1F48-461A-937E-092B076010F9}"/>
                  </a:ext>
                </a:extLst>
              </p:cNvPr>
              <p:cNvSpPr/>
              <p:nvPr/>
            </p:nvSpPr>
            <p:spPr>
              <a:xfrm>
                <a:off x="2806369" y="3254116"/>
                <a:ext cx="1123296" cy="1688278"/>
              </a:xfrm>
              <a:custGeom>
                <a:avLst/>
                <a:gdLst>
                  <a:gd name="connsiteX0" fmla="*/ 369774 w 1123296"/>
                  <a:gd name="connsiteY0" fmla="*/ 28166 h 1688278"/>
                  <a:gd name="connsiteX1" fmla="*/ 35161 w 1123296"/>
                  <a:gd name="connsiteY1" fmla="*/ 187615 h 1688278"/>
                  <a:gd name="connsiteX2" fmla="*/ 490 w 1123296"/>
                  <a:gd name="connsiteY2" fmla="*/ 1226888 h 1688278"/>
                  <a:gd name="connsiteX3" fmla="*/ 24493 w 1123296"/>
                  <a:gd name="connsiteY3" fmla="*/ 1594934 h 1688278"/>
                  <a:gd name="connsiteX4" fmla="*/ 352534 w 1123296"/>
                  <a:gd name="connsiteY4" fmla="*/ 1664276 h 1688278"/>
                  <a:gd name="connsiteX5" fmla="*/ 659239 w 1123296"/>
                  <a:gd name="connsiteY5" fmla="*/ 1688279 h 1688278"/>
                  <a:gd name="connsiteX6" fmla="*/ 699244 w 1123296"/>
                  <a:gd name="connsiteY6" fmla="*/ 1608269 h 1688278"/>
                  <a:gd name="connsiteX7" fmla="*/ 717913 w 1123296"/>
                  <a:gd name="connsiteY7" fmla="*/ 1682945 h 1688278"/>
                  <a:gd name="connsiteX8" fmla="*/ 910413 w 1123296"/>
                  <a:gd name="connsiteY8" fmla="*/ 1671324 h 1688278"/>
                  <a:gd name="connsiteX9" fmla="*/ 965467 w 1123296"/>
                  <a:gd name="connsiteY9" fmla="*/ 1657418 h 1688278"/>
                  <a:gd name="connsiteX10" fmla="*/ 1123297 w 1123296"/>
                  <a:gd name="connsiteY10" fmla="*/ 1584266 h 1688278"/>
                  <a:gd name="connsiteX11" fmla="*/ 1109962 w 1123296"/>
                  <a:gd name="connsiteY11" fmla="*/ 506798 h 1688278"/>
                  <a:gd name="connsiteX12" fmla="*/ 1061956 w 1123296"/>
                  <a:gd name="connsiteY12" fmla="*/ 173423 h 1688278"/>
                  <a:gd name="connsiteX13" fmla="*/ 803257 w 1123296"/>
                  <a:gd name="connsiteY13" fmla="*/ 53408 h 1688278"/>
                  <a:gd name="connsiteX14" fmla="*/ 369679 w 1123296"/>
                  <a:gd name="connsiteY14" fmla="*/ 28262 h 16882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1123296" h="1688278">
                    <a:moveTo>
                      <a:pt x="369774" y="28166"/>
                    </a:moveTo>
                    <a:lnTo>
                      <a:pt x="35161" y="187615"/>
                    </a:lnTo>
                    <a:cubicBezTo>
                      <a:pt x="35161" y="187615"/>
                      <a:pt x="-4844" y="1066868"/>
                      <a:pt x="490" y="1226888"/>
                    </a:cubicBezTo>
                    <a:cubicBezTo>
                      <a:pt x="5824" y="1386908"/>
                      <a:pt x="24493" y="1594934"/>
                      <a:pt x="24493" y="1594934"/>
                    </a:cubicBezTo>
                    <a:cubicBezTo>
                      <a:pt x="24493" y="1594934"/>
                      <a:pt x="243187" y="1640273"/>
                      <a:pt x="352534" y="1664276"/>
                    </a:cubicBezTo>
                    <a:cubicBezTo>
                      <a:pt x="461881" y="1688279"/>
                      <a:pt x="659239" y="1688279"/>
                      <a:pt x="659239" y="1688279"/>
                    </a:cubicBezTo>
                    <a:lnTo>
                      <a:pt x="699244" y="1608269"/>
                    </a:lnTo>
                    <a:lnTo>
                      <a:pt x="717913" y="1682945"/>
                    </a:lnTo>
                    <a:lnTo>
                      <a:pt x="910413" y="1671324"/>
                    </a:lnTo>
                    <a:cubicBezTo>
                      <a:pt x="929463" y="1670181"/>
                      <a:pt x="948132" y="1665419"/>
                      <a:pt x="965467" y="1657418"/>
                    </a:cubicBezTo>
                    <a:lnTo>
                      <a:pt x="1123297" y="1584266"/>
                    </a:lnTo>
                    <a:cubicBezTo>
                      <a:pt x="1123297" y="1584266"/>
                      <a:pt x="1120630" y="672152"/>
                      <a:pt x="1109962" y="506798"/>
                    </a:cubicBezTo>
                    <a:cubicBezTo>
                      <a:pt x="1099294" y="341444"/>
                      <a:pt x="1061956" y="173423"/>
                      <a:pt x="1061956" y="173423"/>
                    </a:cubicBezTo>
                    <a:lnTo>
                      <a:pt x="803257" y="53408"/>
                    </a:lnTo>
                    <a:cubicBezTo>
                      <a:pt x="803257" y="53408"/>
                      <a:pt x="610852" y="-47653"/>
                      <a:pt x="369679" y="28262"/>
                    </a:cubicBezTo>
                    <a:close/>
                  </a:path>
                </a:pathLst>
              </a:custGeom>
              <a:solidFill>
                <a:srgbClr val="21A038"/>
              </a:solidFill>
              <a:ln w="9525" cap="flat">
                <a:solidFill>
                  <a:srgbClr val="000000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grpSp>
            <p:nvGrpSpPr>
              <p:cNvPr id="1649" name="Рисунок 1631">
                <a:extLst>
                  <a:ext uri="{FF2B5EF4-FFF2-40B4-BE49-F238E27FC236}">
                    <a16:creationId xmlns:a16="http://schemas.microsoft.com/office/drawing/2014/main" id="{9C91D8E5-555C-42B4-A22C-E503A1627E60}"/>
                  </a:ext>
                </a:extLst>
              </p:cNvPr>
              <p:cNvGrpSpPr/>
              <p:nvPr/>
            </p:nvGrpSpPr>
            <p:grpSpPr>
              <a:xfrm>
                <a:off x="2806382" y="4068571"/>
                <a:ext cx="1122330" cy="579676"/>
                <a:chOff x="2806382" y="4068571"/>
                <a:chExt cx="1122330" cy="579676"/>
              </a:xfrm>
              <a:solidFill>
                <a:srgbClr val="FFFFFF"/>
              </a:solidFill>
            </p:grpSpPr>
            <p:sp>
              <p:nvSpPr>
                <p:cNvPr id="1650" name="Полилиния: фигура 1649">
                  <a:extLst>
                    <a:ext uri="{FF2B5EF4-FFF2-40B4-BE49-F238E27FC236}">
                      <a16:creationId xmlns:a16="http://schemas.microsoft.com/office/drawing/2014/main" id="{9FC63162-22B2-4B7B-BBDB-9AC030D0F3DE}"/>
                    </a:ext>
                  </a:extLst>
                </p:cNvPr>
                <p:cNvSpPr/>
                <p:nvPr/>
              </p:nvSpPr>
              <p:spPr>
                <a:xfrm>
                  <a:off x="2806382" y="4451191"/>
                  <a:ext cx="1122330" cy="197056"/>
                </a:xfrm>
                <a:custGeom>
                  <a:avLst/>
                  <a:gdLst>
                    <a:gd name="connsiteX0" fmla="*/ 1122331 w 1122330"/>
                    <a:gd name="connsiteY0" fmla="*/ 155924 h 197056"/>
                    <a:gd name="connsiteX1" fmla="*/ 1121378 w 1122330"/>
                    <a:gd name="connsiteY1" fmla="*/ 3620 h 197056"/>
                    <a:gd name="connsiteX2" fmla="*/ 0 w 1122330"/>
                    <a:gd name="connsiteY2" fmla="*/ 0 h 197056"/>
                    <a:gd name="connsiteX3" fmla="*/ 476 w 1122330"/>
                    <a:gd name="connsiteY3" fmla="*/ 29813 h 197056"/>
                    <a:gd name="connsiteX4" fmla="*/ 7144 w 1122330"/>
                    <a:gd name="connsiteY4" fmla="*/ 165449 h 197056"/>
                    <a:gd name="connsiteX5" fmla="*/ 1122331 w 1122330"/>
                    <a:gd name="connsiteY5" fmla="*/ 155924 h 19705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1122330" h="197056">
                      <a:moveTo>
                        <a:pt x="1122331" y="155924"/>
                      </a:moveTo>
                      <a:cubicBezTo>
                        <a:pt x="1122045" y="109061"/>
                        <a:pt x="1121759" y="57531"/>
                        <a:pt x="1121378" y="3620"/>
                      </a:cubicBezTo>
                      <a:cubicBezTo>
                        <a:pt x="675704" y="72009"/>
                        <a:pt x="186023" y="23431"/>
                        <a:pt x="0" y="0"/>
                      </a:cubicBezTo>
                      <a:cubicBezTo>
                        <a:pt x="0" y="11621"/>
                        <a:pt x="191" y="21717"/>
                        <a:pt x="476" y="29813"/>
                      </a:cubicBezTo>
                      <a:cubicBezTo>
                        <a:pt x="1905" y="73247"/>
                        <a:pt x="4382" y="120110"/>
                        <a:pt x="7144" y="165449"/>
                      </a:cubicBezTo>
                      <a:cubicBezTo>
                        <a:pt x="473202" y="228886"/>
                        <a:pt x="933164" y="181451"/>
                        <a:pt x="1122331" y="155924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9525" cap="rnd">
                  <a:solidFill>
                    <a:srgbClr val="263238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1651" name="Полилиния: фигура 1650">
                  <a:extLst>
                    <a:ext uri="{FF2B5EF4-FFF2-40B4-BE49-F238E27FC236}">
                      <a16:creationId xmlns:a16="http://schemas.microsoft.com/office/drawing/2014/main" id="{B4A05C5A-0897-4949-AD1C-1386AF8004A9}"/>
                    </a:ext>
                  </a:extLst>
                </p:cNvPr>
                <p:cNvSpPr/>
                <p:nvPr/>
              </p:nvSpPr>
              <p:spPr>
                <a:xfrm>
                  <a:off x="2810573" y="4068571"/>
                  <a:ext cx="1115282" cy="195941"/>
                </a:xfrm>
                <a:custGeom>
                  <a:avLst/>
                  <a:gdLst>
                    <a:gd name="connsiteX0" fmla="*/ 5429 w 1115282"/>
                    <a:gd name="connsiteY0" fmla="*/ 0 h 195941"/>
                    <a:gd name="connsiteX1" fmla="*/ 0 w 1115282"/>
                    <a:gd name="connsiteY1" fmla="*/ 163925 h 195941"/>
                    <a:gd name="connsiteX2" fmla="*/ 1115282 w 1115282"/>
                    <a:gd name="connsiteY2" fmla="*/ 155162 h 195941"/>
                    <a:gd name="connsiteX3" fmla="*/ 1113473 w 1115282"/>
                    <a:gd name="connsiteY3" fmla="*/ 3048 h 195941"/>
                    <a:gd name="connsiteX4" fmla="*/ 5429 w 1115282"/>
                    <a:gd name="connsiteY4" fmla="*/ 95 h 19594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115282" h="195941">
                      <a:moveTo>
                        <a:pt x="5429" y="0"/>
                      </a:moveTo>
                      <a:cubicBezTo>
                        <a:pt x="3429" y="57055"/>
                        <a:pt x="1524" y="112586"/>
                        <a:pt x="0" y="163925"/>
                      </a:cubicBezTo>
                      <a:cubicBezTo>
                        <a:pt x="464725" y="227648"/>
                        <a:pt x="923925" y="180880"/>
                        <a:pt x="1115282" y="155162"/>
                      </a:cubicBezTo>
                      <a:cubicBezTo>
                        <a:pt x="1114711" y="103061"/>
                        <a:pt x="1114139" y="51721"/>
                        <a:pt x="1113473" y="3048"/>
                      </a:cubicBezTo>
                      <a:cubicBezTo>
                        <a:pt x="676180" y="69437"/>
                        <a:pt x="197644" y="23813"/>
                        <a:pt x="5429" y="95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9525" cap="rnd">
                  <a:solidFill>
                    <a:srgbClr val="263238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</p:grpSp>
          <p:sp>
            <p:nvSpPr>
              <p:cNvPr id="1652" name="Полилиния: фигура 1651">
                <a:extLst>
                  <a:ext uri="{FF2B5EF4-FFF2-40B4-BE49-F238E27FC236}">
                    <a16:creationId xmlns:a16="http://schemas.microsoft.com/office/drawing/2014/main" id="{72908E31-8588-4B47-B4F6-0FA59E5D3192}"/>
                  </a:ext>
                </a:extLst>
              </p:cNvPr>
              <p:cNvSpPr/>
              <p:nvPr/>
            </p:nvSpPr>
            <p:spPr>
              <a:xfrm>
                <a:off x="3268630" y="3382676"/>
                <a:ext cx="350615" cy="442721"/>
              </a:xfrm>
              <a:custGeom>
                <a:avLst/>
                <a:gdLst>
                  <a:gd name="connsiteX0" fmla="*/ 0 w 350615"/>
                  <a:gd name="connsiteY0" fmla="*/ 157163 h 442721"/>
                  <a:gd name="connsiteX1" fmla="*/ 210502 w 350615"/>
                  <a:gd name="connsiteY1" fmla="*/ 442722 h 442721"/>
                  <a:gd name="connsiteX2" fmla="*/ 350615 w 350615"/>
                  <a:gd name="connsiteY2" fmla="*/ 145828 h 442721"/>
                  <a:gd name="connsiteX3" fmla="*/ 196310 w 350615"/>
                  <a:gd name="connsiteY3" fmla="*/ 0 h 442721"/>
                  <a:gd name="connsiteX4" fmla="*/ 0 w 350615"/>
                  <a:gd name="connsiteY4" fmla="*/ 157163 h 4427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50615" h="442721">
                    <a:moveTo>
                      <a:pt x="0" y="157163"/>
                    </a:moveTo>
                    <a:lnTo>
                      <a:pt x="210502" y="442722"/>
                    </a:lnTo>
                    <a:lnTo>
                      <a:pt x="350615" y="145828"/>
                    </a:lnTo>
                    <a:lnTo>
                      <a:pt x="196310" y="0"/>
                    </a:lnTo>
                    <a:lnTo>
                      <a:pt x="0" y="157163"/>
                    </a:lnTo>
                    <a:close/>
                  </a:path>
                </a:pathLst>
              </a:custGeom>
              <a:solidFill>
                <a:srgbClr val="FFFFFF"/>
              </a:solidFill>
              <a:ln w="9525" cap="rnd">
                <a:solidFill>
                  <a:srgbClr val="263238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653" name="Полилиния: фигура 1652">
                <a:extLst>
                  <a:ext uri="{FF2B5EF4-FFF2-40B4-BE49-F238E27FC236}">
                    <a16:creationId xmlns:a16="http://schemas.microsoft.com/office/drawing/2014/main" id="{4E839901-F386-43CC-B999-D865F33FD801}"/>
                  </a:ext>
                </a:extLst>
              </p:cNvPr>
              <p:cNvSpPr/>
              <p:nvPr/>
            </p:nvSpPr>
            <p:spPr>
              <a:xfrm>
                <a:off x="3152806" y="3208314"/>
                <a:ext cx="508989" cy="429060"/>
              </a:xfrm>
              <a:custGeom>
                <a:avLst/>
                <a:gdLst>
                  <a:gd name="connsiteX0" fmla="*/ 100584 w 508989"/>
                  <a:gd name="connsiteY0" fmla="*/ 5960 h 429060"/>
                  <a:gd name="connsiteX1" fmla="*/ 33528 w 508989"/>
                  <a:gd name="connsiteY1" fmla="*/ 41584 h 429060"/>
                  <a:gd name="connsiteX2" fmla="*/ 0 w 508989"/>
                  <a:gd name="connsiteY2" fmla="*/ 91876 h 429060"/>
                  <a:gd name="connsiteX3" fmla="*/ 41910 w 508989"/>
                  <a:gd name="connsiteY3" fmla="*/ 246848 h 429060"/>
                  <a:gd name="connsiteX4" fmla="*/ 125635 w 508989"/>
                  <a:gd name="connsiteY4" fmla="*/ 414392 h 429060"/>
                  <a:gd name="connsiteX5" fmla="*/ 303657 w 508989"/>
                  <a:gd name="connsiteY5" fmla="*/ 303426 h 429060"/>
                  <a:gd name="connsiteX6" fmla="*/ 385286 w 508989"/>
                  <a:gd name="connsiteY6" fmla="*/ 345336 h 429060"/>
                  <a:gd name="connsiteX7" fmla="*/ 475297 w 508989"/>
                  <a:gd name="connsiteY7" fmla="*/ 429061 h 429060"/>
                  <a:gd name="connsiteX8" fmla="*/ 506730 w 508989"/>
                  <a:gd name="connsiteY8" fmla="*/ 192460 h 429060"/>
                  <a:gd name="connsiteX9" fmla="*/ 466915 w 508989"/>
                  <a:gd name="connsiteY9" fmla="*/ 75207 h 429060"/>
                  <a:gd name="connsiteX10" fmla="*/ 100489 w 508989"/>
                  <a:gd name="connsiteY10" fmla="*/ 6056 h 4290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508989" h="429060">
                    <a:moveTo>
                      <a:pt x="100584" y="5960"/>
                    </a:moveTo>
                    <a:cubicBezTo>
                      <a:pt x="100584" y="5960"/>
                      <a:pt x="50292" y="16438"/>
                      <a:pt x="33528" y="41584"/>
                    </a:cubicBezTo>
                    <a:cubicBezTo>
                      <a:pt x="16764" y="66730"/>
                      <a:pt x="0" y="91876"/>
                      <a:pt x="0" y="91876"/>
                    </a:cubicBezTo>
                    <a:cubicBezTo>
                      <a:pt x="0" y="91876"/>
                      <a:pt x="23050" y="188174"/>
                      <a:pt x="41910" y="246848"/>
                    </a:cubicBezTo>
                    <a:cubicBezTo>
                      <a:pt x="60770" y="305522"/>
                      <a:pt x="125635" y="414392"/>
                      <a:pt x="125635" y="414392"/>
                    </a:cubicBezTo>
                    <a:lnTo>
                      <a:pt x="303657" y="303426"/>
                    </a:lnTo>
                    <a:cubicBezTo>
                      <a:pt x="303657" y="303426"/>
                      <a:pt x="370713" y="336954"/>
                      <a:pt x="385286" y="345336"/>
                    </a:cubicBezTo>
                    <a:cubicBezTo>
                      <a:pt x="399955" y="353718"/>
                      <a:pt x="475297" y="429061"/>
                      <a:pt x="475297" y="429061"/>
                    </a:cubicBezTo>
                    <a:cubicBezTo>
                      <a:pt x="475297" y="429061"/>
                      <a:pt x="519303" y="253134"/>
                      <a:pt x="506730" y="192460"/>
                    </a:cubicBezTo>
                    <a:cubicBezTo>
                      <a:pt x="494157" y="131690"/>
                      <a:pt x="466915" y="75207"/>
                      <a:pt x="466915" y="75207"/>
                    </a:cubicBezTo>
                    <a:cubicBezTo>
                      <a:pt x="466915" y="75207"/>
                      <a:pt x="288893" y="-25282"/>
                      <a:pt x="100489" y="6056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rnd">
                <a:solidFill>
                  <a:srgbClr val="263238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654" name="Полилиния: фигура 1653">
                <a:extLst>
                  <a:ext uri="{FF2B5EF4-FFF2-40B4-BE49-F238E27FC236}">
                    <a16:creationId xmlns:a16="http://schemas.microsoft.com/office/drawing/2014/main" id="{1B81A447-704B-45F7-BF6E-888D490DD4A2}"/>
                  </a:ext>
                </a:extLst>
              </p:cNvPr>
              <p:cNvSpPr/>
              <p:nvPr/>
            </p:nvSpPr>
            <p:spPr>
              <a:xfrm>
                <a:off x="3242326" y="3084357"/>
                <a:ext cx="385873" cy="538253"/>
              </a:xfrm>
              <a:custGeom>
                <a:avLst/>
                <a:gdLst>
                  <a:gd name="connsiteX0" fmla="*/ 2682 w 385873"/>
                  <a:gd name="connsiteY0" fmla="*/ 54479 h 538253"/>
                  <a:gd name="connsiteX1" fmla="*/ 8969 w 385873"/>
                  <a:gd name="connsiteY1" fmla="*/ 240883 h 538253"/>
                  <a:gd name="connsiteX2" fmla="*/ 126222 w 385873"/>
                  <a:gd name="connsiteY2" fmla="*/ 423097 h 538253"/>
                  <a:gd name="connsiteX3" fmla="*/ 214137 w 385873"/>
                  <a:gd name="connsiteY3" fmla="*/ 538254 h 538253"/>
                  <a:gd name="connsiteX4" fmla="*/ 358631 w 385873"/>
                  <a:gd name="connsiteY4" fmla="*/ 310035 h 538253"/>
                  <a:gd name="connsiteX5" fmla="*/ 385873 w 385873"/>
                  <a:gd name="connsiteY5" fmla="*/ 234692 h 538253"/>
                  <a:gd name="connsiteX6" fmla="*/ 247665 w 385873"/>
                  <a:gd name="connsiteY6" fmla="*/ 266125 h 538253"/>
                  <a:gd name="connsiteX7" fmla="*/ 75930 w 385873"/>
                  <a:gd name="connsiteY7" fmla="*/ 138394 h 538253"/>
                  <a:gd name="connsiteX8" fmla="*/ 587 w 385873"/>
                  <a:gd name="connsiteY8" fmla="*/ 2282 h 538253"/>
                  <a:gd name="connsiteX9" fmla="*/ 2682 w 385873"/>
                  <a:gd name="connsiteY9" fmla="*/ 54670 h 5382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385873" h="538253">
                    <a:moveTo>
                      <a:pt x="2682" y="54479"/>
                    </a:moveTo>
                    <a:cubicBezTo>
                      <a:pt x="2682" y="54479"/>
                      <a:pt x="587" y="209451"/>
                      <a:pt x="8969" y="240883"/>
                    </a:cubicBezTo>
                    <a:cubicBezTo>
                      <a:pt x="17351" y="272316"/>
                      <a:pt x="111553" y="391664"/>
                      <a:pt x="126222" y="423097"/>
                    </a:cubicBezTo>
                    <a:cubicBezTo>
                      <a:pt x="140890" y="454529"/>
                      <a:pt x="214137" y="538254"/>
                      <a:pt x="214137" y="538254"/>
                    </a:cubicBezTo>
                    <a:cubicBezTo>
                      <a:pt x="214137" y="538254"/>
                      <a:pt x="343963" y="358136"/>
                      <a:pt x="358631" y="310035"/>
                    </a:cubicBezTo>
                    <a:cubicBezTo>
                      <a:pt x="373300" y="261934"/>
                      <a:pt x="385873" y="234692"/>
                      <a:pt x="385873" y="234692"/>
                    </a:cubicBezTo>
                    <a:cubicBezTo>
                      <a:pt x="385873" y="234692"/>
                      <a:pt x="333486" y="301748"/>
                      <a:pt x="247665" y="266125"/>
                    </a:cubicBezTo>
                    <a:cubicBezTo>
                      <a:pt x="161845" y="230501"/>
                      <a:pt x="75930" y="138394"/>
                      <a:pt x="75930" y="138394"/>
                    </a:cubicBezTo>
                    <a:cubicBezTo>
                      <a:pt x="75930" y="138394"/>
                      <a:pt x="2682" y="-20768"/>
                      <a:pt x="587" y="2282"/>
                    </a:cubicBezTo>
                    <a:cubicBezTo>
                      <a:pt x="-1509" y="25333"/>
                      <a:pt x="2682" y="54670"/>
                      <a:pt x="2682" y="54670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rnd">
                <a:solidFill>
                  <a:srgbClr val="263238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grpSp>
            <p:nvGrpSpPr>
              <p:cNvPr id="1655" name="Рисунок 1631">
                <a:extLst>
                  <a:ext uri="{FF2B5EF4-FFF2-40B4-BE49-F238E27FC236}">
                    <a16:creationId xmlns:a16="http://schemas.microsoft.com/office/drawing/2014/main" id="{9C91D8E5-555C-42B4-A22C-E503A1627E60}"/>
                  </a:ext>
                </a:extLst>
              </p:cNvPr>
              <p:cNvGrpSpPr/>
              <p:nvPr/>
            </p:nvGrpSpPr>
            <p:grpSpPr>
              <a:xfrm>
                <a:off x="3175614" y="2942050"/>
                <a:ext cx="532213" cy="499621"/>
                <a:chOff x="3175614" y="2942050"/>
                <a:chExt cx="532213" cy="499621"/>
              </a:xfrm>
            </p:grpSpPr>
            <p:sp>
              <p:nvSpPr>
                <p:cNvPr id="1656" name="Полилиния: фигура 1655">
                  <a:extLst>
                    <a:ext uri="{FF2B5EF4-FFF2-40B4-BE49-F238E27FC236}">
                      <a16:creationId xmlns:a16="http://schemas.microsoft.com/office/drawing/2014/main" id="{0AFD0B59-0B34-44FB-97DD-5C1765BB3851}"/>
                    </a:ext>
                  </a:extLst>
                </p:cNvPr>
                <p:cNvSpPr/>
                <p:nvPr/>
              </p:nvSpPr>
              <p:spPr>
                <a:xfrm>
                  <a:off x="3175614" y="2942050"/>
                  <a:ext cx="532213" cy="499525"/>
                </a:xfrm>
                <a:custGeom>
                  <a:avLst/>
                  <a:gdLst>
                    <a:gd name="connsiteX0" fmla="*/ 532214 w 532213"/>
                    <a:gd name="connsiteY0" fmla="*/ 96298 h 499525"/>
                    <a:gd name="connsiteX1" fmla="*/ 500781 w 532213"/>
                    <a:gd name="connsiteY1" fmla="*/ 288988 h 499525"/>
                    <a:gd name="connsiteX2" fmla="*/ 398197 w 532213"/>
                    <a:gd name="connsiteY2" fmla="*/ 479584 h 499525"/>
                    <a:gd name="connsiteX3" fmla="*/ 274658 w 532213"/>
                    <a:gd name="connsiteY3" fmla="*/ 492157 h 499525"/>
                    <a:gd name="connsiteX4" fmla="*/ 98731 w 532213"/>
                    <a:gd name="connsiteY4" fmla="*/ 370713 h 499525"/>
                    <a:gd name="connsiteX5" fmla="*/ 69394 w 532213"/>
                    <a:gd name="connsiteY5" fmla="*/ 196882 h 499525"/>
                    <a:gd name="connsiteX6" fmla="*/ 25389 w 532213"/>
                    <a:gd name="connsiteY6" fmla="*/ 173831 h 499525"/>
                    <a:gd name="connsiteX7" fmla="*/ 4433 w 532213"/>
                    <a:gd name="connsiteY7" fmla="*/ 90107 h 499525"/>
                    <a:gd name="connsiteX8" fmla="*/ 2338 w 532213"/>
                    <a:gd name="connsiteY8" fmla="*/ 39815 h 499525"/>
                    <a:gd name="connsiteX9" fmla="*/ 19102 w 532213"/>
                    <a:gd name="connsiteY9" fmla="*/ 0 h 499525"/>
                    <a:gd name="connsiteX10" fmla="*/ 305995 w 532213"/>
                    <a:gd name="connsiteY10" fmla="*/ 96298 h 499525"/>
                    <a:gd name="connsiteX11" fmla="*/ 532118 w 532213"/>
                    <a:gd name="connsiteY11" fmla="*/ 96298 h 49952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</a:cxnLst>
                  <a:rect l="l" t="t" r="r" b="b"/>
                  <a:pathLst>
                    <a:path w="532213" h="499525">
                      <a:moveTo>
                        <a:pt x="532214" y="96298"/>
                      </a:moveTo>
                      <a:cubicBezTo>
                        <a:pt x="532214" y="96298"/>
                        <a:pt x="515450" y="219837"/>
                        <a:pt x="500781" y="288988"/>
                      </a:cubicBezTo>
                      <a:cubicBezTo>
                        <a:pt x="486113" y="358140"/>
                        <a:pt x="437916" y="454438"/>
                        <a:pt x="398197" y="479584"/>
                      </a:cubicBezTo>
                      <a:cubicBezTo>
                        <a:pt x="358383" y="504730"/>
                        <a:pt x="303995" y="502634"/>
                        <a:pt x="274658" y="492157"/>
                      </a:cubicBezTo>
                      <a:cubicBezTo>
                        <a:pt x="245321" y="481679"/>
                        <a:pt x="130164" y="406337"/>
                        <a:pt x="98731" y="370713"/>
                      </a:cubicBezTo>
                      <a:cubicBezTo>
                        <a:pt x="67299" y="335090"/>
                        <a:pt x="69394" y="196882"/>
                        <a:pt x="69394" y="196882"/>
                      </a:cubicBezTo>
                      <a:cubicBezTo>
                        <a:pt x="69394" y="196882"/>
                        <a:pt x="37962" y="203168"/>
                        <a:pt x="25389" y="173831"/>
                      </a:cubicBezTo>
                      <a:cubicBezTo>
                        <a:pt x="12816" y="144494"/>
                        <a:pt x="4433" y="90107"/>
                        <a:pt x="4433" y="90107"/>
                      </a:cubicBezTo>
                      <a:cubicBezTo>
                        <a:pt x="4433" y="90107"/>
                        <a:pt x="-3949" y="73342"/>
                        <a:pt x="2338" y="39815"/>
                      </a:cubicBezTo>
                      <a:cubicBezTo>
                        <a:pt x="8625" y="6287"/>
                        <a:pt x="19102" y="0"/>
                        <a:pt x="19102" y="0"/>
                      </a:cubicBezTo>
                      <a:cubicBezTo>
                        <a:pt x="19102" y="0"/>
                        <a:pt x="226461" y="85820"/>
                        <a:pt x="305995" y="96298"/>
                      </a:cubicBezTo>
                      <a:cubicBezTo>
                        <a:pt x="385529" y="106775"/>
                        <a:pt x="532118" y="96298"/>
                        <a:pt x="532118" y="96298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9525" cap="rnd">
                  <a:solidFill>
                    <a:srgbClr val="263238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1657" name="Полилиния: фигура 1656">
                  <a:extLst>
                    <a:ext uri="{FF2B5EF4-FFF2-40B4-BE49-F238E27FC236}">
                      <a16:creationId xmlns:a16="http://schemas.microsoft.com/office/drawing/2014/main" id="{5F1BCD92-3FDC-4104-885A-7B12672AA13A}"/>
                    </a:ext>
                  </a:extLst>
                </p:cNvPr>
                <p:cNvSpPr/>
                <p:nvPr/>
              </p:nvSpPr>
              <p:spPr>
                <a:xfrm>
                  <a:off x="3230340" y="2960243"/>
                  <a:ext cx="425196" cy="481428"/>
                </a:xfrm>
                <a:custGeom>
                  <a:avLst/>
                  <a:gdLst>
                    <a:gd name="connsiteX0" fmla="*/ 406241 w 425196"/>
                    <a:gd name="connsiteY0" fmla="*/ 304324 h 481428"/>
                    <a:gd name="connsiteX1" fmla="*/ 324612 w 425196"/>
                    <a:gd name="connsiteY1" fmla="*/ 260318 h 481428"/>
                    <a:gd name="connsiteX2" fmla="*/ 297371 w 425196"/>
                    <a:gd name="connsiteY2" fmla="*/ 281273 h 481428"/>
                    <a:gd name="connsiteX3" fmla="*/ 251270 w 425196"/>
                    <a:gd name="connsiteY3" fmla="*/ 262414 h 481428"/>
                    <a:gd name="connsiteX4" fmla="*/ 188404 w 425196"/>
                    <a:gd name="connsiteY4" fmla="*/ 285464 h 481428"/>
                    <a:gd name="connsiteX5" fmla="*/ 138113 w 425196"/>
                    <a:gd name="connsiteY5" fmla="*/ 331565 h 481428"/>
                    <a:gd name="connsiteX6" fmla="*/ 64865 w 425196"/>
                    <a:gd name="connsiteY6" fmla="*/ 249936 h 481428"/>
                    <a:gd name="connsiteX7" fmla="*/ 48101 w 425196"/>
                    <a:gd name="connsiteY7" fmla="*/ 80296 h 481428"/>
                    <a:gd name="connsiteX8" fmla="*/ 69056 w 425196"/>
                    <a:gd name="connsiteY8" fmla="*/ 44672 h 481428"/>
                    <a:gd name="connsiteX9" fmla="*/ 76486 w 425196"/>
                    <a:gd name="connsiteY9" fmla="*/ 25527 h 481428"/>
                    <a:gd name="connsiteX10" fmla="*/ 9525 w 425196"/>
                    <a:gd name="connsiteY10" fmla="*/ 0 h 481428"/>
                    <a:gd name="connsiteX11" fmla="*/ 0 w 425196"/>
                    <a:gd name="connsiteY11" fmla="*/ 762 h 481428"/>
                    <a:gd name="connsiteX12" fmla="*/ 14669 w 425196"/>
                    <a:gd name="connsiteY12" fmla="*/ 178784 h 481428"/>
                    <a:gd name="connsiteX13" fmla="*/ 44005 w 425196"/>
                    <a:gd name="connsiteY13" fmla="*/ 352616 h 481428"/>
                    <a:gd name="connsiteX14" fmla="*/ 219932 w 425196"/>
                    <a:gd name="connsiteY14" fmla="*/ 474059 h 481428"/>
                    <a:gd name="connsiteX15" fmla="*/ 343471 w 425196"/>
                    <a:gd name="connsiteY15" fmla="*/ 461486 h 481428"/>
                    <a:gd name="connsiteX16" fmla="*/ 425196 w 425196"/>
                    <a:gd name="connsiteY16" fmla="*/ 337090 h 481428"/>
                    <a:gd name="connsiteX17" fmla="*/ 406241 w 425196"/>
                    <a:gd name="connsiteY17" fmla="*/ 304419 h 48142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</a:cxnLst>
                  <a:rect l="l" t="t" r="r" b="b"/>
                  <a:pathLst>
                    <a:path w="425196" h="481428">
                      <a:moveTo>
                        <a:pt x="406241" y="304324"/>
                      </a:moveTo>
                      <a:cubicBezTo>
                        <a:pt x="381095" y="281273"/>
                        <a:pt x="324612" y="260318"/>
                        <a:pt x="324612" y="260318"/>
                      </a:cubicBezTo>
                      <a:cubicBezTo>
                        <a:pt x="324612" y="260318"/>
                        <a:pt x="326708" y="279178"/>
                        <a:pt x="297371" y="281273"/>
                      </a:cubicBezTo>
                      <a:cubicBezTo>
                        <a:pt x="268034" y="283369"/>
                        <a:pt x="251270" y="262414"/>
                        <a:pt x="251270" y="262414"/>
                      </a:cubicBezTo>
                      <a:cubicBezTo>
                        <a:pt x="251270" y="262414"/>
                        <a:pt x="209360" y="274987"/>
                        <a:pt x="188404" y="285464"/>
                      </a:cubicBezTo>
                      <a:cubicBezTo>
                        <a:pt x="167450" y="295942"/>
                        <a:pt x="138113" y="331565"/>
                        <a:pt x="138113" y="331565"/>
                      </a:cubicBezTo>
                      <a:cubicBezTo>
                        <a:pt x="138113" y="331565"/>
                        <a:pt x="81534" y="287560"/>
                        <a:pt x="64865" y="249936"/>
                      </a:cubicBezTo>
                      <a:cubicBezTo>
                        <a:pt x="48101" y="212217"/>
                        <a:pt x="48101" y="80296"/>
                        <a:pt x="48101" y="80296"/>
                      </a:cubicBezTo>
                      <a:cubicBezTo>
                        <a:pt x="48101" y="80296"/>
                        <a:pt x="60674" y="59341"/>
                        <a:pt x="69056" y="44672"/>
                      </a:cubicBezTo>
                      <a:cubicBezTo>
                        <a:pt x="71819" y="39910"/>
                        <a:pt x="74295" y="32861"/>
                        <a:pt x="76486" y="25527"/>
                      </a:cubicBezTo>
                      <a:cubicBezTo>
                        <a:pt x="51530" y="16288"/>
                        <a:pt x="28289" y="7334"/>
                        <a:pt x="9525" y="0"/>
                      </a:cubicBezTo>
                      <a:lnTo>
                        <a:pt x="0" y="762"/>
                      </a:lnTo>
                      <a:lnTo>
                        <a:pt x="14669" y="178784"/>
                      </a:lnTo>
                      <a:cubicBezTo>
                        <a:pt x="14669" y="178784"/>
                        <a:pt x="12573" y="316992"/>
                        <a:pt x="44005" y="352616"/>
                      </a:cubicBezTo>
                      <a:cubicBezTo>
                        <a:pt x="75438" y="388239"/>
                        <a:pt x="190595" y="463582"/>
                        <a:pt x="219932" y="474059"/>
                      </a:cubicBezTo>
                      <a:cubicBezTo>
                        <a:pt x="249269" y="484537"/>
                        <a:pt x="303657" y="486632"/>
                        <a:pt x="343471" y="461486"/>
                      </a:cubicBezTo>
                      <a:cubicBezTo>
                        <a:pt x="371475" y="443770"/>
                        <a:pt x="403574" y="390906"/>
                        <a:pt x="425196" y="337090"/>
                      </a:cubicBezTo>
                      <a:cubicBezTo>
                        <a:pt x="420338" y="323850"/>
                        <a:pt x="414147" y="311658"/>
                        <a:pt x="406241" y="304419"/>
                      </a:cubicBezTo>
                      <a:close/>
                    </a:path>
                  </a:pathLst>
                </a:custGeom>
                <a:solidFill>
                  <a:srgbClr val="263238"/>
                </a:solidFill>
                <a:ln w="9525" cap="rnd">
                  <a:solidFill>
                    <a:srgbClr val="263238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1658" name="Полилиния: фигура 1657">
                  <a:extLst>
                    <a:ext uri="{FF2B5EF4-FFF2-40B4-BE49-F238E27FC236}">
                      <a16:creationId xmlns:a16="http://schemas.microsoft.com/office/drawing/2014/main" id="{6E42AAF3-7103-4291-8660-EDAD98CD48A5}"/>
                    </a:ext>
                  </a:extLst>
                </p:cNvPr>
                <p:cNvSpPr/>
                <p:nvPr/>
              </p:nvSpPr>
              <p:spPr>
                <a:xfrm>
                  <a:off x="3561238" y="3078162"/>
                  <a:ext cx="33432" cy="125634"/>
                </a:xfrm>
                <a:custGeom>
                  <a:avLst/>
                  <a:gdLst>
                    <a:gd name="connsiteX0" fmla="*/ 33433 w 33432"/>
                    <a:gd name="connsiteY0" fmla="*/ 0 h 125634"/>
                    <a:gd name="connsiteX1" fmla="*/ 14668 w 33432"/>
                    <a:gd name="connsiteY1" fmla="*/ 20955 h 125634"/>
                    <a:gd name="connsiteX2" fmla="*/ 0 w 33432"/>
                    <a:gd name="connsiteY2" fmla="*/ 125635 h 12563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33432" h="125634">
                      <a:moveTo>
                        <a:pt x="33433" y="0"/>
                      </a:moveTo>
                      <a:lnTo>
                        <a:pt x="14668" y="20955"/>
                      </a:lnTo>
                      <a:lnTo>
                        <a:pt x="0" y="125635"/>
                      </a:lnTo>
                    </a:path>
                  </a:pathLst>
                </a:custGeom>
                <a:noFill/>
                <a:ln w="9525" cap="rnd">
                  <a:solidFill>
                    <a:srgbClr val="263238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1659" name="Полилиния: фигура 1658">
                  <a:extLst>
                    <a:ext uri="{FF2B5EF4-FFF2-40B4-BE49-F238E27FC236}">
                      <a16:creationId xmlns:a16="http://schemas.microsoft.com/office/drawing/2014/main" id="{36AA3800-6A9F-4757-A230-EDCD5DA39256}"/>
                    </a:ext>
                  </a:extLst>
                </p:cNvPr>
                <p:cNvSpPr/>
                <p:nvPr/>
              </p:nvSpPr>
              <p:spPr>
                <a:xfrm>
                  <a:off x="3374834" y="3055641"/>
                  <a:ext cx="127825" cy="18330"/>
                </a:xfrm>
                <a:custGeom>
                  <a:avLst/>
                  <a:gdLst>
                    <a:gd name="connsiteX0" fmla="*/ 0 w 127825"/>
                    <a:gd name="connsiteY0" fmla="*/ 9948 h 18330"/>
                    <a:gd name="connsiteX1" fmla="*/ 69152 w 127825"/>
                    <a:gd name="connsiteY1" fmla="*/ 1566 h 18330"/>
                    <a:gd name="connsiteX2" fmla="*/ 127825 w 127825"/>
                    <a:gd name="connsiteY2" fmla="*/ 18330 h 1833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27825" h="18330">
                      <a:moveTo>
                        <a:pt x="0" y="9948"/>
                      </a:moveTo>
                      <a:cubicBezTo>
                        <a:pt x="0" y="9948"/>
                        <a:pt x="35623" y="-4720"/>
                        <a:pt x="69152" y="1566"/>
                      </a:cubicBezTo>
                      <a:cubicBezTo>
                        <a:pt x="102679" y="7853"/>
                        <a:pt x="127825" y="18330"/>
                        <a:pt x="127825" y="18330"/>
                      </a:cubicBezTo>
                    </a:path>
                  </a:pathLst>
                </a:custGeom>
                <a:noFill/>
                <a:ln w="9525" cap="rnd">
                  <a:solidFill>
                    <a:srgbClr val="263238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1660" name="Полилиния: фигура 1659">
                  <a:extLst>
                    <a:ext uri="{FF2B5EF4-FFF2-40B4-BE49-F238E27FC236}">
                      <a16:creationId xmlns:a16="http://schemas.microsoft.com/office/drawing/2014/main" id="{07FA8521-B27C-43AB-83B7-9EC2E7ACD376}"/>
                    </a:ext>
                  </a:extLst>
                </p:cNvPr>
                <p:cNvSpPr/>
                <p:nvPr/>
              </p:nvSpPr>
              <p:spPr>
                <a:xfrm>
                  <a:off x="3628199" y="3064490"/>
                  <a:ext cx="50291" cy="22053"/>
                </a:xfrm>
                <a:custGeom>
                  <a:avLst/>
                  <a:gdLst>
                    <a:gd name="connsiteX0" fmla="*/ 0 w 50291"/>
                    <a:gd name="connsiteY0" fmla="*/ 3194 h 22053"/>
                    <a:gd name="connsiteX1" fmla="*/ 50292 w 50291"/>
                    <a:gd name="connsiteY1" fmla="*/ 22054 h 2205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50291" h="22053">
                      <a:moveTo>
                        <a:pt x="0" y="3194"/>
                      </a:moveTo>
                      <a:cubicBezTo>
                        <a:pt x="0" y="3194"/>
                        <a:pt x="37719" y="-11474"/>
                        <a:pt x="50292" y="22054"/>
                      </a:cubicBezTo>
                    </a:path>
                  </a:pathLst>
                </a:custGeom>
                <a:noFill/>
                <a:ln w="9525" cap="rnd">
                  <a:solidFill>
                    <a:srgbClr val="263238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1661" name="Полилиния: фигура 1660">
                  <a:extLst>
                    <a:ext uri="{FF2B5EF4-FFF2-40B4-BE49-F238E27FC236}">
                      <a16:creationId xmlns:a16="http://schemas.microsoft.com/office/drawing/2014/main" id="{E56C5849-68F6-4474-B76C-E2CA394DA3D6}"/>
                    </a:ext>
                  </a:extLst>
                </p:cNvPr>
                <p:cNvSpPr/>
                <p:nvPr/>
              </p:nvSpPr>
              <p:spPr>
                <a:xfrm>
                  <a:off x="3422935" y="3097022"/>
                  <a:ext cx="29337" cy="48196"/>
                </a:xfrm>
                <a:custGeom>
                  <a:avLst/>
                  <a:gdLst>
                    <a:gd name="connsiteX0" fmla="*/ 29337 w 29337"/>
                    <a:gd name="connsiteY0" fmla="*/ 24098 h 48196"/>
                    <a:gd name="connsiteX1" fmla="*/ 14669 w 29337"/>
                    <a:gd name="connsiteY1" fmla="*/ 48196 h 48196"/>
                    <a:gd name="connsiteX2" fmla="*/ 0 w 29337"/>
                    <a:gd name="connsiteY2" fmla="*/ 24098 h 48196"/>
                    <a:gd name="connsiteX3" fmla="*/ 14669 w 29337"/>
                    <a:gd name="connsiteY3" fmla="*/ 0 h 48196"/>
                    <a:gd name="connsiteX4" fmla="*/ 29337 w 29337"/>
                    <a:gd name="connsiteY4" fmla="*/ 24098 h 4819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29337" h="48196">
                      <a:moveTo>
                        <a:pt x="29337" y="24098"/>
                      </a:moveTo>
                      <a:cubicBezTo>
                        <a:pt x="29337" y="37433"/>
                        <a:pt x="22765" y="48196"/>
                        <a:pt x="14669" y="48196"/>
                      </a:cubicBezTo>
                      <a:cubicBezTo>
                        <a:pt x="6572" y="48196"/>
                        <a:pt x="0" y="37433"/>
                        <a:pt x="0" y="24098"/>
                      </a:cubicBezTo>
                      <a:cubicBezTo>
                        <a:pt x="0" y="10763"/>
                        <a:pt x="6572" y="0"/>
                        <a:pt x="14669" y="0"/>
                      </a:cubicBezTo>
                      <a:cubicBezTo>
                        <a:pt x="22765" y="0"/>
                        <a:pt x="29337" y="10763"/>
                        <a:pt x="29337" y="24098"/>
                      </a:cubicBezTo>
                      <a:close/>
                    </a:path>
                  </a:pathLst>
                </a:custGeom>
                <a:solidFill>
                  <a:srgbClr val="000000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1662" name="Полилиния: фигура 1661">
                  <a:extLst>
                    <a:ext uri="{FF2B5EF4-FFF2-40B4-BE49-F238E27FC236}">
                      <a16:creationId xmlns:a16="http://schemas.microsoft.com/office/drawing/2014/main" id="{3BD9982A-3E31-4449-89D6-1AF29DD37BB7}"/>
                    </a:ext>
                  </a:extLst>
                </p:cNvPr>
                <p:cNvSpPr/>
                <p:nvPr/>
              </p:nvSpPr>
              <p:spPr>
                <a:xfrm>
                  <a:off x="3600957" y="3112643"/>
                  <a:ext cx="29337" cy="48196"/>
                </a:xfrm>
                <a:custGeom>
                  <a:avLst/>
                  <a:gdLst>
                    <a:gd name="connsiteX0" fmla="*/ 29337 w 29337"/>
                    <a:gd name="connsiteY0" fmla="*/ 24098 h 48196"/>
                    <a:gd name="connsiteX1" fmla="*/ 14669 w 29337"/>
                    <a:gd name="connsiteY1" fmla="*/ 48196 h 48196"/>
                    <a:gd name="connsiteX2" fmla="*/ 0 w 29337"/>
                    <a:gd name="connsiteY2" fmla="*/ 24098 h 48196"/>
                    <a:gd name="connsiteX3" fmla="*/ 14669 w 29337"/>
                    <a:gd name="connsiteY3" fmla="*/ 0 h 48196"/>
                    <a:gd name="connsiteX4" fmla="*/ 29337 w 29337"/>
                    <a:gd name="connsiteY4" fmla="*/ 24098 h 4819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29337" h="48196">
                      <a:moveTo>
                        <a:pt x="29337" y="24098"/>
                      </a:moveTo>
                      <a:cubicBezTo>
                        <a:pt x="29337" y="37433"/>
                        <a:pt x="22765" y="48196"/>
                        <a:pt x="14669" y="48196"/>
                      </a:cubicBezTo>
                      <a:cubicBezTo>
                        <a:pt x="6572" y="48196"/>
                        <a:pt x="0" y="37433"/>
                        <a:pt x="0" y="24098"/>
                      </a:cubicBezTo>
                      <a:cubicBezTo>
                        <a:pt x="0" y="10763"/>
                        <a:pt x="6572" y="0"/>
                        <a:pt x="14669" y="0"/>
                      </a:cubicBezTo>
                      <a:cubicBezTo>
                        <a:pt x="22765" y="0"/>
                        <a:pt x="29337" y="10763"/>
                        <a:pt x="29337" y="24098"/>
                      </a:cubicBezTo>
                      <a:close/>
                    </a:path>
                  </a:pathLst>
                </a:custGeom>
                <a:solidFill>
                  <a:srgbClr val="000000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1663" name="Полилиния: фигура 1662">
                  <a:extLst>
                    <a:ext uri="{FF2B5EF4-FFF2-40B4-BE49-F238E27FC236}">
                      <a16:creationId xmlns:a16="http://schemas.microsoft.com/office/drawing/2014/main" id="{22731DD7-CB4D-4595-99D9-A34517E06EBA}"/>
                    </a:ext>
                  </a:extLst>
                </p:cNvPr>
                <p:cNvSpPr/>
                <p:nvPr/>
              </p:nvSpPr>
              <p:spPr>
                <a:xfrm>
                  <a:off x="3399980" y="3143027"/>
                  <a:ext cx="37623" cy="2095"/>
                </a:xfrm>
                <a:custGeom>
                  <a:avLst/>
                  <a:gdLst>
                    <a:gd name="connsiteX0" fmla="*/ 0 w 37623"/>
                    <a:gd name="connsiteY0" fmla="*/ 0 h 2095"/>
                    <a:gd name="connsiteX1" fmla="*/ 37624 w 37623"/>
                    <a:gd name="connsiteY1" fmla="*/ 2096 h 209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37623" h="2095">
                      <a:moveTo>
                        <a:pt x="0" y="0"/>
                      </a:moveTo>
                      <a:lnTo>
                        <a:pt x="37624" y="2096"/>
                      </a:lnTo>
                    </a:path>
                  </a:pathLst>
                </a:custGeom>
                <a:ln w="9525" cap="rnd">
                  <a:solidFill>
                    <a:srgbClr val="263238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1664" name="Полилиния: фигура 1663">
                  <a:extLst>
                    <a:ext uri="{FF2B5EF4-FFF2-40B4-BE49-F238E27FC236}">
                      <a16:creationId xmlns:a16="http://schemas.microsoft.com/office/drawing/2014/main" id="{E44ADD28-6E64-4D05-A24C-CCAB49664B9F}"/>
                    </a:ext>
                  </a:extLst>
                </p:cNvPr>
                <p:cNvSpPr/>
                <p:nvPr/>
              </p:nvSpPr>
              <p:spPr>
                <a:xfrm>
                  <a:off x="3615626" y="3160839"/>
                  <a:ext cx="39814" cy="3143"/>
                </a:xfrm>
                <a:custGeom>
                  <a:avLst/>
                  <a:gdLst>
                    <a:gd name="connsiteX0" fmla="*/ 0 w 39814"/>
                    <a:gd name="connsiteY0" fmla="*/ 0 h 3143"/>
                    <a:gd name="connsiteX1" fmla="*/ 39814 w 39814"/>
                    <a:gd name="connsiteY1" fmla="*/ 3143 h 314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39814" h="3143">
                      <a:moveTo>
                        <a:pt x="0" y="0"/>
                      </a:moveTo>
                      <a:lnTo>
                        <a:pt x="39814" y="3143"/>
                      </a:lnTo>
                    </a:path>
                  </a:pathLst>
                </a:custGeom>
                <a:ln w="9525" cap="rnd">
                  <a:solidFill>
                    <a:srgbClr val="263238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1665" name="Полилиния: фигура 1664">
                  <a:extLst>
                    <a:ext uri="{FF2B5EF4-FFF2-40B4-BE49-F238E27FC236}">
                      <a16:creationId xmlns:a16="http://schemas.microsoft.com/office/drawing/2014/main" id="{4EB4DEB2-D922-4793-8EC5-A1F3E8EB4585}"/>
                    </a:ext>
                  </a:extLst>
                </p:cNvPr>
                <p:cNvSpPr/>
                <p:nvPr/>
              </p:nvSpPr>
              <p:spPr>
                <a:xfrm>
                  <a:off x="3425126" y="3281235"/>
                  <a:ext cx="150780" cy="26600"/>
                </a:xfrm>
                <a:custGeom>
                  <a:avLst/>
                  <a:gdLst>
                    <a:gd name="connsiteX0" fmla="*/ 0 w 150780"/>
                    <a:gd name="connsiteY0" fmla="*/ 0 h 26600"/>
                    <a:gd name="connsiteX1" fmla="*/ 150781 w 150780"/>
                    <a:gd name="connsiteY1" fmla="*/ 12573 h 266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50780" h="26600">
                      <a:moveTo>
                        <a:pt x="0" y="0"/>
                      </a:moveTo>
                      <a:cubicBezTo>
                        <a:pt x="0" y="0"/>
                        <a:pt x="56579" y="50292"/>
                        <a:pt x="150781" y="12573"/>
                      </a:cubicBezTo>
                    </a:path>
                  </a:pathLst>
                </a:custGeom>
                <a:noFill/>
                <a:ln w="9525" cap="rnd">
                  <a:solidFill>
                    <a:srgbClr val="9E9E9E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</p:grpSp>
          <p:grpSp>
            <p:nvGrpSpPr>
              <p:cNvPr id="1666" name="Рисунок 1631">
                <a:extLst>
                  <a:ext uri="{FF2B5EF4-FFF2-40B4-BE49-F238E27FC236}">
                    <a16:creationId xmlns:a16="http://schemas.microsoft.com/office/drawing/2014/main" id="{9C91D8E5-555C-42B4-A22C-E503A1627E60}"/>
                  </a:ext>
                </a:extLst>
              </p:cNvPr>
              <p:cNvGrpSpPr/>
              <p:nvPr/>
            </p:nvGrpSpPr>
            <p:grpSpPr>
              <a:xfrm>
                <a:off x="3144424" y="2567146"/>
                <a:ext cx="612916" cy="499592"/>
                <a:chOff x="3144424" y="2567146"/>
                <a:chExt cx="612916" cy="499592"/>
              </a:xfrm>
            </p:grpSpPr>
            <p:sp>
              <p:nvSpPr>
                <p:cNvPr id="1667" name="Полилиния: фигура 1666">
                  <a:extLst>
                    <a:ext uri="{FF2B5EF4-FFF2-40B4-BE49-F238E27FC236}">
                      <a16:creationId xmlns:a16="http://schemas.microsoft.com/office/drawing/2014/main" id="{6AEE064C-54E3-4794-B752-4F8945AF58C3}"/>
                    </a:ext>
                  </a:extLst>
                </p:cNvPr>
                <p:cNvSpPr/>
                <p:nvPr/>
              </p:nvSpPr>
              <p:spPr>
                <a:xfrm>
                  <a:off x="3148157" y="2567146"/>
                  <a:ext cx="609184" cy="499592"/>
                </a:xfrm>
                <a:custGeom>
                  <a:avLst/>
                  <a:gdLst>
                    <a:gd name="connsiteX0" fmla="*/ 40273 w 609184"/>
                    <a:gd name="connsiteY0" fmla="*/ 393763 h 499592"/>
                    <a:gd name="connsiteX1" fmla="*/ 295733 w 609184"/>
                    <a:gd name="connsiteY1" fmla="*/ 490061 h 499592"/>
                    <a:gd name="connsiteX2" fmla="*/ 542812 w 609184"/>
                    <a:gd name="connsiteY2" fmla="*/ 496348 h 499592"/>
                    <a:gd name="connsiteX3" fmla="*/ 601486 w 609184"/>
                    <a:gd name="connsiteY3" fmla="*/ 446056 h 499592"/>
                    <a:gd name="connsiteX4" fmla="*/ 595199 w 609184"/>
                    <a:gd name="connsiteY4" fmla="*/ 416719 h 499592"/>
                    <a:gd name="connsiteX5" fmla="*/ 578435 w 609184"/>
                    <a:gd name="connsiteY5" fmla="*/ 186404 h 499592"/>
                    <a:gd name="connsiteX6" fmla="*/ 304115 w 609184"/>
                    <a:gd name="connsiteY6" fmla="*/ 0 h 499592"/>
                    <a:gd name="connsiteX7" fmla="*/ 54941 w 609184"/>
                    <a:gd name="connsiteY7" fmla="*/ 165449 h 499592"/>
                    <a:gd name="connsiteX8" fmla="*/ 31891 w 609184"/>
                    <a:gd name="connsiteY8" fmla="*/ 345567 h 499592"/>
                    <a:gd name="connsiteX9" fmla="*/ 2554 w 609184"/>
                    <a:gd name="connsiteY9" fmla="*/ 383286 h 499592"/>
                    <a:gd name="connsiteX10" fmla="*/ 40273 w 609184"/>
                    <a:gd name="connsiteY10" fmla="*/ 393763 h 4995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609184" h="499592">
                      <a:moveTo>
                        <a:pt x="40273" y="393763"/>
                      </a:moveTo>
                      <a:cubicBezTo>
                        <a:pt x="40273" y="393763"/>
                        <a:pt x="239250" y="477488"/>
                        <a:pt x="295733" y="490061"/>
                      </a:cubicBezTo>
                      <a:cubicBezTo>
                        <a:pt x="352312" y="502634"/>
                        <a:pt x="450705" y="500539"/>
                        <a:pt x="542812" y="496348"/>
                      </a:cubicBezTo>
                      <a:cubicBezTo>
                        <a:pt x="634919" y="492157"/>
                        <a:pt x="605677" y="464915"/>
                        <a:pt x="601486" y="446056"/>
                      </a:cubicBezTo>
                      <a:cubicBezTo>
                        <a:pt x="597295" y="427196"/>
                        <a:pt x="595199" y="416719"/>
                        <a:pt x="595199" y="416719"/>
                      </a:cubicBezTo>
                      <a:cubicBezTo>
                        <a:pt x="595199" y="416719"/>
                        <a:pt x="630823" y="314134"/>
                        <a:pt x="578435" y="186404"/>
                      </a:cubicBezTo>
                      <a:cubicBezTo>
                        <a:pt x="526048" y="58674"/>
                        <a:pt x="406700" y="0"/>
                        <a:pt x="304115" y="0"/>
                      </a:cubicBezTo>
                      <a:cubicBezTo>
                        <a:pt x="201531" y="0"/>
                        <a:pt x="80087" y="100489"/>
                        <a:pt x="54941" y="165449"/>
                      </a:cubicBezTo>
                      <a:cubicBezTo>
                        <a:pt x="29795" y="230410"/>
                        <a:pt x="36082" y="332994"/>
                        <a:pt x="31891" y="345567"/>
                      </a:cubicBezTo>
                      <a:cubicBezTo>
                        <a:pt x="27700" y="358140"/>
                        <a:pt x="-10019" y="381191"/>
                        <a:pt x="2554" y="383286"/>
                      </a:cubicBezTo>
                      <a:cubicBezTo>
                        <a:pt x="15127" y="385382"/>
                        <a:pt x="40273" y="393763"/>
                        <a:pt x="40273" y="393763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9525" cap="rnd">
                  <a:solidFill>
                    <a:srgbClr val="263238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1668" name="Полилиния: фигура 1667">
                  <a:extLst>
                    <a:ext uri="{FF2B5EF4-FFF2-40B4-BE49-F238E27FC236}">
                      <a16:creationId xmlns:a16="http://schemas.microsoft.com/office/drawing/2014/main" id="{7D272413-9817-4A72-8F50-A7A3F95802F1}"/>
                    </a:ext>
                  </a:extLst>
                </p:cNvPr>
                <p:cNvSpPr/>
                <p:nvPr/>
              </p:nvSpPr>
              <p:spPr>
                <a:xfrm>
                  <a:off x="3144424" y="2942050"/>
                  <a:ext cx="100583" cy="90011"/>
                </a:xfrm>
                <a:custGeom>
                  <a:avLst/>
                  <a:gdLst>
                    <a:gd name="connsiteX0" fmla="*/ 50292 w 100583"/>
                    <a:gd name="connsiteY0" fmla="*/ 0 h 90011"/>
                    <a:gd name="connsiteX1" fmla="*/ 0 w 100583"/>
                    <a:gd name="connsiteY1" fmla="*/ 31433 h 90011"/>
                    <a:gd name="connsiteX2" fmla="*/ 10478 w 100583"/>
                    <a:gd name="connsiteY2" fmla="*/ 90011 h 90011"/>
                    <a:gd name="connsiteX3" fmla="*/ 100584 w 100583"/>
                    <a:gd name="connsiteY3" fmla="*/ 25146 h 90011"/>
                    <a:gd name="connsiteX4" fmla="*/ 50292 w 100583"/>
                    <a:gd name="connsiteY4" fmla="*/ 0 h 9001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00583" h="90011">
                      <a:moveTo>
                        <a:pt x="50292" y="0"/>
                      </a:moveTo>
                      <a:lnTo>
                        <a:pt x="0" y="31433"/>
                      </a:lnTo>
                      <a:lnTo>
                        <a:pt x="10478" y="90011"/>
                      </a:lnTo>
                      <a:lnTo>
                        <a:pt x="100584" y="25146"/>
                      </a:lnTo>
                      <a:lnTo>
                        <a:pt x="50292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 cap="rnd">
                  <a:solidFill>
                    <a:srgbClr val="263238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1669" name="Полилиния: фигура 1668">
                  <a:extLst>
                    <a:ext uri="{FF2B5EF4-FFF2-40B4-BE49-F238E27FC236}">
                      <a16:creationId xmlns:a16="http://schemas.microsoft.com/office/drawing/2014/main" id="{A0049887-62BC-4F63-9C8A-3B8472E0698B}"/>
                    </a:ext>
                  </a:extLst>
                </p:cNvPr>
                <p:cNvSpPr/>
                <p:nvPr/>
              </p:nvSpPr>
              <p:spPr>
                <a:xfrm>
                  <a:off x="3207289" y="2893853"/>
                  <a:ext cx="64960" cy="56578"/>
                </a:xfrm>
                <a:custGeom>
                  <a:avLst/>
                  <a:gdLst>
                    <a:gd name="connsiteX0" fmla="*/ 0 w 64960"/>
                    <a:gd name="connsiteY0" fmla="*/ 25146 h 56578"/>
                    <a:gd name="connsiteX1" fmla="*/ 62865 w 64960"/>
                    <a:gd name="connsiteY1" fmla="*/ 56579 h 56578"/>
                    <a:gd name="connsiteX2" fmla="*/ 64960 w 64960"/>
                    <a:gd name="connsiteY2" fmla="*/ 0 h 565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64960" h="56578">
                      <a:moveTo>
                        <a:pt x="0" y="25146"/>
                      </a:moveTo>
                      <a:lnTo>
                        <a:pt x="62865" y="56579"/>
                      </a:lnTo>
                      <a:lnTo>
                        <a:pt x="64960" y="0"/>
                      </a:lnTo>
                    </a:path>
                  </a:pathLst>
                </a:custGeom>
                <a:noFill/>
                <a:ln w="9525" cap="rnd">
                  <a:solidFill>
                    <a:srgbClr val="263238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1670" name="Полилиния: фигура 1669">
                  <a:extLst>
                    <a:ext uri="{FF2B5EF4-FFF2-40B4-BE49-F238E27FC236}">
                      <a16:creationId xmlns:a16="http://schemas.microsoft.com/office/drawing/2014/main" id="{32C5E53B-4712-4DB2-8B40-773308B17D86}"/>
                    </a:ext>
                  </a:extLst>
                </p:cNvPr>
                <p:cNvSpPr/>
                <p:nvPr/>
              </p:nvSpPr>
              <p:spPr>
                <a:xfrm>
                  <a:off x="3303587" y="2910617"/>
                  <a:ext cx="420909" cy="109931"/>
                </a:xfrm>
                <a:custGeom>
                  <a:avLst/>
                  <a:gdLst>
                    <a:gd name="connsiteX0" fmla="*/ 0 w 420909"/>
                    <a:gd name="connsiteY0" fmla="*/ 0 h 109931"/>
                    <a:gd name="connsiteX1" fmla="*/ 2096 w 420909"/>
                    <a:gd name="connsiteY1" fmla="*/ 44006 h 109931"/>
                    <a:gd name="connsiteX2" fmla="*/ 138208 w 420909"/>
                    <a:gd name="connsiteY2" fmla="*/ 100584 h 109931"/>
                    <a:gd name="connsiteX3" fmla="*/ 397859 w 420909"/>
                    <a:gd name="connsiteY3" fmla="*/ 104775 h 109931"/>
                    <a:gd name="connsiteX4" fmla="*/ 420910 w 420909"/>
                    <a:gd name="connsiteY4" fmla="*/ 94298 h 10993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420909" h="109931">
                      <a:moveTo>
                        <a:pt x="0" y="0"/>
                      </a:moveTo>
                      <a:lnTo>
                        <a:pt x="2096" y="44006"/>
                      </a:lnTo>
                      <a:cubicBezTo>
                        <a:pt x="2096" y="44006"/>
                        <a:pt x="62865" y="83820"/>
                        <a:pt x="138208" y="100584"/>
                      </a:cubicBezTo>
                      <a:cubicBezTo>
                        <a:pt x="213551" y="117348"/>
                        <a:pt x="385286" y="106871"/>
                        <a:pt x="397859" y="104775"/>
                      </a:cubicBezTo>
                      <a:cubicBezTo>
                        <a:pt x="410432" y="102679"/>
                        <a:pt x="420910" y="94298"/>
                        <a:pt x="420910" y="94298"/>
                      </a:cubicBezTo>
                    </a:path>
                  </a:pathLst>
                </a:custGeom>
                <a:noFill/>
                <a:ln w="9525" cap="rnd">
                  <a:solidFill>
                    <a:srgbClr val="263238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1671" name="Полилиния: фигура 1670">
                  <a:extLst>
                    <a:ext uri="{FF2B5EF4-FFF2-40B4-BE49-F238E27FC236}">
                      <a16:creationId xmlns:a16="http://schemas.microsoft.com/office/drawing/2014/main" id="{2BD942C9-A929-4F0C-86FF-915D60EA8CD8}"/>
                    </a:ext>
                  </a:extLst>
                </p:cNvPr>
                <p:cNvSpPr/>
                <p:nvPr/>
              </p:nvSpPr>
              <p:spPr>
                <a:xfrm>
                  <a:off x="3471132" y="2586005"/>
                  <a:ext cx="77533" cy="303752"/>
                </a:xfrm>
                <a:custGeom>
                  <a:avLst/>
                  <a:gdLst>
                    <a:gd name="connsiteX0" fmla="*/ 0 w 77533"/>
                    <a:gd name="connsiteY0" fmla="*/ 0 h 303752"/>
                    <a:gd name="connsiteX1" fmla="*/ 60770 w 77533"/>
                    <a:gd name="connsiteY1" fmla="*/ 54483 h 303752"/>
                    <a:gd name="connsiteX2" fmla="*/ 77534 w 77533"/>
                    <a:gd name="connsiteY2" fmla="*/ 123635 h 303752"/>
                    <a:gd name="connsiteX3" fmla="*/ 6287 w 77533"/>
                    <a:gd name="connsiteY3" fmla="*/ 150876 h 303752"/>
                    <a:gd name="connsiteX4" fmla="*/ 14669 w 77533"/>
                    <a:gd name="connsiteY4" fmla="*/ 303752 h 30375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77533" h="303752">
                      <a:moveTo>
                        <a:pt x="0" y="0"/>
                      </a:moveTo>
                      <a:cubicBezTo>
                        <a:pt x="0" y="0"/>
                        <a:pt x="41910" y="18860"/>
                        <a:pt x="60770" y="54483"/>
                      </a:cubicBezTo>
                      <a:cubicBezTo>
                        <a:pt x="73152" y="77915"/>
                        <a:pt x="77534" y="123635"/>
                        <a:pt x="77534" y="123635"/>
                      </a:cubicBezTo>
                      <a:cubicBezTo>
                        <a:pt x="77534" y="123635"/>
                        <a:pt x="16764" y="136208"/>
                        <a:pt x="6287" y="150876"/>
                      </a:cubicBezTo>
                      <a:cubicBezTo>
                        <a:pt x="-4191" y="165545"/>
                        <a:pt x="12573" y="234601"/>
                        <a:pt x="14669" y="303752"/>
                      </a:cubicBezTo>
                    </a:path>
                  </a:pathLst>
                </a:custGeom>
                <a:noFill/>
                <a:ln w="9525" cap="rnd">
                  <a:solidFill>
                    <a:srgbClr val="263238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1672" name="Полилиния: фигура 1671">
                  <a:extLst>
                    <a:ext uri="{FF2B5EF4-FFF2-40B4-BE49-F238E27FC236}">
                      <a16:creationId xmlns:a16="http://schemas.microsoft.com/office/drawing/2014/main" id="{97B71151-6C23-49F6-A80E-5390B14E4306}"/>
                    </a:ext>
                  </a:extLst>
                </p:cNvPr>
                <p:cNvSpPr/>
                <p:nvPr/>
              </p:nvSpPr>
              <p:spPr>
                <a:xfrm>
                  <a:off x="3605148" y="2707449"/>
                  <a:ext cx="60769" cy="188499"/>
                </a:xfrm>
                <a:custGeom>
                  <a:avLst/>
                  <a:gdLst>
                    <a:gd name="connsiteX0" fmla="*/ 0 w 60769"/>
                    <a:gd name="connsiteY0" fmla="*/ 0 h 188499"/>
                    <a:gd name="connsiteX1" fmla="*/ 48196 w 60769"/>
                    <a:gd name="connsiteY1" fmla="*/ 41910 h 188499"/>
                    <a:gd name="connsiteX2" fmla="*/ 60770 w 60769"/>
                    <a:gd name="connsiteY2" fmla="*/ 188500 h 18849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60769" h="188499">
                      <a:moveTo>
                        <a:pt x="0" y="0"/>
                      </a:moveTo>
                      <a:cubicBezTo>
                        <a:pt x="0" y="0"/>
                        <a:pt x="37719" y="6287"/>
                        <a:pt x="48196" y="41910"/>
                      </a:cubicBezTo>
                      <a:cubicBezTo>
                        <a:pt x="58674" y="77534"/>
                        <a:pt x="60770" y="188500"/>
                        <a:pt x="60770" y="188500"/>
                      </a:cubicBezTo>
                    </a:path>
                  </a:pathLst>
                </a:custGeom>
                <a:noFill/>
                <a:ln w="9525" cap="rnd">
                  <a:solidFill>
                    <a:srgbClr val="263238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</p:grpSp>
          <p:grpSp>
            <p:nvGrpSpPr>
              <p:cNvPr id="1673" name="Рисунок 1631">
                <a:extLst>
                  <a:ext uri="{FF2B5EF4-FFF2-40B4-BE49-F238E27FC236}">
                    <a16:creationId xmlns:a16="http://schemas.microsoft.com/office/drawing/2014/main" id="{9C91D8E5-555C-42B4-A22C-E503A1627E60}"/>
                  </a:ext>
                </a:extLst>
              </p:cNvPr>
              <p:cNvGrpSpPr/>
              <p:nvPr/>
            </p:nvGrpSpPr>
            <p:grpSpPr>
              <a:xfrm>
                <a:off x="2576716" y="3441636"/>
                <a:ext cx="550985" cy="872698"/>
                <a:chOff x="2576716" y="3441636"/>
                <a:chExt cx="550985" cy="872698"/>
              </a:xfrm>
            </p:grpSpPr>
            <p:sp>
              <p:nvSpPr>
                <p:cNvPr id="1674" name="Полилиния: фигура 1673">
                  <a:extLst>
                    <a:ext uri="{FF2B5EF4-FFF2-40B4-BE49-F238E27FC236}">
                      <a16:creationId xmlns:a16="http://schemas.microsoft.com/office/drawing/2014/main" id="{AED0E119-F017-4EB7-94ED-5C126FE3E318}"/>
                    </a:ext>
                  </a:extLst>
                </p:cNvPr>
                <p:cNvSpPr/>
                <p:nvPr/>
              </p:nvSpPr>
              <p:spPr>
                <a:xfrm>
                  <a:off x="2576716" y="3441636"/>
                  <a:ext cx="325480" cy="872698"/>
                </a:xfrm>
                <a:custGeom>
                  <a:avLst/>
                  <a:gdLst>
                    <a:gd name="connsiteX0" fmla="*/ 264813 w 325480"/>
                    <a:gd name="connsiteY0" fmla="*/ 0 h 872698"/>
                    <a:gd name="connsiteX1" fmla="*/ 182136 w 325480"/>
                    <a:gd name="connsiteY1" fmla="*/ 73819 h 872698"/>
                    <a:gd name="connsiteX2" fmla="*/ 780 w 325480"/>
                    <a:gd name="connsiteY2" fmla="*/ 652558 h 872698"/>
                    <a:gd name="connsiteX3" fmla="*/ 144798 w 325480"/>
                    <a:gd name="connsiteY3" fmla="*/ 871252 h 872698"/>
                    <a:gd name="connsiteX4" fmla="*/ 272814 w 325480"/>
                    <a:gd name="connsiteY4" fmla="*/ 823246 h 872698"/>
                    <a:gd name="connsiteX5" fmla="*/ 312819 w 325480"/>
                    <a:gd name="connsiteY5" fmla="*/ 401860 h 872698"/>
                    <a:gd name="connsiteX6" fmla="*/ 323487 w 325480"/>
                    <a:gd name="connsiteY6" fmla="*/ 116491 h 872698"/>
                    <a:gd name="connsiteX7" fmla="*/ 264813 w 325480"/>
                    <a:gd name="connsiteY7" fmla="*/ 0 h 8726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25480" h="872698">
                      <a:moveTo>
                        <a:pt x="264813" y="0"/>
                      </a:moveTo>
                      <a:cubicBezTo>
                        <a:pt x="264813" y="0"/>
                        <a:pt x="206139" y="15145"/>
                        <a:pt x="182136" y="73819"/>
                      </a:cubicBezTo>
                      <a:cubicBezTo>
                        <a:pt x="158133" y="132493"/>
                        <a:pt x="11448" y="521875"/>
                        <a:pt x="780" y="652558"/>
                      </a:cubicBezTo>
                      <a:cubicBezTo>
                        <a:pt x="-9888" y="783241"/>
                        <a:pt x="91458" y="865918"/>
                        <a:pt x="144798" y="871252"/>
                      </a:cubicBezTo>
                      <a:cubicBezTo>
                        <a:pt x="198138" y="876586"/>
                        <a:pt x="248811" y="868585"/>
                        <a:pt x="272814" y="823246"/>
                      </a:cubicBezTo>
                      <a:cubicBezTo>
                        <a:pt x="296817" y="777907"/>
                        <a:pt x="312819" y="401860"/>
                        <a:pt x="312819" y="401860"/>
                      </a:cubicBezTo>
                      <a:cubicBezTo>
                        <a:pt x="312819" y="401860"/>
                        <a:pt x="331488" y="175165"/>
                        <a:pt x="323487" y="116491"/>
                      </a:cubicBezTo>
                      <a:cubicBezTo>
                        <a:pt x="315486" y="57817"/>
                        <a:pt x="291483" y="6191"/>
                        <a:pt x="264813" y="0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9525" cap="rnd">
                  <a:solidFill>
                    <a:srgbClr val="263238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1675" name="Полилиния: фигура 1674">
                  <a:extLst>
                    <a:ext uri="{FF2B5EF4-FFF2-40B4-BE49-F238E27FC236}">
                      <a16:creationId xmlns:a16="http://schemas.microsoft.com/office/drawing/2014/main" id="{CEC4F6E7-AA8A-4D12-9E8E-F9412659DB47}"/>
                    </a:ext>
                  </a:extLst>
                </p:cNvPr>
                <p:cNvSpPr/>
                <p:nvPr/>
              </p:nvSpPr>
              <p:spPr>
                <a:xfrm>
                  <a:off x="2618263" y="3995010"/>
                  <a:ext cx="254222" cy="48415"/>
                </a:xfrm>
                <a:custGeom>
                  <a:avLst/>
                  <a:gdLst>
                    <a:gd name="connsiteX0" fmla="*/ 0 w 254222"/>
                    <a:gd name="connsiteY0" fmla="*/ 48415 h 48415"/>
                    <a:gd name="connsiteX1" fmla="*/ 254222 w 254222"/>
                    <a:gd name="connsiteY1" fmla="*/ 14506 h 4841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54222" h="48415">
                      <a:moveTo>
                        <a:pt x="0" y="48415"/>
                      </a:moveTo>
                      <a:cubicBezTo>
                        <a:pt x="0" y="48415"/>
                        <a:pt x="150400" y="-32071"/>
                        <a:pt x="254222" y="14506"/>
                      </a:cubicBezTo>
                    </a:path>
                  </a:pathLst>
                </a:custGeom>
                <a:noFill/>
                <a:ln w="9525" cap="rnd">
                  <a:solidFill>
                    <a:srgbClr val="263238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grpSp>
              <p:nvGrpSpPr>
                <p:cNvPr id="1676" name="Рисунок 1631">
                  <a:extLst>
                    <a:ext uri="{FF2B5EF4-FFF2-40B4-BE49-F238E27FC236}">
                      <a16:creationId xmlns:a16="http://schemas.microsoft.com/office/drawing/2014/main" id="{9C91D8E5-555C-42B4-A22C-E503A1627E60}"/>
                    </a:ext>
                  </a:extLst>
                </p:cNvPr>
                <p:cNvGrpSpPr/>
                <p:nvPr/>
              </p:nvGrpSpPr>
              <p:grpSpPr>
                <a:xfrm>
                  <a:off x="2778054" y="4005344"/>
                  <a:ext cx="349647" cy="276809"/>
                  <a:chOff x="2778054" y="4005344"/>
                  <a:chExt cx="349647" cy="276809"/>
                </a:xfrm>
              </p:grpSpPr>
              <p:sp>
                <p:nvSpPr>
                  <p:cNvPr id="1677" name="Полилиния: фигура 1676">
                    <a:extLst>
                      <a:ext uri="{FF2B5EF4-FFF2-40B4-BE49-F238E27FC236}">
                        <a16:creationId xmlns:a16="http://schemas.microsoft.com/office/drawing/2014/main" id="{21A1CE5A-8A77-4A2E-B46C-EBC5F2426AE2}"/>
                      </a:ext>
                    </a:extLst>
                  </p:cNvPr>
                  <p:cNvSpPr/>
                  <p:nvPr/>
                </p:nvSpPr>
                <p:spPr>
                  <a:xfrm>
                    <a:off x="2778054" y="4005344"/>
                    <a:ext cx="347510" cy="276809"/>
                  </a:xfrm>
                  <a:custGeom>
                    <a:avLst/>
                    <a:gdLst>
                      <a:gd name="connsiteX0" fmla="*/ 107576 w 347510"/>
                      <a:gd name="connsiteY0" fmla="*/ 1505 h 276809"/>
                      <a:gd name="connsiteX1" fmla="*/ 32710 w 347510"/>
                      <a:gd name="connsiteY1" fmla="*/ 81420 h 276809"/>
                      <a:gd name="connsiteX2" fmla="*/ 2230 w 347510"/>
                      <a:gd name="connsiteY2" fmla="*/ 218389 h 276809"/>
                      <a:gd name="connsiteX3" fmla="*/ 102433 w 347510"/>
                      <a:gd name="connsiteY3" fmla="*/ 276778 h 276809"/>
                      <a:gd name="connsiteX4" fmla="*/ 175966 w 347510"/>
                      <a:gd name="connsiteY4" fmla="*/ 252679 h 276809"/>
                      <a:gd name="connsiteX5" fmla="*/ 245784 w 347510"/>
                      <a:gd name="connsiteY5" fmla="*/ 154953 h 276809"/>
                      <a:gd name="connsiteX6" fmla="*/ 253404 w 347510"/>
                      <a:gd name="connsiteY6" fmla="*/ 132093 h 276809"/>
                      <a:gd name="connsiteX7" fmla="*/ 311792 w 347510"/>
                      <a:gd name="connsiteY7" fmla="*/ 161239 h 276809"/>
                      <a:gd name="connsiteX8" fmla="*/ 347320 w 347510"/>
                      <a:gd name="connsiteY8" fmla="*/ 132093 h 276809"/>
                      <a:gd name="connsiteX9" fmla="*/ 261024 w 347510"/>
                      <a:gd name="connsiteY9" fmla="*/ 61037 h 276809"/>
                      <a:gd name="connsiteX10" fmla="*/ 167107 w 347510"/>
                      <a:gd name="connsiteY10" fmla="*/ 14078 h 276809"/>
                      <a:gd name="connsiteX11" fmla="*/ 107481 w 347510"/>
                      <a:gd name="connsiteY11" fmla="*/ 1410 h 27680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</a:cxnLst>
                    <a:rect l="l" t="t" r="r" b="b"/>
                    <a:pathLst>
                      <a:path w="347510" h="276809">
                        <a:moveTo>
                          <a:pt x="107576" y="1505"/>
                        </a:moveTo>
                        <a:cubicBezTo>
                          <a:pt x="107576" y="1505"/>
                          <a:pt x="46711" y="34462"/>
                          <a:pt x="32710" y="81420"/>
                        </a:cubicBezTo>
                        <a:cubicBezTo>
                          <a:pt x="18803" y="128378"/>
                          <a:pt x="-7867" y="194291"/>
                          <a:pt x="2230" y="218389"/>
                        </a:cubicBezTo>
                        <a:cubicBezTo>
                          <a:pt x="12326" y="242488"/>
                          <a:pt x="64428" y="278016"/>
                          <a:pt x="102433" y="276778"/>
                        </a:cubicBezTo>
                        <a:cubicBezTo>
                          <a:pt x="140533" y="275539"/>
                          <a:pt x="163297" y="261538"/>
                          <a:pt x="175966" y="252679"/>
                        </a:cubicBezTo>
                        <a:cubicBezTo>
                          <a:pt x="188634" y="243821"/>
                          <a:pt x="238164" y="177813"/>
                          <a:pt x="245784" y="154953"/>
                        </a:cubicBezTo>
                        <a:lnTo>
                          <a:pt x="253404" y="132093"/>
                        </a:lnTo>
                        <a:cubicBezTo>
                          <a:pt x="253404" y="132093"/>
                          <a:pt x="297790" y="153620"/>
                          <a:pt x="311792" y="161239"/>
                        </a:cubicBezTo>
                        <a:cubicBezTo>
                          <a:pt x="325794" y="168860"/>
                          <a:pt x="349892" y="152381"/>
                          <a:pt x="347320" y="132093"/>
                        </a:cubicBezTo>
                        <a:cubicBezTo>
                          <a:pt x="344749" y="111805"/>
                          <a:pt x="288932" y="82658"/>
                          <a:pt x="261024" y="61037"/>
                        </a:cubicBezTo>
                        <a:cubicBezTo>
                          <a:pt x="233116" y="39510"/>
                          <a:pt x="205207" y="26746"/>
                          <a:pt x="167107" y="14078"/>
                        </a:cubicBezTo>
                        <a:cubicBezTo>
                          <a:pt x="129007" y="1410"/>
                          <a:pt x="120149" y="-2400"/>
                          <a:pt x="107481" y="1410"/>
                        </a:cubicBezTo>
                        <a:close/>
                      </a:path>
                    </a:pathLst>
                  </a:custGeom>
                  <a:solidFill>
                    <a:srgbClr val="21A038"/>
                  </a:solidFill>
                  <a:ln w="9525" cap="flat">
                    <a:solidFill>
                      <a:srgbClr val="000000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ru-RU"/>
                  </a:p>
                </p:txBody>
              </p:sp>
              <p:sp>
                <p:nvSpPr>
                  <p:cNvPr id="1678" name="Полилиния: фигура 1677">
                    <a:extLst>
                      <a:ext uri="{FF2B5EF4-FFF2-40B4-BE49-F238E27FC236}">
                        <a16:creationId xmlns:a16="http://schemas.microsoft.com/office/drawing/2014/main" id="{EDEC8A7F-BA9B-4DBC-BC38-A5715DF51BBA}"/>
                      </a:ext>
                    </a:extLst>
                  </p:cNvPr>
                  <p:cNvSpPr/>
                  <p:nvPr/>
                </p:nvSpPr>
                <p:spPr>
                  <a:xfrm>
                    <a:off x="2903442" y="4099528"/>
                    <a:ext cx="128111" cy="38004"/>
                  </a:xfrm>
                  <a:custGeom>
                    <a:avLst/>
                    <a:gdLst>
                      <a:gd name="connsiteX0" fmla="*/ 128111 w 128111"/>
                      <a:gd name="connsiteY0" fmla="*/ 38005 h 38004"/>
                      <a:gd name="connsiteX1" fmla="*/ 32957 w 128111"/>
                      <a:gd name="connsiteY1" fmla="*/ 8858 h 38004"/>
                      <a:gd name="connsiteX2" fmla="*/ 0 w 128111"/>
                      <a:gd name="connsiteY2" fmla="*/ 0 h 3800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</a:cxnLst>
                    <a:rect l="l" t="t" r="r" b="b"/>
                    <a:pathLst>
                      <a:path w="128111" h="38004">
                        <a:moveTo>
                          <a:pt x="128111" y="38005"/>
                        </a:moveTo>
                        <a:cubicBezTo>
                          <a:pt x="128111" y="38005"/>
                          <a:pt x="59626" y="16478"/>
                          <a:pt x="32957" y="8858"/>
                        </a:cubicBezTo>
                        <a:cubicBezTo>
                          <a:pt x="6287" y="1238"/>
                          <a:pt x="0" y="0"/>
                          <a:pt x="0" y="0"/>
                        </a:cubicBezTo>
                      </a:path>
                    </a:pathLst>
                  </a:custGeom>
                  <a:noFill/>
                  <a:ln w="9525" cap="rnd">
                    <a:solidFill>
                      <a:srgbClr val="263238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ru-RU"/>
                  </a:p>
                </p:txBody>
              </p:sp>
              <p:sp>
                <p:nvSpPr>
                  <p:cNvPr id="1679" name="Полилиния: фигура 1678">
                    <a:extLst>
                      <a:ext uri="{FF2B5EF4-FFF2-40B4-BE49-F238E27FC236}">
                        <a16:creationId xmlns:a16="http://schemas.microsoft.com/office/drawing/2014/main" id="{3376646A-120F-4795-9E36-9C7211DB6A09}"/>
                      </a:ext>
                    </a:extLst>
                  </p:cNvPr>
                  <p:cNvSpPr/>
                  <p:nvPr/>
                </p:nvSpPr>
                <p:spPr>
                  <a:xfrm>
                    <a:off x="2841244" y="4143819"/>
                    <a:ext cx="168783" cy="42199"/>
                  </a:xfrm>
                  <a:custGeom>
                    <a:avLst/>
                    <a:gdLst>
                      <a:gd name="connsiteX0" fmla="*/ 168783 w 168783"/>
                      <a:gd name="connsiteY0" fmla="*/ 41910 h 42199"/>
                      <a:gd name="connsiteX1" fmla="*/ 86296 w 168783"/>
                      <a:gd name="connsiteY1" fmla="*/ 34290 h 42199"/>
                      <a:gd name="connsiteX2" fmla="*/ 0 w 168783"/>
                      <a:gd name="connsiteY2" fmla="*/ 0 h 4219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</a:cxnLst>
                    <a:rect l="l" t="t" r="r" b="b"/>
                    <a:pathLst>
                      <a:path w="168783" h="42199">
                        <a:moveTo>
                          <a:pt x="168783" y="41910"/>
                        </a:moveTo>
                        <a:cubicBezTo>
                          <a:pt x="168783" y="41910"/>
                          <a:pt x="124396" y="44482"/>
                          <a:pt x="86296" y="34290"/>
                        </a:cubicBezTo>
                        <a:cubicBezTo>
                          <a:pt x="48196" y="24098"/>
                          <a:pt x="0" y="0"/>
                          <a:pt x="0" y="0"/>
                        </a:cubicBezTo>
                      </a:path>
                    </a:pathLst>
                  </a:custGeom>
                  <a:noFill/>
                  <a:ln w="9525" cap="rnd">
                    <a:solidFill>
                      <a:srgbClr val="263238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ru-RU"/>
                  </a:p>
                </p:txBody>
              </p:sp>
              <p:sp>
                <p:nvSpPr>
                  <p:cNvPr id="1680" name="Полилиния: фигура 1679">
                    <a:extLst>
                      <a:ext uri="{FF2B5EF4-FFF2-40B4-BE49-F238E27FC236}">
                        <a16:creationId xmlns:a16="http://schemas.microsoft.com/office/drawing/2014/main" id="{707EA619-529B-4A61-B328-CD98C519923C}"/>
                      </a:ext>
                    </a:extLst>
                  </p:cNvPr>
                  <p:cNvSpPr/>
                  <p:nvPr/>
                </p:nvSpPr>
                <p:spPr>
                  <a:xfrm>
                    <a:off x="2828575" y="4212399"/>
                    <a:ext cx="145923" cy="29217"/>
                  </a:xfrm>
                  <a:custGeom>
                    <a:avLst/>
                    <a:gdLst>
                      <a:gd name="connsiteX0" fmla="*/ 0 w 145923"/>
                      <a:gd name="connsiteY0" fmla="*/ 0 h 29217"/>
                      <a:gd name="connsiteX1" fmla="*/ 90107 w 145923"/>
                      <a:gd name="connsiteY1" fmla="*/ 26670 h 29217"/>
                      <a:gd name="connsiteX2" fmla="*/ 145923 w 145923"/>
                      <a:gd name="connsiteY2" fmla="*/ 25432 h 2921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</a:cxnLst>
                    <a:rect l="l" t="t" r="r" b="b"/>
                    <a:pathLst>
                      <a:path w="145923" h="29217">
                        <a:moveTo>
                          <a:pt x="0" y="0"/>
                        </a:moveTo>
                        <a:cubicBezTo>
                          <a:pt x="0" y="0"/>
                          <a:pt x="49435" y="20288"/>
                          <a:pt x="90107" y="26670"/>
                        </a:cubicBezTo>
                        <a:cubicBezTo>
                          <a:pt x="130778" y="33052"/>
                          <a:pt x="145923" y="25432"/>
                          <a:pt x="145923" y="25432"/>
                        </a:cubicBezTo>
                      </a:path>
                    </a:pathLst>
                  </a:custGeom>
                  <a:noFill/>
                  <a:ln w="9525" cap="rnd">
                    <a:solidFill>
                      <a:srgbClr val="263238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ru-RU"/>
                  </a:p>
                </p:txBody>
              </p:sp>
              <p:sp>
                <p:nvSpPr>
                  <p:cNvPr id="1681" name="Полилиния: фигура 1680">
                    <a:extLst>
                      <a:ext uri="{FF2B5EF4-FFF2-40B4-BE49-F238E27FC236}">
                        <a16:creationId xmlns:a16="http://schemas.microsoft.com/office/drawing/2014/main" id="{5B9851CF-FBBB-4C49-837E-AB86B6F1EDBE}"/>
                      </a:ext>
                    </a:extLst>
                  </p:cNvPr>
                  <p:cNvSpPr/>
                  <p:nvPr/>
                </p:nvSpPr>
                <p:spPr>
                  <a:xfrm>
                    <a:off x="3029172" y="4051824"/>
                    <a:ext cx="98529" cy="41321"/>
                  </a:xfrm>
                  <a:custGeom>
                    <a:avLst/>
                    <a:gdLst>
                      <a:gd name="connsiteX0" fmla="*/ 8763 w 98529"/>
                      <a:gd name="connsiteY0" fmla="*/ 8270 h 41321"/>
                      <a:gd name="connsiteX1" fmla="*/ 43053 w 98529"/>
                      <a:gd name="connsiteY1" fmla="*/ 8270 h 41321"/>
                      <a:gd name="connsiteX2" fmla="*/ 97631 w 98529"/>
                      <a:gd name="connsiteY2" fmla="*/ 4460 h 41321"/>
                      <a:gd name="connsiteX3" fmla="*/ 84963 w 98529"/>
                      <a:gd name="connsiteY3" fmla="*/ 34940 h 41321"/>
                      <a:gd name="connsiteX4" fmla="*/ 52006 w 98529"/>
                      <a:gd name="connsiteY4" fmla="*/ 41322 h 41321"/>
                      <a:gd name="connsiteX5" fmla="*/ 0 w 98529"/>
                      <a:gd name="connsiteY5" fmla="*/ 8365 h 4132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98529" h="41321">
                        <a:moveTo>
                          <a:pt x="8763" y="8270"/>
                        </a:moveTo>
                        <a:cubicBezTo>
                          <a:pt x="8763" y="8270"/>
                          <a:pt x="15145" y="9508"/>
                          <a:pt x="43053" y="8270"/>
                        </a:cubicBezTo>
                        <a:cubicBezTo>
                          <a:pt x="70961" y="7032"/>
                          <a:pt x="95060" y="-6970"/>
                          <a:pt x="97631" y="4460"/>
                        </a:cubicBezTo>
                        <a:cubicBezTo>
                          <a:pt x="100203" y="15890"/>
                          <a:pt x="97631" y="28558"/>
                          <a:pt x="84963" y="34940"/>
                        </a:cubicBezTo>
                        <a:cubicBezTo>
                          <a:pt x="72295" y="41322"/>
                          <a:pt x="52006" y="41322"/>
                          <a:pt x="52006" y="41322"/>
                        </a:cubicBezTo>
                        <a:lnTo>
                          <a:pt x="0" y="8365"/>
                        </a:lnTo>
                      </a:path>
                    </a:pathLst>
                  </a:custGeom>
                  <a:solidFill>
                    <a:srgbClr val="21A038"/>
                  </a:solidFill>
                  <a:ln w="9525" cap="flat">
                    <a:solidFill>
                      <a:srgbClr val="000000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ru-RU"/>
                  </a:p>
                </p:txBody>
              </p:sp>
            </p:grpSp>
          </p:grpSp>
        </p:grpSp>
        <p:grpSp>
          <p:nvGrpSpPr>
            <p:cNvPr id="1682" name="Рисунок 1631">
              <a:extLst>
                <a:ext uri="{FF2B5EF4-FFF2-40B4-BE49-F238E27FC236}">
                  <a16:creationId xmlns:a16="http://schemas.microsoft.com/office/drawing/2014/main" id="{9C91D8E5-555C-42B4-A22C-E503A1627E60}"/>
                </a:ext>
              </a:extLst>
            </p:cNvPr>
            <p:cNvGrpSpPr/>
            <p:nvPr/>
          </p:nvGrpSpPr>
          <p:grpSpPr>
            <a:xfrm>
              <a:off x="1384919" y="2455569"/>
              <a:ext cx="3516545" cy="2959552"/>
              <a:chOff x="1384919" y="2455569"/>
              <a:chExt cx="3516545" cy="2959552"/>
            </a:xfrm>
          </p:grpSpPr>
          <p:grpSp>
            <p:nvGrpSpPr>
              <p:cNvPr id="1683" name="Рисунок 1631">
                <a:extLst>
                  <a:ext uri="{FF2B5EF4-FFF2-40B4-BE49-F238E27FC236}">
                    <a16:creationId xmlns:a16="http://schemas.microsoft.com/office/drawing/2014/main" id="{9C91D8E5-555C-42B4-A22C-E503A1627E60}"/>
                  </a:ext>
                </a:extLst>
              </p:cNvPr>
              <p:cNvGrpSpPr/>
              <p:nvPr/>
            </p:nvGrpSpPr>
            <p:grpSpPr>
              <a:xfrm>
                <a:off x="1971611" y="3606704"/>
                <a:ext cx="561233" cy="997267"/>
                <a:chOff x="1971611" y="3606704"/>
                <a:chExt cx="561233" cy="997267"/>
              </a:xfrm>
            </p:grpSpPr>
            <p:sp>
              <p:nvSpPr>
                <p:cNvPr id="1684" name="Полилиния: фигура 1683">
                  <a:extLst>
                    <a:ext uri="{FF2B5EF4-FFF2-40B4-BE49-F238E27FC236}">
                      <a16:creationId xmlns:a16="http://schemas.microsoft.com/office/drawing/2014/main" id="{0D9C500C-DFA4-445E-8963-E6EF99FB38D0}"/>
                    </a:ext>
                  </a:extLst>
                </p:cNvPr>
                <p:cNvSpPr/>
                <p:nvPr/>
              </p:nvSpPr>
              <p:spPr>
                <a:xfrm>
                  <a:off x="2412619" y="3787746"/>
                  <a:ext cx="120226" cy="93754"/>
                </a:xfrm>
                <a:custGeom>
                  <a:avLst/>
                  <a:gdLst>
                    <a:gd name="connsiteX0" fmla="*/ 21050 w 120226"/>
                    <a:gd name="connsiteY0" fmla="*/ 16602 h 93754"/>
                    <a:gd name="connsiteX1" fmla="*/ 81820 w 120226"/>
                    <a:gd name="connsiteY1" fmla="*/ 6315 h 93754"/>
                    <a:gd name="connsiteX2" fmla="*/ 119825 w 120226"/>
                    <a:gd name="connsiteY2" fmla="*/ 24413 h 93754"/>
                    <a:gd name="connsiteX3" fmla="*/ 62579 w 120226"/>
                    <a:gd name="connsiteY3" fmla="*/ 67465 h 93754"/>
                    <a:gd name="connsiteX4" fmla="*/ 0 w 120226"/>
                    <a:gd name="connsiteY4" fmla="*/ 93755 h 93754"/>
                    <a:gd name="connsiteX5" fmla="*/ 21050 w 120226"/>
                    <a:gd name="connsiteY5" fmla="*/ 16697 h 9375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120226" h="93754">
                      <a:moveTo>
                        <a:pt x="21050" y="16602"/>
                      </a:moveTo>
                      <a:cubicBezTo>
                        <a:pt x="21050" y="16602"/>
                        <a:pt x="64103" y="14030"/>
                        <a:pt x="81820" y="6315"/>
                      </a:cubicBezTo>
                      <a:cubicBezTo>
                        <a:pt x="99536" y="-1400"/>
                        <a:pt x="123634" y="-7972"/>
                        <a:pt x="119825" y="24413"/>
                      </a:cubicBezTo>
                      <a:cubicBezTo>
                        <a:pt x="117062" y="47749"/>
                        <a:pt x="85249" y="67465"/>
                        <a:pt x="62579" y="67465"/>
                      </a:cubicBezTo>
                      <a:cubicBezTo>
                        <a:pt x="26194" y="67465"/>
                        <a:pt x="0" y="93755"/>
                        <a:pt x="0" y="93755"/>
                      </a:cubicBezTo>
                      <a:lnTo>
                        <a:pt x="21050" y="16697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 cap="rnd">
                  <a:solidFill>
                    <a:srgbClr val="263238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1685" name="Полилиния: фигура 1684">
                  <a:extLst>
                    <a:ext uri="{FF2B5EF4-FFF2-40B4-BE49-F238E27FC236}">
                      <a16:creationId xmlns:a16="http://schemas.microsoft.com/office/drawing/2014/main" id="{4CE051AD-CE85-4382-A540-8CDA9310FE86}"/>
                    </a:ext>
                  </a:extLst>
                </p:cNvPr>
                <p:cNvSpPr/>
                <p:nvPr/>
              </p:nvSpPr>
              <p:spPr>
                <a:xfrm>
                  <a:off x="1971611" y="3606704"/>
                  <a:ext cx="513424" cy="997267"/>
                </a:xfrm>
                <a:custGeom>
                  <a:avLst/>
                  <a:gdLst>
                    <a:gd name="connsiteX0" fmla="*/ 191357 w 513424"/>
                    <a:gd name="connsiteY0" fmla="*/ 0 h 997267"/>
                    <a:gd name="connsiteX1" fmla="*/ 513398 w 513424"/>
                    <a:gd name="connsiteY1" fmla="*/ 89345 h 997267"/>
                    <a:gd name="connsiteX2" fmla="*/ 319088 w 513424"/>
                    <a:gd name="connsiteY2" fmla="*/ 997268 h 997267"/>
                    <a:gd name="connsiteX3" fmla="*/ 0 w 513424"/>
                    <a:gd name="connsiteY3" fmla="*/ 869633 h 997267"/>
                    <a:gd name="connsiteX4" fmla="*/ 191453 w 513424"/>
                    <a:gd name="connsiteY4" fmla="*/ 0 h 99726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13424" h="997267">
                      <a:moveTo>
                        <a:pt x="191357" y="0"/>
                      </a:moveTo>
                      <a:cubicBezTo>
                        <a:pt x="191357" y="0"/>
                        <a:pt x="510730" y="73343"/>
                        <a:pt x="513398" y="89345"/>
                      </a:cubicBezTo>
                      <a:cubicBezTo>
                        <a:pt x="516065" y="105346"/>
                        <a:pt x="319088" y="997268"/>
                        <a:pt x="319088" y="997268"/>
                      </a:cubicBezTo>
                      <a:lnTo>
                        <a:pt x="0" y="869633"/>
                      </a:lnTo>
                      <a:lnTo>
                        <a:pt x="191453" y="0"/>
                      </a:lnTo>
                      <a:close/>
                    </a:path>
                  </a:pathLst>
                </a:custGeom>
                <a:solidFill>
                  <a:srgbClr val="969696"/>
                </a:solidFill>
                <a:ln w="9525" cap="rnd">
                  <a:solidFill>
                    <a:srgbClr val="263238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grpSp>
              <p:nvGrpSpPr>
                <p:cNvPr id="1686" name="Рисунок 1631">
                  <a:extLst>
                    <a:ext uri="{FF2B5EF4-FFF2-40B4-BE49-F238E27FC236}">
                      <a16:creationId xmlns:a16="http://schemas.microsoft.com/office/drawing/2014/main" id="{9C91D8E5-555C-42B4-A22C-E503A1627E60}"/>
                    </a:ext>
                  </a:extLst>
                </p:cNvPr>
                <p:cNvGrpSpPr/>
                <p:nvPr/>
              </p:nvGrpSpPr>
              <p:grpSpPr>
                <a:xfrm>
                  <a:off x="2385449" y="3845269"/>
                  <a:ext cx="117987" cy="180347"/>
                  <a:chOff x="2385449" y="3845269"/>
                  <a:chExt cx="117987" cy="180347"/>
                </a:xfrm>
                <a:solidFill>
                  <a:srgbClr val="FFFFFF"/>
                </a:solidFill>
              </p:grpSpPr>
              <p:sp>
                <p:nvSpPr>
                  <p:cNvPr id="1687" name="Полилиния: фигура 1686">
                    <a:extLst>
                      <a:ext uri="{FF2B5EF4-FFF2-40B4-BE49-F238E27FC236}">
                        <a16:creationId xmlns:a16="http://schemas.microsoft.com/office/drawing/2014/main" id="{7ECA45F9-024E-4858-8688-CB3ACB0BE131}"/>
                      </a:ext>
                    </a:extLst>
                  </p:cNvPr>
                  <p:cNvSpPr/>
                  <p:nvPr/>
                </p:nvSpPr>
                <p:spPr>
                  <a:xfrm>
                    <a:off x="2386918" y="3980938"/>
                    <a:ext cx="73552" cy="44678"/>
                  </a:xfrm>
                  <a:custGeom>
                    <a:avLst/>
                    <a:gdLst>
                      <a:gd name="connsiteX0" fmla="*/ 44369 w 73552"/>
                      <a:gd name="connsiteY0" fmla="*/ 5718 h 44678"/>
                      <a:gd name="connsiteX1" fmla="*/ 73516 w 73552"/>
                      <a:gd name="connsiteY1" fmla="*/ 19815 h 44678"/>
                      <a:gd name="connsiteX2" fmla="*/ 59704 w 73552"/>
                      <a:gd name="connsiteY2" fmla="*/ 43627 h 44678"/>
                      <a:gd name="connsiteX3" fmla="*/ 935 w 73552"/>
                      <a:gd name="connsiteY3" fmla="*/ 28959 h 44678"/>
                      <a:gd name="connsiteX4" fmla="*/ 8936 w 73552"/>
                      <a:gd name="connsiteY4" fmla="*/ 193 h 44678"/>
                      <a:gd name="connsiteX5" fmla="*/ 44464 w 73552"/>
                      <a:gd name="connsiteY5" fmla="*/ 5718 h 4467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73552" h="44678">
                        <a:moveTo>
                          <a:pt x="44369" y="5718"/>
                        </a:moveTo>
                        <a:cubicBezTo>
                          <a:pt x="44369" y="5718"/>
                          <a:pt x="74754" y="11052"/>
                          <a:pt x="73516" y="19815"/>
                        </a:cubicBezTo>
                        <a:cubicBezTo>
                          <a:pt x="71897" y="31340"/>
                          <a:pt x="71992" y="39436"/>
                          <a:pt x="59704" y="43627"/>
                        </a:cubicBezTo>
                        <a:cubicBezTo>
                          <a:pt x="47417" y="47818"/>
                          <a:pt x="3983" y="38770"/>
                          <a:pt x="935" y="28959"/>
                        </a:cubicBezTo>
                        <a:cubicBezTo>
                          <a:pt x="-2113" y="19148"/>
                          <a:pt x="2745" y="1622"/>
                          <a:pt x="8936" y="193"/>
                        </a:cubicBezTo>
                        <a:cubicBezTo>
                          <a:pt x="15127" y="-1235"/>
                          <a:pt x="44464" y="5718"/>
                          <a:pt x="44464" y="5718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 w="9525" cap="rnd">
                    <a:solidFill>
                      <a:srgbClr val="263238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ru-RU"/>
                  </a:p>
                </p:txBody>
              </p:sp>
              <p:sp>
                <p:nvSpPr>
                  <p:cNvPr id="1688" name="Полилиния: фигура 1687">
                    <a:extLst>
                      <a:ext uri="{FF2B5EF4-FFF2-40B4-BE49-F238E27FC236}">
                        <a16:creationId xmlns:a16="http://schemas.microsoft.com/office/drawing/2014/main" id="{FD6217DF-ECB3-4E05-B6EB-BA92ADD0296B}"/>
                      </a:ext>
                    </a:extLst>
                  </p:cNvPr>
                  <p:cNvSpPr/>
                  <p:nvPr/>
                </p:nvSpPr>
                <p:spPr>
                  <a:xfrm>
                    <a:off x="2385449" y="3935757"/>
                    <a:ext cx="91984" cy="55736"/>
                  </a:xfrm>
                  <a:custGeom>
                    <a:avLst/>
                    <a:gdLst>
                      <a:gd name="connsiteX0" fmla="*/ 55459 w 91984"/>
                      <a:gd name="connsiteY0" fmla="*/ 7085 h 55736"/>
                      <a:gd name="connsiteX1" fmla="*/ 91940 w 91984"/>
                      <a:gd name="connsiteY1" fmla="*/ 24706 h 55736"/>
                      <a:gd name="connsiteX2" fmla="*/ 74604 w 91984"/>
                      <a:gd name="connsiteY2" fmla="*/ 54424 h 55736"/>
                      <a:gd name="connsiteX3" fmla="*/ 1167 w 91984"/>
                      <a:gd name="connsiteY3" fmla="*/ 36136 h 55736"/>
                      <a:gd name="connsiteX4" fmla="*/ 11168 w 91984"/>
                      <a:gd name="connsiteY4" fmla="*/ 227 h 55736"/>
                      <a:gd name="connsiteX5" fmla="*/ 55554 w 91984"/>
                      <a:gd name="connsiteY5" fmla="*/ 7085 h 5573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91984" h="55736">
                        <a:moveTo>
                          <a:pt x="55459" y="7085"/>
                        </a:moveTo>
                        <a:cubicBezTo>
                          <a:pt x="55459" y="7085"/>
                          <a:pt x="93464" y="13752"/>
                          <a:pt x="91940" y="24706"/>
                        </a:cubicBezTo>
                        <a:cubicBezTo>
                          <a:pt x="89844" y="39089"/>
                          <a:pt x="90035" y="49185"/>
                          <a:pt x="74604" y="54424"/>
                        </a:cubicBezTo>
                        <a:cubicBezTo>
                          <a:pt x="59174" y="59663"/>
                          <a:pt x="4976" y="48328"/>
                          <a:pt x="1167" y="36136"/>
                        </a:cubicBezTo>
                        <a:cubicBezTo>
                          <a:pt x="-2644" y="23849"/>
                          <a:pt x="3452" y="1941"/>
                          <a:pt x="11168" y="227"/>
                        </a:cubicBezTo>
                        <a:cubicBezTo>
                          <a:pt x="18883" y="-1488"/>
                          <a:pt x="55554" y="7085"/>
                          <a:pt x="55554" y="7085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 w="9525" cap="rnd">
                    <a:solidFill>
                      <a:srgbClr val="263238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ru-RU"/>
                  </a:p>
                </p:txBody>
              </p:sp>
              <p:sp>
                <p:nvSpPr>
                  <p:cNvPr id="1689" name="Полилиния: фигура 1688">
                    <a:extLst>
                      <a:ext uri="{FF2B5EF4-FFF2-40B4-BE49-F238E27FC236}">
                        <a16:creationId xmlns:a16="http://schemas.microsoft.com/office/drawing/2014/main" id="{394FEFD3-4462-4534-BAAE-DA8481222701}"/>
                      </a:ext>
                    </a:extLst>
                  </p:cNvPr>
                  <p:cNvSpPr/>
                  <p:nvPr/>
                </p:nvSpPr>
                <p:spPr>
                  <a:xfrm>
                    <a:off x="2403832" y="3893561"/>
                    <a:ext cx="91984" cy="55736"/>
                  </a:xfrm>
                  <a:custGeom>
                    <a:avLst/>
                    <a:gdLst>
                      <a:gd name="connsiteX0" fmla="*/ 55459 w 91984"/>
                      <a:gd name="connsiteY0" fmla="*/ 7085 h 55736"/>
                      <a:gd name="connsiteX1" fmla="*/ 91940 w 91984"/>
                      <a:gd name="connsiteY1" fmla="*/ 24706 h 55736"/>
                      <a:gd name="connsiteX2" fmla="*/ 74604 w 91984"/>
                      <a:gd name="connsiteY2" fmla="*/ 54424 h 55736"/>
                      <a:gd name="connsiteX3" fmla="*/ 1166 w 91984"/>
                      <a:gd name="connsiteY3" fmla="*/ 36136 h 55736"/>
                      <a:gd name="connsiteX4" fmla="*/ 11168 w 91984"/>
                      <a:gd name="connsiteY4" fmla="*/ 227 h 55736"/>
                      <a:gd name="connsiteX5" fmla="*/ 55554 w 91984"/>
                      <a:gd name="connsiteY5" fmla="*/ 7085 h 5573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91984" h="55736">
                        <a:moveTo>
                          <a:pt x="55459" y="7085"/>
                        </a:moveTo>
                        <a:cubicBezTo>
                          <a:pt x="55459" y="7085"/>
                          <a:pt x="93464" y="13752"/>
                          <a:pt x="91940" y="24706"/>
                        </a:cubicBezTo>
                        <a:cubicBezTo>
                          <a:pt x="89844" y="39089"/>
                          <a:pt x="90035" y="49185"/>
                          <a:pt x="74604" y="54424"/>
                        </a:cubicBezTo>
                        <a:cubicBezTo>
                          <a:pt x="59174" y="59663"/>
                          <a:pt x="4977" y="48328"/>
                          <a:pt x="1166" y="36136"/>
                        </a:cubicBezTo>
                        <a:cubicBezTo>
                          <a:pt x="-2643" y="23849"/>
                          <a:pt x="3453" y="1941"/>
                          <a:pt x="11168" y="227"/>
                        </a:cubicBezTo>
                        <a:cubicBezTo>
                          <a:pt x="18883" y="-1488"/>
                          <a:pt x="55554" y="7085"/>
                          <a:pt x="55554" y="7085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 w="9525" cap="rnd">
                    <a:solidFill>
                      <a:srgbClr val="263238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ru-RU"/>
                  </a:p>
                </p:txBody>
              </p:sp>
              <p:sp>
                <p:nvSpPr>
                  <p:cNvPr id="1690" name="Полилиния: фигура 1689">
                    <a:extLst>
                      <a:ext uri="{FF2B5EF4-FFF2-40B4-BE49-F238E27FC236}">
                        <a16:creationId xmlns:a16="http://schemas.microsoft.com/office/drawing/2014/main" id="{233AFF76-B57F-4E24-9D0A-4727977E4DDC}"/>
                      </a:ext>
                    </a:extLst>
                  </p:cNvPr>
                  <p:cNvSpPr/>
                  <p:nvPr/>
                </p:nvSpPr>
                <p:spPr>
                  <a:xfrm>
                    <a:off x="2411452" y="3845269"/>
                    <a:ext cx="91984" cy="55736"/>
                  </a:xfrm>
                  <a:custGeom>
                    <a:avLst/>
                    <a:gdLst>
                      <a:gd name="connsiteX0" fmla="*/ 55459 w 91984"/>
                      <a:gd name="connsiteY0" fmla="*/ 7085 h 55736"/>
                      <a:gd name="connsiteX1" fmla="*/ 91940 w 91984"/>
                      <a:gd name="connsiteY1" fmla="*/ 24706 h 55736"/>
                      <a:gd name="connsiteX2" fmla="*/ 74604 w 91984"/>
                      <a:gd name="connsiteY2" fmla="*/ 54424 h 55736"/>
                      <a:gd name="connsiteX3" fmla="*/ 1166 w 91984"/>
                      <a:gd name="connsiteY3" fmla="*/ 36136 h 55736"/>
                      <a:gd name="connsiteX4" fmla="*/ 11168 w 91984"/>
                      <a:gd name="connsiteY4" fmla="*/ 227 h 55736"/>
                      <a:gd name="connsiteX5" fmla="*/ 55554 w 91984"/>
                      <a:gd name="connsiteY5" fmla="*/ 7085 h 5573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91984" h="55736">
                        <a:moveTo>
                          <a:pt x="55459" y="7085"/>
                        </a:moveTo>
                        <a:cubicBezTo>
                          <a:pt x="55459" y="7085"/>
                          <a:pt x="93464" y="13752"/>
                          <a:pt x="91940" y="24706"/>
                        </a:cubicBezTo>
                        <a:cubicBezTo>
                          <a:pt x="89844" y="39089"/>
                          <a:pt x="90035" y="49185"/>
                          <a:pt x="74604" y="54424"/>
                        </a:cubicBezTo>
                        <a:cubicBezTo>
                          <a:pt x="59174" y="59663"/>
                          <a:pt x="4976" y="48328"/>
                          <a:pt x="1166" y="36136"/>
                        </a:cubicBezTo>
                        <a:cubicBezTo>
                          <a:pt x="-2643" y="23849"/>
                          <a:pt x="3453" y="1941"/>
                          <a:pt x="11168" y="227"/>
                        </a:cubicBezTo>
                        <a:cubicBezTo>
                          <a:pt x="18883" y="-1488"/>
                          <a:pt x="55554" y="7085"/>
                          <a:pt x="55554" y="7085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 w="9525" cap="rnd">
                    <a:solidFill>
                      <a:srgbClr val="263238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ru-RU"/>
                  </a:p>
                </p:txBody>
              </p:sp>
            </p:grpSp>
          </p:grpSp>
          <p:sp>
            <p:nvSpPr>
              <p:cNvPr id="1691" name="Полилиния: фигура 1690">
                <a:extLst>
                  <a:ext uri="{FF2B5EF4-FFF2-40B4-BE49-F238E27FC236}">
                    <a16:creationId xmlns:a16="http://schemas.microsoft.com/office/drawing/2014/main" id="{A82835BE-F587-4A94-898A-FF92334DC016}"/>
                  </a:ext>
                </a:extLst>
              </p:cNvPr>
              <p:cNvSpPr/>
              <p:nvPr/>
            </p:nvSpPr>
            <p:spPr>
              <a:xfrm>
                <a:off x="1421066" y="4569396"/>
                <a:ext cx="837723" cy="845724"/>
              </a:xfrm>
              <a:custGeom>
                <a:avLst/>
                <a:gdLst>
                  <a:gd name="connsiteX0" fmla="*/ 122301 w 837723"/>
                  <a:gd name="connsiteY0" fmla="*/ 845630 h 845724"/>
                  <a:gd name="connsiteX1" fmla="*/ 0 w 837723"/>
                  <a:gd name="connsiteY1" fmla="*/ 289846 h 845724"/>
                  <a:gd name="connsiteX2" fmla="*/ 10668 w 837723"/>
                  <a:gd name="connsiteY2" fmla="*/ 124968 h 845724"/>
                  <a:gd name="connsiteX3" fmla="*/ 763238 w 837723"/>
                  <a:gd name="connsiteY3" fmla="*/ 0 h 845724"/>
                  <a:gd name="connsiteX4" fmla="*/ 837724 w 837723"/>
                  <a:gd name="connsiteY4" fmla="*/ 103727 h 845724"/>
                  <a:gd name="connsiteX5" fmla="*/ 789813 w 837723"/>
                  <a:gd name="connsiteY5" fmla="*/ 444151 h 845724"/>
                  <a:gd name="connsiteX6" fmla="*/ 752570 w 837723"/>
                  <a:gd name="connsiteY6" fmla="*/ 835057 h 845724"/>
                  <a:gd name="connsiteX7" fmla="*/ 122301 w 837723"/>
                  <a:gd name="connsiteY7" fmla="*/ 845725 h 8457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837723" h="845724">
                    <a:moveTo>
                      <a:pt x="122301" y="845630"/>
                    </a:moveTo>
                    <a:cubicBezTo>
                      <a:pt x="122301" y="845630"/>
                      <a:pt x="0" y="385572"/>
                      <a:pt x="0" y="289846"/>
                    </a:cubicBezTo>
                    <a:cubicBezTo>
                      <a:pt x="0" y="194120"/>
                      <a:pt x="10668" y="124968"/>
                      <a:pt x="10668" y="124968"/>
                    </a:cubicBezTo>
                    <a:lnTo>
                      <a:pt x="763238" y="0"/>
                    </a:lnTo>
                    <a:lnTo>
                      <a:pt x="837724" y="103727"/>
                    </a:lnTo>
                    <a:cubicBezTo>
                      <a:pt x="837724" y="103727"/>
                      <a:pt x="816483" y="268605"/>
                      <a:pt x="789813" y="444151"/>
                    </a:cubicBezTo>
                    <a:cubicBezTo>
                      <a:pt x="763238" y="619697"/>
                      <a:pt x="752570" y="835057"/>
                      <a:pt x="752570" y="835057"/>
                    </a:cubicBezTo>
                    <a:lnTo>
                      <a:pt x="122301" y="845725"/>
                    </a:lnTo>
                    <a:close/>
                  </a:path>
                </a:pathLst>
              </a:custGeom>
              <a:solidFill>
                <a:srgbClr val="263238"/>
              </a:solidFill>
              <a:ln w="9525" cap="rnd">
                <a:solidFill>
                  <a:srgbClr val="263238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grpSp>
            <p:nvGrpSpPr>
              <p:cNvPr id="1692" name="Рисунок 1631">
                <a:extLst>
                  <a:ext uri="{FF2B5EF4-FFF2-40B4-BE49-F238E27FC236}">
                    <a16:creationId xmlns:a16="http://schemas.microsoft.com/office/drawing/2014/main" id="{9C91D8E5-555C-42B4-A22C-E503A1627E60}"/>
                  </a:ext>
                </a:extLst>
              </p:cNvPr>
              <p:cNvGrpSpPr/>
              <p:nvPr/>
            </p:nvGrpSpPr>
            <p:grpSpPr>
              <a:xfrm>
                <a:off x="1384919" y="3251047"/>
                <a:ext cx="927686" cy="1578210"/>
                <a:chOff x="1384919" y="3251047"/>
                <a:chExt cx="927686" cy="1578210"/>
              </a:xfrm>
            </p:grpSpPr>
            <p:sp>
              <p:nvSpPr>
                <p:cNvPr id="1693" name="Полилиния: фигура 1692">
                  <a:extLst>
                    <a:ext uri="{FF2B5EF4-FFF2-40B4-BE49-F238E27FC236}">
                      <a16:creationId xmlns:a16="http://schemas.microsoft.com/office/drawing/2014/main" id="{546494EA-1FB1-46F1-9996-AEDCE7FA2025}"/>
                    </a:ext>
                  </a:extLst>
                </p:cNvPr>
                <p:cNvSpPr/>
                <p:nvPr/>
              </p:nvSpPr>
              <p:spPr>
                <a:xfrm>
                  <a:off x="1384919" y="3251047"/>
                  <a:ext cx="927686" cy="1578210"/>
                </a:xfrm>
                <a:custGeom>
                  <a:avLst/>
                  <a:gdLst>
                    <a:gd name="connsiteX0" fmla="*/ 265414 w 927686"/>
                    <a:gd name="connsiteY0" fmla="*/ 31808 h 1578210"/>
                    <a:gd name="connsiteX1" fmla="*/ 99202 w 927686"/>
                    <a:gd name="connsiteY1" fmla="*/ 258884 h 1578210"/>
                    <a:gd name="connsiteX2" fmla="*/ 40719 w 927686"/>
                    <a:gd name="connsiteY2" fmla="*/ 525679 h 1578210"/>
                    <a:gd name="connsiteX3" fmla="*/ 3286 w 927686"/>
                    <a:gd name="connsiteY3" fmla="*/ 787807 h 1578210"/>
                    <a:gd name="connsiteX4" fmla="*/ 57102 w 927686"/>
                    <a:gd name="connsiteY4" fmla="*/ 1021836 h 1578210"/>
                    <a:gd name="connsiteX5" fmla="*/ 40719 w 927686"/>
                    <a:gd name="connsiteY5" fmla="*/ 1291013 h 1578210"/>
                    <a:gd name="connsiteX6" fmla="*/ 904 w 927686"/>
                    <a:gd name="connsiteY6" fmla="*/ 1482941 h 1578210"/>
                    <a:gd name="connsiteX7" fmla="*/ 578977 w 927686"/>
                    <a:gd name="connsiteY7" fmla="*/ 1576572 h 1578210"/>
                    <a:gd name="connsiteX8" fmla="*/ 749855 w 927686"/>
                    <a:gd name="connsiteY8" fmla="*/ 1539139 h 1578210"/>
                    <a:gd name="connsiteX9" fmla="*/ 796623 w 927686"/>
                    <a:gd name="connsiteY9" fmla="*/ 1387025 h 1578210"/>
                    <a:gd name="connsiteX10" fmla="*/ 803671 w 927686"/>
                    <a:gd name="connsiteY10" fmla="*/ 1543806 h 1578210"/>
                    <a:gd name="connsiteX11" fmla="*/ 873871 w 927686"/>
                    <a:gd name="connsiteY11" fmla="*/ 1518089 h 1578210"/>
                    <a:gd name="connsiteX12" fmla="*/ 927687 w 927686"/>
                    <a:gd name="connsiteY12" fmla="*/ 1494657 h 1578210"/>
                    <a:gd name="connsiteX13" fmla="*/ 901969 w 927686"/>
                    <a:gd name="connsiteY13" fmla="*/ 1094417 h 1578210"/>
                    <a:gd name="connsiteX14" fmla="*/ 906637 w 927686"/>
                    <a:gd name="connsiteY14" fmla="*/ 619310 h 1578210"/>
                    <a:gd name="connsiteX15" fmla="*/ 810720 w 927686"/>
                    <a:gd name="connsiteY15" fmla="*/ 378232 h 1578210"/>
                    <a:gd name="connsiteX16" fmla="*/ 651557 w 927686"/>
                    <a:gd name="connsiteY16" fmla="*/ 134773 h 1578210"/>
                    <a:gd name="connsiteX17" fmla="*/ 574309 w 927686"/>
                    <a:gd name="connsiteY17" fmla="*/ 57525 h 1578210"/>
                    <a:gd name="connsiteX18" fmla="*/ 265318 w 927686"/>
                    <a:gd name="connsiteY18" fmla="*/ 31808 h 157821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</a:cxnLst>
                  <a:rect l="l" t="t" r="r" b="b"/>
                  <a:pathLst>
                    <a:path w="927686" h="1578210">
                      <a:moveTo>
                        <a:pt x="265414" y="31808"/>
                      </a:moveTo>
                      <a:cubicBezTo>
                        <a:pt x="265414" y="31808"/>
                        <a:pt x="125015" y="174587"/>
                        <a:pt x="99202" y="258884"/>
                      </a:cubicBezTo>
                      <a:cubicBezTo>
                        <a:pt x="73485" y="343180"/>
                        <a:pt x="64055" y="382899"/>
                        <a:pt x="40719" y="525679"/>
                      </a:cubicBezTo>
                      <a:cubicBezTo>
                        <a:pt x="17287" y="668459"/>
                        <a:pt x="-3763" y="726942"/>
                        <a:pt x="3286" y="787807"/>
                      </a:cubicBezTo>
                      <a:cubicBezTo>
                        <a:pt x="10334" y="848672"/>
                        <a:pt x="57102" y="1021836"/>
                        <a:pt x="57102" y="1021836"/>
                      </a:cubicBezTo>
                      <a:cubicBezTo>
                        <a:pt x="57102" y="1021836"/>
                        <a:pt x="52435" y="1192715"/>
                        <a:pt x="40719" y="1291013"/>
                      </a:cubicBezTo>
                      <a:cubicBezTo>
                        <a:pt x="29003" y="1389311"/>
                        <a:pt x="-6049" y="1454843"/>
                        <a:pt x="904" y="1482941"/>
                      </a:cubicBezTo>
                      <a:cubicBezTo>
                        <a:pt x="7858" y="1511040"/>
                        <a:pt x="480679" y="1590574"/>
                        <a:pt x="578977" y="1576572"/>
                      </a:cubicBezTo>
                      <a:cubicBezTo>
                        <a:pt x="677275" y="1562570"/>
                        <a:pt x="749855" y="1539139"/>
                        <a:pt x="749855" y="1539139"/>
                      </a:cubicBezTo>
                      <a:lnTo>
                        <a:pt x="796623" y="1387025"/>
                      </a:lnTo>
                      <a:lnTo>
                        <a:pt x="803671" y="1543806"/>
                      </a:lnTo>
                      <a:cubicBezTo>
                        <a:pt x="803671" y="1543806"/>
                        <a:pt x="850439" y="1527423"/>
                        <a:pt x="873871" y="1518089"/>
                      </a:cubicBezTo>
                      <a:cubicBezTo>
                        <a:pt x="897302" y="1508754"/>
                        <a:pt x="927687" y="1494657"/>
                        <a:pt x="927687" y="1494657"/>
                      </a:cubicBezTo>
                      <a:cubicBezTo>
                        <a:pt x="927687" y="1494657"/>
                        <a:pt x="901969" y="1101465"/>
                        <a:pt x="901969" y="1094417"/>
                      </a:cubicBezTo>
                      <a:cubicBezTo>
                        <a:pt x="901969" y="1087368"/>
                        <a:pt x="911304" y="673126"/>
                        <a:pt x="906637" y="619310"/>
                      </a:cubicBezTo>
                      <a:cubicBezTo>
                        <a:pt x="901969" y="565493"/>
                        <a:pt x="857488" y="453098"/>
                        <a:pt x="810720" y="378232"/>
                      </a:cubicBezTo>
                      <a:cubicBezTo>
                        <a:pt x="763952" y="303365"/>
                        <a:pt x="679656" y="167539"/>
                        <a:pt x="651557" y="134773"/>
                      </a:cubicBezTo>
                      <a:cubicBezTo>
                        <a:pt x="623458" y="102007"/>
                        <a:pt x="639841" y="111341"/>
                        <a:pt x="574309" y="57525"/>
                      </a:cubicBezTo>
                      <a:cubicBezTo>
                        <a:pt x="508777" y="3709"/>
                        <a:pt x="356663" y="-26771"/>
                        <a:pt x="265318" y="31808"/>
                      </a:cubicBezTo>
                      <a:close/>
                    </a:path>
                  </a:pathLst>
                </a:custGeom>
                <a:solidFill>
                  <a:srgbClr val="21A038"/>
                </a:solidFill>
                <a:ln w="9525" cap="flat">
                  <a:solidFill>
                    <a:srgbClr val="000000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grpSp>
              <p:nvGrpSpPr>
                <p:cNvPr id="1694" name="Рисунок 1631">
                  <a:extLst>
                    <a:ext uri="{FF2B5EF4-FFF2-40B4-BE49-F238E27FC236}">
                      <a16:creationId xmlns:a16="http://schemas.microsoft.com/office/drawing/2014/main" id="{9C91D8E5-555C-42B4-A22C-E503A1627E60}"/>
                    </a:ext>
                  </a:extLst>
                </p:cNvPr>
                <p:cNvGrpSpPr/>
                <p:nvPr/>
              </p:nvGrpSpPr>
              <p:grpSpPr>
                <a:xfrm>
                  <a:off x="1409827" y="4071905"/>
                  <a:ext cx="887158" cy="553116"/>
                  <a:chOff x="1409827" y="4071905"/>
                  <a:chExt cx="887158" cy="553116"/>
                </a:xfrm>
                <a:solidFill>
                  <a:srgbClr val="FFFFFF"/>
                </a:solidFill>
              </p:grpSpPr>
              <p:sp>
                <p:nvSpPr>
                  <p:cNvPr id="1695" name="Полилиния: фигура 1694">
                    <a:extLst>
                      <a:ext uri="{FF2B5EF4-FFF2-40B4-BE49-F238E27FC236}">
                        <a16:creationId xmlns:a16="http://schemas.microsoft.com/office/drawing/2014/main" id="{87C7AACC-74A8-421E-AD9C-2C59751AFAA0}"/>
                      </a:ext>
                    </a:extLst>
                  </p:cNvPr>
                  <p:cNvSpPr/>
                  <p:nvPr/>
                </p:nvSpPr>
                <p:spPr>
                  <a:xfrm>
                    <a:off x="1409827" y="4353620"/>
                    <a:ext cx="887158" cy="271402"/>
                  </a:xfrm>
                  <a:custGeom>
                    <a:avLst/>
                    <a:gdLst>
                      <a:gd name="connsiteX0" fmla="*/ 879729 w 887158"/>
                      <a:gd name="connsiteY0" fmla="*/ 33658 h 271402"/>
                      <a:gd name="connsiteX1" fmla="*/ 790480 w 887158"/>
                      <a:gd name="connsiteY1" fmla="*/ 321 h 271402"/>
                      <a:gd name="connsiteX2" fmla="*/ 266605 w 887158"/>
                      <a:gd name="connsiteY2" fmla="*/ 143958 h 271402"/>
                      <a:gd name="connsiteX3" fmla="*/ 19145 w 887158"/>
                      <a:gd name="connsiteY3" fmla="*/ 158722 h 271402"/>
                      <a:gd name="connsiteX4" fmla="*/ 16002 w 887158"/>
                      <a:gd name="connsiteY4" fmla="*/ 188535 h 271402"/>
                      <a:gd name="connsiteX5" fmla="*/ 0 w 887158"/>
                      <a:gd name="connsiteY5" fmla="*/ 271402 h 271402"/>
                      <a:gd name="connsiteX6" fmla="*/ 16573 w 887158"/>
                      <a:gd name="connsiteY6" fmla="*/ 268926 h 271402"/>
                      <a:gd name="connsiteX7" fmla="*/ 423482 w 887158"/>
                      <a:gd name="connsiteY7" fmla="*/ 221015 h 271402"/>
                      <a:gd name="connsiteX8" fmla="*/ 798481 w 887158"/>
                      <a:gd name="connsiteY8" fmla="*/ 109287 h 271402"/>
                      <a:gd name="connsiteX9" fmla="*/ 887159 w 887158"/>
                      <a:gd name="connsiteY9" fmla="*/ 148149 h 271402"/>
                      <a:gd name="connsiteX10" fmla="*/ 879824 w 887158"/>
                      <a:gd name="connsiteY10" fmla="*/ 33658 h 27140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</a:cxnLst>
                    <a:rect l="l" t="t" r="r" b="b"/>
                    <a:pathLst>
                      <a:path w="887158" h="271402">
                        <a:moveTo>
                          <a:pt x="879729" y="33658"/>
                        </a:moveTo>
                        <a:cubicBezTo>
                          <a:pt x="852678" y="16513"/>
                          <a:pt x="816007" y="-2727"/>
                          <a:pt x="790480" y="321"/>
                        </a:cubicBezTo>
                        <a:cubicBezTo>
                          <a:pt x="745236" y="5655"/>
                          <a:pt x="476631" y="122622"/>
                          <a:pt x="266605" y="143958"/>
                        </a:cubicBezTo>
                        <a:cubicBezTo>
                          <a:pt x="144399" y="156340"/>
                          <a:pt x="64579" y="158817"/>
                          <a:pt x="19145" y="158722"/>
                        </a:cubicBezTo>
                        <a:cubicBezTo>
                          <a:pt x="18193" y="169199"/>
                          <a:pt x="17145" y="179200"/>
                          <a:pt x="16002" y="188535"/>
                        </a:cubicBezTo>
                        <a:cubicBezTo>
                          <a:pt x="12287" y="219491"/>
                          <a:pt x="6286" y="247114"/>
                          <a:pt x="0" y="271402"/>
                        </a:cubicBezTo>
                        <a:lnTo>
                          <a:pt x="16573" y="268926"/>
                        </a:lnTo>
                        <a:cubicBezTo>
                          <a:pt x="16573" y="268926"/>
                          <a:pt x="295846" y="250352"/>
                          <a:pt x="423482" y="221015"/>
                        </a:cubicBezTo>
                        <a:cubicBezTo>
                          <a:pt x="551117" y="191773"/>
                          <a:pt x="782479" y="101381"/>
                          <a:pt x="798481" y="109287"/>
                        </a:cubicBezTo>
                        <a:cubicBezTo>
                          <a:pt x="808577" y="114335"/>
                          <a:pt x="854488" y="134147"/>
                          <a:pt x="887159" y="148149"/>
                        </a:cubicBezTo>
                        <a:cubicBezTo>
                          <a:pt x="884301" y="103858"/>
                          <a:pt x="881634" y="62614"/>
                          <a:pt x="879824" y="33658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 w="9525" cap="rnd">
                    <a:solidFill>
                      <a:srgbClr val="263238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ru-RU"/>
                  </a:p>
                </p:txBody>
              </p:sp>
              <p:sp>
                <p:nvSpPr>
                  <p:cNvPr id="1696" name="Полилиния: фигура 1695">
                    <a:extLst>
                      <a:ext uri="{FF2B5EF4-FFF2-40B4-BE49-F238E27FC236}">
                        <a16:creationId xmlns:a16="http://schemas.microsoft.com/office/drawing/2014/main" id="{4B45C7A6-91B2-4A81-9FC9-489ED4B45880}"/>
                      </a:ext>
                    </a:extLst>
                  </p:cNvPr>
                  <p:cNvSpPr/>
                  <p:nvPr/>
                </p:nvSpPr>
                <p:spPr>
                  <a:xfrm>
                    <a:off x="1438402" y="4071905"/>
                    <a:ext cx="853630" cy="311461"/>
                  </a:xfrm>
                  <a:custGeom>
                    <a:avLst/>
                    <a:gdLst>
                      <a:gd name="connsiteX0" fmla="*/ 618268 w 853630"/>
                      <a:gd name="connsiteY0" fmla="*/ 26765 h 311461"/>
                      <a:gd name="connsiteX1" fmla="*/ 120967 w 853630"/>
                      <a:gd name="connsiteY1" fmla="*/ 202311 h 311461"/>
                      <a:gd name="connsiteX2" fmla="*/ 286 w 853630"/>
                      <a:gd name="connsiteY2" fmla="*/ 188214 h 311461"/>
                      <a:gd name="connsiteX3" fmla="*/ 3715 w 853630"/>
                      <a:gd name="connsiteY3" fmla="*/ 201073 h 311461"/>
                      <a:gd name="connsiteX4" fmla="*/ 0 w 853630"/>
                      <a:gd name="connsiteY4" fmla="*/ 297561 h 311461"/>
                      <a:gd name="connsiteX5" fmla="*/ 30575 w 853630"/>
                      <a:gd name="connsiteY5" fmla="*/ 308705 h 311461"/>
                      <a:gd name="connsiteX6" fmla="*/ 144971 w 853630"/>
                      <a:gd name="connsiteY6" fmla="*/ 292703 h 311461"/>
                      <a:gd name="connsiteX7" fmla="*/ 652939 w 853630"/>
                      <a:gd name="connsiteY7" fmla="*/ 117158 h 311461"/>
                      <a:gd name="connsiteX8" fmla="*/ 851535 w 853630"/>
                      <a:gd name="connsiteY8" fmla="*/ 129540 h 311461"/>
                      <a:gd name="connsiteX9" fmla="*/ 853630 w 853630"/>
                      <a:gd name="connsiteY9" fmla="*/ 0 h 311461"/>
                      <a:gd name="connsiteX10" fmla="*/ 618363 w 853630"/>
                      <a:gd name="connsiteY10" fmla="*/ 26765 h 31146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</a:cxnLst>
                    <a:rect l="l" t="t" r="r" b="b"/>
                    <a:pathLst>
                      <a:path w="853630" h="311461">
                        <a:moveTo>
                          <a:pt x="618268" y="26765"/>
                        </a:moveTo>
                        <a:cubicBezTo>
                          <a:pt x="517208" y="58674"/>
                          <a:pt x="144875" y="199644"/>
                          <a:pt x="120967" y="202311"/>
                        </a:cubicBezTo>
                        <a:cubicBezTo>
                          <a:pt x="105823" y="204026"/>
                          <a:pt x="43815" y="194977"/>
                          <a:pt x="286" y="188214"/>
                        </a:cubicBezTo>
                        <a:cubicBezTo>
                          <a:pt x="2476" y="196310"/>
                          <a:pt x="3715" y="201073"/>
                          <a:pt x="3715" y="201073"/>
                        </a:cubicBezTo>
                        <a:cubicBezTo>
                          <a:pt x="3715" y="201073"/>
                          <a:pt x="2572" y="243173"/>
                          <a:pt x="0" y="297561"/>
                        </a:cubicBezTo>
                        <a:cubicBezTo>
                          <a:pt x="11430" y="301847"/>
                          <a:pt x="22574" y="306038"/>
                          <a:pt x="30575" y="308705"/>
                        </a:cubicBezTo>
                        <a:cubicBezTo>
                          <a:pt x="54483" y="316706"/>
                          <a:pt x="115633" y="306038"/>
                          <a:pt x="144971" y="292703"/>
                        </a:cubicBezTo>
                        <a:cubicBezTo>
                          <a:pt x="174212" y="279368"/>
                          <a:pt x="610362" y="125159"/>
                          <a:pt x="652939" y="117158"/>
                        </a:cubicBezTo>
                        <a:cubicBezTo>
                          <a:pt x="681800" y="111728"/>
                          <a:pt x="786765" y="122206"/>
                          <a:pt x="851535" y="129540"/>
                        </a:cubicBezTo>
                        <a:cubicBezTo>
                          <a:pt x="852297" y="88773"/>
                          <a:pt x="853059" y="43625"/>
                          <a:pt x="853630" y="0"/>
                        </a:cubicBezTo>
                        <a:cubicBezTo>
                          <a:pt x="790956" y="762"/>
                          <a:pt x="685800" y="5525"/>
                          <a:pt x="618363" y="26765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 w="9525" cap="rnd">
                    <a:solidFill>
                      <a:srgbClr val="263238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ru-RU"/>
                  </a:p>
                </p:txBody>
              </p:sp>
            </p:grpSp>
            <p:sp>
              <p:nvSpPr>
                <p:cNvPr id="1697" name="Полилиния: фигура 1696">
                  <a:extLst>
                    <a:ext uri="{FF2B5EF4-FFF2-40B4-BE49-F238E27FC236}">
                      <a16:creationId xmlns:a16="http://schemas.microsoft.com/office/drawing/2014/main" id="{05C3C048-79F9-4E6A-A8D9-A3421903456A}"/>
                    </a:ext>
                  </a:extLst>
                </p:cNvPr>
                <p:cNvSpPr/>
                <p:nvPr/>
              </p:nvSpPr>
              <p:spPr>
                <a:xfrm>
                  <a:off x="1522983" y="4183824"/>
                  <a:ext cx="173926" cy="356806"/>
                </a:xfrm>
                <a:custGeom>
                  <a:avLst/>
                  <a:gdLst>
                    <a:gd name="connsiteX0" fmla="*/ 173927 w 173926"/>
                    <a:gd name="connsiteY0" fmla="*/ 0 h 356806"/>
                    <a:gd name="connsiteX1" fmla="*/ 0 w 173926"/>
                    <a:gd name="connsiteY1" fmla="*/ 356807 h 35680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73926" h="356806">
                      <a:moveTo>
                        <a:pt x="173927" y="0"/>
                      </a:moveTo>
                      <a:cubicBezTo>
                        <a:pt x="173927" y="0"/>
                        <a:pt x="75819" y="249746"/>
                        <a:pt x="0" y="356807"/>
                      </a:cubicBezTo>
                    </a:path>
                  </a:pathLst>
                </a:custGeom>
                <a:noFill/>
                <a:ln w="9525" cap="rnd">
                  <a:solidFill>
                    <a:srgbClr val="263238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1698" name="Полилиния: фигура 1697">
                  <a:extLst>
                    <a:ext uri="{FF2B5EF4-FFF2-40B4-BE49-F238E27FC236}">
                      <a16:creationId xmlns:a16="http://schemas.microsoft.com/office/drawing/2014/main" id="{3B053DA3-FCE3-43B0-985A-32407A51935A}"/>
                    </a:ext>
                  </a:extLst>
                </p:cNvPr>
                <p:cNvSpPr/>
                <p:nvPr/>
              </p:nvSpPr>
              <p:spPr>
                <a:xfrm>
                  <a:off x="1518507" y="4348892"/>
                  <a:ext cx="276510" cy="321183"/>
                </a:xfrm>
                <a:custGeom>
                  <a:avLst/>
                  <a:gdLst>
                    <a:gd name="connsiteX0" fmla="*/ 276511 w 276510"/>
                    <a:gd name="connsiteY0" fmla="*/ 0 h 321183"/>
                    <a:gd name="connsiteX1" fmla="*/ 0 w 276510"/>
                    <a:gd name="connsiteY1" fmla="*/ 321183 h 32118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76510" h="321183">
                      <a:moveTo>
                        <a:pt x="276511" y="0"/>
                      </a:moveTo>
                      <a:cubicBezTo>
                        <a:pt x="276511" y="0"/>
                        <a:pt x="115919" y="209645"/>
                        <a:pt x="0" y="321183"/>
                      </a:cubicBezTo>
                    </a:path>
                  </a:pathLst>
                </a:custGeom>
                <a:noFill/>
                <a:ln w="9525" cap="rnd">
                  <a:solidFill>
                    <a:srgbClr val="263238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1699" name="Полилиния: фигура 1698">
                  <a:extLst>
                    <a:ext uri="{FF2B5EF4-FFF2-40B4-BE49-F238E27FC236}">
                      <a16:creationId xmlns:a16="http://schemas.microsoft.com/office/drawing/2014/main" id="{3CB4B25B-2F83-42D3-A8DE-6CF3F2A6FB57}"/>
                    </a:ext>
                  </a:extLst>
                </p:cNvPr>
                <p:cNvSpPr/>
                <p:nvPr/>
              </p:nvSpPr>
              <p:spPr>
                <a:xfrm>
                  <a:off x="2120677" y="3675284"/>
                  <a:ext cx="93206" cy="829627"/>
                </a:xfrm>
                <a:custGeom>
                  <a:avLst/>
                  <a:gdLst>
                    <a:gd name="connsiteX0" fmla="*/ 0 w 93206"/>
                    <a:gd name="connsiteY0" fmla="*/ 0 h 829627"/>
                    <a:gd name="connsiteX1" fmla="*/ 80296 w 93206"/>
                    <a:gd name="connsiteY1" fmla="*/ 236410 h 829627"/>
                    <a:gd name="connsiteX2" fmla="*/ 89249 w 93206"/>
                    <a:gd name="connsiteY2" fmla="*/ 829628 h 82962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93206" h="829627">
                      <a:moveTo>
                        <a:pt x="0" y="0"/>
                      </a:moveTo>
                      <a:cubicBezTo>
                        <a:pt x="0" y="0"/>
                        <a:pt x="58007" y="116014"/>
                        <a:pt x="80296" y="236410"/>
                      </a:cubicBezTo>
                      <a:cubicBezTo>
                        <a:pt x="102584" y="356806"/>
                        <a:pt x="89249" y="816292"/>
                        <a:pt x="89249" y="829628"/>
                      </a:cubicBezTo>
                    </a:path>
                  </a:pathLst>
                </a:custGeom>
                <a:noFill/>
                <a:ln w="9525" cap="rnd">
                  <a:solidFill>
                    <a:srgbClr val="263238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1700" name="Полилиния: фигура 1699">
                  <a:extLst>
                    <a:ext uri="{FF2B5EF4-FFF2-40B4-BE49-F238E27FC236}">
                      <a16:creationId xmlns:a16="http://schemas.microsoft.com/office/drawing/2014/main" id="{402F8888-BEBD-454B-B349-4BEC0D233E0E}"/>
                    </a:ext>
                  </a:extLst>
                </p:cNvPr>
                <p:cNvSpPr/>
                <p:nvPr/>
              </p:nvSpPr>
              <p:spPr>
                <a:xfrm>
                  <a:off x="1488408" y="4138580"/>
                  <a:ext cx="165163" cy="70235"/>
                </a:xfrm>
                <a:custGeom>
                  <a:avLst/>
                  <a:gdLst>
                    <a:gd name="connsiteX0" fmla="*/ 0 w 165163"/>
                    <a:gd name="connsiteY0" fmla="*/ 0 h 70235"/>
                    <a:gd name="connsiteX1" fmla="*/ 82582 w 165163"/>
                    <a:gd name="connsiteY1" fmla="*/ 68294 h 70235"/>
                    <a:gd name="connsiteX2" fmla="*/ 165163 w 165163"/>
                    <a:gd name="connsiteY2" fmla="*/ 36957 h 7023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65163" h="70235">
                      <a:moveTo>
                        <a:pt x="0" y="0"/>
                      </a:moveTo>
                      <a:cubicBezTo>
                        <a:pt x="0" y="0"/>
                        <a:pt x="68294" y="56960"/>
                        <a:pt x="82582" y="68294"/>
                      </a:cubicBezTo>
                      <a:cubicBezTo>
                        <a:pt x="96774" y="79724"/>
                        <a:pt x="165163" y="36957"/>
                        <a:pt x="165163" y="36957"/>
                      </a:cubicBezTo>
                    </a:path>
                  </a:pathLst>
                </a:custGeom>
                <a:noFill/>
                <a:ln w="9525" cap="rnd">
                  <a:solidFill>
                    <a:srgbClr val="263238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</p:grpSp>
          <p:sp>
            <p:nvSpPr>
              <p:cNvPr id="1701" name="Полилиния: фигура 1700">
                <a:extLst>
                  <a:ext uri="{FF2B5EF4-FFF2-40B4-BE49-F238E27FC236}">
                    <a16:creationId xmlns:a16="http://schemas.microsoft.com/office/drawing/2014/main" id="{015A8F57-5E56-4CCF-A726-3EF510FC51E7}"/>
                  </a:ext>
                </a:extLst>
              </p:cNvPr>
              <p:cNvSpPr/>
              <p:nvPr/>
            </p:nvSpPr>
            <p:spPr>
              <a:xfrm>
                <a:off x="1693957" y="3251293"/>
                <a:ext cx="403479" cy="356935"/>
              </a:xfrm>
              <a:custGeom>
                <a:avLst/>
                <a:gdLst>
                  <a:gd name="connsiteX0" fmla="*/ 295942 w 403479"/>
                  <a:gd name="connsiteY0" fmla="*/ 82996 h 356935"/>
                  <a:gd name="connsiteX1" fmla="*/ 265367 w 403479"/>
                  <a:gd name="connsiteY1" fmla="*/ 57374 h 356935"/>
                  <a:gd name="connsiteX2" fmla="*/ 0 w 403479"/>
                  <a:gd name="connsiteY2" fmla="*/ 11654 h 356935"/>
                  <a:gd name="connsiteX3" fmla="*/ 155353 w 403479"/>
                  <a:gd name="connsiteY3" fmla="*/ 125192 h 356935"/>
                  <a:gd name="connsiteX4" fmla="*/ 403479 w 403479"/>
                  <a:gd name="connsiteY4" fmla="*/ 356935 h 356935"/>
                  <a:gd name="connsiteX5" fmla="*/ 295942 w 403479"/>
                  <a:gd name="connsiteY5" fmla="*/ 82996 h 3569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403479" h="356935">
                    <a:moveTo>
                      <a:pt x="295942" y="82996"/>
                    </a:moveTo>
                    <a:cubicBezTo>
                      <a:pt x="288322" y="76424"/>
                      <a:pt x="278606" y="68233"/>
                      <a:pt x="265367" y="57374"/>
                    </a:cubicBezTo>
                    <a:cubicBezTo>
                      <a:pt x="209455" y="11368"/>
                      <a:pt x="90392" y="-17302"/>
                      <a:pt x="0" y="11654"/>
                    </a:cubicBezTo>
                    <a:cubicBezTo>
                      <a:pt x="35719" y="28132"/>
                      <a:pt x="102965" y="64613"/>
                      <a:pt x="155353" y="125192"/>
                    </a:cubicBezTo>
                    <a:cubicBezTo>
                      <a:pt x="230219" y="211774"/>
                      <a:pt x="403479" y="356935"/>
                      <a:pt x="403479" y="356935"/>
                    </a:cubicBezTo>
                    <a:cubicBezTo>
                      <a:pt x="403479" y="356935"/>
                      <a:pt x="353854" y="179961"/>
                      <a:pt x="295942" y="82996"/>
                    </a:cubicBezTo>
                    <a:close/>
                  </a:path>
                </a:pathLst>
              </a:custGeom>
              <a:solidFill>
                <a:srgbClr val="263238"/>
              </a:solidFill>
              <a:ln w="9525" cap="rnd">
                <a:solidFill>
                  <a:srgbClr val="263238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grpSp>
            <p:nvGrpSpPr>
              <p:cNvPr id="1702" name="Рисунок 1631">
                <a:extLst>
                  <a:ext uri="{FF2B5EF4-FFF2-40B4-BE49-F238E27FC236}">
                    <a16:creationId xmlns:a16="http://schemas.microsoft.com/office/drawing/2014/main" id="{9C91D8E5-555C-42B4-A22C-E503A1627E60}"/>
                  </a:ext>
                </a:extLst>
              </p:cNvPr>
              <p:cNvGrpSpPr/>
              <p:nvPr/>
            </p:nvGrpSpPr>
            <p:grpSpPr>
              <a:xfrm>
                <a:off x="1561031" y="2844514"/>
                <a:ext cx="744240" cy="592754"/>
                <a:chOff x="1561031" y="2844514"/>
                <a:chExt cx="744240" cy="592754"/>
              </a:xfrm>
            </p:grpSpPr>
            <p:sp>
              <p:nvSpPr>
                <p:cNvPr id="1703" name="Полилиния: фигура 1702">
                  <a:extLst>
                    <a:ext uri="{FF2B5EF4-FFF2-40B4-BE49-F238E27FC236}">
                      <a16:creationId xmlns:a16="http://schemas.microsoft.com/office/drawing/2014/main" id="{B2A3D501-1694-4F3D-A812-1B9A10ED33E9}"/>
                    </a:ext>
                  </a:extLst>
                </p:cNvPr>
                <p:cNvSpPr/>
                <p:nvPr/>
              </p:nvSpPr>
              <p:spPr>
                <a:xfrm>
                  <a:off x="1770919" y="2847562"/>
                  <a:ext cx="514166" cy="589706"/>
                </a:xfrm>
                <a:custGeom>
                  <a:avLst/>
                  <a:gdLst>
                    <a:gd name="connsiteX0" fmla="*/ 493586 w 514166"/>
                    <a:gd name="connsiteY0" fmla="*/ 57150 h 589706"/>
                    <a:gd name="connsiteX1" fmla="*/ 495205 w 514166"/>
                    <a:gd name="connsiteY1" fmla="*/ 114205 h 589706"/>
                    <a:gd name="connsiteX2" fmla="*/ 475678 w 514166"/>
                    <a:gd name="connsiteY2" fmla="*/ 166307 h 589706"/>
                    <a:gd name="connsiteX3" fmla="*/ 496824 w 514166"/>
                    <a:gd name="connsiteY3" fmla="*/ 237934 h 589706"/>
                    <a:gd name="connsiteX4" fmla="*/ 513112 w 514166"/>
                    <a:gd name="connsiteY4" fmla="*/ 288417 h 589706"/>
                    <a:gd name="connsiteX5" fmla="*/ 449580 w 514166"/>
                    <a:gd name="connsiteY5" fmla="*/ 325850 h 589706"/>
                    <a:gd name="connsiteX6" fmla="*/ 387668 w 514166"/>
                    <a:gd name="connsiteY6" fmla="*/ 472440 h 589706"/>
                    <a:gd name="connsiteX7" fmla="*/ 307848 w 514166"/>
                    <a:gd name="connsiteY7" fmla="*/ 459391 h 589706"/>
                    <a:gd name="connsiteX8" fmla="*/ 237839 w 514166"/>
                    <a:gd name="connsiteY8" fmla="*/ 426815 h 589706"/>
                    <a:gd name="connsiteX9" fmla="*/ 211741 w 514166"/>
                    <a:gd name="connsiteY9" fmla="*/ 501777 h 589706"/>
                    <a:gd name="connsiteX10" fmla="*/ 214979 w 514166"/>
                    <a:gd name="connsiteY10" fmla="*/ 589693 h 589706"/>
                    <a:gd name="connsiteX11" fmla="*/ 100965 w 514166"/>
                    <a:gd name="connsiteY11" fmla="*/ 500063 h 589706"/>
                    <a:gd name="connsiteX12" fmla="*/ 0 w 514166"/>
                    <a:gd name="connsiteY12" fmla="*/ 174308 h 589706"/>
                    <a:gd name="connsiteX13" fmla="*/ 1619 w 514166"/>
                    <a:gd name="connsiteY13" fmla="*/ 0 h 589706"/>
                    <a:gd name="connsiteX14" fmla="*/ 493490 w 514166"/>
                    <a:gd name="connsiteY14" fmla="*/ 57055 h 58970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</a:cxnLst>
                  <a:rect l="l" t="t" r="r" b="b"/>
                  <a:pathLst>
                    <a:path w="514166" h="589706">
                      <a:moveTo>
                        <a:pt x="493586" y="57150"/>
                      </a:moveTo>
                      <a:cubicBezTo>
                        <a:pt x="493586" y="57150"/>
                        <a:pt x="496824" y="99536"/>
                        <a:pt x="495205" y="114205"/>
                      </a:cubicBezTo>
                      <a:cubicBezTo>
                        <a:pt x="493586" y="128873"/>
                        <a:pt x="475678" y="153257"/>
                        <a:pt x="475678" y="166307"/>
                      </a:cubicBezTo>
                      <a:cubicBezTo>
                        <a:pt x="475678" y="179356"/>
                        <a:pt x="488728" y="223361"/>
                        <a:pt x="496824" y="237934"/>
                      </a:cubicBezTo>
                      <a:cubicBezTo>
                        <a:pt x="504920" y="252603"/>
                        <a:pt x="517969" y="280321"/>
                        <a:pt x="513112" y="288417"/>
                      </a:cubicBezTo>
                      <a:cubicBezTo>
                        <a:pt x="508254" y="296513"/>
                        <a:pt x="449580" y="325850"/>
                        <a:pt x="449580" y="325850"/>
                      </a:cubicBezTo>
                      <a:cubicBezTo>
                        <a:pt x="449580" y="325850"/>
                        <a:pt x="399098" y="465963"/>
                        <a:pt x="387668" y="472440"/>
                      </a:cubicBezTo>
                      <a:cubicBezTo>
                        <a:pt x="376238" y="478917"/>
                        <a:pt x="325755" y="467582"/>
                        <a:pt x="307848" y="459391"/>
                      </a:cubicBezTo>
                      <a:cubicBezTo>
                        <a:pt x="289941" y="451199"/>
                        <a:pt x="237839" y="426815"/>
                        <a:pt x="237839" y="426815"/>
                      </a:cubicBezTo>
                      <a:cubicBezTo>
                        <a:pt x="237839" y="426815"/>
                        <a:pt x="216694" y="462629"/>
                        <a:pt x="211741" y="501777"/>
                      </a:cubicBezTo>
                      <a:cubicBezTo>
                        <a:pt x="206883" y="540830"/>
                        <a:pt x="214979" y="589693"/>
                        <a:pt x="214979" y="589693"/>
                      </a:cubicBezTo>
                      <a:cubicBezTo>
                        <a:pt x="214979" y="589693"/>
                        <a:pt x="193834" y="592931"/>
                        <a:pt x="100965" y="500063"/>
                      </a:cubicBezTo>
                      <a:cubicBezTo>
                        <a:pt x="8096" y="407194"/>
                        <a:pt x="0" y="328993"/>
                        <a:pt x="0" y="174308"/>
                      </a:cubicBezTo>
                      <a:cubicBezTo>
                        <a:pt x="0" y="19621"/>
                        <a:pt x="1619" y="0"/>
                        <a:pt x="1619" y="0"/>
                      </a:cubicBezTo>
                      <a:lnTo>
                        <a:pt x="493490" y="57055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 cap="rnd">
                  <a:solidFill>
                    <a:srgbClr val="263238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1704" name="Полилиния: фигура 1703">
                  <a:extLst>
                    <a:ext uri="{FF2B5EF4-FFF2-40B4-BE49-F238E27FC236}">
                      <a16:creationId xmlns:a16="http://schemas.microsoft.com/office/drawing/2014/main" id="{661AE1BC-CBC3-41E8-B92F-9E7A6D499E63}"/>
                    </a:ext>
                  </a:extLst>
                </p:cNvPr>
                <p:cNvSpPr/>
                <p:nvPr/>
              </p:nvSpPr>
              <p:spPr>
                <a:xfrm>
                  <a:off x="1959324" y="3247802"/>
                  <a:ext cx="49434" cy="74866"/>
                </a:xfrm>
                <a:custGeom>
                  <a:avLst/>
                  <a:gdLst>
                    <a:gd name="connsiteX0" fmla="*/ 49435 w 49434"/>
                    <a:gd name="connsiteY0" fmla="*/ 26670 h 74866"/>
                    <a:gd name="connsiteX1" fmla="*/ 0 w 49434"/>
                    <a:gd name="connsiteY1" fmla="*/ 0 h 74866"/>
                    <a:gd name="connsiteX2" fmla="*/ 23431 w 49434"/>
                    <a:gd name="connsiteY2" fmla="*/ 74867 h 74866"/>
                    <a:gd name="connsiteX3" fmla="*/ 49435 w 49434"/>
                    <a:gd name="connsiteY3" fmla="*/ 26670 h 7486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9434" h="74866">
                      <a:moveTo>
                        <a:pt x="49435" y="26670"/>
                      </a:moveTo>
                      <a:lnTo>
                        <a:pt x="0" y="0"/>
                      </a:lnTo>
                      <a:lnTo>
                        <a:pt x="23431" y="74867"/>
                      </a:lnTo>
                      <a:lnTo>
                        <a:pt x="49435" y="26670"/>
                      </a:lnTo>
                      <a:close/>
                    </a:path>
                  </a:pathLst>
                </a:custGeom>
                <a:solidFill>
                  <a:srgbClr val="263238"/>
                </a:solidFill>
                <a:ln w="9525" cap="rnd">
                  <a:solidFill>
                    <a:srgbClr val="263238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1705" name="Полилиния: фигура 1704">
                  <a:extLst>
                    <a:ext uri="{FF2B5EF4-FFF2-40B4-BE49-F238E27FC236}">
                      <a16:creationId xmlns:a16="http://schemas.microsoft.com/office/drawing/2014/main" id="{5685A481-9BF2-4B97-BA69-3464643534D7}"/>
                    </a:ext>
                  </a:extLst>
                </p:cNvPr>
                <p:cNvSpPr/>
                <p:nvPr/>
              </p:nvSpPr>
              <p:spPr>
                <a:xfrm>
                  <a:off x="1561031" y="2844514"/>
                  <a:ext cx="480303" cy="518800"/>
                </a:xfrm>
                <a:custGeom>
                  <a:avLst/>
                  <a:gdLst>
                    <a:gd name="connsiteX0" fmla="*/ 480303 w 480303"/>
                    <a:gd name="connsiteY0" fmla="*/ 45529 h 518800"/>
                    <a:gd name="connsiteX1" fmla="*/ 450966 w 480303"/>
                    <a:gd name="connsiteY1" fmla="*/ 86296 h 518800"/>
                    <a:gd name="connsiteX2" fmla="*/ 402103 w 480303"/>
                    <a:gd name="connsiteY2" fmla="*/ 161258 h 518800"/>
                    <a:gd name="connsiteX3" fmla="*/ 343429 w 480303"/>
                    <a:gd name="connsiteY3" fmla="*/ 154781 h 518800"/>
                    <a:gd name="connsiteX4" fmla="*/ 299423 w 480303"/>
                    <a:gd name="connsiteY4" fmla="*/ 63532 h 518800"/>
                    <a:gd name="connsiteX5" fmla="*/ 268467 w 480303"/>
                    <a:gd name="connsiteY5" fmla="*/ 187357 h 518800"/>
                    <a:gd name="connsiteX6" fmla="*/ 296185 w 480303"/>
                    <a:gd name="connsiteY6" fmla="*/ 457771 h 518800"/>
                    <a:gd name="connsiteX7" fmla="*/ 323903 w 480303"/>
                    <a:gd name="connsiteY7" fmla="*/ 488728 h 518800"/>
                    <a:gd name="connsiteX8" fmla="*/ 134927 w 480303"/>
                    <a:gd name="connsiteY8" fmla="*/ 513207 h 518800"/>
                    <a:gd name="connsiteX9" fmla="*/ 9482 w 480303"/>
                    <a:gd name="connsiteY9" fmla="*/ 309563 h 518800"/>
                    <a:gd name="connsiteX10" fmla="*/ 68156 w 480303"/>
                    <a:gd name="connsiteY10" fmla="*/ 58674 h 518800"/>
                    <a:gd name="connsiteX11" fmla="*/ 74633 w 480303"/>
                    <a:gd name="connsiteY11" fmla="*/ 0 h 518800"/>
                    <a:gd name="connsiteX12" fmla="*/ 480208 w 480303"/>
                    <a:gd name="connsiteY12" fmla="*/ 45625 h 5188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</a:cxnLst>
                  <a:rect l="l" t="t" r="r" b="b"/>
                  <a:pathLst>
                    <a:path w="480303" h="518800">
                      <a:moveTo>
                        <a:pt x="480303" y="45529"/>
                      </a:moveTo>
                      <a:cubicBezTo>
                        <a:pt x="480303" y="45529"/>
                        <a:pt x="470492" y="71628"/>
                        <a:pt x="450966" y="86296"/>
                      </a:cubicBezTo>
                      <a:cubicBezTo>
                        <a:pt x="431440" y="100965"/>
                        <a:pt x="423248" y="136779"/>
                        <a:pt x="402103" y="161258"/>
                      </a:cubicBezTo>
                      <a:cubicBezTo>
                        <a:pt x="380957" y="185738"/>
                        <a:pt x="354859" y="187357"/>
                        <a:pt x="343429" y="154781"/>
                      </a:cubicBezTo>
                      <a:cubicBezTo>
                        <a:pt x="331999" y="122206"/>
                        <a:pt x="333618" y="88011"/>
                        <a:pt x="299423" y="63532"/>
                      </a:cubicBezTo>
                      <a:cubicBezTo>
                        <a:pt x="265229" y="39052"/>
                        <a:pt x="276659" y="99346"/>
                        <a:pt x="268467" y="187357"/>
                      </a:cubicBezTo>
                      <a:cubicBezTo>
                        <a:pt x="260371" y="275272"/>
                        <a:pt x="281516" y="434911"/>
                        <a:pt x="296185" y="457771"/>
                      </a:cubicBezTo>
                      <a:cubicBezTo>
                        <a:pt x="310853" y="480631"/>
                        <a:pt x="323903" y="488728"/>
                        <a:pt x="323903" y="488728"/>
                      </a:cubicBezTo>
                      <a:cubicBezTo>
                        <a:pt x="323903" y="488728"/>
                        <a:pt x="273420" y="534352"/>
                        <a:pt x="134927" y="513207"/>
                      </a:cubicBezTo>
                      <a:cubicBezTo>
                        <a:pt x="-3567" y="492061"/>
                        <a:pt x="-13283" y="378047"/>
                        <a:pt x="9482" y="309563"/>
                      </a:cubicBezTo>
                      <a:cubicBezTo>
                        <a:pt x="32247" y="241173"/>
                        <a:pt x="68156" y="83153"/>
                        <a:pt x="68156" y="58674"/>
                      </a:cubicBezTo>
                      <a:cubicBezTo>
                        <a:pt x="68156" y="34195"/>
                        <a:pt x="74633" y="0"/>
                        <a:pt x="74633" y="0"/>
                      </a:cubicBezTo>
                      <a:lnTo>
                        <a:pt x="480208" y="45625"/>
                      </a:lnTo>
                      <a:close/>
                    </a:path>
                  </a:pathLst>
                </a:custGeom>
                <a:solidFill>
                  <a:srgbClr val="263238"/>
                </a:solidFill>
                <a:ln w="9525" cap="rnd">
                  <a:solidFill>
                    <a:srgbClr val="263238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1706" name="Полилиния: фигура 1705">
                  <a:extLst>
                    <a:ext uri="{FF2B5EF4-FFF2-40B4-BE49-F238E27FC236}">
                      <a16:creationId xmlns:a16="http://schemas.microsoft.com/office/drawing/2014/main" id="{0CBE70CD-C512-4ECF-9D9F-A25C34EC2FD6}"/>
                    </a:ext>
                  </a:extLst>
                </p:cNvPr>
                <p:cNvSpPr/>
                <p:nvPr/>
              </p:nvSpPr>
              <p:spPr>
                <a:xfrm>
                  <a:off x="2120582" y="3145599"/>
                  <a:ext cx="66770" cy="63955"/>
                </a:xfrm>
                <a:custGeom>
                  <a:avLst/>
                  <a:gdLst>
                    <a:gd name="connsiteX0" fmla="*/ 66770 w 66770"/>
                    <a:gd name="connsiteY0" fmla="*/ 24479 h 63955"/>
                    <a:gd name="connsiteX1" fmla="*/ 0 w 66770"/>
                    <a:gd name="connsiteY1" fmla="*/ 0 h 63955"/>
                    <a:gd name="connsiteX2" fmla="*/ 32575 w 66770"/>
                    <a:gd name="connsiteY2" fmla="*/ 63532 h 63955"/>
                    <a:gd name="connsiteX3" fmla="*/ 66770 w 66770"/>
                    <a:gd name="connsiteY3" fmla="*/ 24479 h 6395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66770" h="63955">
                      <a:moveTo>
                        <a:pt x="66770" y="24479"/>
                      </a:moveTo>
                      <a:cubicBezTo>
                        <a:pt x="66770" y="24479"/>
                        <a:pt x="21146" y="18002"/>
                        <a:pt x="0" y="0"/>
                      </a:cubicBezTo>
                      <a:cubicBezTo>
                        <a:pt x="0" y="0"/>
                        <a:pt x="6477" y="70009"/>
                        <a:pt x="32575" y="63532"/>
                      </a:cubicBezTo>
                      <a:cubicBezTo>
                        <a:pt x="58674" y="57055"/>
                        <a:pt x="66770" y="24479"/>
                        <a:pt x="66770" y="24479"/>
                      </a:cubicBezTo>
                      <a:close/>
                    </a:path>
                  </a:pathLst>
                </a:custGeom>
                <a:noFill/>
                <a:ln w="9525" cap="rnd">
                  <a:solidFill>
                    <a:srgbClr val="263238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1707" name="Полилиния: фигура 1706">
                  <a:extLst>
                    <a:ext uri="{FF2B5EF4-FFF2-40B4-BE49-F238E27FC236}">
                      <a16:creationId xmlns:a16="http://schemas.microsoft.com/office/drawing/2014/main" id="{5E1C6247-4CB9-4D86-AED9-5EF2EA305CC3}"/>
                    </a:ext>
                  </a:extLst>
                </p:cNvPr>
                <p:cNvSpPr/>
                <p:nvPr/>
              </p:nvSpPr>
              <p:spPr>
                <a:xfrm>
                  <a:off x="2177054" y="2994769"/>
                  <a:ext cx="18596" cy="49628"/>
                </a:xfrm>
                <a:custGeom>
                  <a:avLst/>
                  <a:gdLst>
                    <a:gd name="connsiteX0" fmla="*/ 17252 w 18596"/>
                    <a:gd name="connsiteY0" fmla="*/ 26338 h 49628"/>
                    <a:gd name="connsiteX1" fmla="*/ 4488 w 18596"/>
                    <a:gd name="connsiteY1" fmla="*/ 49579 h 49628"/>
                    <a:gd name="connsiteX2" fmla="*/ 1345 w 18596"/>
                    <a:gd name="connsiteY2" fmla="*/ 23290 h 49628"/>
                    <a:gd name="connsiteX3" fmla="*/ 14108 w 18596"/>
                    <a:gd name="connsiteY3" fmla="*/ 49 h 49628"/>
                    <a:gd name="connsiteX4" fmla="*/ 17252 w 18596"/>
                    <a:gd name="connsiteY4" fmla="*/ 26434 h 4962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8596" h="49628">
                      <a:moveTo>
                        <a:pt x="17252" y="26338"/>
                      </a:moveTo>
                      <a:cubicBezTo>
                        <a:pt x="14585" y="40054"/>
                        <a:pt x="8870" y="50437"/>
                        <a:pt x="4488" y="49579"/>
                      </a:cubicBezTo>
                      <a:cubicBezTo>
                        <a:pt x="107" y="48722"/>
                        <a:pt x="-1322" y="36911"/>
                        <a:pt x="1345" y="23290"/>
                      </a:cubicBezTo>
                      <a:cubicBezTo>
                        <a:pt x="4012" y="9574"/>
                        <a:pt x="9727" y="-808"/>
                        <a:pt x="14108" y="49"/>
                      </a:cubicBezTo>
                      <a:cubicBezTo>
                        <a:pt x="18490" y="907"/>
                        <a:pt x="19919" y="12718"/>
                        <a:pt x="17252" y="26434"/>
                      </a:cubicBezTo>
                      <a:close/>
                    </a:path>
                  </a:pathLst>
                </a:custGeom>
                <a:solidFill>
                  <a:srgbClr val="000000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1708" name="Полилиния: фигура 1707">
                  <a:extLst>
                    <a:ext uri="{FF2B5EF4-FFF2-40B4-BE49-F238E27FC236}">
                      <a16:creationId xmlns:a16="http://schemas.microsoft.com/office/drawing/2014/main" id="{A6067B99-1842-4D0C-9114-DC314F01FEF5}"/>
                    </a:ext>
                  </a:extLst>
                </p:cNvPr>
                <p:cNvSpPr/>
                <p:nvPr/>
              </p:nvSpPr>
              <p:spPr>
                <a:xfrm>
                  <a:off x="2113595" y="2967519"/>
                  <a:ext cx="133002" cy="126056"/>
                </a:xfrm>
                <a:custGeom>
                  <a:avLst/>
                  <a:gdLst>
                    <a:gd name="connsiteX0" fmla="*/ 133003 w 133002"/>
                    <a:gd name="connsiteY0" fmla="*/ 17013 h 126056"/>
                    <a:gd name="connsiteX1" fmla="*/ 10797 w 133002"/>
                    <a:gd name="connsiteY1" fmla="*/ 725 h 126056"/>
                    <a:gd name="connsiteX2" fmla="*/ 986 w 133002"/>
                    <a:gd name="connsiteY2" fmla="*/ 83783 h 126056"/>
                    <a:gd name="connsiteX3" fmla="*/ 66137 w 133002"/>
                    <a:gd name="connsiteY3" fmla="*/ 124550 h 126056"/>
                    <a:gd name="connsiteX4" fmla="*/ 132907 w 133002"/>
                    <a:gd name="connsiteY4" fmla="*/ 17013 h 12605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33002" h="126056">
                      <a:moveTo>
                        <a:pt x="133003" y="17013"/>
                      </a:moveTo>
                      <a:cubicBezTo>
                        <a:pt x="133003" y="17013"/>
                        <a:pt x="95569" y="-4133"/>
                        <a:pt x="10797" y="725"/>
                      </a:cubicBezTo>
                      <a:cubicBezTo>
                        <a:pt x="10797" y="725"/>
                        <a:pt x="-3872" y="61018"/>
                        <a:pt x="986" y="83783"/>
                      </a:cubicBezTo>
                      <a:cubicBezTo>
                        <a:pt x="5844" y="106548"/>
                        <a:pt x="22132" y="132646"/>
                        <a:pt x="66137" y="124550"/>
                      </a:cubicBezTo>
                      <a:cubicBezTo>
                        <a:pt x="110143" y="116358"/>
                        <a:pt x="129669" y="54541"/>
                        <a:pt x="132907" y="17013"/>
                      </a:cubicBezTo>
                      <a:close/>
                    </a:path>
                  </a:pathLst>
                </a:custGeom>
                <a:noFill/>
                <a:ln w="9525" cap="rnd">
                  <a:solidFill>
                    <a:srgbClr val="263238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1709" name="Полилиния: фигура 1708">
                  <a:extLst>
                    <a:ext uri="{FF2B5EF4-FFF2-40B4-BE49-F238E27FC236}">
                      <a16:creationId xmlns:a16="http://schemas.microsoft.com/office/drawing/2014/main" id="{34C5147A-1314-42A7-A02D-29F247098972}"/>
                    </a:ext>
                  </a:extLst>
                </p:cNvPr>
                <p:cNvSpPr/>
                <p:nvPr/>
              </p:nvSpPr>
              <p:spPr>
                <a:xfrm>
                  <a:off x="2243814" y="2984531"/>
                  <a:ext cx="61457" cy="91249"/>
                </a:xfrm>
                <a:custGeom>
                  <a:avLst/>
                  <a:gdLst>
                    <a:gd name="connsiteX0" fmla="*/ 2783 w 61457"/>
                    <a:gd name="connsiteY0" fmla="*/ 0 h 91249"/>
                    <a:gd name="connsiteX1" fmla="*/ 61457 w 61457"/>
                    <a:gd name="connsiteY1" fmla="*/ 13049 h 91249"/>
                    <a:gd name="connsiteX2" fmla="*/ 24024 w 61457"/>
                    <a:gd name="connsiteY2" fmla="*/ 91250 h 91249"/>
                    <a:gd name="connsiteX3" fmla="*/ 2879 w 61457"/>
                    <a:gd name="connsiteY3" fmla="*/ 29337 h 91249"/>
                    <a:gd name="connsiteX4" fmla="*/ 2879 w 61457"/>
                    <a:gd name="connsiteY4" fmla="*/ 0 h 9124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61457" h="91249">
                      <a:moveTo>
                        <a:pt x="2783" y="0"/>
                      </a:moveTo>
                      <a:cubicBezTo>
                        <a:pt x="2783" y="0"/>
                        <a:pt x="50027" y="3238"/>
                        <a:pt x="61457" y="13049"/>
                      </a:cubicBezTo>
                      <a:cubicBezTo>
                        <a:pt x="61457" y="13049"/>
                        <a:pt x="54980" y="74962"/>
                        <a:pt x="24024" y="91250"/>
                      </a:cubicBezTo>
                      <a:lnTo>
                        <a:pt x="2879" y="29337"/>
                      </a:lnTo>
                      <a:cubicBezTo>
                        <a:pt x="2879" y="29337"/>
                        <a:pt x="-3598" y="14668"/>
                        <a:pt x="2879" y="0"/>
                      </a:cubicBezTo>
                      <a:close/>
                    </a:path>
                  </a:pathLst>
                </a:custGeom>
                <a:noFill/>
                <a:ln w="9525" cap="rnd">
                  <a:solidFill>
                    <a:srgbClr val="263238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1710" name="Полилиния: фигура 1709">
                  <a:extLst>
                    <a:ext uri="{FF2B5EF4-FFF2-40B4-BE49-F238E27FC236}">
                      <a16:creationId xmlns:a16="http://schemas.microsoft.com/office/drawing/2014/main" id="{6430F0B4-4E8E-443E-9069-B21D72B2E320}"/>
                    </a:ext>
                  </a:extLst>
                </p:cNvPr>
                <p:cNvSpPr/>
                <p:nvPr/>
              </p:nvSpPr>
              <p:spPr>
                <a:xfrm>
                  <a:off x="2168398" y="2947931"/>
                  <a:ext cx="65150" cy="12120"/>
                </a:xfrm>
                <a:custGeom>
                  <a:avLst/>
                  <a:gdLst>
                    <a:gd name="connsiteX0" fmla="*/ 0 w 65150"/>
                    <a:gd name="connsiteY0" fmla="*/ 5644 h 12120"/>
                    <a:gd name="connsiteX1" fmla="*/ 65151 w 65150"/>
                    <a:gd name="connsiteY1" fmla="*/ 12121 h 1212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65150" h="12120">
                      <a:moveTo>
                        <a:pt x="0" y="5644"/>
                      </a:moveTo>
                      <a:cubicBezTo>
                        <a:pt x="0" y="5644"/>
                        <a:pt x="37433" y="-10644"/>
                        <a:pt x="65151" y="12121"/>
                      </a:cubicBezTo>
                    </a:path>
                  </a:pathLst>
                </a:custGeom>
                <a:noFill/>
                <a:ln w="9525" cap="rnd">
                  <a:solidFill>
                    <a:srgbClr val="263238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1711" name="Полилиния: фигура 1710">
                  <a:extLst>
                    <a:ext uri="{FF2B5EF4-FFF2-40B4-BE49-F238E27FC236}">
                      <a16:creationId xmlns:a16="http://schemas.microsoft.com/office/drawing/2014/main" id="{D4D1CB00-9A50-40C0-86E2-9A50E3C340BB}"/>
                    </a:ext>
                  </a:extLst>
                </p:cNvPr>
                <p:cNvSpPr/>
                <p:nvPr/>
              </p:nvSpPr>
              <p:spPr>
                <a:xfrm>
                  <a:off x="1888172" y="2951956"/>
                  <a:ext cx="236220" cy="40766"/>
                </a:xfrm>
                <a:custGeom>
                  <a:avLst/>
                  <a:gdLst>
                    <a:gd name="connsiteX0" fmla="*/ 236220 w 236220"/>
                    <a:gd name="connsiteY0" fmla="*/ 16288 h 40766"/>
                    <a:gd name="connsiteX1" fmla="*/ 0 w 236220"/>
                    <a:gd name="connsiteY1" fmla="*/ 0 h 40766"/>
                    <a:gd name="connsiteX2" fmla="*/ 9811 w 236220"/>
                    <a:gd name="connsiteY2" fmla="*/ 14668 h 40766"/>
                    <a:gd name="connsiteX3" fmla="*/ 226409 w 236220"/>
                    <a:gd name="connsiteY3" fmla="*/ 40767 h 40766"/>
                    <a:gd name="connsiteX4" fmla="*/ 236220 w 236220"/>
                    <a:gd name="connsiteY4" fmla="*/ 16288 h 4076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236220" h="40766">
                      <a:moveTo>
                        <a:pt x="236220" y="16288"/>
                      </a:moveTo>
                      <a:lnTo>
                        <a:pt x="0" y="0"/>
                      </a:lnTo>
                      <a:lnTo>
                        <a:pt x="9811" y="14668"/>
                      </a:lnTo>
                      <a:lnTo>
                        <a:pt x="226409" y="40767"/>
                      </a:lnTo>
                      <a:lnTo>
                        <a:pt x="236220" y="16288"/>
                      </a:lnTo>
                      <a:close/>
                    </a:path>
                  </a:pathLst>
                </a:custGeom>
                <a:solidFill>
                  <a:srgbClr val="263238"/>
                </a:solidFill>
                <a:ln w="9525" cap="rnd">
                  <a:solidFill>
                    <a:srgbClr val="263238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1712" name="Полилиния: фигура 1711">
                  <a:extLst>
                    <a:ext uri="{FF2B5EF4-FFF2-40B4-BE49-F238E27FC236}">
                      <a16:creationId xmlns:a16="http://schemas.microsoft.com/office/drawing/2014/main" id="{856DC817-5546-4710-B329-3BC9AAA01C64}"/>
                    </a:ext>
                  </a:extLst>
                </p:cNvPr>
                <p:cNvSpPr/>
                <p:nvPr/>
              </p:nvSpPr>
              <p:spPr>
                <a:xfrm>
                  <a:off x="2156968" y="3041586"/>
                  <a:ext cx="39052" cy="14668"/>
                </a:xfrm>
                <a:custGeom>
                  <a:avLst/>
                  <a:gdLst>
                    <a:gd name="connsiteX0" fmla="*/ 0 w 39052"/>
                    <a:gd name="connsiteY0" fmla="*/ 0 h 14668"/>
                    <a:gd name="connsiteX1" fmla="*/ 39052 w 39052"/>
                    <a:gd name="connsiteY1" fmla="*/ 14669 h 1466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39052" h="14668">
                      <a:moveTo>
                        <a:pt x="0" y="0"/>
                      </a:moveTo>
                      <a:lnTo>
                        <a:pt x="39052" y="14669"/>
                      </a:lnTo>
                    </a:path>
                  </a:pathLst>
                </a:custGeom>
                <a:ln w="9525" cap="rnd">
                  <a:solidFill>
                    <a:srgbClr val="263238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1713" name="Полилиния: фигура 1712">
                  <a:extLst>
                    <a:ext uri="{FF2B5EF4-FFF2-40B4-BE49-F238E27FC236}">
                      <a16:creationId xmlns:a16="http://schemas.microsoft.com/office/drawing/2014/main" id="{5546B44F-5704-4804-A22E-064B42E4DE90}"/>
                    </a:ext>
                  </a:extLst>
                </p:cNvPr>
                <p:cNvSpPr/>
                <p:nvPr/>
              </p:nvSpPr>
              <p:spPr>
                <a:xfrm>
                  <a:off x="1601184" y="2870993"/>
                  <a:ext cx="196691" cy="119348"/>
                </a:xfrm>
                <a:custGeom>
                  <a:avLst/>
                  <a:gdLst>
                    <a:gd name="connsiteX0" fmla="*/ 14097 w 196691"/>
                    <a:gd name="connsiteY0" fmla="*/ 119348 h 119348"/>
                    <a:gd name="connsiteX1" fmla="*/ 196691 w 196691"/>
                    <a:gd name="connsiteY1" fmla="*/ 9334 h 119348"/>
                    <a:gd name="connsiteX2" fmla="*/ 140494 w 196691"/>
                    <a:gd name="connsiteY2" fmla="*/ 0 h 119348"/>
                    <a:gd name="connsiteX3" fmla="*/ 0 w 196691"/>
                    <a:gd name="connsiteY3" fmla="*/ 49149 h 119348"/>
                    <a:gd name="connsiteX4" fmla="*/ 14097 w 196691"/>
                    <a:gd name="connsiteY4" fmla="*/ 119348 h 1193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96691" h="119348">
                      <a:moveTo>
                        <a:pt x="14097" y="119348"/>
                      </a:moveTo>
                      <a:lnTo>
                        <a:pt x="196691" y="9334"/>
                      </a:lnTo>
                      <a:lnTo>
                        <a:pt x="140494" y="0"/>
                      </a:lnTo>
                      <a:lnTo>
                        <a:pt x="0" y="49149"/>
                      </a:lnTo>
                      <a:lnTo>
                        <a:pt x="14097" y="119348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 cap="rnd">
                  <a:solidFill>
                    <a:srgbClr val="263238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</p:grpSp>
          <p:grpSp>
            <p:nvGrpSpPr>
              <p:cNvPr id="1714" name="Рисунок 1631">
                <a:extLst>
                  <a:ext uri="{FF2B5EF4-FFF2-40B4-BE49-F238E27FC236}">
                    <a16:creationId xmlns:a16="http://schemas.microsoft.com/office/drawing/2014/main" id="{9C91D8E5-555C-42B4-A22C-E503A1627E60}"/>
                  </a:ext>
                </a:extLst>
              </p:cNvPr>
              <p:cNvGrpSpPr/>
              <p:nvPr/>
            </p:nvGrpSpPr>
            <p:grpSpPr>
              <a:xfrm>
                <a:off x="1594802" y="2455569"/>
                <a:ext cx="798541" cy="458761"/>
                <a:chOff x="1594802" y="2455569"/>
                <a:chExt cx="798541" cy="458761"/>
              </a:xfrm>
            </p:grpSpPr>
            <p:sp>
              <p:nvSpPr>
                <p:cNvPr id="1715" name="Полилиния: фигура 1714">
                  <a:extLst>
                    <a:ext uri="{FF2B5EF4-FFF2-40B4-BE49-F238E27FC236}">
                      <a16:creationId xmlns:a16="http://schemas.microsoft.com/office/drawing/2014/main" id="{69A60DD6-4A9F-4541-8601-F33B5700F1E1}"/>
                    </a:ext>
                  </a:extLst>
                </p:cNvPr>
                <p:cNvSpPr/>
                <p:nvPr/>
              </p:nvSpPr>
              <p:spPr>
                <a:xfrm>
                  <a:off x="1594802" y="2455569"/>
                  <a:ext cx="798541" cy="458761"/>
                </a:xfrm>
                <a:custGeom>
                  <a:avLst/>
                  <a:gdLst>
                    <a:gd name="connsiteX0" fmla="*/ 0 w 798541"/>
                    <a:gd name="connsiteY0" fmla="*/ 421521 h 458761"/>
                    <a:gd name="connsiteX1" fmla="*/ 543211 w 798541"/>
                    <a:gd name="connsiteY1" fmla="*/ 457144 h 458761"/>
                    <a:gd name="connsiteX2" fmla="*/ 794385 w 798541"/>
                    <a:gd name="connsiteY2" fmla="*/ 440761 h 458761"/>
                    <a:gd name="connsiteX3" fmla="*/ 711994 w 798541"/>
                    <a:gd name="connsiteY3" fmla="*/ 420949 h 458761"/>
                    <a:gd name="connsiteX4" fmla="*/ 656177 w 798541"/>
                    <a:gd name="connsiteY4" fmla="*/ 204255 h 458761"/>
                    <a:gd name="connsiteX5" fmla="*/ 382524 w 798541"/>
                    <a:gd name="connsiteY5" fmla="*/ 39 h 458761"/>
                    <a:gd name="connsiteX6" fmla="*/ 36290 w 798541"/>
                    <a:gd name="connsiteY6" fmla="*/ 217686 h 458761"/>
                    <a:gd name="connsiteX7" fmla="*/ 15050 w 798541"/>
                    <a:gd name="connsiteY7" fmla="*/ 326271 h 458761"/>
                    <a:gd name="connsiteX8" fmla="*/ 18860 w 798541"/>
                    <a:gd name="connsiteY8" fmla="*/ 383992 h 458761"/>
                    <a:gd name="connsiteX9" fmla="*/ 95 w 798541"/>
                    <a:gd name="connsiteY9" fmla="*/ 421616 h 45876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798541" h="458761">
                      <a:moveTo>
                        <a:pt x="0" y="421521"/>
                      </a:moveTo>
                      <a:cubicBezTo>
                        <a:pt x="0" y="421521"/>
                        <a:pt x="473678" y="454572"/>
                        <a:pt x="543211" y="457144"/>
                      </a:cubicBezTo>
                      <a:cubicBezTo>
                        <a:pt x="631603" y="460383"/>
                        <a:pt x="771239" y="460478"/>
                        <a:pt x="794385" y="440761"/>
                      </a:cubicBezTo>
                      <a:cubicBezTo>
                        <a:pt x="817436" y="420949"/>
                        <a:pt x="738283" y="437427"/>
                        <a:pt x="711994" y="420949"/>
                      </a:cubicBezTo>
                      <a:cubicBezTo>
                        <a:pt x="685609" y="404471"/>
                        <a:pt x="677037" y="283980"/>
                        <a:pt x="656177" y="204255"/>
                      </a:cubicBezTo>
                      <a:cubicBezTo>
                        <a:pt x="638461" y="136628"/>
                        <a:pt x="558546" y="2706"/>
                        <a:pt x="382524" y="39"/>
                      </a:cubicBezTo>
                      <a:cubicBezTo>
                        <a:pt x="246983" y="-1961"/>
                        <a:pt x="64960" y="72334"/>
                        <a:pt x="36290" y="217686"/>
                      </a:cubicBezTo>
                      <a:cubicBezTo>
                        <a:pt x="29051" y="254452"/>
                        <a:pt x="11240" y="319508"/>
                        <a:pt x="15050" y="326271"/>
                      </a:cubicBezTo>
                      <a:cubicBezTo>
                        <a:pt x="16192" y="328366"/>
                        <a:pt x="19336" y="381611"/>
                        <a:pt x="18860" y="383992"/>
                      </a:cubicBezTo>
                      <a:lnTo>
                        <a:pt x="95" y="421616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 cap="rnd">
                  <a:solidFill>
                    <a:srgbClr val="263238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1716" name="Полилиния: фигура 1715">
                  <a:extLst>
                    <a:ext uri="{FF2B5EF4-FFF2-40B4-BE49-F238E27FC236}">
                      <a16:creationId xmlns:a16="http://schemas.microsoft.com/office/drawing/2014/main" id="{710CFCF5-05F9-473B-97F0-487C50F2DB41}"/>
                    </a:ext>
                  </a:extLst>
                </p:cNvPr>
                <p:cNvSpPr/>
                <p:nvPr/>
              </p:nvSpPr>
              <p:spPr>
                <a:xfrm>
                  <a:off x="1594802" y="2815600"/>
                  <a:ext cx="543210" cy="97112"/>
                </a:xfrm>
                <a:custGeom>
                  <a:avLst/>
                  <a:gdLst>
                    <a:gd name="connsiteX0" fmla="*/ 0 w 543210"/>
                    <a:gd name="connsiteY0" fmla="*/ 61489 h 97112"/>
                    <a:gd name="connsiteX1" fmla="*/ 162973 w 543210"/>
                    <a:gd name="connsiteY1" fmla="*/ 53 h 97112"/>
                    <a:gd name="connsiteX2" fmla="*/ 543211 w 543210"/>
                    <a:gd name="connsiteY2" fmla="*/ 97112 h 97112"/>
                    <a:gd name="connsiteX3" fmla="*/ 0 w 543210"/>
                    <a:gd name="connsiteY3" fmla="*/ 61489 h 9711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543210" h="97112">
                      <a:moveTo>
                        <a:pt x="0" y="61489"/>
                      </a:moveTo>
                      <a:cubicBezTo>
                        <a:pt x="0" y="61489"/>
                        <a:pt x="10858" y="2720"/>
                        <a:pt x="162973" y="53"/>
                      </a:cubicBezTo>
                      <a:cubicBezTo>
                        <a:pt x="315087" y="-2614"/>
                        <a:pt x="543211" y="97112"/>
                        <a:pt x="543211" y="97112"/>
                      </a:cubicBezTo>
                      <a:cubicBezTo>
                        <a:pt x="543211" y="97112"/>
                        <a:pt x="128111" y="96731"/>
                        <a:pt x="0" y="61489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9525" cap="rnd">
                  <a:solidFill>
                    <a:srgbClr val="263238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1717" name="Полилиния: фигура 1716">
                  <a:extLst>
                    <a:ext uri="{FF2B5EF4-FFF2-40B4-BE49-F238E27FC236}">
                      <a16:creationId xmlns:a16="http://schemas.microsoft.com/office/drawing/2014/main" id="{F27682E2-08F9-445B-ABD2-94C7EDFB6D70}"/>
                    </a:ext>
                  </a:extLst>
                </p:cNvPr>
                <p:cNvSpPr/>
                <p:nvPr/>
              </p:nvSpPr>
              <p:spPr>
                <a:xfrm>
                  <a:off x="2153443" y="2620390"/>
                  <a:ext cx="104203" cy="270129"/>
                </a:xfrm>
                <a:custGeom>
                  <a:avLst/>
                  <a:gdLst>
                    <a:gd name="connsiteX0" fmla="*/ 56007 w 104203"/>
                    <a:gd name="connsiteY0" fmla="*/ 0 h 270129"/>
                    <a:gd name="connsiteX1" fmla="*/ 73343 w 104203"/>
                    <a:gd name="connsiteY1" fmla="*/ 63722 h 270129"/>
                    <a:gd name="connsiteX2" fmla="*/ 104204 w 104203"/>
                    <a:gd name="connsiteY2" fmla="*/ 246983 h 270129"/>
                    <a:gd name="connsiteX3" fmla="*/ 0 w 104203"/>
                    <a:gd name="connsiteY3" fmla="*/ 270129 h 27012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04203" h="270129">
                      <a:moveTo>
                        <a:pt x="56007" y="0"/>
                      </a:moveTo>
                      <a:cubicBezTo>
                        <a:pt x="56007" y="0"/>
                        <a:pt x="65627" y="25051"/>
                        <a:pt x="73343" y="63722"/>
                      </a:cubicBezTo>
                      <a:cubicBezTo>
                        <a:pt x="81058" y="102394"/>
                        <a:pt x="104204" y="246983"/>
                        <a:pt x="104204" y="246983"/>
                      </a:cubicBezTo>
                      <a:cubicBezTo>
                        <a:pt x="104204" y="246983"/>
                        <a:pt x="44387" y="268224"/>
                        <a:pt x="0" y="270129"/>
                      </a:cubicBezTo>
                    </a:path>
                  </a:pathLst>
                </a:custGeom>
                <a:noFill/>
                <a:ln w="9525" cap="rnd">
                  <a:solidFill>
                    <a:srgbClr val="263238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</p:grpSp>
          <p:grpSp>
            <p:nvGrpSpPr>
              <p:cNvPr id="1718" name="Рисунок 1631">
                <a:extLst>
                  <a:ext uri="{FF2B5EF4-FFF2-40B4-BE49-F238E27FC236}">
                    <a16:creationId xmlns:a16="http://schemas.microsoft.com/office/drawing/2014/main" id="{9C91D8E5-555C-42B4-A22C-E503A1627E60}"/>
                  </a:ext>
                </a:extLst>
              </p:cNvPr>
              <p:cNvGrpSpPr/>
              <p:nvPr/>
            </p:nvGrpSpPr>
            <p:grpSpPr>
              <a:xfrm>
                <a:off x="2213546" y="3524313"/>
                <a:ext cx="2687918" cy="1446035"/>
                <a:chOff x="2213546" y="3524313"/>
                <a:chExt cx="2687918" cy="1446035"/>
              </a:xfrm>
              <a:solidFill>
                <a:srgbClr val="FFFFFF"/>
              </a:solidFill>
            </p:grpSpPr>
            <p:sp>
              <p:nvSpPr>
                <p:cNvPr id="1719" name="Полилиния: фигура 1718">
                  <a:extLst>
                    <a:ext uri="{FF2B5EF4-FFF2-40B4-BE49-F238E27FC236}">
                      <a16:creationId xmlns:a16="http://schemas.microsoft.com/office/drawing/2014/main" id="{FBDD8BF3-63EC-4C08-A522-E5A4E31E82E5}"/>
                    </a:ext>
                  </a:extLst>
                </p:cNvPr>
                <p:cNvSpPr/>
                <p:nvPr/>
              </p:nvSpPr>
              <p:spPr>
                <a:xfrm>
                  <a:off x="2213546" y="3533838"/>
                  <a:ext cx="2687288" cy="1436510"/>
                </a:xfrm>
                <a:custGeom>
                  <a:avLst/>
                  <a:gdLst>
                    <a:gd name="connsiteX0" fmla="*/ 793432 w 2687288"/>
                    <a:gd name="connsiteY0" fmla="*/ 0 h 1436510"/>
                    <a:gd name="connsiteX1" fmla="*/ 485775 w 2687288"/>
                    <a:gd name="connsiteY1" fmla="*/ 328803 h 1436510"/>
                    <a:gd name="connsiteX2" fmla="*/ 132778 w 2687288"/>
                    <a:gd name="connsiteY2" fmla="*/ 859727 h 1436510"/>
                    <a:gd name="connsiteX3" fmla="*/ 0 w 2687288"/>
                    <a:gd name="connsiteY3" fmla="*/ 1276064 h 1436510"/>
                    <a:gd name="connsiteX4" fmla="*/ 304705 w 2687288"/>
                    <a:gd name="connsiteY4" fmla="*/ 1435989 h 1436510"/>
                    <a:gd name="connsiteX5" fmla="*/ 1396746 w 2687288"/>
                    <a:gd name="connsiteY5" fmla="*/ 1321308 h 1436510"/>
                    <a:gd name="connsiteX6" fmla="*/ 1873377 w 2687288"/>
                    <a:gd name="connsiteY6" fmla="*/ 1197578 h 1436510"/>
                    <a:gd name="connsiteX7" fmla="*/ 2576227 w 2687288"/>
                    <a:gd name="connsiteY7" fmla="*/ 383096 h 1436510"/>
                    <a:gd name="connsiteX8" fmla="*/ 2687288 w 2687288"/>
                    <a:gd name="connsiteY8" fmla="*/ 112586 h 1436510"/>
                    <a:gd name="connsiteX9" fmla="*/ 1959102 w 2687288"/>
                    <a:gd name="connsiteY9" fmla="*/ 352520 h 1436510"/>
                    <a:gd name="connsiteX10" fmla="*/ 1110139 w 2687288"/>
                    <a:gd name="connsiteY10" fmla="*/ 277558 h 1436510"/>
                    <a:gd name="connsiteX11" fmla="*/ 793432 w 2687288"/>
                    <a:gd name="connsiteY11" fmla="*/ 0 h 143651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</a:cxnLst>
                  <a:rect l="l" t="t" r="r" b="b"/>
                  <a:pathLst>
                    <a:path w="2687288" h="1436510">
                      <a:moveTo>
                        <a:pt x="793432" y="0"/>
                      </a:moveTo>
                      <a:cubicBezTo>
                        <a:pt x="793432" y="0"/>
                        <a:pt x="591312" y="193072"/>
                        <a:pt x="485775" y="328803"/>
                      </a:cubicBezTo>
                      <a:cubicBezTo>
                        <a:pt x="380143" y="464534"/>
                        <a:pt x="193167" y="729996"/>
                        <a:pt x="132778" y="859727"/>
                      </a:cubicBezTo>
                      <a:cubicBezTo>
                        <a:pt x="72485" y="989457"/>
                        <a:pt x="0" y="1276064"/>
                        <a:pt x="0" y="1276064"/>
                      </a:cubicBezTo>
                      <a:cubicBezTo>
                        <a:pt x="0" y="1276064"/>
                        <a:pt x="105632" y="1426940"/>
                        <a:pt x="304705" y="1435989"/>
                      </a:cubicBezTo>
                      <a:cubicBezTo>
                        <a:pt x="503777" y="1445038"/>
                        <a:pt x="1194626" y="1333405"/>
                        <a:pt x="1396746" y="1321308"/>
                      </a:cubicBezTo>
                      <a:cubicBezTo>
                        <a:pt x="1598867" y="1309211"/>
                        <a:pt x="1681829" y="1289780"/>
                        <a:pt x="1873377" y="1197578"/>
                      </a:cubicBezTo>
                      <a:cubicBezTo>
                        <a:pt x="2090928" y="1092898"/>
                        <a:pt x="2521458" y="476250"/>
                        <a:pt x="2576227" y="383096"/>
                      </a:cubicBezTo>
                      <a:cubicBezTo>
                        <a:pt x="2634901" y="283273"/>
                        <a:pt x="2687288" y="112586"/>
                        <a:pt x="2687288" y="112586"/>
                      </a:cubicBezTo>
                      <a:cubicBezTo>
                        <a:pt x="2687288" y="112586"/>
                        <a:pt x="2246281" y="306896"/>
                        <a:pt x="1959102" y="352520"/>
                      </a:cubicBezTo>
                      <a:cubicBezTo>
                        <a:pt x="1659541" y="400145"/>
                        <a:pt x="1257967" y="319754"/>
                        <a:pt x="1110139" y="277558"/>
                      </a:cubicBezTo>
                      <a:cubicBezTo>
                        <a:pt x="962311" y="235363"/>
                        <a:pt x="793432" y="0"/>
                        <a:pt x="793432" y="0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9525" cap="rnd">
                  <a:solidFill>
                    <a:srgbClr val="263238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1720" name="Полилиния: фигура 1719">
                  <a:extLst>
                    <a:ext uri="{FF2B5EF4-FFF2-40B4-BE49-F238E27FC236}">
                      <a16:creationId xmlns:a16="http://schemas.microsoft.com/office/drawing/2014/main" id="{9A1D702B-5555-4204-A88A-0EFB4295A99C}"/>
                    </a:ext>
                  </a:extLst>
                </p:cNvPr>
                <p:cNvSpPr/>
                <p:nvPr/>
              </p:nvSpPr>
              <p:spPr>
                <a:xfrm>
                  <a:off x="4743481" y="3524313"/>
                  <a:ext cx="157983" cy="184689"/>
                </a:xfrm>
                <a:custGeom>
                  <a:avLst/>
                  <a:gdLst>
                    <a:gd name="connsiteX0" fmla="*/ 157448 w 157983"/>
                    <a:gd name="connsiteY0" fmla="*/ 122111 h 184689"/>
                    <a:gd name="connsiteX1" fmla="*/ 147066 w 157983"/>
                    <a:gd name="connsiteY1" fmla="*/ 60008 h 184689"/>
                    <a:gd name="connsiteX2" fmla="*/ 14668 w 157983"/>
                    <a:gd name="connsiteY2" fmla="*/ 0 h 184689"/>
                    <a:gd name="connsiteX3" fmla="*/ 8477 w 157983"/>
                    <a:gd name="connsiteY3" fmla="*/ 134493 h 184689"/>
                    <a:gd name="connsiteX4" fmla="*/ 0 w 157983"/>
                    <a:gd name="connsiteY4" fmla="*/ 184690 h 184689"/>
                    <a:gd name="connsiteX5" fmla="*/ 157353 w 157983"/>
                    <a:gd name="connsiteY5" fmla="*/ 122111 h 18468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157983" h="184689">
                      <a:moveTo>
                        <a:pt x="157448" y="122111"/>
                      </a:moveTo>
                      <a:cubicBezTo>
                        <a:pt x="157448" y="122111"/>
                        <a:pt x="161544" y="95250"/>
                        <a:pt x="147066" y="60008"/>
                      </a:cubicBezTo>
                      <a:cubicBezTo>
                        <a:pt x="132588" y="24860"/>
                        <a:pt x="14668" y="0"/>
                        <a:pt x="14668" y="0"/>
                      </a:cubicBezTo>
                      <a:cubicBezTo>
                        <a:pt x="14668" y="0"/>
                        <a:pt x="16764" y="88963"/>
                        <a:pt x="8477" y="134493"/>
                      </a:cubicBezTo>
                      <a:cubicBezTo>
                        <a:pt x="190" y="180022"/>
                        <a:pt x="0" y="184690"/>
                        <a:pt x="0" y="184690"/>
                      </a:cubicBezTo>
                      <a:lnTo>
                        <a:pt x="157353" y="122111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 cap="rnd">
                  <a:solidFill>
                    <a:srgbClr val="263238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</p:grpSp>
          <p:grpSp>
            <p:nvGrpSpPr>
              <p:cNvPr id="1721" name="Рисунок 1631">
                <a:extLst>
                  <a:ext uri="{FF2B5EF4-FFF2-40B4-BE49-F238E27FC236}">
                    <a16:creationId xmlns:a16="http://schemas.microsoft.com/office/drawing/2014/main" id="{9C91D8E5-555C-42B4-A22C-E503A1627E60}"/>
                  </a:ext>
                </a:extLst>
              </p:cNvPr>
              <p:cNvGrpSpPr/>
              <p:nvPr/>
            </p:nvGrpSpPr>
            <p:grpSpPr>
              <a:xfrm>
                <a:off x="1551619" y="3468286"/>
                <a:ext cx="1028258" cy="853401"/>
                <a:chOff x="1551619" y="3468286"/>
                <a:chExt cx="1028258" cy="853401"/>
              </a:xfrm>
            </p:grpSpPr>
            <p:sp>
              <p:nvSpPr>
                <p:cNvPr id="1722" name="Полилиния: фигура 1721">
                  <a:extLst>
                    <a:ext uri="{FF2B5EF4-FFF2-40B4-BE49-F238E27FC236}">
                      <a16:creationId xmlns:a16="http://schemas.microsoft.com/office/drawing/2014/main" id="{884EE43A-8D52-4057-9307-F9F6EC488D8A}"/>
                    </a:ext>
                  </a:extLst>
                </p:cNvPr>
                <p:cNvSpPr/>
                <p:nvPr/>
              </p:nvSpPr>
              <p:spPr>
                <a:xfrm>
                  <a:off x="1551619" y="3468286"/>
                  <a:ext cx="807944" cy="846638"/>
                </a:xfrm>
                <a:custGeom>
                  <a:avLst/>
                  <a:gdLst>
                    <a:gd name="connsiteX0" fmla="*/ 384273 w 807944"/>
                    <a:gd name="connsiteY0" fmla="*/ 390354 h 846638"/>
                    <a:gd name="connsiteX1" fmla="*/ 295309 w 807944"/>
                    <a:gd name="connsiteY1" fmla="*/ 69743 h 846638"/>
                    <a:gd name="connsiteX2" fmla="*/ 56613 w 807944"/>
                    <a:gd name="connsiteY2" fmla="*/ 39358 h 846638"/>
                    <a:gd name="connsiteX3" fmla="*/ 5083 w 807944"/>
                    <a:gd name="connsiteY3" fmla="*/ 238335 h 846638"/>
                    <a:gd name="connsiteX4" fmla="*/ 47183 w 807944"/>
                    <a:gd name="connsiteY4" fmla="*/ 652578 h 846638"/>
                    <a:gd name="connsiteX5" fmla="*/ 140814 w 807944"/>
                    <a:gd name="connsiteY5" fmla="*/ 598762 h 846638"/>
                    <a:gd name="connsiteX6" fmla="*/ 197011 w 807944"/>
                    <a:gd name="connsiteY6" fmla="*/ 701727 h 846638"/>
                    <a:gd name="connsiteX7" fmla="*/ 648782 w 807944"/>
                    <a:gd name="connsiteY7" fmla="*/ 832791 h 846638"/>
                    <a:gd name="connsiteX8" fmla="*/ 747080 w 807944"/>
                    <a:gd name="connsiteY8" fmla="*/ 842125 h 846638"/>
                    <a:gd name="connsiteX9" fmla="*/ 807945 w 807944"/>
                    <a:gd name="connsiteY9" fmla="*/ 668961 h 846638"/>
                    <a:gd name="connsiteX10" fmla="*/ 660498 w 807944"/>
                    <a:gd name="connsiteY10" fmla="*/ 610477 h 846638"/>
                    <a:gd name="connsiteX11" fmla="*/ 410086 w 807944"/>
                    <a:gd name="connsiteY11" fmla="*/ 446647 h 846638"/>
                    <a:gd name="connsiteX12" fmla="*/ 384368 w 807944"/>
                    <a:gd name="connsiteY12" fmla="*/ 390450 h 84663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</a:cxnLst>
                  <a:rect l="l" t="t" r="r" b="b"/>
                  <a:pathLst>
                    <a:path w="807944" h="846638">
                      <a:moveTo>
                        <a:pt x="384273" y="390354"/>
                      </a:moveTo>
                      <a:cubicBezTo>
                        <a:pt x="384273" y="390354"/>
                        <a:pt x="337505" y="146896"/>
                        <a:pt x="295309" y="69743"/>
                      </a:cubicBezTo>
                      <a:cubicBezTo>
                        <a:pt x="253114" y="-7410"/>
                        <a:pt x="100428" y="-24936"/>
                        <a:pt x="56613" y="39358"/>
                      </a:cubicBezTo>
                      <a:cubicBezTo>
                        <a:pt x="32419" y="74886"/>
                        <a:pt x="23847" y="144705"/>
                        <a:pt x="5083" y="238335"/>
                      </a:cubicBezTo>
                      <a:cubicBezTo>
                        <a:pt x="-13682" y="331966"/>
                        <a:pt x="23847" y="650292"/>
                        <a:pt x="47183" y="652578"/>
                      </a:cubicBezTo>
                      <a:cubicBezTo>
                        <a:pt x="70615" y="654959"/>
                        <a:pt x="140814" y="598762"/>
                        <a:pt x="140814" y="598762"/>
                      </a:cubicBezTo>
                      <a:cubicBezTo>
                        <a:pt x="140814" y="598762"/>
                        <a:pt x="175961" y="687725"/>
                        <a:pt x="197011" y="701727"/>
                      </a:cubicBezTo>
                      <a:cubicBezTo>
                        <a:pt x="218062" y="715729"/>
                        <a:pt x="529339" y="821075"/>
                        <a:pt x="648782" y="832791"/>
                      </a:cubicBezTo>
                      <a:cubicBezTo>
                        <a:pt x="648782" y="832791"/>
                        <a:pt x="740032" y="856222"/>
                        <a:pt x="747080" y="842125"/>
                      </a:cubicBezTo>
                      <a:cubicBezTo>
                        <a:pt x="754129" y="828123"/>
                        <a:pt x="807945" y="668961"/>
                        <a:pt x="807945" y="668961"/>
                      </a:cubicBezTo>
                      <a:lnTo>
                        <a:pt x="660498" y="610477"/>
                      </a:lnTo>
                      <a:lnTo>
                        <a:pt x="410086" y="446647"/>
                      </a:lnTo>
                      <a:lnTo>
                        <a:pt x="384368" y="390450"/>
                      </a:lnTo>
                      <a:close/>
                    </a:path>
                  </a:pathLst>
                </a:custGeom>
                <a:solidFill>
                  <a:srgbClr val="263238"/>
                </a:solidFill>
                <a:ln w="9525" cap="rnd">
                  <a:solidFill>
                    <a:srgbClr val="263238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1723" name="Полилиния: фигура 1722">
                  <a:extLst>
                    <a:ext uri="{FF2B5EF4-FFF2-40B4-BE49-F238E27FC236}">
                      <a16:creationId xmlns:a16="http://schemas.microsoft.com/office/drawing/2014/main" id="{1871F179-5E41-4692-9C5D-2FA9E46947CD}"/>
                    </a:ext>
                  </a:extLst>
                </p:cNvPr>
                <p:cNvSpPr/>
                <p:nvPr/>
              </p:nvSpPr>
              <p:spPr>
                <a:xfrm>
                  <a:off x="1584896" y="3722909"/>
                  <a:ext cx="107632" cy="344042"/>
                </a:xfrm>
                <a:custGeom>
                  <a:avLst/>
                  <a:gdLst>
                    <a:gd name="connsiteX0" fmla="*/ 107633 w 107632"/>
                    <a:gd name="connsiteY0" fmla="*/ 344043 h 344042"/>
                    <a:gd name="connsiteX1" fmla="*/ 0 w 107632"/>
                    <a:gd name="connsiteY1" fmla="*/ 0 h 34404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07632" h="344042">
                      <a:moveTo>
                        <a:pt x="107633" y="344043"/>
                      </a:moveTo>
                      <a:cubicBezTo>
                        <a:pt x="107633" y="344043"/>
                        <a:pt x="11716" y="121729"/>
                        <a:pt x="0" y="0"/>
                      </a:cubicBezTo>
                    </a:path>
                  </a:pathLst>
                </a:custGeom>
                <a:noFill/>
                <a:ln w="9525" cap="rnd">
                  <a:solidFill>
                    <a:srgbClr val="9E9E9E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grpSp>
              <p:nvGrpSpPr>
                <p:cNvPr id="1724" name="Рисунок 1631">
                  <a:extLst>
                    <a:ext uri="{FF2B5EF4-FFF2-40B4-BE49-F238E27FC236}">
                      <a16:creationId xmlns:a16="http://schemas.microsoft.com/office/drawing/2014/main" id="{9C91D8E5-555C-42B4-A22C-E503A1627E60}"/>
                    </a:ext>
                  </a:extLst>
                </p:cNvPr>
                <p:cNvGrpSpPr/>
                <p:nvPr/>
              </p:nvGrpSpPr>
              <p:grpSpPr>
                <a:xfrm>
                  <a:off x="2275679" y="4046694"/>
                  <a:ext cx="304199" cy="274993"/>
                  <a:chOff x="2275679" y="4046694"/>
                  <a:chExt cx="304199" cy="274993"/>
                </a:xfrm>
                <a:solidFill>
                  <a:srgbClr val="FFFFFF"/>
                </a:solidFill>
              </p:grpSpPr>
              <p:sp>
                <p:nvSpPr>
                  <p:cNvPr id="1725" name="Полилиния: фигура 1724">
                    <a:extLst>
                      <a:ext uri="{FF2B5EF4-FFF2-40B4-BE49-F238E27FC236}">
                        <a16:creationId xmlns:a16="http://schemas.microsoft.com/office/drawing/2014/main" id="{5B7828C9-B77D-462A-9D9F-D04EBDF9A2F1}"/>
                      </a:ext>
                    </a:extLst>
                  </p:cNvPr>
                  <p:cNvSpPr/>
                  <p:nvPr/>
                </p:nvSpPr>
                <p:spPr>
                  <a:xfrm>
                    <a:off x="2275679" y="4046694"/>
                    <a:ext cx="304199" cy="274993"/>
                  </a:xfrm>
                  <a:custGeom>
                    <a:avLst/>
                    <a:gdLst>
                      <a:gd name="connsiteX0" fmla="*/ 114270 w 304199"/>
                      <a:gd name="connsiteY0" fmla="*/ 57691 h 274993"/>
                      <a:gd name="connsiteX1" fmla="*/ 39404 w 304199"/>
                      <a:gd name="connsiteY1" fmla="*/ 116175 h 274993"/>
                      <a:gd name="connsiteX2" fmla="*/ 1971 w 304199"/>
                      <a:gd name="connsiteY2" fmla="*/ 237904 h 274993"/>
                      <a:gd name="connsiteX3" fmla="*/ 67503 w 304199"/>
                      <a:gd name="connsiteY3" fmla="*/ 273052 h 274993"/>
                      <a:gd name="connsiteX4" fmla="*/ 119033 w 304199"/>
                      <a:gd name="connsiteY4" fmla="*/ 263717 h 274993"/>
                      <a:gd name="connsiteX5" fmla="*/ 154180 w 304199"/>
                      <a:gd name="connsiteY5" fmla="*/ 270766 h 274993"/>
                      <a:gd name="connsiteX6" fmla="*/ 261813 w 304199"/>
                      <a:gd name="connsiteY6" fmla="*/ 142083 h 274993"/>
                      <a:gd name="connsiteX7" fmla="*/ 303913 w 304199"/>
                      <a:gd name="connsiteY7" fmla="*/ 83599 h 274993"/>
                      <a:gd name="connsiteX8" fmla="*/ 240762 w 304199"/>
                      <a:gd name="connsiteY8" fmla="*/ 4066 h 274993"/>
                      <a:gd name="connsiteX9" fmla="*/ 156466 w 304199"/>
                      <a:gd name="connsiteY9" fmla="*/ 6447 h 274993"/>
                      <a:gd name="connsiteX10" fmla="*/ 114366 w 304199"/>
                      <a:gd name="connsiteY10" fmla="*/ 57977 h 27499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</a:cxnLst>
                    <a:rect l="l" t="t" r="r" b="b"/>
                    <a:pathLst>
                      <a:path w="304199" h="274993">
                        <a:moveTo>
                          <a:pt x="114270" y="57691"/>
                        </a:moveTo>
                        <a:cubicBezTo>
                          <a:pt x="114270" y="57691"/>
                          <a:pt x="60454" y="88076"/>
                          <a:pt x="39404" y="116175"/>
                        </a:cubicBezTo>
                        <a:cubicBezTo>
                          <a:pt x="18354" y="144274"/>
                          <a:pt x="-7364" y="207424"/>
                          <a:pt x="1971" y="237904"/>
                        </a:cubicBezTo>
                        <a:cubicBezTo>
                          <a:pt x="11305" y="268289"/>
                          <a:pt x="48738" y="280005"/>
                          <a:pt x="67503" y="273052"/>
                        </a:cubicBezTo>
                        <a:cubicBezTo>
                          <a:pt x="86267" y="266003"/>
                          <a:pt x="119033" y="263717"/>
                          <a:pt x="119033" y="263717"/>
                        </a:cubicBezTo>
                        <a:cubicBezTo>
                          <a:pt x="119033" y="263717"/>
                          <a:pt x="140083" y="282481"/>
                          <a:pt x="154180" y="270766"/>
                        </a:cubicBezTo>
                        <a:cubicBezTo>
                          <a:pt x="168182" y="259050"/>
                          <a:pt x="259527" y="149036"/>
                          <a:pt x="261813" y="142083"/>
                        </a:cubicBezTo>
                        <a:cubicBezTo>
                          <a:pt x="264194" y="135034"/>
                          <a:pt x="299246" y="102268"/>
                          <a:pt x="303913" y="83599"/>
                        </a:cubicBezTo>
                        <a:cubicBezTo>
                          <a:pt x="308580" y="64835"/>
                          <a:pt x="254764" y="13400"/>
                          <a:pt x="240762" y="4066"/>
                        </a:cubicBezTo>
                        <a:cubicBezTo>
                          <a:pt x="226761" y="-5269"/>
                          <a:pt x="177612" y="4066"/>
                          <a:pt x="156466" y="6447"/>
                        </a:cubicBezTo>
                        <a:cubicBezTo>
                          <a:pt x="135416" y="8828"/>
                          <a:pt x="114366" y="32164"/>
                          <a:pt x="114366" y="57977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 w="9525" cap="rnd">
                    <a:solidFill>
                      <a:srgbClr val="263238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ru-RU"/>
                  </a:p>
                </p:txBody>
              </p:sp>
              <p:sp>
                <p:nvSpPr>
                  <p:cNvPr id="1726" name="Полилиния: фигура 1725">
                    <a:extLst>
                      <a:ext uri="{FF2B5EF4-FFF2-40B4-BE49-F238E27FC236}">
                        <a16:creationId xmlns:a16="http://schemas.microsoft.com/office/drawing/2014/main" id="{AE6E39BE-A575-488B-9C40-0C7215E0A103}"/>
                      </a:ext>
                    </a:extLst>
                  </p:cNvPr>
                  <p:cNvSpPr/>
                  <p:nvPr/>
                </p:nvSpPr>
                <p:spPr>
                  <a:xfrm>
                    <a:off x="2419286" y="4115054"/>
                    <a:ext cx="118110" cy="73628"/>
                  </a:xfrm>
                  <a:custGeom>
                    <a:avLst/>
                    <a:gdLst>
                      <a:gd name="connsiteX0" fmla="*/ 0 w 118110"/>
                      <a:gd name="connsiteY0" fmla="*/ 0 h 73628"/>
                      <a:gd name="connsiteX1" fmla="*/ 118110 w 118110"/>
                      <a:gd name="connsiteY1" fmla="*/ 73628 h 7362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118110" h="73628">
                        <a:moveTo>
                          <a:pt x="0" y="0"/>
                        </a:moveTo>
                        <a:lnTo>
                          <a:pt x="118110" y="73628"/>
                        </a:lnTo>
                      </a:path>
                    </a:pathLst>
                  </a:custGeom>
                  <a:ln w="9525" cap="rnd">
                    <a:solidFill>
                      <a:srgbClr val="263238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ru-RU"/>
                  </a:p>
                </p:txBody>
              </p:sp>
              <p:sp>
                <p:nvSpPr>
                  <p:cNvPr id="1727" name="Полилиния: фигура 1726">
                    <a:extLst>
                      <a:ext uri="{FF2B5EF4-FFF2-40B4-BE49-F238E27FC236}">
                        <a16:creationId xmlns:a16="http://schemas.microsoft.com/office/drawing/2014/main" id="{885F5C7A-B803-4DBF-A7AC-E4D078A674C0}"/>
                      </a:ext>
                    </a:extLst>
                  </p:cNvPr>
                  <p:cNvSpPr/>
                  <p:nvPr/>
                </p:nvSpPr>
                <p:spPr>
                  <a:xfrm>
                    <a:off x="2478817" y="4103147"/>
                    <a:ext cx="29146" cy="64865"/>
                  </a:xfrm>
                  <a:custGeom>
                    <a:avLst/>
                    <a:gdLst>
                      <a:gd name="connsiteX0" fmla="*/ 0 w 29146"/>
                      <a:gd name="connsiteY0" fmla="*/ 0 h 64865"/>
                      <a:gd name="connsiteX1" fmla="*/ 29146 w 29146"/>
                      <a:gd name="connsiteY1" fmla="*/ 64865 h 6486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29146" h="64865">
                        <a:moveTo>
                          <a:pt x="0" y="0"/>
                        </a:moveTo>
                        <a:lnTo>
                          <a:pt x="29146" y="64865"/>
                        </a:lnTo>
                      </a:path>
                    </a:pathLst>
                  </a:custGeom>
                  <a:ln w="9525" cap="rnd">
                    <a:solidFill>
                      <a:srgbClr val="263238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ru-RU"/>
                  </a:p>
                </p:txBody>
              </p:sp>
              <p:sp>
                <p:nvSpPr>
                  <p:cNvPr id="1728" name="Полилиния: фигура 1727">
                    <a:extLst>
                      <a:ext uri="{FF2B5EF4-FFF2-40B4-BE49-F238E27FC236}">
                        <a16:creationId xmlns:a16="http://schemas.microsoft.com/office/drawing/2014/main" id="{F7D1E6D1-3CEE-404B-88FC-9317AB512DF4}"/>
                      </a:ext>
                    </a:extLst>
                  </p:cNvPr>
                  <p:cNvSpPr/>
                  <p:nvPr/>
                </p:nvSpPr>
                <p:spPr>
                  <a:xfrm>
                    <a:off x="2368842" y="4130960"/>
                    <a:ext cx="127215" cy="99250"/>
                  </a:xfrm>
                  <a:custGeom>
                    <a:avLst/>
                    <a:gdLst>
                      <a:gd name="connsiteX0" fmla="*/ 6724 w 127215"/>
                      <a:gd name="connsiteY0" fmla="*/ 0 h 99250"/>
                      <a:gd name="connsiteX1" fmla="*/ 152 w 127215"/>
                      <a:gd name="connsiteY1" fmla="*/ 15907 h 99250"/>
                      <a:gd name="connsiteX2" fmla="*/ 16058 w 127215"/>
                      <a:gd name="connsiteY2" fmla="*/ 35719 h 99250"/>
                      <a:gd name="connsiteX3" fmla="*/ 127215 w 127215"/>
                      <a:gd name="connsiteY3" fmla="*/ 99250 h 9925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127215" h="99250">
                        <a:moveTo>
                          <a:pt x="6724" y="0"/>
                        </a:moveTo>
                        <a:cubicBezTo>
                          <a:pt x="6724" y="0"/>
                          <a:pt x="-1182" y="1333"/>
                          <a:pt x="152" y="15907"/>
                        </a:cubicBezTo>
                        <a:cubicBezTo>
                          <a:pt x="1485" y="30480"/>
                          <a:pt x="16058" y="35719"/>
                          <a:pt x="16058" y="35719"/>
                        </a:cubicBezTo>
                        <a:lnTo>
                          <a:pt x="127215" y="99250"/>
                        </a:lnTo>
                      </a:path>
                    </a:pathLst>
                  </a:custGeom>
                  <a:solidFill>
                    <a:srgbClr val="FFFFFF"/>
                  </a:solidFill>
                  <a:ln w="9525" cap="rnd">
                    <a:solidFill>
                      <a:srgbClr val="263238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ru-RU"/>
                  </a:p>
                </p:txBody>
              </p:sp>
              <p:sp>
                <p:nvSpPr>
                  <p:cNvPr id="1729" name="Полилиния: фигура 1728">
                    <a:extLst>
                      <a:ext uri="{FF2B5EF4-FFF2-40B4-BE49-F238E27FC236}">
                        <a16:creationId xmlns:a16="http://schemas.microsoft.com/office/drawing/2014/main" id="{8230F37A-2370-42D9-8C07-A9F606A556B2}"/>
                      </a:ext>
                    </a:extLst>
                  </p:cNvPr>
                  <p:cNvSpPr/>
                  <p:nvPr/>
                </p:nvSpPr>
                <p:spPr>
                  <a:xfrm>
                    <a:off x="2342366" y="4162678"/>
                    <a:ext cx="115305" cy="111156"/>
                  </a:xfrm>
                  <a:custGeom>
                    <a:avLst/>
                    <a:gdLst>
                      <a:gd name="connsiteX0" fmla="*/ 29295 w 115305"/>
                      <a:gd name="connsiteY0" fmla="*/ 0 h 111156"/>
                      <a:gd name="connsiteX1" fmla="*/ 148 w 115305"/>
                      <a:gd name="connsiteY1" fmla="*/ 44958 h 111156"/>
                      <a:gd name="connsiteX2" fmla="*/ 115306 w 115305"/>
                      <a:gd name="connsiteY2" fmla="*/ 111157 h 11115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</a:cxnLst>
                    <a:rect l="l" t="t" r="r" b="b"/>
                    <a:pathLst>
                      <a:path w="115305" h="111156">
                        <a:moveTo>
                          <a:pt x="29295" y="0"/>
                        </a:moveTo>
                        <a:cubicBezTo>
                          <a:pt x="29295" y="0"/>
                          <a:pt x="-2423" y="34385"/>
                          <a:pt x="148" y="44958"/>
                        </a:cubicBezTo>
                        <a:cubicBezTo>
                          <a:pt x="2815" y="55531"/>
                          <a:pt x="115306" y="111157"/>
                          <a:pt x="115306" y="111157"/>
                        </a:cubicBezTo>
                      </a:path>
                    </a:pathLst>
                  </a:custGeom>
                  <a:solidFill>
                    <a:srgbClr val="FFFFFF"/>
                  </a:solidFill>
                  <a:ln w="9525" cap="rnd">
                    <a:solidFill>
                      <a:srgbClr val="263238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ru-RU"/>
                  </a:p>
                </p:txBody>
              </p:sp>
              <p:sp>
                <p:nvSpPr>
                  <p:cNvPr id="1730" name="Полилиния: фигура 1729">
                    <a:extLst>
                      <a:ext uri="{FF2B5EF4-FFF2-40B4-BE49-F238E27FC236}">
                        <a16:creationId xmlns:a16="http://schemas.microsoft.com/office/drawing/2014/main" id="{56956CCD-D803-475D-BF45-3B2119B9551F}"/>
                      </a:ext>
                    </a:extLst>
                  </p:cNvPr>
                  <p:cNvSpPr/>
                  <p:nvPr/>
                </p:nvSpPr>
                <p:spPr>
                  <a:xfrm>
                    <a:off x="2317699" y="4219638"/>
                    <a:ext cx="77012" cy="90773"/>
                  </a:xfrm>
                  <a:custGeom>
                    <a:avLst/>
                    <a:gdLst>
                      <a:gd name="connsiteX0" fmla="*/ 77012 w 77012"/>
                      <a:gd name="connsiteY0" fmla="*/ 90773 h 90773"/>
                      <a:gd name="connsiteX1" fmla="*/ 2336 w 77012"/>
                      <a:gd name="connsiteY1" fmla="*/ 37052 h 90773"/>
                      <a:gd name="connsiteX2" fmla="*/ 14243 w 77012"/>
                      <a:gd name="connsiteY2" fmla="*/ 0 h 9077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</a:cxnLst>
                    <a:rect l="l" t="t" r="r" b="b"/>
                    <a:pathLst>
                      <a:path w="77012" h="90773">
                        <a:moveTo>
                          <a:pt x="77012" y="90773"/>
                        </a:moveTo>
                        <a:cubicBezTo>
                          <a:pt x="77012" y="90773"/>
                          <a:pt x="11671" y="54197"/>
                          <a:pt x="2336" y="37052"/>
                        </a:cubicBezTo>
                        <a:cubicBezTo>
                          <a:pt x="-6903" y="19812"/>
                          <a:pt x="14243" y="0"/>
                          <a:pt x="14243" y="0"/>
                        </a:cubicBezTo>
                      </a:path>
                    </a:pathLst>
                  </a:custGeom>
                  <a:solidFill>
                    <a:srgbClr val="FFFFFF"/>
                  </a:solidFill>
                  <a:ln w="9525" cap="rnd">
                    <a:solidFill>
                      <a:srgbClr val="263238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ru-RU"/>
                  </a:p>
                </p:txBody>
              </p:sp>
            </p:grpSp>
          </p:grpSp>
        </p:grpSp>
      </p:grpSp>
      <p:pic>
        <p:nvPicPr>
          <p:cNvPr id="721" name="Рисунок 720">
            <a:extLst>
              <a:ext uri="{FF2B5EF4-FFF2-40B4-BE49-F238E27FC236}">
                <a16:creationId xmlns:a16="http://schemas.microsoft.com/office/drawing/2014/main" id="{35F43F54-B45E-472D-B7E9-88FD2F8DBFA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483973" y="2908985"/>
            <a:ext cx="229825" cy="643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4235283"/>
      </p:ext>
    </p:extLst>
  </p:cSld>
  <p:clrMapOvr>
    <a:masterClrMapping/>
  </p:clrMapOvr>
  <p:transition spd="slow">
    <p:push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path" presetSubtype="0" repeatCount="indefinite" accel="50000" decel="50000" autoRev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16667E-6 3.7037E-6 L -4.16667E-6 0.03171 " pathEditMode="relative" rAng="0" ptsTypes="AA">
                                      <p:cBhvr>
                                        <p:cTn id="6" dur="1000" fill="hold"/>
                                        <p:tgtEl>
                                          <p:spTgt spid="173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574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Rounded Rectangle">
            <a:extLst>
              <a:ext uri="{FF2B5EF4-FFF2-40B4-BE49-F238E27FC236}">
                <a16:creationId xmlns:a16="http://schemas.microsoft.com/office/drawing/2014/main" id="{4A1A861F-77ED-4663-9389-8E9FD44BABD1}"/>
              </a:ext>
            </a:extLst>
          </p:cNvPr>
          <p:cNvSpPr/>
          <p:nvPr/>
        </p:nvSpPr>
        <p:spPr>
          <a:xfrm>
            <a:off x="0" y="2579435"/>
            <a:ext cx="12192000" cy="1785141"/>
          </a:xfrm>
          <a:prstGeom prst="roundRect">
            <a:avLst>
              <a:gd name="adj" fmla="val 0"/>
            </a:avLst>
          </a:prstGeom>
          <a:solidFill>
            <a:schemeClr val="bg1">
              <a:alpha val="96000"/>
            </a:schemeClr>
          </a:solidFill>
          <a:ln w="12700" cap="flat">
            <a:noFill/>
            <a:prstDash val="solid"/>
            <a:miter/>
          </a:ln>
          <a:effectLst>
            <a:outerShdw blurRad="1003300" sx="102000" sy="102000" algn="ctr" rotWithShape="0">
              <a:schemeClr val="tx1">
                <a:alpha val="20000"/>
              </a:schemeClr>
            </a:outerShdw>
          </a:effectLst>
        </p:spPr>
        <p:txBody>
          <a:bodyPr lIns="0" tIns="0" rIns="0" bIns="0" anchor="ctr"/>
          <a:lstStyle/>
          <a:p>
            <a:pPr marL="0" marR="0" lvl="0" indent="0" algn="ctr" defTabSz="309563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" pitchFamily="2" charset="0"/>
              <a:ea typeface="Roboto" pitchFamily="2" charset="0"/>
              <a:cs typeface="Poppins Bold"/>
              <a:sym typeface="Poppins Bold"/>
            </a:endParaRPr>
          </a:p>
        </p:txBody>
      </p:sp>
      <p:sp>
        <p:nvSpPr>
          <p:cNvPr id="41" name="Заголовок">
            <a:extLst>
              <a:ext uri="{FF2B5EF4-FFF2-40B4-BE49-F238E27FC236}">
                <a16:creationId xmlns:a16="http://schemas.microsoft.com/office/drawing/2014/main" id="{C2DC1C9A-4F65-42B1-86E3-6E4D91075984}"/>
              </a:ext>
            </a:extLst>
          </p:cNvPr>
          <p:cNvSpPr txBox="1"/>
          <p:nvPr/>
        </p:nvSpPr>
        <p:spPr>
          <a:xfrm>
            <a:off x="507067" y="376044"/>
            <a:ext cx="9007323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4400" dirty="0" err="1">
                <a:solidFill>
                  <a:srgbClr val="0D0D0D">
                    <a:lumMod val="75000"/>
                    <a:lumOff val="25000"/>
                  </a:srgbClr>
                </a:solidFill>
                <a:latin typeface="SB Sans Text Medium" panose="020B0603040504020204" pitchFamily="34" charset="-52"/>
                <a:ea typeface="Roboto" pitchFamily="2" charset="0"/>
                <a:cs typeface="SB Sans Text Medium" panose="020B0603040504020204" pitchFamily="34" charset="-52"/>
              </a:rPr>
              <a:t>СберСтрахование</a:t>
            </a:r>
            <a:r>
              <a:rPr lang="ru-RU" sz="4400" dirty="0">
                <a:solidFill>
                  <a:srgbClr val="0D0D0D">
                    <a:lumMod val="75000"/>
                    <a:lumOff val="25000"/>
                  </a:srgbClr>
                </a:solidFill>
                <a:latin typeface="SB Sans Text Medium" panose="020B0603040504020204" pitchFamily="34" charset="-52"/>
                <a:ea typeface="Roboto" pitchFamily="2" charset="0"/>
                <a:cs typeface="SB Sans Text Medium" panose="020B0603040504020204" pitchFamily="34" charset="-52"/>
              </a:rPr>
              <a:t> жизни</a:t>
            </a:r>
          </a:p>
        </p:txBody>
      </p:sp>
      <p:grpSp>
        <p:nvGrpSpPr>
          <p:cNvPr id="42" name="CDIConf_Black">
            <a:extLst>
              <a:ext uri="{FF2B5EF4-FFF2-40B4-BE49-F238E27FC236}">
                <a16:creationId xmlns:a16="http://schemas.microsoft.com/office/drawing/2014/main" id="{F3F1710A-CB9B-4080-B969-0477C48F22E5}"/>
              </a:ext>
            </a:extLst>
          </p:cNvPr>
          <p:cNvGrpSpPr/>
          <p:nvPr/>
        </p:nvGrpSpPr>
        <p:grpSpPr>
          <a:xfrm>
            <a:off x="9284984" y="6140223"/>
            <a:ext cx="2270483" cy="296171"/>
            <a:chOff x="7406975" y="5855999"/>
            <a:chExt cx="2270483" cy="296171"/>
          </a:xfrm>
        </p:grpSpPr>
        <p:sp>
          <p:nvSpPr>
            <p:cNvPr id="45" name="Полилиния: фигура 44">
              <a:extLst>
                <a:ext uri="{FF2B5EF4-FFF2-40B4-BE49-F238E27FC236}">
                  <a16:creationId xmlns:a16="http://schemas.microsoft.com/office/drawing/2014/main" id="{13A11B35-F320-4F31-908D-85B2D024FD4B}"/>
                </a:ext>
              </a:extLst>
            </p:cNvPr>
            <p:cNvSpPr/>
            <p:nvPr/>
          </p:nvSpPr>
          <p:spPr>
            <a:xfrm>
              <a:off x="7406975" y="5878280"/>
              <a:ext cx="1394458" cy="273890"/>
            </a:xfrm>
            <a:custGeom>
              <a:avLst/>
              <a:gdLst>
                <a:gd name="connsiteX0" fmla="*/ 157354 w 1394458"/>
                <a:gd name="connsiteY0" fmla="*/ 188093 h 273890"/>
                <a:gd name="connsiteX1" fmla="*/ 200773 w 1394458"/>
                <a:gd name="connsiteY1" fmla="*/ 188093 h 273890"/>
                <a:gd name="connsiteX2" fmla="*/ 186877 w 1394458"/>
                <a:gd name="connsiteY2" fmla="*/ 232383 h 273890"/>
                <a:gd name="connsiteX3" fmla="*/ 153706 w 1394458"/>
                <a:gd name="connsiteY3" fmla="*/ 262777 h 273890"/>
                <a:gd name="connsiteX4" fmla="*/ 101775 w 1394458"/>
                <a:gd name="connsiteY4" fmla="*/ 273891 h 273890"/>
                <a:gd name="connsiteX5" fmla="*/ 59572 w 1394458"/>
                <a:gd name="connsiteY5" fmla="*/ 265554 h 273890"/>
                <a:gd name="connsiteX6" fmla="*/ 27442 w 1394458"/>
                <a:gd name="connsiteY6" fmla="*/ 241585 h 273890"/>
                <a:gd name="connsiteX7" fmla="*/ 6950 w 1394458"/>
                <a:gd name="connsiteY7" fmla="*/ 203896 h 273890"/>
                <a:gd name="connsiteX8" fmla="*/ 0 w 1394458"/>
                <a:gd name="connsiteY8" fmla="*/ 154577 h 273890"/>
                <a:gd name="connsiteX9" fmla="*/ 0 w 1394458"/>
                <a:gd name="connsiteY9" fmla="*/ 133560 h 273890"/>
                <a:gd name="connsiteX10" fmla="*/ 7121 w 1394458"/>
                <a:gd name="connsiteY10" fmla="*/ 84236 h 273890"/>
                <a:gd name="connsiteX11" fmla="*/ 27962 w 1394458"/>
                <a:gd name="connsiteY11" fmla="*/ 46552 h 273890"/>
                <a:gd name="connsiteX12" fmla="*/ 60438 w 1394458"/>
                <a:gd name="connsiteY12" fmla="*/ 22408 h 273890"/>
                <a:gd name="connsiteX13" fmla="*/ 103336 w 1394458"/>
                <a:gd name="connsiteY13" fmla="*/ 14071 h 273890"/>
                <a:gd name="connsiteX14" fmla="*/ 154397 w 1394458"/>
                <a:gd name="connsiteY14" fmla="*/ 25185 h 273890"/>
                <a:gd name="connsiteX15" fmla="*/ 186702 w 1394458"/>
                <a:gd name="connsiteY15" fmla="*/ 55924 h 273890"/>
                <a:gd name="connsiteX16" fmla="*/ 200943 w 1394458"/>
                <a:gd name="connsiteY16" fmla="*/ 100905 h 273890"/>
                <a:gd name="connsiteX17" fmla="*/ 157524 w 1394458"/>
                <a:gd name="connsiteY17" fmla="*/ 100905 h 273890"/>
                <a:gd name="connsiteX18" fmla="*/ 149883 w 1394458"/>
                <a:gd name="connsiteY18" fmla="*/ 72943 h 273890"/>
                <a:gd name="connsiteX19" fmla="*/ 132865 w 1394458"/>
                <a:gd name="connsiteY19" fmla="*/ 55229 h 273890"/>
                <a:gd name="connsiteX20" fmla="*/ 103341 w 1394458"/>
                <a:gd name="connsiteY20" fmla="*/ 48974 h 273890"/>
                <a:gd name="connsiteX21" fmla="*/ 77291 w 1394458"/>
                <a:gd name="connsiteY21" fmla="*/ 54533 h 273890"/>
                <a:gd name="connsiteX22" fmla="*/ 58706 w 1394458"/>
                <a:gd name="connsiteY22" fmla="*/ 70861 h 273890"/>
                <a:gd name="connsiteX23" fmla="*/ 47417 w 1394458"/>
                <a:gd name="connsiteY23" fmla="*/ 97432 h 273890"/>
                <a:gd name="connsiteX24" fmla="*/ 43769 w 1394458"/>
                <a:gd name="connsiteY24" fmla="*/ 133210 h 273890"/>
                <a:gd name="connsiteX25" fmla="*/ 43769 w 1394458"/>
                <a:gd name="connsiteY25" fmla="*/ 154572 h 273890"/>
                <a:gd name="connsiteX26" fmla="*/ 47067 w 1394458"/>
                <a:gd name="connsiteY26" fmla="*/ 189304 h 273890"/>
                <a:gd name="connsiteX27" fmla="*/ 57490 w 1394458"/>
                <a:gd name="connsiteY27" fmla="*/ 215875 h 273890"/>
                <a:gd name="connsiteX28" fmla="*/ 75550 w 1394458"/>
                <a:gd name="connsiteY28" fmla="*/ 233069 h 273890"/>
                <a:gd name="connsiteX29" fmla="*/ 101775 w 1394458"/>
                <a:gd name="connsiteY29" fmla="*/ 239149 h 273890"/>
                <a:gd name="connsiteX30" fmla="*/ 131824 w 1394458"/>
                <a:gd name="connsiteY30" fmla="*/ 233244 h 273890"/>
                <a:gd name="connsiteX31" fmla="*/ 149363 w 1394458"/>
                <a:gd name="connsiteY31" fmla="*/ 216050 h 273890"/>
                <a:gd name="connsiteX32" fmla="*/ 157354 w 1394458"/>
                <a:gd name="connsiteY32" fmla="*/ 188088 h 273890"/>
                <a:gd name="connsiteX33" fmla="*/ 313837 w 1394458"/>
                <a:gd name="connsiteY33" fmla="*/ 270418 h 273890"/>
                <a:gd name="connsiteX34" fmla="*/ 259825 w 1394458"/>
                <a:gd name="connsiteY34" fmla="*/ 270418 h 273890"/>
                <a:gd name="connsiteX35" fmla="*/ 260170 w 1394458"/>
                <a:gd name="connsiteY35" fmla="*/ 235856 h 273890"/>
                <a:gd name="connsiteX36" fmla="*/ 313837 w 1394458"/>
                <a:gd name="connsiteY36" fmla="*/ 235856 h 273890"/>
                <a:gd name="connsiteX37" fmla="*/ 353088 w 1394458"/>
                <a:gd name="connsiteY37" fmla="*/ 225608 h 273890"/>
                <a:gd name="connsiteX38" fmla="*/ 377057 w 1394458"/>
                <a:gd name="connsiteY38" fmla="*/ 196255 h 273890"/>
                <a:gd name="connsiteX39" fmla="*/ 385218 w 1394458"/>
                <a:gd name="connsiteY39" fmla="*/ 150754 h 273890"/>
                <a:gd name="connsiteX40" fmla="*/ 385218 w 1394458"/>
                <a:gd name="connsiteY40" fmla="*/ 137033 h 273890"/>
                <a:gd name="connsiteX41" fmla="*/ 380530 w 1394458"/>
                <a:gd name="connsiteY41" fmla="*/ 100734 h 273890"/>
                <a:gd name="connsiteX42" fmla="*/ 366984 w 1394458"/>
                <a:gd name="connsiteY42" fmla="*/ 74163 h 273890"/>
                <a:gd name="connsiteX43" fmla="*/ 345102 w 1394458"/>
                <a:gd name="connsiteY43" fmla="*/ 57840 h 273890"/>
                <a:gd name="connsiteX44" fmla="*/ 315403 w 1394458"/>
                <a:gd name="connsiteY44" fmla="*/ 52281 h 273890"/>
                <a:gd name="connsiteX45" fmla="*/ 258784 w 1394458"/>
                <a:gd name="connsiteY45" fmla="*/ 52281 h 273890"/>
                <a:gd name="connsiteX46" fmla="*/ 258784 w 1394458"/>
                <a:gd name="connsiteY46" fmla="*/ 17544 h 273890"/>
                <a:gd name="connsiteX47" fmla="*/ 315403 w 1394458"/>
                <a:gd name="connsiteY47" fmla="*/ 17544 h 273890"/>
                <a:gd name="connsiteX48" fmla="*/ 361429 w 1394458"/>
                <a:gd name="connsiteY48" fmla="*/ 26055 h 273890"/>
                <a:gd name="connsiteX49" fmla="*/ 397383 w 1394458"/>
                <a:gd name="connsiteY49" fmla="*/ 50195 h 273890"/>
                <a:gd name="connsiteX50" fmla="*/ 420826 w 1394458"/>
                <a:gd name="connsiteY50" fmla="*/ 88054 h 273890"/>
                <a:gd name="connsiteX51" fmla="*/ 428988 w 1394458"/>
                <a:gd name="connsiteY51" fmla="*/ 137378 h 273890"/>
                <a:gd name="connsiteX52" fmla="*/ 428988 w 1394458"/>
                <a:gd name="connsiteY52" fmla="*/ 150754 h 273890"/>
                <a:gd name="connsiteX53" fmla="*/ 420826 w 1394458"/>
                <a:gd name="connsiteY53" fmla="*/ 200078 h 273890"/>
                <a:gd name="connsiteX54" fmla="*/ 397383 w 1394458"/>
                <a:gd name="connsiteY54" fmla="*/ 237938 h 273890"/>
                <a:gd name="connsiteX55" fmla="*/ 360909 w 1394458"/>
                <a:gd name="connsiteY55" fmla="*/ 262077 h 273890"/>
                <a:gd name="connsiteX56" fmla="*/ 313842 w 1394458"/>
                <a:gd name="connsiteY56" fmla="*/ 270413 h 273890"/>
                <a:gd name="connsiteX57" fmla="*/ 283964 w 1394458"/>
                <a:gd name="connsiteY57" fmla="*/ 17544 h 273890"/>
                <a:gd name="connsiteX58" fmla="*/ 283964 w 1394458"/>
                <a:gd name="connsiteY58" fmla="*/ 270418 h 273890"/>
                <a:gd name="connsiteX59" fmla="*/ 240369 w 1394458"/>
                <a:gd name="connsiteY59" fmla="*/ 270418 h 273890"/>
                <a:gd name="connsiteX60" fmla="*/ 240369 w 1394458"/>
                <a:gd name="connsiteY60" fmla="*/ 17544 h 273890"/>
                <a:gd name="connsiteX61" fmla="*/ 283964 w 1394458"/>
                <a:gd name="connsiteY61" fmla="*/ 17544 h 273890"/>
                <a:gd name="connsiteX62" fmla="*/ 519299 w 1394458"/>
                <a:gd name="connsiteY62" fmla="*/ 17544 h 273890"/>
                <a:gd name="connsiteX63" fmla="*/ 519299 w 1394458"/>
                <a:gd name="connsiteY63" fmla="*/ 270418 h 273890"/>
                <a:gd name="connsiteX64" fmla="*/ 475705 w 1394458"/>
                <a:gd name="connsiteY64" fmla="*/ 270418 h 273890"/>
                <a:gd name="connsiteX65" fmla="*/ 475705 w 1394458"/>
                <a:gd name="connsiteY65" fmla="*/ 17544 h 273890"/>
                <a:gd name="connsiteX66" fmla="*/ 519299 w 1394458"/>
                <a:gd name="connsiteY66" fmla="*/ 17544 h 273890"/>
                <a:gd name="connsiteX67" fmla="*/ 811424 w 1394458"/>
                <a:gd name="connsiteY67" fmla="*/ 188093 h 273890"/>
                <a:gd name="connsiteX68" fmla="*/ 854843 w 1394458"/>
                <a:gd name="connsiteY68" fmla="*/ 188093 h 273890"/>
                <a:gd name="connsiteX69" fmla="*/ 840947 w 1394458"/>
                <a:gd name="connsiteY69" fmla="*/ 232383 h 273890"/>
                <a:gd name="connsiteX70" fmla="*/ 807776 w 1394458"/>
                <a:gd name="connsiteY70" fmla="*/ 262777 h 273890"/>
                <a:gd name="connsiteX71" fmla="*/ 755845 w 1394458"/>
                <a:gd name="connsiteY71" fmla="*/ 273891 h 273890"/>
                <a:gd name="connsiteX72" fmla="*/ 713642 w 1394458"/>
                <a:gd name="connsiteY72" fmla="*/ 265554 h 273890"/>
                <a:gd name="connsiteX73" fmla="*/ 681512 w 1394458"/>
                <a:gd name="connsiteY73" fmla="*/ 241585 h 273890"/>
                <a:gd name="connsiteX74" fmla="*/ 661021 w 1394458"/>
                <a:gd name="connsiteY74" fmla="*/ 203896 h 273890"/>
                <a:gd name="connsiteX75" fmla="*/ 654075 w 1394458"/>
                <a:gd name="connsiteY75" fmla="*/ 154572 h 273890"/>
                <a:gd name="connsiteX76" fmla="*/ 654075 w 1394458"/>
                <a:gd name="connsiteY76" fmla="*/ 133555 h 273890"/>
                <a:gd name="connsiteX77" fmla="*/ 661196 w 1394458"/>
                <a:gd name="connsiteY77" fmla="*/ 84231 h 273890"/>
                <a:gd name="connsiteX78" fmla="*/ 682037 w 1394458"/>
                <a:gd name="connsiteY78" fmla="*/ 46547 h 273890"/>
                <a:gd name="connsiteX79" fmla="*/ 714513 w 1394458"/>
                <a:gd name="connsiteY79" fmla="*/ 22403 h 273890"/>
                <a:gd name="connsiteX80" fmla="*/ 757411 w 1394458"/>
                <a:gd name="connsiteY80" fmla="*/ 14066 h 273890"/>
                <a:gd name="connsiteX81" fmla="*/ 808472 w 1394458"/>
                <a:gd name="connsiteY81" fmla="*/ 25180 h 273890"/>
                <a:gd name="connsiteX82" fmla="*/ 840777 w 1394458"/>
                <a:gd name="connsiteY82" fmla="*/ 55919 h 273890"/>
                <a:gd name="connsiteX83" fmla="*/ 855018 w 1394458"/>
                <a:gd name="connsiteY83" fmla="*/ 100900 h 273890"/>
                <a:gd name="connsiteX84" fmla="*/ 811599 w 1394458"/>
                <a:gd name="connsiteY84" fmla="*/ 100900 h 273890"/>
                <a:gd name="connsiteX85" fmla="*/ 803958 w 1394458"/>
                <a:gd name="connsiteY85" fmla="*/ 72938 h 273890"/>
                <a:gd name="connsiteX86" fmla="*/ 786940 w 1394458"/>
                <a:gd name="connsiteY86" fmla="*/ 55224 h 273890"/>
                <a:gd name="connsiteX87" fmla="*/ 757416 w 1394458"/>
                <a:gd name="connsiteY87" fmla="*/ 48969 h 273890"/>
                <a:gd name="connsiteX88" fmla="*/ 731366 w 1394458"/>
                <a:gd name="connsiteY88" fmla="*/ 54528 h 273890"/>
                <a:gd name="connsiteX89" fmla="*/ 712781 w 1394458"/>
                <a:gd name="connsiteY89" fmla="*/ 70856 h 273890"/>
                <a:gd name="connsiteX90" fmla="*/ 701492 w 1394458"/>
                <a:gd name="connsiteY90" fmla="*/ 97427 h 273890"/>
                <a:gd name="connsiteX91" fmla="*/ 697844 w 1394458"/>
                <a:gd name="connsiteY91" fmla="*/ 133205 h 273890"/>
                <a:gd name="connsiteX92" fmla="*/ 697844 w 1394458"/>
                <a:gd name="connsiteY92" fmla="*/ 154567 h 273890"/>
                <a:gd name="connsiteX93" fmla="*/ 701142 w 1394458"/>
                <a:gd name="connsiteY93" fmla="*/ 189299 h 273890"/>
                <a:gd name="connsiteX94" fmla="*/ 711565 w 1394458"/>
                <a:gd name="connsiteY94" fmla="*/ 215870 h 273890"/>
                <a:gd name="connsiteX95" fmla="*/ 729629 w 1394458"/>
                <a:gd name="connsiteY95" fmla="*/ 233064 h 273890"/>
                <a:gd name="connsiteX96" fmla="*/ 755855 w 1394458"/>
                <a:gd name="connsiteY96" fmla="*/ 239144 h 273890"/>
                <a:gd name="connsiteX97" fmla="*/ 785904 w 1394458"/>
                <a:gd name="connsiteY97" fmla="*/ 233239 h 273890"/>
                <a:gd name="connsiteX98" fmla="*/ 803443 w 1394458"/>
                <a:gd name="connsiteY98" fmla="*/ 216046 h 273890"/>
                <a:gd name="connsiteX99" fmla="*/ 811434 w 1394458"/>
                <a:gd name="connsiteY99" fmla="*/ 188084 h 273890"/>
                <a:gd name="connsiteX100" fmla="*/ 882285 w 1394458"/>
                <a:gd name="connsiteY100" fmla="*/ 178541 h 273890"/>
                <a:gd name="connsiteX101" fmla="*/ 882285 w 1394458"/>
                <a:gd name="connsiteY101" fmla="*/ 174548 h 273890"/>
                <a:gd name="connsiteX102" fmla="*/ 888190 w 1394458"/>
                <a:gd name="connsiteY102" fmla="*/ 136858 h 273890"/>
                <a:gd name="connsiteX103" fmla="*/ 905208 w 1394458"/>
                <a:gd name="connsiteY103" fmla="*/ 106464 h 273890"/>
                <a:gd name="connsiteX104" fmla="*/ 932650 w 1394458"/>
                <a:gd name="connsiteY104" fmla="*/ 86318 h 273890"/>
                <a:gd name="connsiteX105" fmla="*/ 969469 w 1394458"/>
                <a:gd name="connsiteY105" fmla="*/ 79022 h 273890"/>
                <a:gd name="connsiteX106" fmla="*/ 1006288 w 1394458"/>
                <a:gd name="connsiteY106" fmla="*/ 86318 h 273890"/>
                <a:gd name="connsiteX107" fmla="*/ 1033899 w 1394458"/>
                <a:gd name="connsiteY107" fmla="*/ 106464 h 273890"/>
                <a:gd name="connsiteX108" fmla="*/ 1051093 w 1394458"/>
                <a:gd name="connsiteY108" fmla="*/ 136858 h 273890"/>
                <a:gd name="connsiteX109" fmla="*/ 1056998 w 1394458"/>
                <a:gd name="connsiteY109" fmla="*/ 174548 h 273890"/>
                <a:gd name="connsiteX110" fmla="*/ 1056998 w 1394458"/>
                <a:gd name="connsiteY110" fmla="*/ 178541 h 273890"/>
                <a:gd name="connsiteX111" fmla="*/ 1051093 w 1394458"/>
                <a:gd name="connsiteY111" fmla="*/ 216230 h 273890"/>
                <a:gd name="connsiteX112" fmla="*/ 1033899 w 1394458"/>
                <a:gd name="connsiteY112" fmla="*/ 246624 h 273890"/>
                <a:gd name="connsiteX113" fmla="*/ 1006458 w 1394458"/>
                <a:gd name="connsiteY113" fmla="*/ 266770 h 273890"/>
                <a:gd name="connsiteX114" fmla="*/ 969814 w 1394458"/>
                <a:gd name="connsiteY114" fmla="*/ 273891 h 273890"/>
                <a:gd name="connsiteX115" fmla="*/ 932820 w 1394458"/>
                <a:gd name="connsiteY115" fmla="*/ 266770 h 273890"/>
                <a:gd name="connsiteX116" fmla="*/ 905378 w 1394458"/>
                <a:gd name="connsiteY116" fmla="*/ 246624 h 273890"/>
                <a:gd name="connsiteX117" fmla="*/ 888185 w 1394458"/>
                <a:gd name="connsiteY117" fmla="*/ 216230 h 273890"/>
                <a:gd name="connsiteX118" fmla="*/ 882280 w 1394458"/>
                <a:gd name="connsiteY118" fmla="*/ 178541 h 273890"/>
                <a:gd name="connsiteX119" fmla="*/ 924143 w 1394458"/>
                <a:gd name="connsiteY119" fmla="*/ 174548 h 273890"/>
                <a:gd name="connsiteX120" fmla="*/ 924143 w 1394458"/>
                <a:gd name="connsiteY120" fmla="*/ 178541 h 273890"/>
                <a:gd name="connsiteX121" fmla="*/ 926750 w 1394458"/>
                <a:gd name="connsiteY121" fmla="*/ 202510 h 273890"/>
                <a:gd name="connsiteX122" fmla="*/ 934911 w 1394458"/>
                <a:gd name="connsiteY122" fmla="*/ 222310 h 273890"/>
                <a:gd name="connsiteX123" fmla="*/ 949152 w 1394458"/>
                <a:gd name="connsiteY123" fmla="*/ 235681 h 273890"/>
                <a:gd name="connsiteX124" fmla="*/ 969819 w 1394458"/>
                <a:gd name="connsiteY124" fmla="*/ 240545 h 273890"/>
                <a:gd name="connsiteX125" fmla="*/ 989965 w 1394458"/>
                <a:gd name="connsiteY125" fmla="*/ 235681 h 273890"/>
                <a:gd name="connsiteX126" fmla="*/ 1004206 w 1394458"/>
                <a:gd name="connsiteY126" fmla="*/ 222310 h 273890"/>
                <a:gd name="connsiteX127" fmla="*/ 1012367 w 1394458"/>
                <a:gd name="connsiteY127" fmla="*/ 202510 h 273890"/>
                <a:gd name="connsiteX128" fmla="*/ 1015145 w 1394458"/>
                <a:gd name="connsiteY128" fmla="*/ 178541 h 273890"/>
                <a:gd name="connsiteX129" fmla="*/ 1015145 w 1394458"/>
                <a:gd name="connsiteY129" fmla="*/ 174548 h 273890"/>
                <a:gd name="connsiteX130" fmla="*/ 1012367 w 1394458"/>
                <a:gd name="connsiteY130" fmla="*/ 150929 h 273890"/>
                <a:gd name="connsiteX131" fmla="*/ 1004031 w 1394458"/>
                <a:gd name="connsiteY131" fmla="*/ 130958 h 273890"/>
                <a:gd name="connsiteX132" fmla="*/ 989790 w 1394458"/>
                <a:gd name="connsiteY132" fmla="*/ 117412 h 273890"/>
                <a:gd name="connsiteX133" fmla="*/ 969469 w 1394458"/>
                <a:gd name="connsiteY133" fmla="*/ 112378 h 273890"/>
                <a:gd name="connsiteX134" fmla="*/ 948977 w 1394458"/>
                <a:gd name="connsiteY134" fmla="*/ 117412 h 273890"/>
                <a:gd name="connsiteX135" fmla="*/ 934911 w 1394458"/>
                <a:gd name="connsiteY135" fmla="*/ 130958 h 273890"/>
                <a:gd name="connsiteX136" fmla="*/ 926750 w 1394458"/>
                <a:gd name="connsiteY136" fmla="*/ 150929 h 273890"/>
                <a:gd name="connsiteX137" fmla="*/ 924143 w 1394458"/>
                <a:gd name="connsiteY137" fmla="*/ 174548 h 273890"/>
                <a:gd name="connsiteX138" fmla="*/ 1133598 w 1394458"/>
                <a:gd name="connsiteY138" fmla="*/ 122617 h 273890"/>
                <a:gd name="connsiteX139" fmla="*/ 1133598 w 1394458"/>
                <a:gd name="connsiteY139" fmla="*/ 270418 h 273890"/>
                <a:gd name="connsiteX140" fmla="*/ 1091745 w 1394458"/>
                <a:gd name="connsiteY140" fmla="*/ 270418 h 273890"/>
                <a:gd name="connsiteX141" fmla="*/ 1091745 w 1394458"/>
                <a:gd name="connsiteY141" fmla="*/ 82495 h 273890"/>
                <a:gd name="connsiteX142" fmla="*/ 1131171 w 1394458"/>
                <a:gd name="connsiteY142" fmla="*/ 82495 h 273890"/>
                <a:gd name="connsiteX143" fmla="*/ 1133603 w 1394458"/>
                <a:gd name="connsiteY143" fmla="*/ 122617 h 273890"/>
                <a:gd name="connsiteX144" fmla="*/ 1126132 w 1394458"/>
                <a:gd name="connsiteY144" fmla="*/ 169509 h 273890"/>
                <a:gd name="connsiteX145" fmla="*/ 1112586 w 1394458"/>
                <a:gd name="connsiteY145" fmla="*/ 169334 h 273890"/>
                <a:gd name="connsiteX146" fmla="*/ 1118145 w 1394458"/>
                <a:gd name="connsiteY146" fmla="*/ 132690 h 273890"/>
                <a:gd name="connsiteX147" fmla="*/ 1133428 w 1394458"/>
                <a:gd name="connsiteY147" fmla="*/ 104032 h 273890"/>
                <a:gd name="connsiteX148" fmla="*/ 1157046 w 1394458"/>
                <a:gd name="connsiteY148" fmla="*/ 85623 h 273890"/>
                <a:gd name="connsiteX149" fmla="*/ 1187615 w 1394458"/>
                <a:gd name="connsiteY149" fmla="*/ 79022 h 273890"/>
                <a:gd name="connsiteX150" fmla="*/ 1212105 w 1394458"/>
                <a:gd name="connsiteY150" fmla="*/ 82840 h 273890"/>
                <a:gd name="connsiteX151" fmla="*/ 1231034 w 1394458"/>
                <a:gd name="connsiteY151" fmla="*/ 94825 h 273890"/>
                <a:gd name="connsiteX152" fmla="*/ 1243189 w 1394458"/>
                <a:gd name="connsiteY152" fmla="*/ 116532 h 273890"/>
                <a:gd name="connsiteX153" fmla="*/ 1247357 w 1394458"/>
                <a:gd name="connsiteY153" fmla="*/ 149013 h 273890"/>
                <a:gd name="connsiteX154" fmla="*/ 1247357 w 1394458"/>
                <a:gd name="connsiteY154" fmla="*/ 270413 h 273890"/>
                <a:gd name="connsiteX155" fmla="*/ 1205329 w 1394458"/>
                <a:gd name="connsiteY155" fmla="*/ 270413 h 273890"/>
                <a:gd name="connsiteX156" fmla="*/ 1205329 w 1394458"/>
                <a:gd name="connsiteY156" fmla="*/ 148837 h 273890"/>
                <a:gd name="connsiteX157" fmla="*/ 1201336 w 1394458"/>
                <a:gd name="connsiteY157" fmla="*/ 127476 h 273890"/>
                <a:gd name="connsiteX158" fmla="*/ 1190047 w 1394458"/>
                <a:gd name="connsiteY158" fmla="*/ 116187 h 273890"/>
                <a:gd name="connsiteX159" fmla="*/ 1171813 w 1394458"/>
                <a:gd name="connsiteY159" fmla="*/ 112714 h 273890"/>
                <a:gd name="connsiteX160" fmla="*/ 1152533 w 1394458"/>
                <a:gd name="connsiteY160" fmla="*/ 117228 h 273890"/>
                <a:gd name="connsiteX161" fmla="*/ 1138116 w 1394458"/>
                <a:gd name="connsiteY161" fmla="*/ 129557 h 273890"/>
                <a:gd name="connsiteX162" fmla="*/ 1129259 w 1394458"/>
                <a:gd name="connsiteY162" fmla="*/ 147621 h 273890"/>
                <a:gd name="connsiteX163" fmla="*/ 1126132 w 1394458"/>
                <a:gd name="connsiteY163" fmla="*/ 169504 h 273890"/>
                <a:gd name="connsiteX164" fmla="*/ 1346701 w 1394458"/>
                <a:gd name="connsiteY164" fmla="*/ 270418 h 273890"/>
                <a:gd name="connsiteX165" fmla="*/ 1304843 w 1394458"/>
                <a:gd name="connsiteY165" fmla="*/ 270418 h 273890"/>
                <a:gd name="connsiteX166" fmla="*/ 1304843 w 1394458"/>
                <a:gd name="connsiteY166" fmla="*/ 64436 h 273890"/>
                <a:gd name="connsiteX167" fmla="*/ 1312659 w 1394458"/>
                <a:gd name="connsiteY167" fmla="*/ 29178 h 273890"/>
                <a:gd name="connsiteX168" fmla="*/ 1335412 w 1394458"/>
                <a:gd name="connsiteY168" fmla="*/ 7471 h 273890"/>
                <a:gd name="connsiteX169" fmla="*/ 1370319 w 1394458"/>
                <a:gd name="connsiteY169" fmla="*/ 0 h 273890"/>
                <a:gd name="connsiteX170" fmla="*/ 1382649 w 1394458"/>
                <a:gd name="connsiteY170" fmla="*/ 871 h 273890"/>
                <a:gd name="connsiteX171" fmla="*/ 1394458 w 1394458"/>
                <a:gd name="connsiteY171" fmla="*/ 3127 h 273890"/>
                <a:gd name="connsiteX172" fmla="*/ 1393418 w 1394458"/>
                <a:gd name="connsiteY172" fmla="*/ 35433 h 273890"/>
                <a:gd name="connsiteX173" fmla="*/ 1385776 w 1394458"/>
                <a:gd name="connsiteY173" fmla="*/ 34217 h 273890"/>
                <a:gd name="connsiteX174" fmla="*/ 1377095 w 1394458"/>
                <a:gd name="connsiteY174" fmla="*/ 33872 h 273890"/>
                <a:gd name="connsiteX175" fmla="*/ 1360596 w 1394458"/>
                <a:gd name="connsiteY175" fmla="*/ 37519 h 273890"/>
                <a:gd name="connsiteX176" fmla="*/ 1350178 w 1394458"/>
                <a:gd name="connsiteY176" fmla="*/ 47767 h 273890"/>
                <a:gd name="connsiteX177" fmla="*/ 1346706 w 1394458"/>
                <a:gd name="connsiteY177" fmla="*/ 64441 h 273890"/>
                <a:gd name="connsiteX178" fmla="*/ 1346706 w 1394458"/>
                <a:gd name="connsiteY178" fmla="*/ 270423 h 273890"/>
                <a:gd name="connsiteX179" fmla="*/ 1385431 w 1394458"/>
                <a:gd name="connsiteY179" fmla="*/ 82500 h 273890"/>
                <a:gd name="connsiteX180" fmla="*/ 1385431 w 1394458"/>
                <a:gd name="connsiteY180" fmla="*/ 113069 h 273890"/>
                <a:gd name="connsiteX181" fmla="*/ 1276015 w 1394458"/>
                <a:gd name="connsiteY181" fmla="*/ 113069 h 273890"/>
                <a:gd name="connsiteX182" fmla="*/ 1276015 w 1394458"/>
                <a:gd name="connsiteY182" fmla="*/ 82500 h 273890"/>
                <a:gd name="connsiteX183" fmla="*/ 1385431 w 1394458"/>
                <a:gd name="connsiteY183" fmla="*/ 82500 h 2738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</a:cxnLst>
              <a:rect l="l" t="t" r="r" b="b"/>
              <a:pathLst>
                <a:path w="1394458" h="273890">
                  <a:moveTo>
                    <a:pt x="157354" y="188093"/>
                  </a:moveTo>
                  <a:lnTo>
                    <a:pt x="200773" y="188093"/>
                  </a:lnTo>
                  <a:cubicBezTo>
                    <a:pt x="199382" y="204650"/>
                    <a:pt x="194752" y="219411"/>
                    <a:pt x="186877" y="232383"/>
                  </a:cubicBezTo>
                  <a:cubicBezTo>
                    <a:pt x="179003" y="245233"/>
                    <a:pt x="167947" y="255365"/>
                    <a:pt x="153706" y="262777"/>
                  </a:cubicBezTo>
                  <a:cubicBezTo>
                    <a:pt x="139465" y="270185"/>
                    <a:pt x="122155" y="273891"/>
                    <a:pt x="101775" y="273891"/>
                  </a:cubicBezTo>
                  <a:cubicBezTo>
                    <a:pt x="86143" y="273891"/>
                    <a:pt x="72077" y="271114"/>
                    <a:pt x="59572" y="265554"/>
                  </a:cubicBezTo>
                  <a:cubicBezTo>
                    <a:pt x="47067" y="259878"/>
                    <a:pt x="36357" y="251892"/>
                    <a:pt x="27442" y="241585"/>
                  </a:cubicBezTo>
                  <a:cubicBezTo>
                    <a:pt x="18526" y="231162"/>
                    <a:pt x="11697" y="218604"/>
                    <a:pt x="6950" y="203896"/>
                  </a:cubicBezTo>
                  <a:cubicBezTo>
                    <a:pt x="2315" y="189192"/>
                    <a:pt x="0" y="172753"/>
                    <a:pt x="0" y="154577"/>
                  </a:cubicBezTo>
                  <a:lnTo>
                    <a:pt x="0" y="133560"/>
                  </a:lnTo>
                  <a:cubicBezTo>
                    <a:pt x="0" y="115379"/>
                    <a:pt x="2374" y="98940"/>
                    <a:pt x="7121" y="84236"/>
                  </a:cubicBezTo>
                  <a:cubicBezTo>
                    <a:pt x="11984" y="69533"/>
                    <a:pt x="18930" y="56970"/>
                    <a:pt x="27962" y="46552"/>
                  </a:cubicBezTo>
                  <a:cubicBezTo>
                    <a:pt x="36994" y="36017"/>
                    <a:pt x="47816" y="27967"/>
                    <a:pt x="60438" y="22408"/>
                  </a:cubicBezTo>
                  <a:cubicBezTo>
                    <a:pt x="73171" y="16848"/>
                    <a:pt x="87471" y="14071"/>
                    <a:pt x="103336" y="14071"/>
                  </a:cubicBezTo>
                  <a:cubicBezTo>
                    <a:pt x="123482" y="14071"/>
                    <a:pt x="140506" y="17777"/>
                    <a:pt x="154397" y="25185"/>
                  </a:cubicBezTo>
                  <a:cubicBezTo>
                    <a:pt x="168293" y="32597"/>
                    <a:pt x="179056" y="42840"/>
                    <a:pt x="186702" y="55924"/>
                  </a:cubicBezTo>
                  <a:cubicBezTo>
                    <a:pt x="194460" y="69008"/>
                    <a:pt x="199207" y="84003"/>
                    <a:pt x="200943" y="100905"/>
                  </a:cubicBezTo>
                  <a:lnTo>
                    <a:pt x="157524" y="100905"/>
                  </a:lnTo>
                  <a:cubicBezTo>
                    <a:pt x="156367" y="90019"/>
                    <a:pt x="153818" y="80700"/>
                    <a:pt x="149883" y="72943"/>
                  </a:cubicBezTo>
                  <a:cubicBezTo>
                    <a:pt x="146065" y="65185"/>
                    <a:pt x="140389" y="59280"/>
                    <a:pt x="132865" y="55229"/>
                  </a:cubicBezTo>
                  <a:cubicBezTo>
                    <a:pt x="125340" y="51060"/>
                    <a:pt x="115496" y="48974"/>
                    <a:pt x="103341" y="48974"/>
                  </a:cubicBezTo>
                  <a:cubicBezTo>
                    <a:pt x="93385" y="48974"/>
                    <a:pt x="84698" y="50827"/>
                    <a:pt x="77291" y="54533"/>
                  </a:cubicBezTo>
                  <a:cubicBezTo>
                    <a:pt x="69878" y="58239"/>
                    <a:pt x="63687" y="63682"/>
                    <a:pt x="58706" y="70861"/>
                  </a:cubicBezTo>
                  <a:cubicBezTo>
                    <a:pt x="53730" y="78040"/>
                    <a:pt x="49966" y="86897"/>
                    <a:pt x="47417" y="97432"/>
                  </a:cubicBezTo>
                  <a:cubicBezTo>
                    <a:pt x="44985" y="107850"/>
                    <a:pt x="43769" y="119776"/>
                    <a:pt x="43769" y="133210"/>
                  </a:cubicBezTo>
                  <a:lnTo>
                    <a:pt x="43769" y="154572"/>
                  </a:lnTo>
                  <a:cubicBezTo>
                    <a:pt x="43769" y="167305"/>
                    <a:pt x="44869" y="178886"/>
                    <a:pt x="47067" y="189304"/>
                  </a:cubicBezTo>
                  <a:cubicBezTo>
                    <a:pt x="49382" y="199611"/>
                    <a:pt x="52855" y="208468"/>
                    <a:pt x="57490" y="215875"/>
                  </a:cubicBezTo>
                  <a:cubicBezTo>
                    <a:pt x="62237" y="223288"/>
                    <a:pt x="68259" y="229017"/>
                    <a:pt x="75550" y="233069"/>
                  </a:cubicBezTo>
                  <a:cubicBezTo>
                    <a:pt x="82845" y="237120"/>
                    <a:pt x="91585" y="239149"/>
                    <a:pt x="101775" y="239149"/>
                  </a:cubicBezTo>
                  <a:cubicBezTo>
                    <a:pt x="114163" y="239149"/>
                    <a:pt x="124178" y="237179"/>
                    <a:pt x="131824" y="233244"/>
                  </a:cubicBezTo>
                  <a:cubicBezTo>
                    <a:pt x="139582" y="229309"/>
                    <a:pt x="145428" y="223575"/>
                    <a:pt x="149363" y="216050"/>
                  </a:cubicBezTo>
                  <a:cubicBezTo>
                    <a:pt x="153414" y="208409"/>
                    <a:pt x="156080" y="199090"/>
                    <a:pt x="157354" y="188088"/>
                  </a:cubicBezTo>
                  <a:close/>
                  <a:moveTo>
                    <a:pt x="313837" y="270418"/>
                  </a:moveTo>
                  <a:lnTo>
                    <a:pt x="259825" y="270418"/>
                  </a:lnTo>
                  <a:lnTo>
                    <a:pt x="260170" y="235856"/>
                  </a:lnTo>
                  <a:lnTo>
                    <a:pt x="313837" y="235856"/>
                  </a:lnTo>
                  <a:cubicBezTo>
                    <a:pt x="329469" y="235856"/>
                    <a:pt x="342553" y="232441"/>
                    <a:pt x="353088" y="225608"/>
                  </a:cubicBezTo>
                  <a:cubicBezTo>
                    <a:pt x="363740" y="218779"/>
                    <a:pt x="371731" y="208993"/>
                    <a:pt x="377057" y="196255"/>
                  </a:cubicBezTo>
                  <a:cubicBezTo>
                    <a:pt x="382499" y="183521"/>
                    <a:pt x="385218" y="168351"/>
                    <a:pt x="385218" y="150754"/>
                  </a:cubicBezTo>
                  <a:lnTo>
                    <a:pt x="385218" y="137033"/>
                  </a:lnTo>
                  <a:cubicBezTo>
                    <a:pt x="385218" y="123371"/>
                    <a:pt x="383657" y="111269"/>
                    <a:pt x="380530" y="100734"/>
                  </a:cubicBezTo>
                  <a:cubicBezTo>
                    <a:pt x="377519" y="90199"/>
                    <a:pt x="373005" y="81342"/>
                    <a:pt x="366984" y="74163"/>
                  </a:cubicBezTo>
                  <a:cubicBezTo>
                    <a:pt x="361079" y="66984"/>
                    <a:pt x="353784" y="61542"/>
                    <a:pt x="345102" y="57840"/>
                  </a:cubicBezTo>
                  <a:cubicBezTo>
                    <a:pt x="336532" y="54134"/>
                    <a:pt x="326634" y="52281"/>
                    <a:pt x="315403" y="52281"/>
                  </a:cubicBezTo>
                  <a:lnTo>
                    <a:pt x="258784" y="52281"/>
                  </a:lnTo>
                  <a:lnTo>
                    <a:pt x="258784" y="17544"/>
                  </a:lnTo>
                  <a:lnTo>
                    <a:pt x="315403" y="17544"/>
                  </a:lnTo>
                  <a:cubicBezTo>
                    <a:pt x="332193" y="17544"/>
                    <a:pt x="347534" y="20379"/>
                    <a:pt x="361429" y="26055"/>
                  </a:cubicBezTo>
                  <a:cubicBezTo>
                    <a:pt x="375325" y="31615"/>
                    <a:pt x="387310" y="39660"/>
                    <a:pt x="397383" y="50195"/>
                  </a:cubicBezTo>
                  <a:cubicBezTo>
                    <a:pt x="407572" y="60730"/>
                    <a:pt x="415389" y="73351"/>
                    <a:pt x="420826" y="88054"/>
                  </a:cubicBezTo>
                  <a:cubicBezTo>
                    <a:pt x="426269" y="102758"/>
                    <a:pt x="428988" y="119202"/>
                    <a:pt x="428988" y="137378"/>
                  </a:cubicBezTo>
                  <a:lnTo>
                    <a:pt x="428988" y="150754"/>
                  </a:lnTo>
                  <a:cubicBezTo>
                    <a:pt x="428988" y="168930"/>
                    <a:pt x="426269" y="185374"/>
                    <a:pt x="420826" y="200078"/>
                  </a:cubicBezTo>
                  <a:cubicBezTo>
                    <a:pt x="415384" y="214781"/>
                    <a:pt x="407568" y="227403"/>
                    <a:pt x="397383" y="237938"/>
                  </a:cubicBezTo>
                  <a:cubicBezTo>
                    <a:pt x="387193" y="248356"/>
                    <a:pt x="375038" y="256405"/>
                    <a:pt x="360909" y="262077"/>
                  </a:cubicBezTo>
                  <a:cubicBezTo>
                    <a:pt x="346896" y="267636"/>
                    <a:pt x="331211" y="270413"/>
                    <a:pt x="313842" y="270413"/>
                  </a:cubicBezTo>
                  <a:close/>
                  <a:moveTo>
                    <a:pt x="283964" y="17544"/>
                  </a:moveTo>
                  <a:lnTo>
                    <a:pt x="283964" y="270418"/>
                  </a:lnTo>
                  <a:lnTo>
                    <a:pt x="240369" y="270418"/>
                  </a:lnTo>
                  <a:lnTo>
                    <a:pt x="240369" y="17544"/>
                  </a:lnTo>
                  <a:lnTo>
                    <a:pt x="283964" y="17544"/>
                  </a:lnTo>
                  <a:close/>
                  <a:moveTo>
                    <a:pt x="519299" y="17544"/>
                  </a:moveTo>
                  <a:lnTo>
                    <a:pt x="519299" y="270418"/>
                  </a:lnTo>
                  <a:lnTo>
                    <a:pt x="475705" y="270418"/>
                  </a:lnTo>
                  <a:lnTo>
                    <a:pt x="475705" y="17544"/>
                  </a:lnTo>
                  <a:lnTo>
                    <a:pt x="519299" y="17544"/>
                  </a:lnTo>
                  <a:close/>
                  <a:moveTo>
                    <a:pt x="811424" y="188093"/>
                  </a:moveTo>
                  <a:lnTo>
                    <a:pt x="854843" y="188093"/>
                  </a:lnTo>
                  <a:cubicBezTo>
                    <a:pt x="853452" y="204650"/>
                    <a:pt x="848822" y="219411"/>
                    <a:pt x="840947" y="232383"/>
                  </a:cubicBezTo>
                  <a:cubicBezTo>
                    <a:pt x="833073" y="245233"/>
                    <a:pt x="822017" y="255365"/>
                    <a:pt x="807776" y="262777"/>
                  </a:cubicBezTo>
                  <a:cubicBezTo>
                    <a:pt x="793535" y="270185"/>
                    <a:pt x="776225" y="273891"/>
                    <a:pt x="755845" y="273891"/>
                  </a:cubicBezTo>
                  <a:cubicBezTo>
                    <a:pt x="740213" y="273891"/>
                    <a:pt x="726147" y="271114"/>
                    <a:pt x="713642" y="265554"/>
                  </a:cubicBezTo>
                  <a:cubicBezTo>
                    <a:pt x="701137" y="259878"/>
                    <a:pt x="690427" y="251892"/>
                    <a:pt x="681512" y="241585"/>
                  </a:cubicBezTo>
                  <a:cubicBezTo>
                    <a:pt x="672596" y="231162"/>
                    <a:pt x="665768" y="218604"/>
                    <a:pt x="661021" y="203896"/>
                  </a:cubicBezTo>
                  <a:cubicBezTo>
                    <a:pt x="656390" y="189192"/>
                    <a:pt x="654075" y="172748"/>
                    <a:pt x="654075" y="154572"/>
                  </a:cubicBezTo>
                  <a:lnTo>
                    <a:pt x="654075" y="133555"/>
                  </a:lnTo>
                  <a:cubicBezTo>
                    <a:pt x="654075" y="115374"/>
                    <a:pt x="656449" y="98935"/>
                    <a:pt x="661196" y="84231"/>
                  </a:cubicBezTo>
                  <a:cubicBezTo>
                    <a:pt x="666059" y="69528"/>
                    <a:pt x="673005" y="56965"/>
                    <a:pt x="682037" y="46547"/>
                  </a:cubicBezTo>
                  <a:cubicBezTo>
                    <a:pt x="691069" y="36012"/>
                    <a:pt x="701891" y="27962"/>
                    <a:pt x="714513" y="22403"/>
                  </a:cubicBezTo>
                  <a:cubicBezTo>
                    <a:pt x="727246" y="16843"/>
                    <a:pt x="741546" y="14066"/>
                    <a:pt x="757411" y="14066"/>
                  </a:cubicBezTo>
                  <a:cubicBezTo>
                    <a:pt x="777557" y="14066"/>
                    <a:pt x="794581" y="17772"/>
                    <a:pt x="808472" y="25180"/>
                  </a:cubicBezTo>
                  <a:cubicBezTo>
                    <a:pt x="822368" y="32592"/>
                    <a:pt x="833131" y="42836"/>
                    <a:pt x="840777" y="55919"/>
                  </a:cubicBezTo>
                  <a:cubicBezTo>
                    <a:pt x="848535" y="69003"/>
                    <a:pt x="853282" y="83998"/>
                    <a:pt x="855018" y="100900"/>
                  </a:cubicBezTo>
                  <a:lnTo>
                    <a:pt x="811599" y="100900"/>
                  </a:lnTo>
                  <a:cubicBezTo>
                    <a:pt x="810442" y="90015"/>
                    <a:pt x="807893" y="80695"/>
                    <a:pt x="803958" y="72938"/>
                  </a:cubicBezTo>
                  <a:cubicBezTo>
                    <a:pt x="800140" y="65180"/>
                    <a:pt x="794464" y="59275"/>
                    <a:pt x="786940" y="55224"/>
                  </a:cubicBezTo>
                  <a:cubicBezTo>
                    <a:pt x="779415" y="51055"/>
                    <a:pt x="769571" y="48969"/>
                    <a:pt x="757416" y="48969"/>
                  </a:cubicBezTo>
                  <a:cubicBezTo>
                    <a:pt x="747460" y="48969"/>
                    <a:pt x="738773" y="50822"/>
                    <a:pt x="731366" y="54528"/>
                  </a:cubicBezTo>
                  <a:cubicBezTo>
                    <a:pt x="723953" y="58234"/>
                    <a:pt x="717762" y="63677"/>
                    <a:pt x="712781" y="70856"/>
                  </a:cubicBezTo>
                  <a:cubicBezTo>
                    <a:pt x="707801" y="78035"/>
                    <a:pt x="704041" y="86892"/>
                    <a:pt x="701492" y="97427"/>
                  </a:cubicBezTo>
                  <a:cubicBezTo>
                    <a:pt x="699060" y="107845"/>
                    <a:pt x="697844" y="119771"/>
                    <a:pt x="697844" y="133205"/>
                  </a:cubicBezTo>
                  <a:lnTo>
                    <a:pt x="697844" y="154567"/>
                  </a:lnTo>
                  <a:cubicBezTo>
                    <a:pt x="697844" y="167300"/>
                    <a:pt x="698944" y="178881"/>
                    <a:pt x="701142" y="189299"/>
                  </a:cubicBezTo>
                  <a:cubicBezTo>
                    <a:pt x="703457" y="199606"/>
                    <a:pt x="706930" y="208463"/>
                    <a:pt x="711565" y="215870"/>
                  </a:cubicBezTo>
                  <a:cubicBezTo>
                    <a:pt x="716312" y="223283"/>
                    <a:pt x="722334" y="229012"/>
                    <a:pt x="729629" y="233064"/>
                  </a:cubicBezTo>
                  <a:cubicBezTo>
                    <a:pt x="736925" y="237116"/>
                    <a:pt x="745665" y="239144"/>
                    <a:pt x="755855" y="239144"/>
                  </a:cubicBezTo>
                  <a:cubicBezTo>
                    <a:pt x="768243" y="239144"/>
                    <a:pt x="778258" y="237174"/>
                    <a:pt x="785904" y="233239"/>
                  </a:cubicBezTo>
                  <a:cubicBezTo>
                    <a:pt x="793661" y="229304"/>
                    <a:pt x="799508" y="223570"/>
                    <a:pt x="803443" y="216046"/>
                  </a:cubicBezTo>
                  <a:cubicBezTo>
                    <a:pt x="807494" y="208405"/>
                    <a:pt x="810159" y="199085"/>
                    <a:pt x="811434" y="188084"/>
                  </a:cubicBezTo>
                  <a:close/>
                  <a:moveTo>
                    <a:pt x="882285" y="178541"/>
                  </a:moveTo>
                  <a:lnTo>
                    <a:pt x="882285" y="174548"/>
                  </a:lnTo>
                  <a:cubicBezTo>
                    <a:pt x="882285" y="161002"/>
                    <a:pt x="884255" y="148439"/>
                    <a:pt x="888190" y="136858"/>
                  </a:cubicBezTo>
                  <a:cubicBezTo>
                    <a:pt x="892124" y="125165"/>
                    <a:pt x="897800" y="115034"/>
                    <a:pt x="905208" y="106464"/>
                  </a:cubicBezTo>
                  <a:cubicBezTo>
                    <a:pt x="912732" y="97782"/>
                    <a:pt x="921881" y="91065"/>
                    <a:pt x="932650" y="86318"/>
                  </a:cubicBezTo>
                  <a:cubicBezTo>
                    <a:pt x="943535" y="81454"/>
                    <a:pt x="955806" y="79022"/>
                    <a:pt x="969469" y="79022"/>
                  </a:cubicBezTo>
                  <a:cubicBezTo>
                    <a:pt x="983131" y="79022"/>
                    <a:pt x="995519" y="81454"/>
                    <a:pt x="1006288" y="86318"/>
                  </a:cubicBezTo>
                  <a:cubicBezTo>
                    <a:pt x="1017173" y="91065"/>
                    <a:pt x="1026375" y="97782"/>
                    <a:pt x="1033899" y="106464"/>
                  </a:cubicBezTo>
                  <a:cubicBezTo>
                    <a:pt x="1041424" y="115034"/>
                    <a:pt x="1047158" y="125165"/>
                    <a:pt x="1051093" y="136858"/>
                  </a:cubicBezTo>
                  <a:cubicBezTo>
                    <a:pt x="1055028" y="148439"/>
                    <a:pt x="1056998" y="160997"/>
                    <a:pt x="1056998" y="174548"/>
                  </a:cubicBezTo>
                  <a:lnTo>
                    <a:pt x="1056998" y="178541"/>
                  </a:lnTo>
                  <a:cubicBezTo>
                    <a:pt x="1056998" y="192086"/>
                    <a:pt x="1055028" y="204650"/>
                    <a:pt x="1051093" y="216230"/>
                  </a:cubicBezTo>
                  <a:cubicBezTo>
                    <a:pt x="1047153" y="227806"/>
                    <a:pt x="1041424" y="237938"/>
                    <a:pt x="1033899" y="246624"/>
                  </a:cubicBezTo>
                  <a:cubicBezTo>
                    <a:pt x="1026375" y="255194"/>
                    <a:pt x="1017226" y="261906"/>
                    <a:pt x="1006458" y="266770"/>
                  </a:cubicBezTo>
                  <a:cubicBezTo>
                    <a:pt x="995689" y="271517"/>
                    <a:pt x="983476" y="273891"/>
                    <a:pt x="969814" y="273891"/>
                  </a:cubicBezTo>
                  <a:cubicBezTo>
                    <a:pt x="956151" y="273891"/>
                    <a:pt x="943705" y="271517"/>
                    <a:pt x="932820" y="266770"/>
                  </a:cubicBezTo>
                  <a:cubicBezTo>
                    <a:pt x="922051" y="261906"/>
                    <a:pt x="912907" y="255189"/>
                    <a:pt x="905378" y="246624"/>
                  </a:cubicBezTo>
                  <a:cubicBezTo>
                    <a:pt x="897854" y="237942"/>
                    <a:pt x="892119" y="227811"/>
                    <a:pt x="888185" y="216230"/>
                  </a:cubicBezTo>
                  <a:cubicBezTo>
                    <a:pt x="884245" y="204650"/>
                    <a:pt x="882280" y="192086"/>
                    <a:pt x="882280" y="178541"/>
                  </a:cubicBezTo>
                  <a:close/>
                  <a:moveTo>
                    <a:pt x="924143" y="174548"/>
                  </a:moveTo>
                  <a:lnTo>
                    <a:pt x="924143" y="178541"/>
                  </a:lnTo>
                  <a:cubicBezTo>
                    <a:pt x="924143" y="186994"/>
                    <a:pt x="925013" y="194980"/>
                    <a:pt x="926750" y="202510"/>
                  </a:cubicBezTo>
                  <a:cubicBezTo>
                    <a:pt x="928486" y="210034"/>
                    <a:pt x="931210" y="216634"/>
                    <a:pt x="934911" y="222310"/>
                  </a:cubicBezTo>
                  <a:cubicBezTo>
                    <a:pt x="938617" y="227981"/>
                    <a:pt x="943365" y="232441"/>
                    <a:pt x="949152" y="235681"/>
                  </a:cubicBezTo>
                  <a:cubicBezTo>
                    <a:pt x="954940" y="238925"/>
                    <a:pt x="961832" y="240545"/>
                    <a:pt x="969819" y="240545"/>
                  </a:cubicBezTo>
                  <a:cubicBezTo>
                    <a:pt x="977805" y="240545"/>
                    <a:pt x="984293" y="238925"/>
                    <a:pt x="989965" y="235681"/>
                  </a:cubicBezTo>
                  <a:cubicBezTo>
                    <a:pt x="995753" y="232441"/>
                    <a:pt x="1000500" y="227981"/>
                    <a:pt x="1004206" y="222310"/>
                  </a:cubicBezTo>
                  <a:cubicBezTo>
                    <a:pt x="1007912" y="216634"/>
                    <a:pt x="1010631" y="210039"/>
                    <a:pt x="1012367" y="202510"/>
                  </a:cubicBezTo>
                  <a:cubicBezTo>
                    <a:pt x="1014220" y="194985"/>
                    <a:pt x="1015145" y="186994"/>
                    <a:pt x="1015145" y="178541"/>
                  </a:cubicBezTo>
                  <a:lnTo>
                    <a:pt x="1015145" y="174548"/>
                  </a:lnTo>
                  <a:cubicBezTo>
                    <a:pt x="1015145" y="166211"/>
                    <a:pt x="1014220" y="158336"/>
                    <a:pt x="1012367" y="150929"/>
                  </a:cubicBezTo>
                  <a:cubicBezTo>
                    <a:pt x="1010631" y="143405"/>
                    <a:pt x="1007854" y="136746"/>
                    <a:pt x="1004031" y="130958"/>
                  </a:cubicBezTo>
                  <a:cubicBezTo>
                    <a:pt x="1000325" y="125170"/>
                    <a:pt x="995578" y="120652"/>
                    <a:pt x="989790" y="117412"/>
                  </a:cubicBezTo>
                  <a:cubicBezTo>
                    <a:pt x="984118" y="114056"/>
                    <a:pt x="977343" y="112378"/>
                    <a:pt x="969469" y="112378"/>
                  </a:cubicBezTo>
                  <a:cubicBezTo>
                    <a:pt x="961594" y="112378"/>
                    <a:pt x="954765" y="114056"/>
                    <a:pt x="948977" y="117412"/>
                  </a:cubicBezTo>
                  <a:cubicBezTo>
                    <a:pt x="943301" y="120657"/>
                    <a:pt x="938613" y="125170"/>
                    <a:pt x="934911" y="130958"/>
                  </a:cubicBezTo>
                  <a:cubicBezTo>
                    <a:pt x="931205" y="136746"/>
                    <a:pt x="928486" y="143405"/>
                    <a:pt x="926750" y="150929"/>
                  </a:cubicBezTo>
                  <a:cubicBezTo>
                    <a:pt x="925013" y="158341"/>
                    <a:pt x="924143" y="166211"/>
                    <a:pt x="924143" y="174548"/>
                  </a:cubicBezTo>
                  <a:close/>
                  <a:moveTo>
                    <a:pt x="1133598" y="122617"/>
                  </a:moveTo>
                  <a:lnTo>
                    <a:pt x="1133598" y="270418"/>
                  </a:lnTo>
                  <a:lnTo>
                    <a:pt x="1091745" y="270418"/>
                  </a:lnTo>
                  <a:lnTo>
                    <a:pt x="1091745" y="82495"/>
                  </a:lnTo>
                  <a:lnTo>
                    <a:pt x="1131171" y="82495"/>
                  </a:lnTo>
                  <a:lnTo>
                    <a:pt x="1133603" y="122617"/>
                  </a:lnTo>
                  <a:close/>
                  <a:moveTo>
                    <a:pt x="1126132" y="169509"/>
                  </a:moveTo>
                  <a:lnTo>
                    <a:pt x="1112586" y="169334"/>
                  </a:lnTo>
                  <a:cubicBezTo>
                    <a:pt x="1112703" y="156016"/>
                    <a:pt x="1114556" y="143803"/>
                    <a:pt x="1118145" y="132690"/>
                  </a:cubicBezTo>
                  <a:cubicBezTo>
                    <a:pt x="1121852" y="121576"/>
                    <a:pt x="1126944" y="112023"/>
                    <a:pt x="1133428" y="104032"/>
                  </a:cubicBezTo>
                  <a:cubicBezTo>
                    <a:pt x="1140028" y="96041"/>
                    <a:pt x="1147902" y="89908"/>
                    <a:pt x="1157046" y="85623"/>
                  </a:cubicBezTo>
                  <a:cubicBezTo>
                    <a:pt x="1166195" y="81226"/>
                    <a:pt x="1176385" y="79022"/>
                    <a:pt x="1187615" y="79022"/>
                  </a:cubicBezTo>
                  <a:cubicBezTo>
                    <a:pt x="1196647" y="79022"/>
                    <a:pt x="1204809" y="80297"/>
                    <a:pt x="1212105" y="82840"/>
                  </a:cubicBezTo>
                  <a:cubicBezTo>
                    <a:pt x="1219517" y="85272"/>
                    <a:pt x="1225825" y="89265"/>
                    <a:pt x="1231034" y="94825"/>
                  </a:cubicBezTo>
                  <a:cubicBezTo>
                    <a:pt x="1236360" y="100384"/>
                    <a:pt x="1240412" y="107617"/>
                    <a:pt x="1243189" y="116532"/>
                  </a:cubicBezTo>
                  <a:cubicBezTo>
                    <a:pt x="1245966" y="125331"/>
                    <a:pt x="1247357" y="136157"/>
                    <a:pt x="1247357" y="149013"/>
                  </a:cubicBezTo>
                  <a:lnTo>
                    <a:pt x="1247357" y="270413"/>
                  </a:lnTo>
                  <a:lnTo>
                    <a:pt x="1205329" y="270413"/>
                  </a:lnTo>
                  <a:lnTo>
                    <a:pt x="1205329" y="148837"/>
                  </a:lnTo>
                  <a:cubicBezTo>
                    <a:pt x="1205329" y="139805"/>
                    <a:pt x="1203996" y="132685"/>
                    <a:pt x="1201336" y="127476"/>
                  </a:cubicBezTo>
                  <a:cubicBezTo>
                    <a:pt x="1198787" y="122150"/>
                    <a:pt x="1195028" y="118385"/>
                    <a:pt x="1190047" y="116187"/>
                  </a:cubicBezTo>
                  <a:cubicBezTo>
                    <a:pt x="1185183" y="113872"/>
                    <a:pt x="1179104" y="112714"/>
                    <a:pt x="1171813" y="112714"/>
                  </a:cubicBezTo>
                  <a:cubicBezTo>
                    <a:pt x="1164522" y="112714"/>
                    <a:pt x="1158209" y="114217"/>
                    <a:pt x="1152533" y="117228"/>
                  </a:cubicBezTo>
                  <a:cubicBezTo>
                    <a:pt x="1146861" y="120238"/>
                    <a:pt x="1142056" y="124348"/>
                    <a:pt x="1138116" y="129557"/>
                  </a:cubicBezTo>
                  <a:cubicBezTo>
                    <a:pt x="1134293" y="134766"/>
                    <a:pt x="1131341" y="140788"/>
                    <a:pt x="1129259" y="147621"/>
                  </a:cubicBezTo>
                  <a:cubicBezTo>
                    <a:pt x="1127178" y="154450"/>
                    <a:pt x="1126132" y="161746"/>
                    <a:pt x="1126132" y="169504"/>
                  </a:cubicBezTo>
                  <a:close/>
                  <a:moveTo>
                    <a:pt x="1346701" y="270418"/>
                  </a:moveTo>
                  <a:lnTo>
                    <a:pt x="1304843" y="270418"/>
                  </a:lnTo>
                  <a:lnTo>
                    <a:pt x="1304843" y="64436"/>
                  </a:lnTo>
                  <a:cubicBezTo>
                    <a:pt x="1304843" y="50428"/>
                    <a:pt x="1307450" y="38672"/>
                    <a:pt x="1312659" y="29178"/>
                  </a:cubicBezTo>
                  <a:cubicBezTo>
                    <a:pt x="1317985" y="19567"/>
                    <a:pt x="1325567" y="12330"/>
                    <a:pt x="1335412" y="7471"/>
                  </a:cubicBezTo>
                  <a:cubicBezTo>
                    <a:pt x="1345256" y="2490"/>
                    <a:pt x="1356890" y="0"/>
                    <a:pt x="1370319" y="0"/>
                  </a:cubicBezTo>
                  <a:cubicBezTo>
                    <a:pt x="1374488" y="0"/>
                    <a:pt x="1378597" y="292"/>
                    <a:pt x="1382649" y="871"/>
                  </a:cubicBezTo>
                  <a:cubicBezTo>
                    <a:pt x="1386701" y="1333"/>
                    <a:pt x="1390640" y="2087"/>
                    <a:pt x="1394458" y="3127"/>
                  </a:cubicBezTo>
                  <a:lnTo>
                    <a:pt x="1393418" y="35433"/>
                  </a:lnTo>
                  <a:cubicBezTo>
                    <a:pt x="1391102" y="34854"/>
                    <a:pt x="1388554" y="34450"/>
                    <a:pt x="1385776" y="34217"/>
                  </a:cubicBezTo>
                  <a:cubicBezTo>
                    <a:pt x="1383116" y="33983"/>
                    <a:pt x="1380217" y="33872"/>
                    <a:pt x="1377095" y="33872"/>
                  </a:cubicBezTo>
                  <a:cubicBezTo>
                    <a:pt x="1370728" y="33872"/>
                    <a:pt x="1365227" y="35088"/>
                    <a:pt x="1360596" y="37519"/>
                  </a:cubicBezTo>
                  <a:cubicBezTo>
                    <a:pt x="1356083" y="39835"/>
                    <a:pt x="1352605" y="43249"/>
                    <a:pt x="1350178" y="47767"/>
                  </a:cubicBezTo>
                  <a:cubicBezTo>
                    <a:pt x="1347863" y="52286"/>
                    <a:pt x="1346706" y="57840"/>
                    <a:pt x="1346706" y="64441"/>
                  </a:cubicBezTo>
                  <a:lnTo>
                    <a:pt x="1346706" y="270423"/>
                  </a:lnTo>
                  <a:close/>
                  <a:moveTo>
                    <a:pt x="1385431" y="82500"/>
                  </a:moveTo>
                  <a:lnTo>
                    <a:pt x="1385431" y="113069"/>
                  </a:lnTo>
                  <a:lnTo>
                    <a:pt x="1276015" y="113069"/>
                  </a:lnTo>
                  <a:lnTo>
                    <a:pt x="1276015" y="82500"/>
                  </a:lnTo>
                  <a:lnTo>
                    <a:pt x="1385431" y="82500"/>
                  </a:lnTo>
                  <a:close/>
                </a:path>
              </a:pathLst>
            </a:custGeom>
            <a:solidFill>
              <a:srgbClr val="EE3431"/>
            </a:solidFill>
            <a:ln w="4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6" name="Полилиния: фигура 45">
              <a:extLst>
                <a:ext uri="{FF2B5EF4-FFF2-40B4-BE49-F238E27FC236}">
                  <a16:creationId xmlns:a16="http://schemas.microsoft.com/office/drawing/2014/main" id="{EB80AEA3-6D76-4813-B83E-E98064CA7762}"/>
                </a:ext>
              </a:extLst>
            </p:cNvPr>
            <p:cNvSpPr/>
            <p:nvPr/>
          </p:nvSpPr>
          <p:spPr>
            <a:xfrm>
              <a:off x="7406975" y="5855999"/>
              <a:ext cx="1394458" cy="273890"/>
            </a:xfrm>
            <a:custGeom>
              <a:avLst/>
              <a:gdLst>
                <a:gd name="connsiteX0" fmla="*/ 157354 w 1394458"/>
                <a:gd name="connsiteY0" fmla="*/ 188093 h 273890"/>
                <a:gd name="connsiteX1" fmla="*/ 200773 w 1394458"/>
                <a:gd name="connsiteY1" fmla="*/ 188093 h 273890"/>
                <a:gd name="connsiteX2" fmla="*/ 186877 w 1394458"/>
                <a:gd name="connsiteY2" fmla="*/ 232383 h 273890"/>
                <a:gd name="connsiteX3" fmla="*/ 153706 w 1394458"/>
                <a:gd name="connsiteY3" fmla="*/ 262777 h 273890"/>
                <a:gd name="connsiteX4" fmla="*/ 101775 w 1394458"/>
                <a:gd name="connsiteY4" fmla="*/ 273891 h 273890"/>
                <a:gd name="connsiteX5" fmla="*/ 59572 w 1394458"/>
                <a:gd name="connsiteY5" fmla="*/ 265554 h 273890"/>
                <a:gd name="connsiteX6" fmla="*/ 27442 w 1394458"/>
                <a:gd name="connsiteY6" fmla="*/ 241585 h 273890"/>
                <a:gd name="connsiteX7" fmla="*/ 6950 w 1394458"/>
                <a:gd name="connsiteY7" fmla="*/ 203901 h 273890"/>
                <a:gd name="connsiteX8" fmla="*/ 0 w 1394458"/>
                <a:gd name="connsiteY8" fmla="*/ 154572 h 273890"/>
                <a:gd name="connsiteX9" fmla="*/ 0 w 1394458"/>
                <a:gd name="connsiteY9" fmla="*/ 133555 h 273890"/>
                <a:gd name="connsiteX10" fmla="*/ 7121 w 1394458"/>
                <a:gd name="connsiteY10" fmla="*/ 84231 h 273890"/>
                <a:gd name="connsiteX11" fmla="*/ 27962 w 1394458"/>
                <a:gd name="connsiteY11" fmla="*/ 46542 h 273890"/>
                <a:gd name="connsiteX12" fmla="*/ 60438 w 1394458"/>
                <a:gd name="connsiteY12" fmla="*/ 22403 h 273890"/>
                <a:gd name="connsiteX13" fmla="*/ 103336 w 1394458"/>
                <a:gd name="connsiteY13" fmla="*/ 14066 h 273890"/>
                <a:gd name="connsiteX14" fmla="*/ 154397 w 1394458"/>
                <a:gd name="connsiteY14" fmla="*/ 25180 h 273890"/>
                <a:gd name="connsiteX15" fmla="*/ 186702 w 1394458"/>
                <a:gd name="connsiteY15" fmla="*/ 55919 h 273890"/>
                <a:gd name="connsiteX16" fmla="*/ 200943 w 1394458"/>
                <a:gd name="connsiteY16" fmla="*/ 100900 h 273890"/>
                <a:gd name="connsiteX17" fmla="*/ 157524 w 1394458"/>
                <a:gd name="connsiteY17" fmla="*/ 100900 h 273890"/>
                <a:gd name="connsiteX18" fmla="*/ 149883 w 1394458"/>
                <a:gd name="connsiteY18" fmla="*/ 72938 h 273890"/>
                <a:gd name="connsiteX19" fmla="*/ 132865 w 1394458"/>
                <a:gd name="connsiteY19" fmla="*/ 55224 h 273890"/>
                <a:gd name="connsiteX20" fmla="*/ 103341 w 1394458"/>
                <a:gd name="connsiteY20" fmla="*/ 48969 h 273890"/>
                <a:gd name="connsiteX21" fmla="*/ 77291 w 1394458"/>
                <a:gd name="connsiteY21" fmla="*/ 54528 h 273890"/>
                <a:gd name="connsiteX22" fmla="*/ 58706 w 1394458"/>
                <a:gd name="connsiteY22" fmla="*/ 70856 h 273890"/>
                <a:gd name="connsiteX23" fmla="*/ 47417 w 1394458"/>
                <a:gd name="connsiteY23" fmla="*/ 97427 h 273890"/>
                <a:gd name="connsiteX24" fmla="*/ 43769 w 1394458"/>
                <a:gd name="connsiteY24" fmla="*/ 133205 h 273890"/>
                <a:gd name="connsiteX25" fmla="*/ 43769 w 1394458"/>
                <a:gd name="connsiteY25" fmla="*/ 154567 h 273890"/>
                <a:gd name="connsiteX26" fmla="*/ 47067 w 1394458"/>
                <a:gd name="connsiteY26" fmla="*/ 189304 h 273890"/>
                <a:gd name="connsiteX27" fmla="*/ 57490 w 1394458"/>
                <a:gd name="connsiteY27" fmla="*/ 215875 h 273890"/>
                <a:gd name="connsiteX28" fmla="*/ 75550 w 1394458"/>
                <a:gd name="connsiteY28" fmla="*/ 233069 h 273890"/>
                <a:gd name="connsiteX29" fmla="*/ 101775 w 1394458"/>
                <a:gd name="connsiteY29" fmla="*/ 239149 h 273890"/>
                <a:gd name="connsiteX30" fmla="*/ 131824 w 1394458"/>
                <a:gd name="connsiteY30" fmla="*/ 233244 h 273890"/>
                <a:gd name="connsiteX31" fmla="*/ 149363 w 1394458"/>
                <a:gd name="connsiteY31" fmla="*/ 216050 h 273890"/>
                <a:gd name="connsiteX32" fmla="*/ 157354 w 1394458"/>
                <a:gd name="connsiteY32" fmla="*/ 188088 h 273890"/>
                <a:gd name="connsiteX33" fmla="*/ 313837 w 1394458"/>
                <a:gd name="connsiteY33" fmla="*/ 270418 h 273890"/>
                <a:gd name="connsiteX34" fmla="*/ 259825 w 1394458"/>
                <a:gd name="connsiteY34" fmla="*/ 270418 h 273890"/>
                <a:gd name="connsiteX35" fmla="*/ 260170 w 1394458"/>
                <a:gd name="connsiteY35" fmla="*/ 235856 h 273890"/>
                <a:gd name="connsiteX36" fmla="*/ 313837 w 1394458"/>
                <a:gd name="connsiteY36" fmla="*/ 235856 h 273890"/>
                <a:gd name="connsiteX37" fmla="*/ 353088 w 1394458"/>
                <a:gd name="connsiteY37" fmla="*/ 225608 h 273890"/>
                <a:gd name="connsiteX38" fmla="*/ 377057 w 1394458"/>
                <a:gd name="connsiteY38" fmla="*/ 196255 h 273890"/>
                <a:gd name="connsiteX39" fmla="*/ 385218 w 1394458"/>
                <a:gd name="connsiteY39" fmla="*/ 150754 h 273890"/>
                <a:gd name="connsiteX40" fmla="*/ 385218 w 1394458"/>
                <a:gd name="connsiteY40" fmla="*/ 137033 h 273890"/>
                <a:gd name="connsiteX41" fmla="*/ 380530 w 1394458"/>
                <a:gd name="connsiteY41" fmla="*/ 100734 h 273890"/>
                <a:gd name="connsiteX42" fmla="*/ 366984 w 1394458"/>
                <a:gd name="connsiteY42" fmla="*/ 74163 h 273890"/>
                <a:gd name="connsiteX43" fmla="*/ 345102 w 1394458"/>
                <a:gd name="connsiteY43" fmla="*/ 57840 h 273890"/>
                <a:gd name="connsiteX44" fmla="*/ 315403 w 1394458"/>
                <a:gd name="connsiteY44" fmla="*/ 52281 h 273890"/>
                <a:gd name="connsiteX45" fmla="*/ 258784 w 1394458"/>
                <a:gd name="connsiteY45" fmla="*/ 52281 h 273890"/>
                <a:gd name="connsiteX46" fmla="*/ 258784 w 1394458"/>
                <a:gd name="connsiteY46" fmla="*/ 17544 h 273890"/>
                <a:gd name="connsiteX47" fmla="*/ 315403 w 1394458"/>
                <a:gd name="connsiteY47" fmla="*/ 17544 h 273890"/>
                <a:gd name="connsiteX48" fmla="*/ 361429 w 1394458"/>
                <a:gd name="connsiteY48" fmla="*/ 26055 h 273890"/>
                <a:gd name="connsiteX49" fmla="*/ 397383 w 1394458"/>
                <a:gd name="connsiteY49" fmla="*/ 50195 h 273890"/>
                <a:gd name="connsiteX50" fmla="*/ 420826 w 1394458"/>
                <a:gd name="connsiteY50" fmla="*/ 88054 h 273890"/>
                <a:gd name="connsiteX51" fmla="*/ 428988 w 1394458"/>
                <a:gd name="connsiteY51" fmla="*/ 137378 h 273890"/>
                <a:gd name="connsiteX52" fmla="*/ 428988 w 1394458"/>
                <a:gd name="connsiteY52" fmla="*/ 150754 h 273890"/>
                <a:gd name="connsiteX53" fmla="*/ 420826 w 1394458"/>
                <a:gd name="connsiteY53" fmla="*/ 200078 h 273890"/>
                <a:gd name="connsiteX54" fmla="*/ 397383 w 1394458"/>
                <a:gd name="connsiteY54" fmla="*/ 237938 h 273890"/>
                <a:gd name="connsiteX55" fmla="*/ 360909 w 1394458"/>
                <a:gd name="connsiteY55" fmla="*/ 262077 h 273890"/>
                <a:gd name="connsiteX56" fmla="*/ 313842 w 1394458"/>
                <a:gd name="connsiteY56" fmla="*/ 270413 h 273890"/>
                <a:gd name="connsiteX57" fmla="*/ 283964 w 1394458"/>
                <a:gd name="connsiteY57" fmla="*/ 17544 h 273890"/>
                <a:gd name="connsiteX58" fmla="*/ 283964 w 1394458"/>
                <a:gd name="connsiteY58" fmla="*/ 270418 h 273890"/>
                <a:gd name="connsiteX59" fmla="*/ 240369 w 1394458"/>
                <a:gd name="connsiteY59" fmla="*/ 270418 h 273890"/>
                <a:gd name="connsiteX60" fmla="*/ 240369 w 1394458"/>
                <a:gd name="connsiteY60" fmla="*/ 17544 h 273890"/>
                <a:gd name="connsiteX61" fmla="*/ 283964 w 1394458"/>
                <a:gd name="connsiteY61" fmla="*/ 17544 h 273890"/>
                <a:gd name="connsiteX62" fmla="*/ 519299 w 1394458"/>
                <a:gd name="connsiteY62" fmla="*/ 17544 h 273890"/>
                <a:gd name="connsiteX63" fmla="*/ 519299 w 1394458"/>
                <a:gd name="connsiteY63" fmla="*/ 270418 h 273890"/>
                <a:gd name="connsiteX64" fmla="*/ 475705 w 1394458"/>
                <a:gd name="connsiteY64" fmla="*/ 270418 h 273890"/>
                <a:gd name="connsiteX65" fmla="*/ 475705 w 1394458"/>
                <a:gd name="connsiteY65" fmla="*/ 17544 h 273890"/>
                <a:gd name="connsiteX66" fmla="*/ 519299 w 1394458"/>
                <a:gd name="connsiteY66" fmla="*/ 17544 h 273890"/>
                <a:gd name="connsiteX67" fmla="*/ 811424 w 1394458"/>
                <a:gd name="connsiteY67" fmla="*/ 188093 h 273890"/>
                <a:gd name="connsiteX68" fmla="*/ 854843 w 1394458"/>
                <a:gd name="connsiteY68" fmla="*/ 188093 h 273890"/>
                <a:gd name="connsiteX69" fmla="*/ 840947 w 1394458"/>
                <a:gd name="connsiteY69" fmla="*/ 232383 h 273890"/>
                <a:gd name="connsiteX70" fmla="*/ 807776 w 1394458"/>
                <a:gd name="connsiteY70" fmla="*/ 262777 h 273890"/>
                <a:gd name="connsiteX71" fmla="*/ 755845 w 1394458"/>
                <a:gd name="connsiteY71" fmla="*/ 273891 h 273890"/>
                <a:gd name="connsiteX72" fmla="*/ 713642 w 1394458"/>
                <a:gd name="connsiteY72" fmla="*/ 265554 h 273890"/>
                <a:gd name="connsiteX73" fmla="*/ 681512 w 1394458"/>
                <a:gd name="connsiteY73" fmla="*/ 241585 h 273890"/>
                <a:gd name="connsiteX74" fmla="*/ 661021 w 1394458"/>
                <a:gd name="connsiteY74" fmla="*/ 203901 h 273890"/>
                <a:gd name="connsiteX75" fmla="*/ 654075 w 1394458"/>
                <a:gd name="connsiteY75" fmla="*/ 154577 h 273890"/>
                <a:gd name="connsiteX76" fmla="*/ 654075 w 1394458"/>
                <a:gd name="connsiteY76" fmla="*/ 133560 h 273890"/>
                <a:gd name="connsiteX77" fmla="*/ 661196 w 1394458"/>
                <a:gd name="connsiteY77" fmla="*/ 84236 h 273890"/>
                <a:gd name="connsiteX78" fmla="*/ 682037 w 1394458"/>
                <a:gd name="connsiteY78" fmla="*/ 46547 h 273890"/>
                <a:gd name="connsiteX79" fmla="*/ 714513 w 1394458"/>
                <a:gd name="connsiteY79" fmla="*/ 22408 h 273890"/>
                <a:gd name="connsiteX80" fmla="*/ 757411 w 1394458"/>
                <a:gd name="connsiteY80" fmla="*/ 14071 h 273890"/>
                <a:gd name="connsiteX81" fmla="*/ 808472 w 1394458"/>
                <a:gd name="connsiteY81" fmla="*/ 25185 h 273890"/>
                <a:gd name="connsiteX82" fmla="*/ 840777 w 1394458"/>
                <a:gd name="connsiteY82" fmla="*/ 55924 h 273890"/>
                <a:gd name="connsiteX83" fmla="*/ 855018 w 1394458"/>
                <a:gd name="connsiteY83" fmla="*/ 100905 h 273890"/>
                <a:gd name="connsiteX84" fmla="*/ 811599 w 1394458"/>
                <a:gd name="connsiteY84" fmla="*/ 100905 h 273890"/>
                <a:gd name="connsiteX85" fmla="*/ 803958 w 1394458"/>
                <a:gd name="connsiteY85" fmla="*/ 72943 h 273890"/>
                <a:gd name="connsiteX86" fmla="*/ 786940 w 1394458"/>
                <a:gd name="connsiteY86" fmla="*/ 55229 h 273890"/>
                <a:gd name="connsiteX87" fmla="*/ 757416 w 1394458"/>
                <a:gd name="connsiteY87" fmla="*/ 48974 h 273890"/>
                <a:gd name="connsiteX88" fmla="*/ 731366 w 1394458"/>
                <a:gd name="connsiteY88" fmla="*/ 54533 h 273890"/>
                <a:gd name="connsiteX89" fmla="*/ 712781 w 1394458"/>
                <a:gd name="connsiteY89" fmla="*/ 70861 h 273890"/>
                <a:gd name="connsiteX90" fmla="*/ 701492 w 1394458"/>
                <a:gd name="connsiteY90" fmla="*/ 97432 h 273890"/>
                <a:gd name="connsiteX91" fmla="*/ 697844 w 1394458"/>
                <a:gd name="connsiteY91" fmla="*/ 133210 h 273890"/>
                <a:gd name="connsiteX92" fmla="*/ 697844 w 1394458"/>
                <a:gd name="connsiteY92" fmla="*/ 154572 h 273890"/>
                <a:gd name="connsiteX93" fmla="*/ 701142 w 1394458"/>
                <a:gd name="connsiteY93" fmla="*/ 189309 h 273890"/>
                <a:gd name="connsiteX94" fmla="*/ 711565 w 1394458"/>
                <a:gd name="connsiteY94" fmla="*/ 215880 h 273890"/>
                <a:gd name="connsiteX95" fmla="*/ 729629 w 1394458"/>
                <a:gd name="connsiteY95" fmla="*/ 233074 h 273890"/>
                <a:gd name="connsiteX96" fmla="*/ 755855 w 1394458"/>
                <a:gd name="connsiteY96" fmla="*/ 239154 h 273890"/>
                <a:gd name="connsiteX97" fmla="*/ 785904 w 1394458"/>
                <a:gd name="connsiteY97" fmla="*/ 233249 h 273890"/>
                <a:gd name="connsiteX98" fmla="*/ 803443 w 1394458"/>
                <a:gd name="connsiteY98" fmla="*/ 216055 h 273890"/>
                <a:gd name="connsiteX99" fmla="*/ 811434 w 1394458"/>
                <a:gd name="connsiteY99" fmla="*/ 188093 h 273890"/>
                <a:gd name="connsiteX100" fmla="*/ 882285 w 1394458"/>
                <a:gd name="connsiteY100" fmla="*/ 178541 h 273890"/>
                <a:gd name="connsiteX101" fmla="*/ 882285 w 1394458"/>
                <a:gd name="connsiteY101" fmla="*/ 174548 h 273890"/>
                <a:gd name="connsiteX102" fmla="*/ 888190 w 1394458"/>
                <a:gd name="connsiteY102" fmla="*/ 136858 h 273890"/>
                <a:gd name="connsiteX103" fmla="*/ 905208 w 1394458"/>
                <a:gd name="connsiteY103" fmla="*/ 106464 h 273890"/>
                <a:gd name="connsiteX104" fmla="*/ 932650 w 1394458"/>
                <a:gd name="connsiteY104" fmla="*/ 86318 h 273890"/>
                <a:gd name="connsiteX105" fmla="*/ 969469 w 1394458"/>
                <a:gd name="connsiteY105" fmla="*/ 79022 h 273890"/>
                <a:gd name="connsiteX106" fmla="*/ 1006288 w 1394458"/>
                <a:gd name="connsiteY106" fmla="*/ 86318 h 273890"/>
                <a:gd name="connsiteX107" fmla="*/ 1033899 w 1394458"/>
                <a:gd name="connsiteY107" fmla="*/ 106464 h 273890"/>
                <a:gd name="connsiteX108" fmla="*/ 1051093 w 1394458"/>
                <a:gd name="connsiteY108" fmla="*/ 136858 h 273890"/>
                <a:gd name="connsiteX109" fmla="*/ 1056998 w 1394458"/>
                <a:gd name="connsiteY109" fmla="*/ 174548 h 273890"/>
                <a:gd name="connsiteX110" fmla="*/ 1056998 w 1394458"/>
                <a:gd name="connsiteY110" fmla="*/ 178541 h 273890"/>
                <a:gd name="connsiteX111" fmla="*/ 1051093 w 1394458"/>
                <a:gd name="connsiteY111" fmla="*/ 216226 h 273890"/>
                <a:gd name="connsiteX112" fmla="*/ 1033899 w 1394458"/>
                <a:gd name="connsiteY112" fmla="*/ 246619 h 273890"/>
                <a:gd name="connsiteX113" fmla="*/ 1006458 w 1394458"/>
                <a:gd name="connsiteY113" fmla="*/ 266765 h 273890"/>
                <a:gd name="connsiteX114" fmla="*/ 969814 w 1394458"/>
                <a:gd name="connsiteY114" fmla="*/ 273886 h 273890"/>
                <a:gd name="connsiteX115" fmla="*/ 932820 w 1394458"/>
                <a:gd name="connsiteY115" fmla="*/ 266765 h 273890"/>
                <a:gd name="connsiteX116" fmla="*/ 905378 w 1394458"/>
                <a:gd name="connsiteY116" fmla="*/ 246619 h 273890"/>
                <a:gd name="connsiteX117" fmla="*/ 888185 w 1394458"/>
                <a:gd name="connsiteY117" fmla="*/ 216226 h 273890"/>
                <a:gd name="connsiteX118" fmla="*/ 882280 w 1394458"/>
                <a:gd name="connsiteY118" fmla="*/ 178541 h 273890"/>
                <a:gd name="connsiteX119" fmla="*/ 924143 w 1394458"/>
                <a:gd name="connsiteY119" fmla="*/ 174548 h 273890"/>
                <a:gd name="connsiteX120" fmla="*/ 924143 w 1394458"/>
                <a:gd name="connsiteY120" fmla="*/ 178541 h 273890"/>
                <a:gd name="connsiteX121" fmla="*/ 926750 w 1394458"/>
                <a:gd name="connsiteY121" fmla="*/ 202510 h 273890"/>
                <a:gd name="connsiteX122" fmla="*/ 934911 w 1394458"/>
                <a:gd name="connsiteY122" fmla="*/ 222310 h 273890"/>
                <a:gd name="connsiteX123" fmla="*/ 949152 w 1394458"/>
                <a:gd name="connsiteY123" fmla="*/ 235681 h 273890"/>
                <a:gd name="connsiteX124" fmla="*/ 969819 w 1394458"/>
                <a:gd name="connsiteY124" fmla="*/ 240545 h 273890"/>
                <a:gd name="connsiteX125" fmla="*/ 989965 w 1394458"/>
                <a:gd name="connsiteY125" fmla="*/ 235681 h 273890"/>
                <a:gd name="connsiteX126" fmla="*/ 1004206 w 1394458"/>
                <a:gd name="connsiteY126" fmla="*/ 222310 h 273890"/>
                <a:gd name="connsiteX127" fmla="*/ 1012367 w 1394458"/>
                <a:gd name="connsiteY127" fmla="*/ 202510 h 273890"/>
                <a:gd name="connsiteX128" fmla="*/ 1015145 w 1394458"/>
                <a:gd name="connsiteY128" fmla="*/ 178541 h 273890"/>
                <a:gd name="connsiteX129" fmla="*/ 1015145 w 1394458"/>
                <a:gd name="connsiteY129" fmla="*/ 174548 h 273890"/>
                <a:gd name="connsiteX130" fmla="*/ 1012367 w 1394458"/>
                <a:gd name="connsiteY130" fmla="*/ 150929 h 273890"/>
                <a:gd name="connsiteX131" fmla="*/ 1004031 w 1394458"/>
                <a:gd name="connsiteY131" fmla="*/ 130958 h 273890"/>
                <a:gd name="connsiteX132" fmla="*/ 989790 w 1394458"/>
                <a:gd name="connsiteY132" fmla="*/ 117412 h 273890"/>
                <a:gd name="connsiteX133" fmla="*/ 969469 w 1394458"/>
                <a:gd name="connsiteY133" fmla="*/ 112373 h 273890"/>
                <a:gd name="connsiteX134" fmla="*/ 948977 w 1394458"/>
                <a:gd name="connsiteY134" fmla="*/ 117412 h 273890"/>
                <a:gd name="connsiteX135" fmla="*/ 934911 w 1394458"/>
                <a:gd name="connsiteY135" fmla="*/ 130958 h 273890"/>
                <a:gd name="connsiteX136" fmla="*/ 926750 w 1394458"/>
                <a:gd name="connsiteY136" fmla="*/ 150929 h 273890"/>
                <a:gd name="connsiteX137" fmla="*/ 924143 w 1394458"/>
                <a:gd name="connsiteY137" fmla="*/ 174548 h 273890"/>
                <a:gd name="connsiteX138" fmla="*/ 1133598 w 1394458"/>
                <a:gd name="connsiteY138" fmla="*/ 122617 h 273890"/>
                <a:gd name="connsiteX139" fmla="*/ 1133598 w 1394458"/>
                <a:gd name="connsiteY139" fmla="*/ 270418 h 273890"/>
                <a:gd name="connsiteX140" fmla="*/ 1091745 w 1394458"/>
                <a:gd name="connsiteY140" fmla="*/ 270418 h 273890"/>
                <a:gd name="connsiteX141" fmla="*/ 1091745 w 1394458"/>
                <a:gd name="connsiteY141" fmla="*/ 82495 h 273890"/>
                <a:gd name="connsiteX142" fmla="*/ 1131171 w 1394458"/>
                <a:gd name="connsiteY142" fmla="*/ 82495 h 273890"/>
                <a:gd name="connsiteX143" fmla="*/ 1133603 w 1394458"/>
                <a:gd name="connsiteY143" fmla="*/ 122617 h 273890"/>
                <a:gd name="connsiteX144" fmla="*/ 1126132 w 1394458"/>
                <a:gd name="connsiteY144" fmla="*/ 169509 h 273890"/>
                <a:gd name="connsiteX145" fmla="*/ 1112586 w 1394458"/>
                <a:gd name="connsiteY145" fmla="*/ 169334 h 273890"/>
                <a:gd name="connsiteX146" fmla="*/ 1118145 w 1394458"/>
                <a:gd name="connsiteY146" fmla="*/ 132690 h 273890"/>
                <a:gd name="connsiteX147" fmla="*/ 1133428 w 1394458"/>
                <a:gd name="connsiteY147" fmla="*/ 104032 h 273890"/>
                <a:gd name="connsiteX148" fmla="*/ 1157046 w 1394458"/>
                <a:gd name="connsiteY148" fmla="*/ 85623 h 273890"/>
                <a:gd name="connsiteX149" fmla="*/ 1187615 w 1394458"/>
                <a:gd name="connsiteY149" fmla="*/ 79022 h 273890"/>
                <a:gd name="connsiteX150" fmla="*/ 1212105 w 1394458"/>
                <a:gd name="connsiteY150" fmla="*/ 82840 h 273890"/>
                <a:gd name="connsiteX151" fmla="*/ 1231034 w 1394458"/>
                <a:gd name="connsiteY151" fmla="*/ 94825 h 273890"/>
                <a:gd name="connsiteX152" fmla="*/ 1243189 w 1394458"/>
                <a:gd name="connsiteY152" fmla="*/ 116532 h 273890"/>
                <a:gd name="connsiteX153" fmla="*/ 1247357 w 1394458"/>
                <a:gd name="connsiteY153" fmla="*/ 149008 h 273890"/>
                <a:gd name="connsiteX154" fmla="*/ 1247357 w 1394458"/>
                <a:gd name="connsiteY154" fmla="*/ 270408 h 273890"/>
                <a:gd name="connsiteX155" fmla="*/ 1205329 w 1394458"/>
                <a:gd name="connsiteY155" fmla="*/ 270408 h 273890"/>
                <a:gd name="connsiteX156" fmla="*/ 1205329 w 1394458"/>
                <a:gd name="connsiteY156" fmla="*/ 148833 h 273890"/>
                <a:gd name="connsiteX157" fmla="*/ 1201336 w 1394458"/>
                <a:gd name="connsiteY157" fmla="*/ 127471 h 273890"/>
                <a:gd name="connsiteX158" fmla="*/ 1190047 w 1394458"/>
                <a:gd name="connsiteY158" fmla="*/ 116182 h 273890"/>
                <a:gd name="connsiteX159" fmla="*/ 1171813 w 1394458"/>
                <a:gd name="connsiteY159" fmla="*/ 112709 h 273890"/>
                <a:gd name="connsiteX160" fmla="*/ 1152533 w 1394458"/>
                <a:gd name="connsiteY160" fmla="*/ 117223 h 273890"/>
                <a:gd name="connsiteX161" fmla="*/ 1138116 w 1394458"/>
                <a:gd name="connsiteY161" fmla="*/ 129552 h 273890"/>
                <a:gd name="connsiteX162" fmla="*/ 1129259 w 1394458"/>
                <a:gd name="connsiteY162" fmla="*/ 147617 h 273890"/>
                <a:gd name="connsiteX163" fmla="*/ 1126132 w 1394458"/>
                <a:gd name="connsiteY163" fmla="*/ 169499 h 273890"/>
                <a:gd name="connsiteX164" fmla="*/ 1346701 w 1394458"/>
                <a:gd name="connsiteY164" fmla="*/ 270418 h 273890"/>
                <a:gd name="connsiteX165" fmla="*/ 1304843 w 1394458"/>
                <a:gd name="connsiteY165" fmla="*/ 270418 h 273890"/>
                <a:gd name="connsiteX166" fmla="*/ 1304843 w 1394458"/>
                <a:gd name="connsiteY166" fmla="*/ 64436 h 273890"/>
                <a:gd name="connsiteX167" fmla="*/ 1312659 w 1394458"/>
                <a:gd name="connsiteY167" fmla="*/ 29178 h 273890"/>
                <a:gd name="connsiteX168" fmla="*/ 1335412 w 1394458"/>
                <a:gd name="connsiteY168" fmla="*/ 7471 h 273890"/>
                <a:gd name="connsiteX169" fmla="*/ 1370319 w 1394458"/>
                <a:gd name="connsiteY169" fmla="*/ 0 h 273890"/>
                <a:gd name="connsiteX170" fmla="*/ 1382649 w 1394458"/>
                <a:gd name="connsiteY170" fmla="*/ 871 h 273890"/>
                <a:gd name="connsiteX171" fmla="*/ 1394458 w 1394458"/>
                <a:gd name="connsiteY171" fmla="*/ 3127 h 273890"/>
                <a:gd name="connsiteX172" fmla="*/ 1393418 w 1394458"/>
                <a:gd name="connsiteY172" fmla="*/ 35433 h 273890"/>
                <a:gd name="connsiteX173" fmla="*/ 1385776 w 1394458"/>
                <a:gd name="connsiteY173" fmla="*/ 34217 h 273890"/>
                <a:gd name="connsiteX174" fmla="*/ 1377095 w 1394458"/>
                <a:gd name="connsiteY174" fmla="*/ 33867 h 273890"/>
                <a:gd name="connsiteX175" fmla="*/ 1360596 w 1394458"/>
                <a:gd name="connsiteY175" fmla="*/ 37515 h 273890"/>
                <a:gd name="connsiteX176" fmla="*/ 1350178 w 1394458"/>
                <a:gd name="connsiteY176" fmla="*/ 47763 h 273890"/>
                <a:gd name="connsiteX177" fmla="*/ 1346706 w 1394458"/>
                <a:gd name="connsiteY177" fmla="*/ 64436 h 273890"/>
                <a:gd name="connsiteX178" fmla="*/ 1346706 w 1394458"/>
                <a:gd name="connsiteY178" fmla="*/ 270418 h 273890"/>
                <a:gd name="connsiteX179" fmla="*/ 1385431 w 1394458"/>
                <a:gd name="connsiteY179" fmla="*/ 82500 h 273890"/>
                <a:gd name="connsiteX180" fmla="*/ 1385431 w 1394458"/>
                <a:gd name="connsiteY180" fmla="*/ 113069 h 273890"/>
                <a:gd name="connsiteX181" fmla="*/ 1276015 w 1394458"/>
                <a:gd name="connsiteY181" fmla="*/ 113069 h 273890"/>
                <a:gd name="connsiteX182" fmla="*/ 1276015 w 1394458"/>
                <a:gd name="connsiteY182" fmla="*/ 82500 h 273890"/>
                <a:gd name="connsiteX183" fmla="*/ 1385431 w 1394458"/>
                <a:gd name="connsiteY183" fmla="*/ 82500 h 2738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</a:cxnLst>
              <a:rect l="l" t="t" r="r" b="b"/>
              <a:pathLst>
                <a:path w="1394458" h="273890">
                  <a:moveTo>
                    <a:pt x="157354" y="188093"/>
                  </a:moveTo>
                  <a:lnTo>
                    <a:pt x="200773" y="188093"/>
                  </a:lnTo>
                  <a:cubicBezTo>
                    <a:pt x="199382" y="204650"/>
                    <a:pt x="194752" y="219411"/>
                    <a:pt x="186877" y="232383"/>
                  </a:cubicBezTo>
                  <a:cubicBezTo>
                    <a:pt x="179003" y="245233"/>
                    <a:pt x="167947" y="255365"/>
                    <a:pt x="153706" y="262777"/>
                  </a:cubicBezTo>
                  <a:cubicBezTo>
                    <a:pt x="139465" y="270185"/>
                    <a:pt x="122155" y="273891"/>
                    <a:pt x="101775" y="273891"/>
                  </a:cubicBezTo>
                  <a:cubicBezTo>
                    <a:pt x="86143" y="273891"/>
                    <a:pt x="72077" y="271114"/>
                    <a:pt x="59572" y="265554"/>
                  </a:cubicBezTo>
                  <a:cubicBezTo>
                    <a:pt x="47067" y="259878"/>
                    <a:pt x="36357" y="251892"/>
                    <a:pt x="27442" y="241585"/>
                  </a:cubicBezTo>
                  <a:cubicBezTo>
                    <a:pt x="18526" y="231167"/>
                    <a:pt x="11697" y="218604"/>
                    <a:pt x="6950" y="203901"/>
                  </a:cubicBezTo>
                  <a:cubicBezTo>
                    <a:pt x="2315" y="189192"/>
                    <a:pt x="0" y="172753"/>
                    <a:pt x="0" y="154572"/>
                  </a:cubicBezTo>
                  <a:lnTo>
                    <a:pt x="0" y="133555"/>
                  </a:lnTo>
                  <a:cubicBezTo>
                    <a:pt x="0" y="115379"/>
                    <a:pt x="2374" y="98935"/>
                    <a:pt x="7121" y="84231"/>
                  </a:cubicBezTo>
                  <a:cubicBezTo>
                    <a:pt x="11984" y="69528"/>
                    <a:pt x="18930" y="56965"/>
                    <a:pt x="27962" y="46542"/>
                  </a:cubicBezTo>
                  <a:cubicBezTo>
                    <a:pt x="36994" y="36007"/>
                    <a:pt x="47816" y="27957"/>
                    <a:pt x="60438" y="22403"/>
                  </a:cubicBezTo>
                  <a:cubicBezTo>
                    <a:pt x="73171" y="16843"/>
                    <a:pt x="87471" y="14066"/>
                    <a:pt x="103336" y="14066"/>
                  </a:cubicBezTo>
                  <a:cubicBezTo>
                    <a:pt x="123482" y="14066"/>
                    <a:pt x="140506" y="17772"/>
                    <a:pt x="154397" y="25180"/>
                  </a:cubicBezTo>
                  <a:cubicBezTo>
                    <a:pt x="168293" y="32592"/>
                    <a:pt x="179056" y="42836"/>
                    <a:pt x="186702" y="55919"/>
                  </a:cubicBezTo>
                  <a:cubicBezTo>
                    <a:pt x="194460" y="69003"/>
                    <a:pt x="199207" y="83998"/>
                    <a:pt x="200943" y="100900"/>
                  </a:cubicBezTo>
                  <a:lnTo>
                    <a:pt x="157524" y="100900"/>
                  </a:lnTo>
                  <a:cubicBezTo>
                    <a:pt x="156367" y="90015"/>
                    <a:pt x="153818" y="80695"/>
                    <a:pt x="149883" y="72938"/>
                  </a:cubicBezTo>
                  <a:cubicBezTo>
                    <a:pt x="146065" y="65180"/>
                    <a:pt x="140389" y="59275"/>
                    <a:pt x="132865" y="55224"/>
                  </a:cubicBezTo>
                  <a:cubicBezTo>
                    <a:pt x="125340" y="51055"/>
                    <a:pt x="115496" y="48969"/>
                    <a:pt x="103341" y="48969"/>
                  </a:cubicBezTo>
                  <a:cubicBezTo>
                    <a:pt x="93385" y="48969"/>
                    <a:pt x="84698" y="50822"/>
                    <a:pt x="77291" y="54528"/>
                  </a:cubicBezTo>
                  <a:cubicBezTo>
                    <a:pt x="69878" y="58234"/>
                    <a:pt x="63687" y="63677"/>
                    <a:pt x="58706" y="70856"/>
                  </a:cubicBezTo>
                  <a:cubicBezTo>
                    <a:pt x="53730" y="78035"/>
                    <a:pt x="49966" y="86892"/>
                    <a:pt x="47417" y="97427"/>
                  </a:cubicBezTo>
                  <a:cubicBezTo>
                    <a:pt x="44985" y="107845"/>
                    <a:pt x="43769" y="119771"/>
                    <a:pt x="43769" y="133205"/>
                  </a:cubicBezTo>
                  <a:lnTo>
                    <a:pt x="43769" y="154567"/>
                  </a:lnTo>
                  <a:cubicBezTo>
                    <a:pt x="43769" y="167305"/>
                    <a:pt x="44869" y="178881"/>
                    <a:pt x="47067" y="189304"/>
                  </a:cubicBezTo>
                  <a:cubicBezTo>
                    <a:pt x="49382" y="199611"/>
                    <a:pt x="52855" y="208468"/>
                    <a:pt x="57490" y="215875"/>
                  </a:cubicBezTo>
                  <a:cubicBezTo>
                    <a:pt x="62237" y="223288"/>
                    <a:pt x="68259" y="229017"/>
                    <a:pt x="75550" y="233069"/>
                  </a:cubicBezTo>
                  <a:cubicBezTo>
                    <a:pt x="82845" y="237120"/>
                    <a:pt x="91585" y="239149"/>
                    <a:pt x="101775" y="239149"/>
                  </a:cubicBezTo>
                  <a:cubicBezTo>
                    <a:pt x="114163" y="239149"/>
                    <a:pt x="124178" y="237179"/>
                    <a:pt x="131824" y="233244"/>
                  </a:cubicBezTo>
                  <a:cubicBezTo>
                    <a:pt x="139582" y="229304"/>
                    <a:pt x="145428" y="223575"/>
                    <a:pt x="149363" y="216050"/>
                  </a:cubicBezTo>
                  <a:cubicBezTo>
                    <a:pt x="153414" y="208409"/>
                    <a:pt x="156080" y="199090"/>
                    <a:pt x="157354" y="188088"/>
                  </a:cubicBezTo>
                  <a:close/>
                  <a:moveTo>
                    <a:pt x="313837" y="270418"/>
                  </a:moveTo>
                  <a:lnTo>
                    <a:pt x="259825" y="270418"/>
                  </a:lnTo>
                  <a:lnTo>
                    <a:pt x="260170" y="235856"/>
                  </a:lnTo>
                  <a:lnTo>
                    <a:pt x="313837" y="235856"/>
                  </a:lnTo>
                  <a:cubicBezTo>
                    <a:pt x="329469" y="235856"/>
                    <a:pt x="342553" y="232441"/>
                    <a:pt x="353088" y="225608"/>
                  </a:cubicBezTo>
                  <a:cubicBezTo>
                    <a:pt x="363740" y="218779"/>
                    <a:pt x="371731" y="208993"/>
                    <a:pt x="377057" y="196255"/>
                  </a:cubicBezTo>
                  <a:cubicBezTo>
                    <a:pt x="382499" y="183516"/>
                    <a:pt x="385218" y="168351"/>
                    <a:pt x="385218" y="150754"/>
                  </a:cubicBezTo>
                  <a:lnTo>
                    <a:pt x="385218" y="137033"/>
                  </a:lnTo>
                  <a:cubicBezTo>
                    <a:pt x="385218" y="123371"/>
                    <a:pt x="383657" y="111269"/>
                    <a:pt x="380530" y="100734"/>
                  </a:cubicBezTo>
                  <a:cubicBezTo>
                    <a:pt x="377519" y="90199"/>
                    <a:pt x="373005" y="81342"/>
                    <a:pt x="366984" y="74163"/>
                  </a:cubicBezTo>
                  <a:cubicBezTo>
                    <a:pt x="361079" y="66984"/>
                    <a:pt x="353784" y="61542"/>
                    <a:pt x="345102" y="57840"/>
                  </a:cubicBezTo>
                  <a:cubicBezTo>
                    <a:pt x="336532" y="54134"/>
                    <a:pt x="326634" y="52281"/>
                    <a:pt x="315403" y="52281"/>
                  </a:cubicBezTo>
                  <a:lnTo>
                    <a:pt x="258784" y="52281"/>
                  </a:lnTo>
                  <a:lnTo>
                    <a:pt x="258784" y="17544"/>
                  </a:lnTo>
                  <a:lnTo>
                    <a:pt x="315403" y="17544"/>
                  </a:lnTo>
                  <a:cubicBezTo>
                    <a:pt x="332193" y="17544"/>
                    <a:pt x="347534" y="20379"/>
                    <a:pt x="361429" y="26055"/>
                  </a:cubicBezTo>
                  <a:cubicBezTo>
                    <a:pt x="375325" y="31615"/>
                    <a:pt x="387310" y="39660"/>
                    <a:pt x="397383" y="50195"/>
                  </a:cubicBezTo>
                  <a:cubicBezTo>
                    <a:pt x="407572" y="60730"/>
                    <a:pt x="415389" y="73351"/>
                    <a:pt x="420826" y="88054"/>
                  </a:cubicBezTo>
                  <a:cubicBezTo>
                    <a:pt x="426269" y="102758"/>
                    <a:pt x="428988" y="119202"/>
                    <a:pt x="428988" y="137378"/>
                  </a:cubicBezTo>
                  <a:lnTo>
                    <a:pt x="428988" y="150754"/>
                  </a:lnTo>
                  <a:cubicBezTo>
                    <a:pt x="428988" y="168930"/>
                    <a:pt x="426269" y="185374"/>
                    <a:pt x="420826" y="200078"/>
                  </a:cubicBezTo>
                  <a:cubicBezTo>
                    <a:pt x="415384" y="214781"/>
                    <a:pt x="407568" y="227403"/>
                    <a:pt x="397383" y="237938"/>
                  </a:cubicBezTo>
                  <a:cubicBezTo>
                    <a:pt x="387193" y="248356"/>
                    <a:pt x="375038" y="256405"/>
                    <a:pt x="360909" y="262077"/>
                  </a:cubicBezTo>
                  <a:cubicBezTo>
                    <a:pt x="346896" y="267636"/>
                    <a:pt x="331211" y="270413"/>
                    <a:pt x="313842" y="270413"/>
                  </a:cubicBezTo>
                  <a:close/>
                  <a:moveTo>
                    <a:pt x="283964" y="17544"/>
                  </a:moveTo>
                  <a:lnTo>
                    <a:pt x="283964" y="270418"/>
                  </a:lnTo>
                  <a:lnTo>
                    <a:pt x="240369" y="270418"/>
                  </a:lnTo>
                  <a:lnTo>
                    <a:pt x="240369" y="17544"/>
                  </a:lnTo>
                  <a:lnTo>
                    <a:pt x="283964" y="17544"/>
                  </a:lnTo>
                  <a:close/>
                  <a:moveTo>
                    <a:pt x="519299" y="17544"/>
                  </a:moveTo>
                  <a:lnTo>
                    <a:pt x="519299" y="270418"/>
                  </a:lnTo>
                  <a:lnTo>
                    <a:pt x="475705" y="270418"/>
                  </a:lnTo>
                  <a:lnTo>
                    <a:pt x="475705" y="17544"/>
                  </a:lnTo>
                  <a:lnTo>
                    <a:pt x="519299" y="17544"/>
                  </a:lnTo>
                  <a:close/>
                  <a:moveTo>
                    <a:pt x="811424" y="188093"/>
                  </a:moveTo>
                  <a:lnTo>
                    <a:pt x="854843" y="188093"/>
                  </a:lnTo>
                  <a:cubicBezTo>
                    <a:pt x="853452" y="204650"/>
                    <a:pt x="848822" y="219411"/>
                    <a:pt x="840947" y="232383"/>
                  </a:cubicBezTo>
                  <a:cubicBezTo>
                    <a:pt x="833073" y="245233"/>
                    <a:pt x="822017" y="255365"/>
                    <a:pt x="807776" y="262777"/>
                  </a:cubicBezTo>
                  <a:cubicBezTo>
                    <a:pt x="793535" y="270185"/>
                    <a:pt x="776225" y="273891"/>
                    <a:pt x="755845" y="273891"/>
                  </a:cubicBezTo>
                  <a:cubicBezTo>
                    <a:pt x="740213" y="273891"/>
                    <a:pt x="726147" y="271114"/>
                    <a:pt x="713642" y="265554"/>
                  </a:cubicBezTo>
                  <a:cubicBezTo>
                    <a:pt x="701137" y="259878"/>
                    <a:pt x="690427" y="251892"/>
                    <a:pt x="681512" y="241585"/>
                  </a:cubicBezTo>
                  <a:cubicBezTo>
                    <a:pt x="672596" y="231167"/>
                    <a:pt x="665768" y="218604"/>
                    <a:pt x="661021" y="203901"/>
                  </a:cubicBezTo>
                  <a:cubicBezTo>
                    <a:pt x="656390" y="189197"/>
                    <a:pt x="654075" y="172753"/>
                    <a:pt x="654075" y="154577"/>
                  </a:cubicBezTo>
                  <a:lnTo>
                    <a:pt x="654075" y="133560"/>
                  </a:lnTo>
                  <a:cubicBezTo>
                    <a:pt x="654075" y="115384"/>
                    <a:pt x="656449" y="98940"/>
                    <a:pt x="661196" y="84236"/>
                  </a:cubicBezTo>
                  <a:cubicBezTo>
                    <a:pt x="666059" y="69533"/>
                    <a:pt x="673005" y="56970"/>
                    <a:pt x="682037" y="46547"/>
                  </a:cubicBezTo>
                  <a:cubicBezTo>
                    <a:pt x="691069" y="36012"/>
                    <a:pt x="701891" y="27962"/>
                    <a:pt x="714513" y="22408"/>
                  </a:cubicBezTo>
                  <a:cubicBezTo>
                    <a:pt x="727246" y="16848"/>
                    <a:pt x="741546" y="14071"/>
                    <a:pt x="757411" y="14071"/>
                  </a:cubicBezTo>
                  <a:cubicBezTo>
                    <a:pt x="777557" y="14071"/>
                    <a:pt x="794581" y="17777"/>
                    <a:pt x="808472" y="25185"/>
                  </a:cubicBezTo>
                  <a:cubicBezTo>
                    <a:pt x="822368" y="32597"/>
                    <a:pt x="833131" y="42840"/>
                    <a:pt x="840777" y="55924"/>
                  </a:cubicBezTo>
                  <a:cubicBezTo>
                    <a:pt x="848535" y="69008"/>
                    <a:pt x="853282" y="84003"/>
                    <a:pt x="855018" y="100905"/>
                  </a:cubicBezTo>
                  <a:lnTo>
                    <a:pt x="811599" y="100905"/>
                  </a:lnTo>
                  <a:cubicBezTo>
                    <a:pt x="810442" y="90019"/>
                    <a:pt x="807893" y="80700"/>
                    <a:pt x="803958" y="72943"/>
                  </a:cubicBezTo>
                  <a:cubicBezTo>
                    <a:pt x="800140" y="65185"/>
                    <a:pt x="794464" y="59280"/>
                    <a:pt x="786940" y="55229"/>
                  </a:cubicBezTo>
                  <a:cubicBezTo>
                    <a:pt x="779415" y="51060"/>
                    <a:pt x="769571" y="48974"/>
                    <a:pt x="757416" y="48974"/>
                  </a:cubicBezTo>
                  <a:cubicBezTo>
                    <a:pt x="747460" y="48974"/>
                    <a:pt x="738773" y="50827"/>
                    <a:pt x="731366" y="54533"/>
                  </a:cubicBezTo>
                  <a:cubicBezTo>
                    <a:pt x="723953" y="58239"/>
                    <a:pt x="717762" y="63682"/>
                    <a:pt x="712781" y="70861"/>
                  </a:cubicBezTo>
                  <a:cubicBezTo>
                    <a:pt x="707801" y="78040"/>
                    <a:pt x="704041" y="86897"/>
                    <a:pt x="701492" y="97432"/>
                  </a:cubicBezTo>
                  <a:cubicBezTo>
                    <a:pt x="699060" y="107850"/>
                    <a:pt x="697844" y="119776"/>
                    <a:pt x="697844" y="133210"/>
                  </a:cubicBezTo>
                  <a:lnTo>
                    <a:pt x="697844" y="154572"/>
                  </a:lnTo>
                  <a:cubicBezTo>
                    <a:pt x="697844" y="167310"/>
                    <a:pt x="698944" y="178886"/>
                    <a:pt x="701142" y="189309"/>
                  </a:cubicBezTo>
                  <a:cubicBezTo>
                    <a:pt x="703457" y="199616"/>
                    <a:pt x="706930" y="208473"/>
                    <a:pt x="711565" y="215880"/>
                  </a:cubicBezTo>
                  <a:cubicBezTo>
                    <a:pt x="716312" y="223293"/>
                    <a:pt x="722334" y="229022"/>
                    <a:pt x="729629" y="233074"/>
                  </a:cubicBezTo>
                  <a:cubicBezTo>
                    <a:pt x="736925" y="237125"/>
                    <a:pt x="745665" y="239154"/>
                    <a:pt x="755855" y="239154"/>
                  </a:cubicBezTo>
                  <a:cubicBezTo>
                    <a:pt x="768243" y="239154"/>
                    <a:pt x="778258" y="237184"/>
                    <a:pt x="785904" y="233249"/>
                  </a:cubicBezTo>
                  <a:cubicBezTo>
                    <a:pt x="793661" y="229309"/>
                    <a:pt x="799508" y="223580"/>
                    <a:pt x="803443" y="216055"/>
                  </a:cubicBezTo>
                  <a:cubicBezTo>
                    <a:pt x="807494" y="208414"/>
                    <a:pt x="810159" y="199095"/>
                    <a:pt x="811434" y="188093"/>
                  </a:cubicBezTo>
                  <a:close/>
                  <a:moveTo>
                    <a:pt x="882285" y="178541"/>
                  </a:moveTo>
                  <a:lnTo>
                    <a:pt x="882285" y="174548"/>
                  </a:lnTo>
                  <a:cubicBezTo>
                    <a:pt x="882285" y="161002"/>
                    <a:pt x="884255" y="148439"/>
                    <a:pt x="888190" y="136858"/>
                  </a:cubicBezTo>
                  <a:cubicBezTo>
                    <a:pt x="892124" y="125165"/>
                    <a:pt x="897800" y="115034"/>
                    <a:pt x="905208" y="106464"/>
                  </a:cubicBezTo>
                  <a:cubicBezTo>
                    <a:pt x="912732" y="97782"/>
                    <a:pt x="921881" y="91065"/>
                    <a:pt x="932650" y="86318"/>
                  </a:cubicBezTo>
                  <a:cubicBezTo>
                    <a:pt x="943535" y="81454"/>
                    <a:pt x="955806" y="79022"/>
                    <a:pt x="969469" y="79022"/>
                  </a:cubicBezTo>
                  <a:cubicBezTo>
                    <a:pt x="983131" y="79022"/>
                    <a:pt x="995519" y="81454"/>
                    <a:pt x="1006288" y="86318"/>
                  </a:cubicBezTo>
                  <a:cubicBezTo>
                    <a:pt x="1017173" y="91065"/>
                    <a:pt x="1026375" y="97782"/>
                    <a:pt x="1033899" y="106464"/>
                  </a:cubicBezTo>
                  <a:cubicBezTo>
                    <a:pt x="1041424" y="115034"/>
                    <a:pt x="1047158" y="125165"/>
                    <a:pt x="1051093" y="136858"/>
                  </a:cubicBezTo>
                  <a:cubicBezTo>
                    <a:pt x="1055028" y="148434"/>
                    <a:pt x="1056998" y="160997"/>
                    <a:pt x="1056998" y="174548"/>
                  </a:cubicBezTo>
                  <a:lnTo>
                    <a:pt x="1056998" y="178541"/>
                  </a:lnTo>
                  <a:cubicBezTo>
                    <a:pt x="1056998" y="192086"/>
                    <a:pt x="1055028" y="204650"/>
                    <a:pt x="1051093" y="216226"/>
                  </a:cubicBezTo>
                  <a:cubicBezTo>
                    <a:pt x="1047153" y="227806"/>
                    <a:pt x="1041424" y="237938"/>
                    <a:pt x="1033899" y="246619"/>
                  </a:cubicBezTo>
                  <a:cubicBezTo>
                    <a:pt x="1026375" y="255189"/>
                    <a:pt x="1017226" y="261902"/>
                    <a:pt x="1006458" y="266765"/>
                  </a:cubicBezTo>
                  <a:cubicBezTo>
                    <a:pt x="995689" y="271512"/>
                    <a:pt x="983476" y="273886"/>
                    <a:pt x="969814" y="273886"/>
                  </a:cubicBezTo>
                  <a:cubicBezTo>
                    <a:pt x="956151" y="273886"/>
                    <a:pt x="943705" y="271512"/>
                    <a:pt x="932820" y="266765"/>
                  </a:cubicBezTo>
                  <a:cubicBezTo>
                    <a:pt x="922051" y="261902"/>
                    <a:pt x="912907" y="255189"/>
                    <a:pt x="905378" y="246619"/>
                  </a:cubicBezTo>
                  <a:cubicBezTo>
                    <a:pt x="897854" y="237938"/>
                    <a:pt x="892119" y="227806"/>
                    <a:pt x="888185" y="216226"/>
                  </a:cubicBezTo>
                  <a:cubicBezTo>
                    <a:pt x="884245" y="204650"/>
                    <a:pt x="882280" y="192086"/>
                    <a:pt x="882280" y="178541"/>
                  </a:cubicBezTo>
                  <a:close/>
                  <a:moveTo>
                    <a:pt x="924143" y="174548"/>
                  </a:moveTo>
                  <a:lnTo>
                    <a:pt x="924143" y="178541"/>
                  </a:lnTo>
                  <a:cubicBezTo>
                    <a:pt x="924143" y="186994"/>
                    <a:pt x="925013" y="194980"/>
                    <a:pt x="926750" y="202510"/>
                  </a:cubicBezTo>
                  <a:cubicBezTo>
                    <a:pt x="928486" y="210034"/>
                    <a:pt x="931210" y="216634"/>
                    <a:pt x="934911" y="222310"/>
                  </a:cubicBezTo>
                  <a:cubicBezTo>
                    <a:pt x="938617" y="227981"/>
                    <a:pt x="943365" y="232441"/>
                    <a:pt x="949152" y="235681"/>
                  </a:cubicBezTo>
                  <a:cubicBezTo>
                    <a:pt x="954940" y="238925"/>
                    <a:pt x="961832" y="240545"/>
                    <a:pt x="969819" y="240545"/>
                  </a:cubicBezTo>
                  <a:cubicBezTo>
                    <a:pt x="977805" y="240545"/>
                    <a:pt x="984293" y="238925"/>
                    <a:pt x="989965" y="235681"/>
                  </a:cubicBezTo>
                  <a:cubicBezTo>
                    <a:pt x="995753" y="232441"/>
                    <a:pt x="1000500" y="227981"/>
                    <a:pt x="1004206" y="222310"/>
                  </a:cubicBezTo>
                  <a:cubicBezTo>
                    <a:pt x="1007912" y="216634"/>
                    <a:pt x="1010631" y="210039"/>
                    <a:pt x="1012367" y="202510"/>
                  </a:cubicBezTo>
                  <a:cubicBezTo>
                    <a:pt x="1014220" y="194985"/>
                    <a:pt x="1015145" y="186994"/>
                    <a:pt x="1015145" y="178541"/>
                  </a:cubicBezTo>
                  <a:lnTo>
                    <a:pt x="1015145" y="174548"/>
                  </a:lnTo>
                  <a:cubicBezTo>
                    <a:pt x="1015145" y="166211"/>
                    <a:pt x="1014220" y="158336"/>
                    <a:pt x="1012367" y="150929"/>
                  </a:cubicBezTo>
                  <a:cubicBezTo>
                    <a:pt x="1010631" y="143405"/>
                    <a:pt x="1007854" y="136746"/>
                    <a:pt x="1004031" y="130958"/>
                  </a:cubicBezTo>
                  <a:cubicBezTo>
                    <a:pt x="1000325" y="125170"/>
                    <a:pt x="995578" y="120652"/>
                    <a:pt x="989790" y="117412"/>
                  </a:cubicBezTo>
                  <a:cubicBezTo>
                    <a:pt x="984118" y="114056"/>
                    <a:pt x="977343" y="112373"/>
                    <a:pt x="969469" y="112373"/>
                  </a:cubicBezTo>
                  <a:cubicBezTo>
                    <a:pt x="961594" y="112373"/>
                    <a:pt x="954765" y="114051"/>
                    <a:pt x="948977" y="117412"/>
                  </a:cubicBezTo>
                  <a:cubicBezTo>
                    <a:pt x="943301" y="120657"/>
                    <a:pt x="938613" y="125170"/>
                    <a:pt x="934911" y="130958"/>
                  </a:cubicBezTo>
                  <a:cubicBezTo>
                    <a:pt x="931205" y="136746"/>
                    <a:pt x="928486" y="143405"/>
                    <a:pt x="926750" y="150929"/>
                  </a:cubicBezTo>
                  <a:cubicBezTo>
                    <a:pt x="925013" y="158336"/>
                    <a:pt x="924143" y="166211"/>
                    <a:pt x="924143" y="174548"/>
                  </a:cubicBezTo>
                  <a:close/>
                  <a:moveTo>
                    <a:pt x="1133598" y="122617"/>
                  </a:moveTo>
                  <a:lnTo>
                    <a:pt x="1133598" y="270418"/>
                  </a:lnTo>
                  <a:lnTo>
                    <a:pt x="1091745" y="270418"/>
                  </a:lnTo>
                  <a:lnTo>
                    <a:pt x="1091745" y="82495"/>
                  </a:lnTo>
                  <a:lnTo>
                    <a:pt x="1131171" y="82495"/>
                  </a:lnTo>
                  <a:lnTo>
                    <a:pt x="1133603" y="122617"/>
                  </a:lnTo>
                  <a:close/>
                  <a:moveTo>
                    <a:pt x="1126132" y="169509"/>
                  </a:moveTo>
                  <a:lnTo>
                    <a:pt x="1112586" y="169334"/>
                  </a:lnTo>
                  <a:cubicBezTo>
                    <a:pt x="1112703" y="156016"/>
                    <a:pt x="1114556" y="143803"/>
                    <a:pt x="1118145" y="132690"/>
                  </a:cubicBezTo>
                  <a:cubicBezTo>
                    <a:pt x="1121852" y="121576"/>
                    <a:pt x="1126944" y="112023"/>
                    <a:pt x="1133428" y="104032"/>
                  </a:cubicBezTo>
                  <a:cubicBezTo>
                    <a:pt x="1140028" y="96046"/>
                    <a:pt x="1147902" y="89908"/>
                    <a:pt x="1157046" y="85623"/>
                  </a:cubicBezTo>
                  <a:cubicBezTo>
                    <a:pt x="1166195" y="81226"/>
                    <a:pt x="1176385" y="79022"/>
                    <a:pt x="1187615" y="79022"/>
                  </a:cubicBezTo>
                  <a:cubicBezTo>
                    <a:pt x="1196647" y="79022"/>
                    <a:pt x="1204809" y="80297"/>
                    <a:pt x="1212105" y="82840"/>
                  </a:cubicBezTo>
                  <a:cubicBezTo>
                    <a:pt x="1219517" y="85272"/>
                    <a:pt x="1225825" y="89265"/>
                    <a:pt x="1231034" y="94825"/>
                  </a:cubicBezTo>
                  <a:cubicBezTo>
                    <a:pt x="1236360" y="100384"/>
                    <a:pt x="1240412" y="107617"/>
                    <a:pt x="1243189" y="116532"/>
                  </a:cubicBezTo>
                  <a:cubicBezTo>
                    <a:pt x="1245966" y="125331"/>
                    <a:pt x="1247357" y="136157"/>
                    <a:pt x="1247357" y="149008"/>
                  </a:cubicBezTo>
                  <a:lnTo>
                    <a:pt x="1247357" y="270408"/>
                  </a:lnTo>
                  <a:lnTo>
                    <a:pt x="1205329" y="270408"/>
                  </a:lnTo>
                  <a:lnTo>
                    <a:pt x="1205329" y="148833"/>
                  </a:lnTo>
                  <a:cubicBezTo>
                    <a:pt x="1205329" y="139800"/>
                    <a:pt x="1203996" y="132680"/>
                    <a:pt x="1201336" y="127471"/>
                  </a:cubicBezTo>
                  <a:cubicBezTo>
                    <a:pt x="1198787" y="122145"/>
                    <a:pt x="1195028" y="118380"/>
                    <a:pt x="1190047" y="116182"/>
                  </a:cubicBezTo>
                  <a:cubicBezTo>
                    <a:pt x="1185183" y="113867"/>
                    <a:pt x="1179104" y="112709"/>
                    <a:pt x="1171813" y="112709"/>
                  </a:cubicBezTo>
                  <a:cubicBezTo>
                    <a:pt x="1164522" y="112709"/>
                    <a:pt x="1158209" y="114212"/>
                    <a:pt x="1152533" y="117223"/>
                  </a:cubicBezTo>
                  <a:cubicBezTo>
                    <a:pt x="1146861" y="120233"/>
                    <a:pt x="1142056" y="124343"/>
                    <a:pt x="1138116" y="129552"/>
                  </a:cubicBezTo>
                  <a:cubicBezTo>
                    <a:pt x="1134293" y="134762"/>
                    <a:pt x="1131341" y="140783"/>
                    <a:pt x="1129259" y="147617"/>
                  </a:cubicBezTo>
                  <a:cubicBezTo>
                    <a:pt x="1127178" y="154445"/>
                    <a:pt x="1126132" y="161741"/>
                    <a:pt x="1126132" y="169499"/>
                  </a:cubicBezTo>
                  <a:close/>
                  <a:moveTo>
                    <a:pt x="1346701" y="270418"/>
                  </a:moveTo>
                  <a:lnTo>
                    <a:pt x="1304843" y="270418"/>
                  </a:lnTo>
                  <a:lnTo>
                    <a:pt x="1304843" y="64436"/>
                  </a:lnTo>
                  <a:cubicBezTo>
                    <a:pt x="1304843" y="50428"/>
                    <a:pt x="1307450" y="38672"/>
                    <a:pt x="1312659" y="29178"/>
                  </a:cubicBezTo>
                  <a:cubicBezTo>
                    <a:pt x="1317985" y="19567"/>
                    <a:pt x="1325567" y="12330"/>
                    <a:pt x="1335412" y="7471"/>
                  </a:cubicBezTo>
                  <a:cubicBezTo>
                    <a:pt x="1345256" y="2490"/>
                    <a:pt x="1356890" y="0"/>
                    <a:pt x="1370319" y="0"/>
                  </a:cubicBezTo>
                  <a:cubicBezTo>
                    <a:pt x="1374488" y="0"/>
                    <a:pt x="1378597" y="292"/>
                    <a:pt x="1382649" y="871"/>
                  </a:cubicBezTo>
                  <a:cubicBezTo>
                    <a:pt x="1386701" y="1333"/>
                    <a:pt x="1390640" y="2087"/>
                    <a:pt x="1394458" y="3127"/>
                  </a:cubicBezTo>
                  <a:lnTo>
                    <a:pt x="1393418" y="35433"/>
                  </a:lnTo>
                  <a:cubicBezTo>
                    <a:pt x="1391102" y="34854"/>
                    <a:pt x="1388554" y="34450"/>
                    <a:pt x="1385776" y="34217"/>
                  </a:cubicBezTo>
                  <a:cubicBezTo>
                    <a:pt x="1383116" y="33983"/>
                    <a:pt x="1380217" y="33867"/>
                    <a:pt x="1377095" y="33867"/>
                  </a:cubicBezTo>
                  <a:cubicBezTo>
                    <a:pt x="1370728" y="33867"/>
                    <a:pt x="1365227" y="35083"/>
                    <a:pt x="1360596" y="37515"/>
                  </a:cubicBezTo>
                  <a:cubicBezTo>
                    <a:pt x="1356083" y="39830"/>
                    <a:pt x="1352605" y="43244"/>
                    <a:pt x="1350178" y="47763"/>
                  </a:cubicBezTo>
                  <a:cubicBezTo>
                    <a:pt x="1347863" y="52281"/>
                    <a:pt x="1346706" y="57836"/>
                    <a:pt x="1346706" y="64436"/>
                  </a:cubicBezTo>
                  <a:lnTo>
                    <a:pt x="1346706" y="270418"/>
                  </a:lnTo>
                  <a:close/>
                  <a:moveTo>
                    <a:pt x="1385431" y="82500"/>
                  </a:moveTo>
                  <a:lnTo>
                    <a:pt x="1385431" y="113069"/>
                  </a:lnTo>
                  <a:lnTo>
                    <a:pt x="1276015" y="113069"/>
                  </a:lnTo>
                  <a:lnTo>
                    <a:pt x="1276015" y="82500"/>
                  </a:lnTo>
                  <a:lnTo>
                    <a:pt x="1385431" y="82500"/>
                  </a:lnTo>
                  <a:close/>
                </a:path>
              </a:pathLst>
            </a:custGeom>
            <a:solidFill>
              <a:schemeClr val="tx1"/>
            </a:solidFill>
            <a:ln w="4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7" name="Полилиния: фигура 46">
              <a:extLst>
                <a:ext uri="{FF2B5EF4-FFF2-40B4-BE49-F238E27FC236}">
                  <a16:creationId xmlns:a16="http://schemas.microsoft.com/office/drawing/2014/main" id="{0E6F0FB0-99D0-4190-B058-29B8184B7C5F}"/>
                </a:ext>
              </a:extLst>
            </p:cNvPr>
            <p:cNvSpPr/>
            <p:nvPr/>
          </p:nvSpPr>
          <p:spPr>
            <a:xfrm>
              <a:off x="8902858" y="5892336"/>
              <a:ext cx="774600" cy="259834"/>
            </a:xfrm>
            <a:custGeom>
              <a:avLst/>
              <a:gdLst>
                <a:gd name="connsiteX0" fmla="*/ 174372 w 774600"/>
                <a:gd name="connsiteY0" fmla="*/ 223015 h 259834"/>
                <a:gd name="connsiteX1" fmla="*/ 174372 w 774600"/>
                <a:gd name="connsiteY1" fmla="*/ 256362 h 259834"/>
                <a:gd name="connsiteX2" fmla="*/ 4859 w 774600"/>
                <a:gd name="connsiteY2" fmla="*/ 256362 h 259834"/>
                <a:gd name="connsiteX3" fmla="*/ 4859 w 774600"/>
                <a:gd name="connsiteY3" fmla="*/ 227704 h 259834"/>
                <a:gd name="connsiteX4" fmla="*/ 87193 w 774600"/>
                <a:gd name="connsiteY4" fmla="*/ 137913 h 259834"/>
                <a:gd name="connsiteX5" fmla="*/ 108541 w 774600"/>
                <a:gd name="connsiteY5" fmla="*/ 111513 h 259834"/>
                <a:gd name="connsiteX6" fmla="*/ 119499 w 774600"/>
                <a:gd name="connsiteY6" fmla="*/ 91542 h 259834"/>
                <a:gd name="connsiteX7" fmla="*/ 122797 w 774600"/>
                <a:gd name="connsiteY7" fmla="*/ 73998 h 259834"/>
                <a:gd name="connsiteX8" fmla="*/ 118278 w 774600"/>
                <a:gd name="connsiteY8" fmla="*/ 52981 h 259834"/>
                <a:gd name="connsiteX9" fmla="*/ 105413 w 774600"/>
                <a:gd name="connsiteY9" fmla="*/ 38565 h 259834"/>
                <a:gd name="connsiteX10" fmla="*/ 84752 w 774600"/>
                <a:gd name="connsiteY10" fmla="*/ 33181 h 259834"/>
                <a:gd name="connsiteX11" fmla="*/ 61138 w 774600"/>
                <a:gd name="connsiteY11" fmla="*/ 39261 h 259834"/>
                <a:gd name="connsiteX12" fmla="*/ 46712 w 774600"/>
                <a:gd name="connsiteY12" fmla="*/ 56109 h 259834"/>
                <a:gd name="connsiteX13" fmla="*/ 41853 w 774600"/>
                <a:gd name="connsiteY13" fmla="*/ 80423 h 259834"/>
                <a:gd name="connsiteX14" fmla="*/ 0 w 774600"/>
                <a:gd name="connsiteY14" fmla="*/ 80423 h 259834"/>
                <a:gd name="connsiteX15" fmla="*/ 10083 w 774600"/>
                <a:gd name="connsiteY15" fmla="*/ 40131 h 259834"/>
                <a:gd name="connsiteX16" fmla="*/ 39261 w 774600"/>
                <a:gd name="connsiteY16" fmla="*/ 10953 h 259834"/>
                <a:gd name="connsiteX17" fmla="*/ 85272 w 774600"/>
                <a:gd name="connsiteY17" fmla="*/ 10 h 259834"/>
                <a:gd name="connsiteX18" fmla="*/ 128346 w 774600"/>
                <a:gd name="connsiteY18" fmla="*/ 8521 h 259834"/>
                <a:gd name="connsiteX19" fmla="*/ 155277 w 774600"/>
                <a:gd name="connsiteY19" fmla="*/ 32660 h 259834"/>
                <a:gd name="connsiteX20" fmla="*/ 164654 w 774600"/>
                <a:gd name="connsiteY20" fmla="*/ 69655 h 259834"/>
                <a:gd name="connsiteX21" fmla="*/ 160827 w 774600"/>
                <a:gd name="connsiteY21" fmla="*/ 93103 h 259834"/>
                <a:gd name="connsiteX22" fmla="*/ 149888 w 774600"/>
                <a:gd name="connsiteY22" fmla="*/ 116376 h 259834"/>
                <a:gd name="connsiteX23" fmla="*/ 133400 w 774600"/>
                <a:gd name="connsiteY23" fmla="*/ 139475 h 259834"/>
                <a:gd name="connsiteX24" fmla="*/ 112378 w 774600"/>
                <a:gd name="connsiteY24" fmla="*/ 162748 h 259834"/>
                <a:gd name="connsiteX25" fmla="*/ 57675 w 774600"/>
                <a:gd name="connsiteY25" fmla="*/ 223015 h 259834"/>
                <a:gd name="connsiteX26" fmla="*/ 174377 w 774600"/>
                <a:gd name="connsiteY26" fmla="*/ 223015 h 259834"/>
                <a:gd name="connsiteX27" fmla="*/ 371848 w 774600"/>
                <a:gd name="connsiteY27" fmla="*/ 108735 h 259834"/>
                <a:gd name="connsiteX28" fmla="*/ 371848 w 774600"/>
                <a:gd name="connsiteY28" fmla="*/ 150068 h 259834"/>
                <a:gd name="connsiteX29" fmla="*/ 365938 w 774600"/>
                <a:gd name="connsiteY29" fmla="*/ 200783 h 259834"/>
                <a:gd name="connsiteX30" fmla="*/ 349260 w 774600"/>
                <a:gd name="connsiteY30" fmla="*/ 234650 h 259834"/>
                <a:gd name="connsiteX31" fmla="*/ 323035 w 774600"/>
                <a:gd name="connsiteY31" fmla="*/ 253755 h 259834"/>
                <a:gd name="connsiteX32" fmla="*/ 289168 w 774600"/>
                <a:gd name="connsiteY32" fmla="*/ 259834 h 259834"/>
                <a:gd name="connsiteX33" fmla="*/ 261381 w 774600"/>
                <a:gd name="connsiteY33" fmla="*/ 256011 h 259834"/>
                <a:gd name="connsiteX34" fmla="*/ 238468 w 774600"/>
                <a:gd name="connsiteY34" fmla="*/ 244027 h 259834"/>
                <a:gd name="connsiteX35" fmla="*/ 220914 w 774600"/>
                <a:gd name="connsiteY35" fmla="*/ 223011 h 259834"/>
                <a:gd name="connsiteX36" fmla="*/ 209800 w 774600"/>
                <a:gd name="connsiteY36" fmla="*/ 191921 h 259834"/>
                <a:gd name="connsiteX37" fmla="*/ 205972 w 774600"/>
                <a:gd name="connsiteY37" fmla="*/ 150063 h 259834"/>
                <a:gd name="connsiteX38" fmla="*/ 205972 w 774600"/>
                <a:gd name="connsiteY38" fmla="*/ 108730 h 259834"/>
                <a:gd name="connsiteX39" fmla="*/ 211882 w 774600"/>
                <a:gd name="connsiteY39" fmla="*/ 58366 h 259834"/>
                <a:gd name="connsiteX40" fmla="*/ 228730 w 774600"/>
                <a:gd name="connsiteY40" fmla="*/ 24844 h 259834"/>
                <a:gd name="connsiteX41" fmla="*/ 254786 w 774600"/>
                <a:gd name="connsiteY41" fmla="*/ 5914 h 259834"/>
                <a:gd name="connsiteX42" fmla="*/ 288827 w 774600"/>
                <a:gd name="connsiteY42" fmla="*/ 10 h 259834"/>
                <a:gd name="connsiteX43" fmla="*/ 316614 w 774600"/>
                <a:gd name="connsiteY43" fmla="*/ 3833 h 259834"/>
                <a:gd name="connsiteX44" fmla="*/ 339542 w 774600"/>
                <a:gd name="connsiteY44" fmla="*/ 15467 h 259834"/>
                <a:gd name="connsiteX45" fmla="*/ 356906 w 774600"/>
                <a:gd name="connsiteY45" fmla="*/ 36308 h 259834"/>
                <a:gd name="connsiteX46" fmla="*/ 368020 w 774600"/>
                <a:gd name="connsiteY46" fmla="*/ 67048 h 259834"/>
                <a:gd name="connsiteX47" fmla="*/ 371848 w 774600"/>
                <a:gd name="connsiteY47" fmla="*/ 108730 h 259834"/>
                <a:gd name="connsiteX48" fmla="*/ 329995 w 774600"/>
                <a:gd name="connsiteY48" fmla="*/ 155978 h 259834"/>
                <a:gd name="connsiteX49" fmla="*/ 329995 w 774600"/>
                <a:gd name="connsiteY49" fmla="*/ 102485 h 259834"/>
                <a:gd name="connsiteX50" fmla="*/ 328258 w 774600"/>
                <a:gd name="connsiteY50" fmla="*/ 75914 h 259834"/>
                <a:gd name="connsiteX51" fmla="*/ 323039 w 774600"/>
                <a:gd name="connsiteY51" fmla="*/ 56289 h 259834"/>
                <a:gd name="connsiteX52" fmla="*/ 314708 w 774600"/>
                <a:gd name="connsiteY52" fmla="*/ 43088 h 259834"/>
                <a:gd name="connsiteX53" fmla="*/ 303234 w 774600"/>
                <a:gd name="connsiteY53" fmla="*/ 35623 h 259834"/>
                <a:gd name="connsiteX54" fmla="*/ 288823 w 774600"/>
                <a:gd name="connsiteY54" fmla="*/ 33191 h 259834"/>
                <a:gd name="connsiteX55" fmla="*/ 271459 w 774600"/>
                <a:gd name="connsiteY55" fmla="*/ 37014 h 259834"/>
                <a:gd name="connsiteX56" fmla="*/ 258613 w 774600"/>
                <a:gd name="connsiteY56" fmla="*/ 48823 h 259834"/>
                <a:gd name="connsiteX57" fmla="*/ 250608 w 774600"/>
                <a:gd name="connsiteY57" fmla="*/ 70360 h 259834"/>
                <a:gd name="connsiteX58" fmla="*/ 248015 w 774600"/>
                <a:gd name="connsiteY58" fmla="*/ 102490 h 259834"/>
                <a:gd name="connsiteX59" fmla="*/ 248015 w 774600"/>
                <a:gd name="connsiteY59" fmla="*/ 155982 h 259834"/>
                <a:gd name="connsiteX60" fmla="*/ 249752 w 774600"/>
                <a:gd name="connsiteY60" fmla="*/ 182904 h 259834"/>
                <a:gd name="connsiteX61" fmla="*/ 254956 w 774600"/>
                <a:gd name="connsiteY61" fmla="*/ 202874 h 259834"/>
                <a:gd name="connsiteX62" fmla="*/ 263302 w 774600"/>
                <a:gd name="connsiteY62" fmla="*/ 216420 h 259834"/>
                <a:gd name="connsiteX63" fmla="*/ 274756 w 774600"/>
                <a:gd name="connsiteY63" fmla="*/ 224061 h 259834"/>
                <a:gd name="connsiteX64" fmla="*/ 289168 w 774600"/>
                <a:gd name="connsiteY64" fmla="*/ 226493 h 259834"/>
                <a:gd name="connsiteX65" fmla="*/ 306721 w 774600"/>
                <a:gd name="connsiteY65" fmla="*/ 222670 h 259834"/>
                <a:gd name="connsiteX66" fmla="*/ 319567 w 774600"/>
                <a:gd name="connsiteY66" fmla="*/ 210511 h 259834"/>
                <a:gd name="connsiteX67" fmla="*/ 327383 w 774600"/>
                <a:gd name="connsiteY67" fmla="*/ 188453 h 259834"/>
                <a:gd name="connsiteX68" fmla="*/ 329995 w 774600"/>
                <a:gd name="connsiteY68" fmla="*/ 155978 h 259834"/>
                <a:gd name="connsiteX69" fmla="*/ 578701 w 774600"/>
                <a:gd name="connsiteY69" fmla="*/ 223015 h 259834"/>
                <a:gd name="connsiteX70" fmla="*/ 578701 w 774600"/>
                <a:gd name="connsiteY70" fmla="*/ 256362 h 259834"/>
                <a:gd name="connsiteX71" fmla="*/ 409187 w 774600"/>
                <a:gd name="connsiteY71" fmla="*/ 256362 h 259834"/>
                <a:gd name="connsiteX72" fmla="*/ 409187 w 774600"/>
                <a:gd name="connsiteY72" fmla="*/ 227704 h 259834"/>
                <a:gd name="connsiteX73" fmla="*/ 491507 w 774600"/>
                <a:gd name="connsiteY73" fmla="*/ 137913 h 259834"/>
                <a:gd name="connsiteX74" fmla="*/ 512874 w 774600"/>
                <a:gd name="connsiteY74" fmla="*/ 111513 h 259834"/>
                <a:gd name="connsiteX75" fmla="*/ 523813 w 774600"/>
                <a:gd name="connsiteY75" fmla="*/ 91542 h 259834"/>
                <a:gd name="connsiteX76" fmla="*/ 527110 w 774600"/>
                <a:gd name="connsiteY76" fmla="*/ 73998 h 259834"/>
                <a:gd name="connsiteX77" fmla="*/ 522592 w 774600"/>
                <a:gd name="connsiteY77" fmla="*/ 52981 h 259834"/>
                <a:gd name="connsiteX78" fmla="*/ 509746 w 774600"/>
                <a:gd name="connsiteY78" fmla="*/ 38565 h 259834"/>
                <a:gd name="connsiteX79" fmla="*/ 489085 w 774600"/>
                <a:gd name="connsiteY79" fmla="*/ 33181 h 259834"/>
                <a:gd name="connsiteX80" fmla="*/ 465452 w 774600"/>
                <a:gd name="connsiteY80" fmla="*/ 39261 h 259834"/>
                <a:gd name="connsiteX81" fmla="*/ 451040 w 774600"/>
                <a:gd name="connsiteY81" fmla="*/ 56109 h 259834"/>
                <a:gd name="connsiteX82" fmla="*/ 446181 w 774600"/>
                <a:gd name="connsiteY82" fmla="*/ 80423 h 259834"/>
                <a:gd name="connsiteX83" fmla="*/ 404328 w 774600"/>
                <a:gd name="connsiteY83" fmla="*/ 80423 h 259834"/>
                <a:gd name="connsiteX84" fmla="*/ 414391 w 774600"/>
                <a:gd name="connsiteY84" fmla="*/ 40131 h 259834"/>
                <a:gd name="connsiteX85" fmla="*/ 443569 w 774600"/>
                <a:gd name="connsiteY85" fmla="*/ 10953 h 259834"/>
                <a:gd name="connsiteX86" fmla="*/ 489596 w 774600"/>
                <a:gd name="connsiteY86" fmla="*/ 10 h 259834"/>
                <a:gd name="connsiteX87" fmla="*/ 532670 w 774600"/>
                <a:gd name="connsiteY87" fmla="*/ 8521 h 259834"/>
                <a:gd name="connsiteX88" fmla="*/ 559581 w 774600"/>
                <a:gd name="connsiteY88" fmla="*/ 32660 h 259834"/>
                <a:gd name="connsiteX89" fmla="*/ 568958 w 774600"/>
                <a:gd name="connsiteY89" fmla="*/ 69655 h 259834"/>
                <a:gd name="connsiteX90" fmla="*/ 565145 w 774600"/>
                <a:gd name="connsiteY90" fmla="*/ 93103 h 259834"/>
                <a:gd name="connsiteX91" fmla="*/ 554207 w 774600"/>
                <a:gd name="connsiteY91" fmla="*/ 116376 h 259834"/>
                <a:gd name="connsiteX92" fmla="*/ 537704 w 774600"/>
                <a:gd name="connsiteY92" fmla="*/ 139475 h 259834"/>
                <a:gd name="connsiteX93" fmla="*/ 516697 w 774600"/>
                <a:gd name="connsiteY93" fmla="*/ 162748 h 259834"/>
                <a:gd name="connsiteX94" fmla="*/ 461979 w 774600"/>
                <a:gd name="connsiteY94" fmla="*/ 223015 h 259834"/>
                <a:gd name="connsiteX95" fmla="*/ 578701 w 774600"/>
                <a:gd name="connsiteY95" fmla="*/ 223015 h 259834"/>
                <a:gd name="connsiteX96" fmla="*/ 660505 w 774600"/>
                <a:gd name="connsiteY96" fmla="*/ 110992 h 259834"/>
                <a:gd name="connsiteX97" fmla="*/ 685510 w 774600"/>
                <a:gd name="connsiteY97" fmla="*/ 110992 h 259834"/>
                <a:gd name="connsiteX98" fmla="*/ 709639 w 774600"/>
                <a:gd name="connsiteY98" fmla="*/ 105953 h 259834"/>
                <a:gd name="connsiteX99" fmla="*/ 724065 w 774600"/>
                <a:gd name="connsiteY99" fmla="*/ 92057 h 259834"/>
                <a:gd name="connsiteX100" fmla="*/ 728754 w 774600"/>
                <a:gd name="connsiteY100" fmla="*/ 71736 h 259834"/>
                <a:gd name="connsiteX101" fmla="*/ 724411 w 774600"/>
                <a:gd name="connsiteY101" fmla="*/ 51240 h 259834"/>
                <a:gd name="connsiteX102" fmla="*/ 711565 w 774600"/>
                <a:gd name="connsiteY102" fmla="*/ 37865 h 259834"/>
                <a:gd name="connsiteX103" fmla="*/ 689858 w 774600"/>
                <a:gd name="connsiteY103" fmla="*/ 33176 h 259834"/>
                <a:gd name="connsiteX104" fmla="*/ 669712 w 774600"/>
                <a:gd name="connsiteY104" fmla="*/ 37690 h 259834"/>
                <a:gd name="connsiteX105" fmla="*/ 655626 w 774600"/>
                <a:gd name="connsiteY105" fmla="*/ 50195 h 259834"/>
                <a:gd name="connsiteX106" fmla="*/ 650422 w 774600"/>
                <a:gd name="connsiteY106" fmla="*/ 69300 h 259834"/>
                <a:gd name="connsiteX107" fmla="*/ 608394 w 774600"/>
                <a:gd name="connsiteY107" fmla="*/ 69300 h 259834"/>
                <a:gd name="connsiteX108" fmla="*/ 618992 w 774600"/>
                <a:gd name="connsiteY108" fmla="*/ 33521 h 259834"/>
                <a:gd name="connsiteX109" fmla="*/ 647810 w 774600"/>
                <a:gd name="connsiteY109" fmla="*/ 9032 h 259834"/>
                <a:gd name="connsiteX110" fmla="*/ 689148 w 774600"/>
                <a:gd name="connsiteY110" fmla="*/ 0 h 259834"/>
                <a:gd name="connsiteX111" fmla="*/ 731876 w 774600"/>
                <a:gd name="connsiteY111" fmla="*/ 8161 h 259834"/>
                <a:gd name="connsiteX112" fmla="*/ 760524 w 774600"/>
                <a:gd name="connsiteY112" fmla="*/ 32130 h 259834"/>
                <a:gd name="connsiteX113" fmla="*/ 770777 w 774600"/>
                <a:gd name="connsiteY113" fmla="*/ 71731 h 259834"/>
                <a:gd name="connsiteX114" fmla="*/ 765743 w 774600"/>
                <a:gd name="connsiteY114" fmla="*/ 93614 h 259834"/>
                <a:gd name="connsiteX115" fmla="*/ 750802 w 774600"/>
                <a:gd name="connsiteY115" fmla="*/ 113935 h 259834"/>
                <a:gd name="connsiteX116" fmla="*/ 726137 w 774600"/>
                <a:gd name="connsiteY116" fmla="*/ 128696 h 259834"/>
                <a:gd name="connsiteX117" fmla="*/ 691925 w 774600"/>
                <a:gd name="connsiteY117" fmla="*/ 134256 h 259834"/>
                <a:gd name="connsiteX118" fmla="*/ 660495 w 774600"/>
                <a:gd name="connsiteY118" fmla="*/ 134256 h 259834"/>
                <a:gd name="connsiteX119" fmla="*/ 660495 w 774600"/>
                <a:gd name="connsiteY119" fmla="*/ 110982 h 259834"/>
                <a:gd name="connsiteX120" fmla="*/ 660505 w 774600"/>
                <a:gd name="connsiteY120" fmla="*/ 143643 h 259834"/>
                <a:gd name="connsiteX121" fmla="*/ 660505 w 774600"/>
                <a:gd name="connsiteY121" fmla="*/ 120715 h 259834"/>
                <a:gd name="connsiteX122" fmla="*/ 691935 w 774600"/>
                <a:gd name="connsiteY122" fmla="*/ 120715 h 259834"/>
                <a:gd name="connsiteX123" fmla="*/ 729790 w 774600"/>
                <a:gd name="connsiteY123" fmla="*/ 125924 h 259834"/>
                <a:gd name="connsiteX124" fmla="*/ 755500 w 774600"/>
                <a:gd name="connsiteY124" fmla="*/ 140340 h 259834"/>
                <a:gd name="connsiteX125" fmla="*/ 769911 w 774600"/>
                <a:gd name="connsiteY125" fmla="*/ 161007 h 259834"/>
                <a:gd name="connsiteX126" fmla="*/ 774600 w 774600"/>
                <a:gd name="connsiteY126" fmla="*/ 185671 h 259834"/>
                <a:gd name="connsiteX127" fmla="*/ 768175 w 774600"/>
                <a:gd name="connsiteY127" fmla="*/ 217281 h 259834"/>
                <a:gd name="connsiteX128" fmla="*/ 750296 w 774600"/>
                <a:gd name="connsiteY128" fmla="*/ 240554 h 259834"/>
                <a:gd name="connsiteX129" fmla="*/ 723024 w 774600"/>
                <a:gd name="connsiteY129" fmla="*/ 254971 h 259834"/>
                <a:gd name="connsiteX130" fmla="*/ 689328 w 774600"/>
                <a:gd name="connsiteY130" fmla="*/ 259834 h 259834"/>
                <a:gd name="connsiteX131" fmla="*/ 658068 w 774600"/>
                <a:gd name="connsiteY131" fmla="*/ 255316 h 259834"/>
                <a:gd name="connsiteX132" fmla="*/ 631327 w 774600"/>
                <a:gd name="connsiteY132" fmla="*/ 241945 h 259834"/>
                <a:gd name="connsiteX133" fmla="*/ 612572 w 774600"/>
                <a:gd name="connsiteY133" fmla="*/ 219543 h 259834"/>
                <a:gd name="connsiteX134" fmla="*/ 605787 w 774600"/>
                <a:gd name="connsiteY134" fmla="*/ 188283 h 259834"/>
                <a:gd name="connsiteX135" fmla="*/ 647640 w 774600"/>
                <a:gd name="connsiteY135" fmla="*/ 188283 h 259834"/>
                <a:gd name="connsiteX136" fmla="*/ 652859 w 774600"/>
                <a:gd name="connsiteY136" fmla="*/ 208254 h 259834"/>
                <a:gd name="connsiteX137" fmla="*/ 667786 w 774600"/>
                <a:gd name="connsiteY137" fmla="*/ 221624 h 259834"/>
                <a:gd name="connsiteX138" fmla="*/ 690028 w 774600"/>
                <a:gd name="connsiteY138" fmla="*/ 226488 h 259834"/>
                <a:gd name="connsiteX139" fmla="*/ 712767 w 774600"/>
                <a:gd name="connsiteY139" fmla="*/ 221799 h 259834"/>
                <a:gd name="connsiteX140" fmla="*/ 727363 w 774600"/>
                <a:gd name="connsiteY140" fmla="*/ 207904 h 259834"/>
                <a:gd name="connsiteX141" fmla="*/ 732567 w 774600"/>
                <a:gd name="connsiteY141" fmla="*/ 185671 h 259834"/>
                <a:gd name="connsiteX142" fmla="*/ 726847 w 774600"/>
                <a:gd name="connsiteY142" fmla="*/ 161702 h 259834"/>
                <a:gd name="connsiteX143" fmla="*/ 710515 w 774600"/>
                <a:gd name="connsiteY143" fmla="*/ 148157 h 259834"/>
                <a:gd name="connsiteX144" fmla="*/ 685510 w 774600"/>
                <a:gd name="connsiteY144" fmla="*/ 143643 h 259834"/>
                <a:gd name="connsiteX145" fmla="*/ 660505 w 774600"/>
                <a:gd name="connsiteY145" fmla="*/ 143643 h 2598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</a:cxnLst>
              <a:rect l="l" t="t" r="r" b="b"/>
              <a:pathLst>
                <a:path w="774600" h="259834">
                  <a:moveTo>
                    <a:pt x="174372" y="223015"/>
                  </a:moveTo>
                  <a:lnTo>
                    <a:pt x="174372" y="256362"/>
                  </a:lnTo>
                  <a:lnTo>
                    <a:pt x="4859" y="256362"/>
                  </a:lnTo>
                  <a:lnTo>
                    <a:pt x="4859" y="227704"/>
                  </a:lnTo>
                  <a:lnTo>
                    <a:pt x="87193" y="137913"/>
                  </a:lnTo>
                  <a:cubicBezTo>
                    <a:pt x="96211" y="127724"/>
                    <a:pt x="103336" y="118925"/>
                    <a:pt x="108541" y="111513"/>
                  </a:cubicBezTo>
                  <a:cubicBezTo>
                    <a:pt x="113760" y="104100"/>
                    <a:pt x="117403" y="97446"/>
                    <a:pt x="119499" y="91542"/>
                  </a:cubicBezTo>
                  <a:cubicBezTo>
                    <a:pt x="121697" y="85520"/>
                    <a:pt x="122797" y="79674"/>
                    <a:pt x="122797" y="73998"/>
                  </a:cubicBezTo>
                  <a:cubicBezTo>
                    <a:pt x="122797" y="66012"/>
                    <a:pt x="121284" y="59003"/>
                    <a:pt x="118278" y="52981"/>
                  </a:cubicBezTo>
                  <a:cubicBezTo>
                    <a:pt x="115374" y="46843"/>
                    <a:pt x="111099" y="42038"/>
                    <a:pt x="105413" y="38565"/>
                  </a:cubicBezTo>
                  <a:cubicBezTo>
                    <a:pt x="99747" y="34976"/>
                    <a:pt x="92860" y="33181"/>
                    <a:pt x="84752" y="33181"/>
                  </a:cubicBezTo>
                  <a:cubicBezTo>
                    <a:pt x="75374" y="33181"/>
                    <a:pt x="67510" y="35209"/>
                    <a:pt x="61138" y="39261"/>
                  </a:cubicBezTo>
                  <a:cubicBezTo>
                    <a:pt x="54766" y="43312"/>
                    <a:pt x="49956" y="48930"/>
                    <a:pt x="46712" y="56109"/>
                  </a:cubicBezTo>
                  <a:cubicBezTo>
                    <a:pt x="43482" y="63171"/>
                    <a:pt x="41853" y="71279"/>
                    <a:pt x="41853" y="80423"/>
                  </a:cubicBezTo>
                  <a:lnTo>
                    <a:pt x="0" y="80423"/>
                  </a:lnTo>
                  <a:cubicBezTo>
                    <a:pt x="0" y="65720"/>
                    <a:pt x="3366" y="52286"/>
                    <a:pt x="10083" y="40131"/>
                  </a:cubicBezTo>
                  <a:cubicBezTo>
                    <a:pt x="16800" y="27860"/>
                    <a:pt x="26517" y="18132"/>
                    <a:pt x="39261" y="10953"/>
                  </a:cubicBezTo>
                  <a:cubicBezTo>
                    <a:pt x="51989" y="3658"/>
                    <a:pt x="67325" y="10"/>
                    <a:pt x="85272" y="10"/>
                  </a:cubicBezTo>
                  <a:cubicBezTo>
                    <a:pt x="102189" y="10"/>
                    <a:pt x="116546" y="2845"/>
                    <a:pt x="128346" y="8521"/>
                  </a:cubicBezTo>
                  <a:cubicBezTo>
                    <a:pt x="140160" y="14193"/>
                    <a:pt x="149129" y="22242"/>
                    <a:pt x="155277" y="32660"/>
                  </a:cubicBezTo>
                  <a:cubicBezTo>
                    <a:pt x="161527" y="43079"/>
                    <a:pt x="164654" y="55413"/>
                    <a:pt x="164654" y="69655"/>
                  </a:cubicBezTo>
                  <a:cubicBezTo>
                    <a:pt x="164654" y="77529"/>
                    <a:pt x="163385" y="85345"/>
                    <a:pt x="160827" y="93103"/>
                  </a:cubicBezTo>
                  <a:cubicBezTo>
                    <a:pt x="158283" y="100861"/>
                    <a:pt x="154645" y="108619"/>
                    <a:pt x="149888" y="116376"/>
                  </a:cubicBezTo>
                  <a:cubicBezTo>
                    <a:pt x="145267" y="124017"/>
                    <a:pt x="139757" y="131717"/>
                    <a:pt x="133400" y="139475"/>
                  </a:cubicBezTo>
                  <a:cubicBezTo>
                    <a:pt x="127028" y="147116"/>
                    <a:pt x="120019" y="154873"/>
                    <a:pt x="112378" y="162748"/>
                  </a:cubicBezTo>
                  <a:lnTo>
                    <a:pt x="57675" y="223015"/>
                  </a:lnTo>
                  <a:lnTo>
                    <a:pt x="174377" y="223015"/>
                  </a:lnTo>
                  <a:close/>
                  <a:moveTo>
                    <a:pt x="371848" y="108735"/>
                  </a:moveTo>
                  <a:lnTo>
                    <a:pt x="371848" y="150068"/>
                  </a:lnTo>
                  <a:cubicBezTo>
                    <a:pt x="371848" y="169869"/>
                    <a:pt x="369873" y="186770"/>
                    <a:pt x="365938" y="200783"/>
                  </a:cubicBezTo>
                  <a:cubicBezTo>
                    <a:pt x="362125" y="214674"/>
                    <a:pt x="356561" y="225963"/>
                    <a:pt x="349260" y="234650"/>
                  </a:cubicBezTo>
                  <a:cubicBezTo>
                    <a:pt x="341960" y="243332"/>
                    <a:pt x="333219" y="249703"/>
                    <a:pt x="323035" y="253755"/>
                  </a:cubicBezTo>
                  <a:cubicBezTo>
                    <a:pt x="312971" y="257806"/>
                    <a:pt x="301668" y="259834"/>
                    <a:pt x="289168" y="259834"/>
                  </a:cubicBezTo>
                  <a:cubicBezTo>
                    <a:pt x="279221" y="259834"/>
                    <a:pt x="269951" y="258560"/>
                    <a:pt x="261381" y="256011"/>
                  </a:cubicBezTo>
                  <a:cubicBezTo>
                    <a:pt x="252933" y="253463"/>
                    <a:pt x="245287" y="249470"/>
                    <a:pt x="238468" y="244027"/>
                  </a:cubicBezTo>
                  <a:cubicBezTo>
                    <a:pt x="231634" y="238584"/>
                    <a:pt x="225773" y="231581"/>
                    <a:pt x="220914" y="223011"/>
                  </a:cubicBezTo>
                  <a:cubicBezTo>
                    <a:pt x="216172" y="214329"/>
                    <a:pt x="212466" y="203964"/>
                    <a:pt x="209800" y="191921"/>
                  </a:cubicBezTo>
                  <a:cubicBezTo>
                    <a:pt x="207256" y="179878"/>
                    <a:pt x="205972" y="165929"/>
                    <a:pt x="205972" y="150063"/>
                  </a:cubicBezTo>
                  <a:lnTo>
                    <a:pt x="205972" y="108730"/>
                  </a:lnTo>
                  <a:cubicBezTo>
                    <a:pt x="205972" y="88813"/>
                    <a:pt x="207947" y="72028"/>
                    <a:pt x="211882" y="58366"/>
                  </a:cubicBezTo>
                  <a:cubicBezTo>
                    <a:pt x="215831" y="44587"/>
                    <a:pt x="221430" y="33414"/>
                    <a:pt x="228730" y="24844"/>
                  </a:cubicBezTo>
                  <a:cubicBezTo>
                    <a:pt x="236031" y="16162"/>
                    <a:pt x="244722" y="9849"/>
                    <a:pt x="254786" y="5914"/>
                  </a:cubicBezTo>
                  <a:cubicBezTo>
                    <a:pt x="264970" y="1980"/>
                    <a:pt x="276323" y="10"/>
                    <a:pt x="288827" y="10"/>
                  </a:cubicBezTo>
                  <a:cubicBezTo>
                    <a:pt x="298910" y="10"/>
                    <a:pt x="308166" y="1284"/>
                    <a:pt x="316614" y="3833"/>
                  </a:cubicBezTo>
                  <a:cubicBezTo>
                    <a:pt x="325184" y="6265"/>
                    <a:pt x="332825" y="10141"/>
                    <a:pt x="339542" y="15467"/>
                  </a:cubicBezTo>
                  <a:cubicBezTo>
                    <a:pt x="346376" y="20793"/>
                    <a:pt x="352164" y="27743"/>
                    <a:pt x="356906" y="36308"/>
                  </a:cubicBezTo>
                  <a:cubicBezTo>
                    <a:pt x="361765" y="44762"/>
                    <a:pt x="365476" y="55010"/>
                    <a:pt x="368020" y="67048"/>
                  </a:cubicBezTo>
                  <a:cubicBezTo>
                    <a:pt x="370578" y="78974"/>
                    <a:pt x="371848" y="92870"/>
                    <a:pt x="371848" y="108730"/>
                  </a:cubicBezTo>
                  <a:close/>
                  <a:moveTo>
                    <a:pt x="329995" y="155978"/>
                  </a:moveTo>
                  <a:lnTo>
                    <a:pt x="329995" y="102485"/>
                  </a:lnTo>
                  <a:cubicBezTo>
                    <a:pt x="329995" y="92412"/>
                    <a:pt x="329411" y="83555"/>
                    <a:pt x="328258" y="75914"/>
                  </a:cubicBezTo>
                  <a:cubicBezTo>
                    <a:pt x="327091" y="68157"/>
                    <a:pt x="325355" y="61615"/>
                    <a:pt x="323039" y="56289"/>
                  </a:cubicBezTo>
                  <a:cubicBezTo>
                    <a:pt x="320841" y="50846"/>
                    <a:pt x="318059" y="46445"/>
                    <a:pt x="314708" y="43088"/>
                  </a:cubicBezTo>
                  <a:cubicBezTo>
                    <a:pt x="311342" y="39616"/>
                    <a:pt x="307529" y="37125"/>
                    <a:pt x="303234" y="35623"/>
                  </a:cubicBezTo>
                  <a:cubicBezTo>
                    <a:pt x="298959" y="34003"/>
                    <a:pt x="294148" y="33191"/>
                    <a:pt x="288823" y="33191"/>
                  </a:cubicBezTo>
                  <a:cubicBezTo>
                    <a:pt x="282349" y="33191"/>
                    <a:pt x="276542" y="34465"/>
                    <a:pt x="271459" y="37014"/>
                  </a:cubicBezTo>
                  <a:cubicBezTo>
                    <a:pt x="266357" y="39445"/>
                    <a:pt x="262081" y="43380"/>
                    <a:pt x="258613" y="48823"/>
                  </a:cubicBezTo>
                  <a:cubicBezTo>
                    <a:pt x="255126" y="54266"/>
                    <a:pt x="252466" y="61445"/>
                    <a:pt x="250608" y="70360"/>
                  </a:cubicBezTo>
                  <a:cubicBezTo>
                    <a:pt x="248871" y="79159"/>
                    <a:pt x="248015" y="89869"/>
                    <a:pt x="248015" y="102490"/>
                  </a:cubicBezTo>
                  <a:lnTo>
                    <a:pt x="248015" y="155982"/>
                  </a:lnTo>
                  <a:cubicBezTo>
                    <a:pt x="248015" y="166172"/>
                    <a:pt x="248584" y="175146"/>
                    <a:pt x="249752" y="182904"/>
                  </a:cubicBezTo>
                  <a:cubicBezTo>
                    <a:pt x="250904" y="190661"/>
                    <a:pt x="252636" y="197320"/>
                    <a:pt x="254956" y="202874"/>
                  </a:cubicBezTo>
                  <a:cubicBezTo>
                    <a:pt x="257276" y="208317"/>
                    <a:pt x="260058" y="212831"/>
                    <a:pt x="263302" y="216420"/>
                  </a:cubicBezTo>
                  <a:cubicBezTo>
                    <a:pt x="266653" y="219893"/>
                    <a:pt x="270481" y="222441"/>
                    <a:pt x="274756" y="224061"/>
                  </a:cubicBezTo>
                  <a:cubicBezTo>
                    <a:pt x="279153" y="225681"/>
                    <a:pt x="283964" y="226493"/>
                    <a:pt x="289168" y="226493"/>
                  </a:cubicBezTo>
                  <a:cubicBezTo>
                    <a:pt x="295778" y="226493"/>
                    <a:pt x="301619" y="225219"/>
                    <a:pt x="306721" y="222670"/>
                  </a:cubicBezTo>
                  <a:cubicBezTo>
                    <a:pt x="311804" y="220121"/>
                    <a:pt x="316099" y="216070"/>
                    <a:pt x="319567" y="210511"/>
                  </a:cubicBezTo>
                  <a:cubicBezTo>
                    <a:pt x="323035" y="204839"/>
                    <a:pt x="325646" y="197485"/>
                    <a:pt x="327383" y="188453"/>
                  </a:cubicBezTo>
                  <a:cubicBezTo>
                    <a:pt x="329119" y="179421"/>
                    <a:pt x="329995" y="168594"/>
                    <a:pt x="329995" y="155978"/>
                  </a:cubicBezTo>
                  <a:close/>
                  <a:moveTo>
                    <a:pt x="578701" y="223015"/>
                  </a:moveTo>
                  <a:lnTo>
                    <a:pt x="578701" y="256362"/>
                  </a:lnTo>
                  <a:lnTo>
                    <a:pt x="409187" y="256362"/>
                  </a:lnTo>
                  <a:lnTo>
                    <a:pt x="409187" y="227704"/>
                  </a:lnTo>
                  <a:lnTo>
                    <a:pt x="491507" y="137913"/>
                  </a:lnTo>
                  <a:cubicBezTo>
                    <a:pt x="500539" y="127724"/>
                    <a:pt x="507670" y="118925"/>
                    <a:pt x="512874" y="111513"/>
                  </a:cubicBezTo>
                  <a:cubicBezTo>
                    <a:pt x="518078" y="104100"/>
                    <a:pt x="521736" y="97446"/>
                    <a:pt x="523813" y="91542"/>
                  </a:cubicBezTo>
                  <a:cubicBezTo>
                    <a:pt x="526011" y="85520"/>
                    <a:pt x="527110" y="79674"/>
                    <a:pt x="527110" y="73998"/>
                  </a:cubicBezTo>
                  <a:cubicBezTo>
                    <a:pt x="527110" y="66012"/>
                    <a:pt x="525617" y="59003"/>
                    <a:pt x="522592" y="52981"/>
                  </a:cubicBezTo>
                  <a:cubicBezTo>
                    <a:pt x="519708" y="46843"/>
                    <a:pt x="515413" y="42038"/>
                    <a:pt x="509746" y="38565"/>
                  </a:cubicBezTo>
                  <a:cubicBezTo>
                    <a:pt x="504080" y="34976"/>
                    <a:pt x="497193" y="33181"/>
                    <a:pt x="489085" y="33181"/>
                  </a:cubicBezTo>
                  <a:cubicBezTo>
                    <a:pt x="479708" y="33181"/>
                    <a:pt x="471823" y="35209"/>
                    <a:pt x="465452" y="39261"/>
                  </a:cubicBezTo>
                  <a:cubicBezTo>
                    <a:pt x="459095" y="43312"/>
                    <a:pt x="454289" y="48930"/>
                    <a:pt x="451040" y="56109"/>
                  </a:cubicBezTo>
                  <a:cubicBezTo>
                    <a:pt x="447796" y="63171"/>
                    <a:pt x="446181" y="71279"/>
                    <a:pt x="446181" y="80423"/>
                  </a:cubicBezTo>
                  <a:lnTo>
                    <a:pt x="404328" y="80423"/>
                  </a:lnTo>
                  <a:cubicBezTo>
                    <a:pt x="404328" y="65720"/>
                    <a:pt x="407679" y="52286"/>
                    <a:pt x="414391" y="40131"/>
                  </a:cubicBezTo>
                  <a:cubicBezTo>
                    <a:pt x="421108" y="27860"/>
                    <a:pt x="430846" y="18132"/>
                    <a:pt x="443569" y="10953"/>
                  </a:cubicBezTo>
                  <a:cubicBezTo>
                    <a:pt x="456313" y="3658"/>
                    <a:pt x="471648" y="10"/>
                    <a:pt x="489596" y="10"/>
                  </a:cubicBezTo>
                  <a:cubicBezTo>
                    <a:pt x="506497" y="10"/>
                    <a:pt x="520855" y="2845"/>
                    <a:pt x="532670" y="8521"/>
                  </a:cubicBezTo>
                  <a:cubicBezTo>
                    <a:pt x="544484" y="14193"/>
                    <a:pt x="553453" y="22242"/>
                    <a:pt x="559581" y="32660"/>
                  </a:cubicBezTo>
                  <a:cubicBezTo>
                    <a:pt x="565831" y="43079"/>
                    <a:pt x="568958" y="55413"/>
                    <a:pt x="568958" y="69655"/>
                  </a:cubicBezTo>
                  <a:cubicBezTo>
                    <a:pt x="568958" y="77529"/>
                    <a:pt x="567689" y="85345"/>
                    <a:pt x="565145" y="93103"/>
                  </a:cubicBezTo>
                  <a:cubicBezTo>
                    <a:pt x="562601" y="100861"/>
                    <a:pt x="558944" y="108619"/>
                    <a:pt x="554207" y="116376"/>
                  </a:cubicBezTo>
                  <a:cubicBezTo>
                    <a:pt x="549571" y="124017"/>
                    <a:pt x="544075" y="131717"/>
                    <a:pt x="537704" y="139475"/>
                  </a:cubicBezTo>
                  <a:cubicBezTo>
                    <a:pt x="531332" y="147116"/>
                    <a:pt x="524323" y="154873"/>
                    <a:pt x="516697" y="162748"/>
                  </a:cubicBezTo>
                  <a:lnTo>
                    <a:pt x="461979" y="223015"/>
                  </a:lnTo>
                  <a:lnTo>
                    <a:pt x="578701" y="223015"/>
                  </a:lnTo>
                  <a:close/>
                  <a:moveTo>
                    <a:pt x="660505" y="110992"/>
                  </a:moveTo>
                  <a:lnTo>
                    <a:pt x="685510" y="110992"/>
                  </a:lnTo>
                  <a:cubicBezTo>
                    <a:pt x="695233" y="110992"/>
                    <a:pt x="703287" y="109314"/>
                    <a:pt x="709639" y="105953"/>
                  </a:cubicBezTo>
                  <a:cubicBezTo>
                    <a:pt x="716132" y="102597"/>
                    <a:pt x="720943" y="97962"/>
                    <a:pt x="724065" y="92057"/>
                  </a:cubicBezTo>
                  <a:cubicBezTo>
                    <a:pt x="727188" y="86153"/>
                    <a:pt x="728754" y="79377"/>
                    <a:pt x="728754" y="71736"/>
                  </a:cubicBezTo>
                  <a:cubicBezTo>
                    <a:pt x="728754" y="64095"/>
                    <a:pt x="727295" y="56916"/>
                    <a:pt x="724411" y="51240"/>
                  </a:cubicBezTo>
                  <a:cubicBezTo>
                    <a:pt x="721628" y="45452"/>
                    <a:pt x="717353" y="40992"/>
                    <a:pt x="711565" y="37865"/>
                  </a:cubicBezTo>
                  <a:cubicBezTo>
                    <a:pt x="705879" y="34737"/>
                    <a:pt x="698652" y="33176"/>
                    <a:pt x="689858" y="33176"/>
                  </a:cubicBezTo>
                  <a:cubicBezTo>
                    <a:pt x="682441" y="33176"/>
                    <a:pt x="675724" y="34684"/>
                    <a:pt x="669712" y="37690"/>
                  </a:cubicBezTo>
                  <a:cubicBezTo>
                    <a:pt x="663803" y="40584"/>
                    <a:pt x="659114" y="44752"/>
                    <a:pt x="655626" y="50195"/>
                  </a:cubicBezTo>
                  <a:cubicBezTo>
                    <a:pt x="652159" y="55520"/>
                    <a:pt x="650422" y="61887"/>
                    <a:pt x="650422" y="69300"/>
                  </a:cubicBezTo>
                  <a:lnTo>
                    <a:pt x="608394" y="69300"/>
                  </a:lnTo>
                  <a:cubicBezTo>
                    <a:pt x="608394" y="55871"/>
                    <a:pt x="611916" y="43945"/>
                    <a:pt x="618992" y="33521"/>
                  </a:cubicBezTo>
                  <a:cubicBezTo>
                    <a:pt x="626050" y="23103"/>
                    <a:pt x="635670" y="14937"/>
                    <a:pt x="647810" y="9032"/>
                  </a:cubicBezTo>
                  <a:cubicBezTo>
                    <a:pt x="660092" y="3011"/>
                    <a:pt x="673866" y="0"/>
                    <a:pt x="689148" y="0"/>
                  </a:cubicBezTo>
                  <a:cubicBezTo>
                    <a:pt x="705480" y="0"/>
                    <a:pt x="719717" y="2724"/>
                    <a:pt x="731876" y="8161"/>
                  </a:cubicBezTo>
                  <a:cubicBezTo>
                    <a:pt x="744138" y="13487"/>
                    <a:pt x="753705" y="21479"/>
                    <a:pt x="760524" y="32130"/>
                  </a:cubicBezTo>
                  <a:cubicBezTo>
                    <a:pt x="767358" y="42782"/>
                    <a:pt x="770777" y="55982"/>
                    <a:pt x="770777" y="71731"/>
                  </a:cubicBezTo>
                  <a:cubicBezTo>
                    <a:pt x="770777" y="78910"/>
                    <a:pt x="769094" y="86206"/>
                    <a:pt x="765743" y="93614"/>
                  </a:cubicBezTo>
                  <a:cubicBezTo>
                    <a:pt x="762378" y="101026"/>
                    <a:pt x="757397" y="107797"/>
                    <a:pt x="750802" y="113935"/>
                  </a:cubicBezTo>
                  <a:cubicBezTo>
                    <a:pt x="744206" y="119956"/>
                    <a:pt x="735982" y="124873"/>
                    <a:pt x="726137" y="128696"/>
                  </a:cubicBezTo>
                  <a:cubicBezTo>
                    <a:pt x="716298" y="132403"/>
                    <a:pt x="704892" y="134256"/>
                    <a:pt x="691925" y="134256"/>
                  </a:cubicBezTo>
                  <a:lnTo>
                    <a:pt x="660495" y="134256"/>
                  </a:lnTo>
                  <a:lnTo>
                    <a:pt x="660495" y="110982"/>
                  </a:lnTo>
                  <a:close/>
                  <a:moveTo>
                    <a:pt x="660505" y="143643"/>
                  </a:moveTo>
                  <a:lnTo>
                    <a:pt x="660505" y="120715"/>
                  </a:lnTo>
                  <a:lnTo>
                    <a:pt x="691935" y="120715"/>
                  </a:lnTo>
                  <a:cubicBezTo>
                    <a:pt x="706755" y="120715"/>
                    <a:pt x="719381" y="122451"/>
                    <a:pt x="729790" y="125924"/>
                  </a:cubicBezTo>
                  <a:cubicBezTo>
                    <a:pt x="740335" y="129397"/>
                    <a:pt x="748905" y="134202"/>
                    <a:pt x="755500" y="140340"/>
                  </a:cubicBezTo>
                  <a:cubicBezTo>
                    <a:pt x="762095" y="146362"/>
                    <a:pt x="766906" y="153249"/>
                    <a:pt x="769911" y="161007"/>
                  </a:cubicBezTo>
                  <a:cubicBezTo>
                    <a:pt x="773039" y="168764"/>
                    <a:pt x="774600" y="176984"/>
                    <a:pt x="774600" y="185671"/>
                  </a:cubicBezTo>
                  <a:cubicBezTo>
                    <a:pt x="774600" y="197480"/>
                    <a:pt x="772470" y="208015"/>
                    <a:pt x="768175" y="217281"/>
                  </a:cubicBezTo>
                  <a:cubicBezTo>
                    <a:pt x="764016" y="226430"/>
                    <a:pt x="758044" y="234188"/>
                    <a:pt x="750296" y="240554"/>
                  </a:cubicBezTo>
                  <a:cubicBezTo>
                    <a:pt x="742533" y="246921"/>
                    <a:pt x="733447" y="251726"/>
                    <a:pt x="723024" y="254971"/>
                  </a:cubicBezTo>
                  <a:cubicBezTo>
                    <a:pt x="712718" y="258215"/>
                    <a:pt x="701487" y="259834"/>
                    <a:pt x="689328" y="259834"/>
                  </a:cubicBezTo>
                  <a:cubicBezTo>
                    <a:pt x="678457" y="259834"/>
                    <a:pt x="668029" y="258327"/>
                    <a:pt x="658068" y="255316"/>
                  </a:cubicBezTo>
                  <a:cubicBezTo>
                    <a:pt x="648107" y="252305"/>
                    <a:pt x="639192" y="247850"/>
                    <a:pt x="631327" y="241945"/>
                  </a:cubicBezTo>
                  <a:cubicBezTo>
                    <a:pt x="623443" y="235924"/>
                    <a:pt x="617193" y="228458"/>
                    <a:pt x="612572" y="219543"/>
                  </a:cubicBezTo>
                  <a:cubicBezTo>
                    <a:pt x="608054" y="210511"/>
                    <a:pt x="605787" y="200092"/>
                    <a:pt x="605787" y="188283"/>
                  </a:cubicBezTo>
                  <a:lnTo>
                    <a:pt x="647640" y="188283"/>
                  </a:lnTo>
                  <a:cubicBezTo>
                    <a:pt x="647640" y="195807"/>
                    <a:pt x="649377" y="202466"/>
                    <a:pt x="652859" y="208254"/>
                  </a:cubicBezTo>
                  <a:cubicBezTo>
                    <a:pt x="656449" y="213925"/>
                    <a:pt x="661429" y="218385"/>
                    <a:pt x="667786" y="221624"/>
                  </a:cubicBezTo>
                  <a:cubicBezTo>
                    <a:pt x="674279" y="224869"/>
                    <a:pt x="681682" y="226488"/>
                    <a:pt x="690028" y="226488"/>
                  </a:cubicBezTo>
                  <a:cubicBezTo>
                    <a:pt x="698822" y="226488"/>
                    <a:pt x="706415" y="224927"/>
                    <a:pt x="712767" y="221799"/>
                  </a:cubicBezTo>
                  <a:cubicBezTo>
                    <a:pt x="719138" y="218672"/>
                    <a:pt x="723997" y="214042"/>
                    <a:pt x="727363" y="207904"/>
                  </a:cubicBezTo>
                  <a:cubicBezTo>
                    <a:pt x="730831" y="201765"/>
                    <a:pt x="732567" y="194358"/>
                    <a:pt x="732567" y="185671"/>
                  </a:cubicBezTo>
                  <a:cubicBezTo>
                    <a:pt x="732567" y="175827"/>
                    <a:pt x="730660" y="167840"/>
                    <a:pt x="726847" y="161702"/>
                  </a:cubicBezTo>
                  <a:cubicBezTo>
                    <a:pt x="723019" y="155564"/>
                    <a:pt x="717572" y="151050"/>
                    <a:pt x="710515" y="148157"/>
                  </a:cubicBezTo>
                  <a:cubicBezTo>
                    <a:pt x="703457" y="145146"/>
                    <a:pt x="695111" y="143643"/>
                    <a:pt x="685510" y="143643"/>
                  </a:cubicBezTo>
                  <a:lnTo>
                    <a:pt x="660505" y="143643"/>
                  </a:lnTo>
                  <a:close/>
                </a:path>
              </a:pathLst>
            </a:custGeom>
            <a:solidFill>
              <a:srgbClr val="EE3431"/>
            </a:solidFill>
            <a:ln w="4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8" name="Полилиния: фигура 47">
              <a:extLst>
                <a:ext uri="{FF2B5EF4-FFF2-40B4-BE49-F238E27FC236}">
                  <a16:creationId xmlns:a16="http://schemas.microsoft.com/office/drawing/2014/main" id="{C3ADAD60-17B9-4A06-AE0E-BCB35AB4E7E8}"/>
                </a:ext>
              </a:extLst>
            </p:cNvPr>
            <p:cNvSpPr/>
            <p:nvPr/>
          </p:nvSpPr>
          <p:spPr>
            <a:xfrm>
              <a:off x="8902858" y="5870060"/>
              <a:ext cx="774600" cy="259829"/>
            </a:xfrm>
            <a:custGeom>
              <a:avLst/>
              <a:gdLst>
                <a:gd name="connsiteX0" fmla="*/ 174372 w 774600"/>
                <a:gd name="connsiteY0" fmla="*/ 223011 h 259829"/>
                <a:gd name="connsiteX1" fmla="*/ 174372 w 774600"/>
                <a:gd name="connsiteY1" fmla="*/ 256357 h 259829"/>
                <a:gd name="connsiteX2" fmla="*/ 4859 w 774600"/>
                <a:gd name="connsiteY2" fmla="*/ 256357 h 259829"/>
                <a:gd name="connsiteX3" fmla="*/ 4859 w 774600"/>
                <a:gd name="connsiteY3" fmla="*/ 227699 h 259829"/>
                <a:gd name="connsiteX4" fmla="*/ 87193 w 774600"/>
                <a:gd name="connsiteY4" fmla="*/ 137908 h 259829"/>
                <a:gd name="connsiteX5" fmla="*/ 108541 w 774600"/>
                <a:gd name="connsiteY5" fmla="*/ 111508 h 259829"/>
                <a:gd name="connsiteX6" fmla="*/ 119499 w 774600"/>
                <a:gd name="connsiteY6" fmla="*/ 91537 h 259829"/>
                <a:gd name="connsiteX7" fmla="*/ 122797 w 774600"/>
                <a:gd name="connsiteY7" fmla="*/ 73993 h 259829"/>
                <a:gd name="connsiteX8" fmla="*/ 118278 w 774600"/>
                <a:gd name="connsiteY8" fmla="*/ 52977 h 259829"/>
                <a:gd name="connsiteX9" fmla="*/ 105413 w 774600"/>
                <a:gd name="connsiteY9" fmla="*/ 38560 h 259829"/>
                <a:gd name="connsiteX10" fmla="*/ 84752 w 774600"/>
                <a:gd name="connsiteY10" fmla="*/ 33176 h 259829"/>
                <a:gd name="connsiteX11" fmla="*/ 61138 w 774600"/>
                <a:gd name="connsiteY11" fmla="*/ 39256 h 259829"/>
                <a:gd name="connsiteX12" fmla="*/ 46712 w 774600"/>
                <a:gd name="connsiteY12" fmla="*/ 56104 h 259829"/>
                <a:gd name="connsiteX13" fmla="*/ 41853 w 774600"/>
                <a:gd name="connsiteY13" fmla="*/ 80418 h 259829"/>
                <a:gd name="connsiteX14" fmla="*/ 0 w 774600"/>
                <a:gd name="connsiteY14" fmla="*/ 80418 h 259829"/>
                <a:gd name="connsiteX15" fmla="*/ 10083 w 774600"/>
                <a:gd name="connsiteY15" fmla="*/ 40126 h 259829"/>
                <a:gd name="connsiteX16" fmla="*/ 39261 w 774600"/>
                <a:gd name="connsiteY16" fmla="*/ 10948 h 259829"/>
                <a:gd name="connsiteX17" fmla="*/ 85272 w 774600"/>
                <a:gd name="connsiteY17" fmla="*/ 5 h 259829"/>
                <a:gd name="connsiteX18" fmla="*/ 128346 w 774600"/>
                <a:gd name="connsiteY18" fmla="*/ 8517 h 259829"/>
                <a:gd name="connsiteX19" fmla="*/ 155277 w 774600"/>
                <a:gd name="connsiteY19" fmla="*/ 32660 h 259829"/>
                <a:gd name="connsiteX20" fmla="*/ 164654 w 774600"/>
                <a:gd name="connsiteY20" fmla="*/ 69655 h 259829"/>
                <a:gd name="connsiteX21" fmla="*/ 160827 w 774600"/>
                <a:gd name="connsiteY21" fmla="*/ 93103 h 259829"/>
                <a:gd name="connsiteX22" fmla="*/ 149888 w 774600"/>
                <a:gd name="connsiteY22" fmla="*/ 116376 h 259829"/>
                <a:gd name="connsiteX23" fmla="*/ 133400 w 774600"/>
                <a:gd name="connsiteY23" fmla="*/ 139475 h 259829"/>
                <a:gd name="connsiteX24" fmla="*/ 112378 w 774600"/>
                <a:gd name="connsiteY24" fmla="*/ 162748 h 259829"/>
                <a:gd name="connsiteX25" fmla="*/ 57675 w 774600"/>
                <a:gd name="connsiteY25" fmla="*/ 223015 h 259829"/>
                <a:gd name="connsiteX26" fmla="*/ 174377 w 774600"/>
                <a:gd name="connsiteY26" fmla="*/ 223015 h 259829"/>
                <a:gd name="connsiteX27" fmla="*/ 371848 w 774600"/>
                <a:gd name="connsiteY27" fmla="*/ 108730 h 259829"/>
                <a:gd name="connsiteX28" fmla="*/ 371848 w 774600"/>
                <a:gd name="connsiteY28" fmla="*/ 150063 h 259829"/>
                <a:gd name="connsiteX29" fmla="*/ 365938 w 774600"/>
                <a:gd name="connsiteY29" fmla="*/ 200778 h 259829"/>
                <a:gd name="connsiteX30" fmla="*/ 349260 w 774600"/>
                <a:gd name="connsiteY30" fmla="*/ 234645 h 259829"/>
                <a:gd name="connsiteX31" fmla="*/ 323035 w 774600"/>
                <a:gd name="connsiteY31" fmla="*/ 253750 h 259829"/>
                <a:gd name="connsiteX32" fmla="*/ 289168 w 774600"/>
                <a:gd name="connsiteY32" fmla="*/ 259830 h 259829"/>
                <a:gd name="connsiteX33" fmla="*/ 261381 w 774600"/>
                <a:gd name="connsiteY33" fmla="*/ 256011 h 259829"/>
                <a:gd name="connsiteX34" fmla="*/ 238468 w 774600"/>
                <a:gd name="connsiteY34" fmla="*/ 244027 h 259829"/>
                <a:gd name="connsiteX35" fmla="*/ 220914 w 774600"/>
                <a:gd name="connsiteY35" fmla="*/ 223011 h 259829"/>
                <a:gd name="connsiteX36" fmla="*/ 209800 w 774600"/>
                <a:gd name="connsiteY36" fmla="*/ 191921 h 259829"/>
                <a:gd name="connsiteX37" fmla="*/ 205972 w 774600"/>
                <a:gd name="connsiteY37" fmla="*/ 150063 h 259829"/>
                <a:gd name="connsiteX38" fmla="*/ 205972 w 774600"/>
                <a:gd name="connsiteY38" fmla="*/ 108730 h 259829"/>
                <a:gd name="connsiteX39" fmla="*/ 211882 w 774600"/>
                <a:gd name="connsiteY39" fmla="*/ 58366 h 259829"/>
                <a:gd name="connsiteX40" fmla="*/ 228730 w 774600"/>
                <a:gd name="connsiteY40" fmla="*/ 24844 h 259829"/>
                <a:gd name="connsiteX41" fmla="*/ 254786 w 774600"/>
                <a:gd name="connsiteY41" fmla="*/ 5914 h 259829"/>
                <a:gd name="connsiteX42" fmla="*/ 288827 w 774600"/>
                <a:gd name="connsiteY42" fmla="*/ 10 h 259829"/>
                <a:gd name="connsiteX43" fmla="*/ 316614 w 774600"/>
                <a:gd name="connsiteY43" fmla="*/ 3833 h 259829"/>
                <a:gd name="connsiteX44" fmla="*/ 339542 w 774600"/>
                <a:gd name="connsiteY44" fmla="*/ 15467 h 259829"/>
                <a:gd name="connsiteX45" fmla="*/ 356906 w 774600"/>
                <a:gd name="connsiteY45" fmla="*/ 36308 h 259829"/>
                <a:gd name="connsiteX46" fmla="*/ 368020 w 774600"/>
                <a:gd name="connsiteY46" fmla="*/ 67048 h 259829"/>
                <a:gd name="connsiteX47" fmla="*/ 371848 w 774600"/>
                <a:gd name="connsiteY47" fmla="*/ 108730 h 259829"/>
                <a:gd name="connsiteX48" fmla="*/ 329995 w 774600"/>
                <a:gd name="connsiteY48" fmla="*/ 155968 h 259829"/>
                <a:gd name="connsiteX49" fmla="*/ 329995 w 774600"/>
                <a:gd name="connsiteY49" fmla="*/ 102476 h 259829"/>
                <a:gd name="connsiteX50" fmla="*/ 328258 w 774600"/>
                <a:gd name="connsiteY50" fmla="*/ 75905 h 259829"/>
                <a:gd name="connsiteX51" fmla="*/ 323039 w 774600"/>
                <a:gd name="connsiteY51" fmla="*/ 56279 h 259829"/>
                <a:gd name="connsiteX52" fmla="*/ 314708 w 774600"/>
                <a:gd name="connsiteY52" fmla="*/ 43079 h 259829"/>
                <a:gd name="connsiteX53" fmla="*/ 303234 w 774600"/>
                <a:gd name="connsiteY53" fmla="*/ 35613 h 259829"/>
                <a:gd name="connsiteX54" fmla="*/ 288823 w 774600"/>
                <a:gd name="connsiteY54" fmla="*/ 33181 h 259829"/>
                <a:gd name="connsiteX55" fmla="*/ 271459 w 774600"/>
                <a:gd name="connsiteY55" fmla="*/ 37004 h 259829"/>
                <a:gd name="connsiteX56" fmla="*/ 258613 w 774600"/>
                <a:gd name="connsiteY56" fmla="*/ 48813 h 259829"/>
                <a:gd name="connsiteX57" fmla="*/ 250608 w 774600"/>
                <a:gd name="connsiteY57" fmla="*/ 70350 h 259829"/>
                <a:gd name="connsiteX58" fmla="*/ 248015 w 774600"/>
                <a:gd name="connsiteY58" fmla="*/ 102480 h 259829"/>
                <a:gd name="connsiteX59" fmla="*/ 248015 w 774600"/>
                <a:gd name="connsiteY59" fmla="*/ 155973 h 259829"/>
                <a:gd name="connsiteX60" fmla="*/ 249752 w 774600"/>
                <a:gd name="connsiteY60" fmla="*/ 182894 h 259829"/>
                <a:gd name="connsiteX61" fmla="*/ 254956 w 774600"/>
                <a:gd name="connsiteY61" fmla="*/ 202865 h 259829"/>
                <a:gd name="connsiteX62" fmla="*/ 263302 w 774600"/>
                <a:gd name="connsiteY62" fmla="*/ 216410 h 259829"/>
                <a:gd name="connsiteX63" fmla="*/ 274756 w 774600"/>
                <a:gd name="connsiteY63" fmla="*/ 224051 h 259829"/>
                <a:gd name="connsiteX64" fmla="*/ 289168 w 774600"/>
                <a:gd name="connsiteY64" fmla="*/ 226483 h 259829"/>
                <a:gd name="connsiteX65" fmla="*/ 306721 w 774600"/>
                <a:gd name="connsiteY65" fmla="*/ 222660 h 259829"/>
                <a:gd name="connsiteX66" fmla="*/ 319567 w 774600"/>
                <a:gd name="connsiteY66" fmla="*/ 210501 h 259829"/>
                <a:gd name="connsiteX67" fmla="*/ 327383 w 774600"/>
                <a:gd name="connsiteY67" fmla="*/ 188443 h 259829"/>
                <a:gd name="connsiteX68" fmla="*/ 329995 w 774600"/>
                <a:gd name="connsiteY68" fmla="*/ 155963 h 259829"/>
                <a:gd name="connsiteX69" fmla="*/ 578701 w 774600"/>
                <a:gd name="connsiteY69" fmla="*/ 223006 h 259829"/>
                <a:gd name="connsiteX70" fmla="*/ 578701 w 774600"/>
                <a:gd name="connsiteY70" fmla="*/ 256352 h 259829"/>
                <a:gd name="connsiteX71" fmla="*/ 409187 w 774600"/>
                <a:gd name="connsiteY71" fmla="*/ 256352 h 259829"/>
                <a:gd name="connsiteX72" fmla="*/ 409187 w 774600"/>
                <a:gd name="connsiteY72" fmla="*/ 227694 h 259829"/>
                <a:gd name="connsiteX73" fmla="*/ 491507 w 774600"/>
                <a:gd name="connsiteY73" fmla="*/ 137904 h 259829"/>
                <a:gd name="connsiteX74" fmla="*/ 512874 w 774600"/>
                <a:gd name="connsiteY74" fmla="*/ 111503 h 259829"/>
                <a:gd name="connsiteX75" fmla="*/ 523813 w 774600"/>
                <a:gd name="connsiteY75" fmla="*/ 91532 h 259829"/>
                <a:gd name="connsiteX76" fmla="*/ 527110 w 774600"/>
                <a:gd name="connsiteY76" fmla="*/ 73988 h 259829"/>
                <a:gd name="connsiteX77" fmla="*/ 522592 w 774600"/>
                <a:gd name="connsiteY77" fmla="*/ 52972 h 259829"/>
                <a:gd name="connsiteX78" fmla="*/ 509746 w 774600"/>
                <a:gd name="connsiteY78" fmla="*/ 38555 h 259829"/>
                <a:gd name="connsiteX79" fmla="*/ 489085 w 774600"/>
                <a:gd name="connsiteY79" fmla="*/ 33171 h 259829"/>
                <a:gd name="connsiteX80" fmla="*/ 465452 w 774600"/>
                <a:gd name="connsiteY80" fmla="*/ 39251 h 259829"/>
                <a:gd name="connsiteX81" fmla="*/ 451040 w 774600"/>
                <a:gd name="connsiteY81" fmla="*/ 56099 h 259829"/>
                <a:gd name="connsiteX82" fmla="*/ 446181 w 774600"/>
                <a:gd name="connsiteY82" fmla="*/ 80413 h 259829"/>
                <a:gd name="connsiteX83" fmla="*/ 404328 w 774600"/>
                <a:gd name="connsiteY83" fmla="*/ 80413 h 259829"/>
                <a:gd name="connsiteX84" fmla="*/ 414391 w 774600"/>
                <a:gd name="connsiteY84" fmla="*/ 40122 h 259829"/>
                <a:gd name="connsiteX85" fmla="*/ 443569 w 774600"/>
                <a:gd name="connsiteY85" fmla="*/ 10944 h 259829"/>
                <a:gd name="connsiteX86" fmla="*/ 489596 w 774600"/>
                <a:gd name="connsiteY86" fmla="*/ 0 h 259829"/>
                <a:gd name="connsiteX87" fmla="*/ 532670 w 774600"/>
                <a:gd name="connsiteY87" fmla="*/ 8512 h 259829"/>
                <a:gd name="connsiteX88" fmla="*/ 559581 w 774600"/>
                <a:gd name="connsiteY88" fmla="*/ 32656 h 259829"/>
                <a:gd name="connsiteX89" fmla="*/ 568958 w 774600"/>
                <a:gd name="connsiteY89" fmla="*/ 69650 h 259829"/>
                <a:gd name="connsiteX90" fmla="*/ 565145 w 774600"/>
                <a:gd name="connsiteY90" fmla="*/ 93098 h 259829"/>
                <a:gd name="connsiteX91" fmla="*/ 554207 w 774600"/>
                <a:gd name="connsiteY91" fmla="*/ 116372 h 259829"/>
                <a:gd name="connsiteX92" fmla="*/ 537704 w 774600"/>
                <a:gd name="connsiteY92" fmla="*/ 139470 h 259829"/>
                <a:gd name="connsiteX93" fmla="*/ 516697 w 774600"/>
                <a:gd name="connsiteY93" fmla="*/ 162743 h 259829"/>
                <a:gd name="connsiteX94" fmla="*/ 461979 w 774600"/>
                <a:gd name="connsiteY94" fmla="*/ 223011 h 259829"/>
                <a:gd name="connsiteX95" fmla="*/ 578701 w 774600"/>
                <a:gd name="connsiteY95" fmla="*/ 223011 h 259829"/>
                <a:gd name="connsiteX96" fmla="*/ 660505 w 774600"/>
                <a:gd name="connsiteY96" fmla="*/ 110982 h 259829"/>
                <a:gd name="connsiteX97" fmla="*/ 685510 w 774600"/>
                <a:gd name="connsiteY97" fmla="*/ 110982 h 259829"/>
                <a:gd name="connsiteX98" fmla="*/ 709639 w 774600"/>
                <a:gd name="connsiteY98" fmla="*/ 105948 h 259829"/>
                <a:gd name="connsiteX99" fmla="*/ 724065 w 774600"/>
                <a:gd name="connsiteY99" fmla="*/ 92052 h 259829"/>
                <a:gd name="connsiteX100" fmla="*/ 728754 w 774600"/>
                <a:gd name="connsiteY100" fmla="*/ 71731 h 259829"/>
                <a:gd name="connsiteX101" fmla="*/ 724411 w 774600"/>
                <a:gd name="connsiteY101" fmla="*/ 51240 h 259829"/>
                <a:gd name="connsiteX102" fmla="*/ 711565 w 774600"/>
                <a:gd name="connsiteY102" fmla="*/ 37865 h 259829"/>
                <a:gd name="connsiteX103" fmla="*/ 689858 w 774600"/>
                <a:gd name="connsiteY103" fmla="*/ 33176 h 259829"/>
                <a:gd name="connsiteX104" fmla="*/ 669712 w 774600"/>
                <a:gd name="connsiteY104" fmla="*/ 37690 h 259829"/>
                <a:gd name="connsiteX105" fmla="*/ 655626 w 774600"/>
                <a:gd name="connsiteY105" fmla="*/ 50195 h 259829"/>
                <a:gd name="connsiteX106" fmla="*/ 650422 w 774600"/>
                <a:gd name="connsiteY106" fmla="*/ 69300 h 259829"/>
                <a:gd name="connsiteX107" fmla="*/ 608394 w 774600"/>
                <a:gd name="connsiteY107" fmla="*/ 69300 h 259829"/>
                <a:gd name="connsiteX108" fmla="*/ 618992 w 774600"/>
                <a:gd name="connsiteY108" fmla="*/ 33521 h 259829"/>
                <a:gd name="connsiteX109" fmla="*/ 647810 w 774600"/>
                <a:gd name="connsiteY109" fmla="*/ 9032 h 259829"/>
                <a:gd name="connsiteX110" fmla="*/ 689148 w 774600"/>
                <a:gd name="connsiteY110" fmla="*/ 0 h 259829"/>
                <a:gd name="connsiteX111" fmla="*/ 731876 w 774600"/>
                <a:gd name="connsiteY111" fmla="*/ 8161 h 259829"/>
                <a:gd name="connsiteX112" fmla="*/ 760524 w 774600"/>
                <a:gd name="connsiteY112" fmla="*/ 32130 h 259829"/>
                <a:gd name="connsiteX113" fmla="*/ 770777 w 774600"/>
                <a:gd name="connsiteY113" fmla="*/ 71727 h 259829"/>
                <a:gd name="connsiteX114" fmla="*/ 765743 w 774600"/>
                <a:gd name="connsiteY114" fmla="*/ 93609 h 259829"/>
                <a:gd name="connsiteX115" fmla="*/ 750802 w 774600"/>
                <a:gd name="connsiteY115" fmla="*/ 113930 h 259829"/>
                <a:gd name="connsiteX116" fmla="*/ 726137 w 774600"/>
                <a:gd name="connsiteY116" fmla="*/ 128692 h 259829"/>
                <a:gd name="connsiteX117" fmla="*/ 691925 w 774600"/>
                <a:gd name="connsiteY117" fmla="*/ 134251 h 259829"/>
                <a:gd name="connsiteX118" fmla="*/ 660495 w 774600"/>
                <a:gd name="connsiteY118" fmla="*/ 134251 h 259829"/>
                <a:gd name="connsiteX119" fmla="*/ 660495 w 774600"/>
                <a:gd name="connsiteY119" fmla="*/ 110978 h 259829"/>
                <a:gd name="connsiteX120" fmla="*/ 660505 w 774600"/>
                <a:gd name="connsiteY120" fmla="*/ 143633 h 259829"/>
                <a:gd name="connsiteX121" fmla="*/ 660505 w 774600"/>
                <a:gd name="connsiteY121" fmla="*/ 120705 h 259829"/>
                <a:gd name="connsiteX122" fmla="*/ 691935 w 774600"/>
                <a:gd name="connsiteY122" fmla="*/ 120705 h 259829"/>
                <a:gd name="connsiteX123" fmla="*/ 729790 w 774600"/>
                <a:gd name="connsiteY123" fmla="*/ 125914 h 259829"/>
                <a:gd name="connsiteX124" fmla="*/ 755500 w 774600"/>
                <a:gd name="connsiteY124" fmla="*/ 140331 h 259829"/>
                <a:gd name="connsiteX125" fmla="*/ 769911 w 774600"/>
                <a:gd name="connsiteY125" fmla="*/ 160997 h 259829"/>
                <a:gd name="connsiteX126" fmla="*/ 774600 w 774600"/>
                <a:gd name="connsiteY126" fmla="*/ 185661 h 259829"/>
                <a:gd name="connsiteX127" fmla="*/ 768175 w 774600"/>
                <a:gd name="connsiteY127" fmla="*/ 217271 h 259829"/>
                <a:gd name="connsiteX128" fmla="*/ 750296 w 774600"/>
                <a:gd name="connsiteY128" fmla="*/ 240545 h 259829"/>
                <a:gd name="connsiteX129" fmla="*/ 723024 w 774600"/>
                <a:gd name="connsiteY129" fmla="*/ 254961 h 259829"/>
                <a:gd name="connsiteX130" fmla="*/ 689328 w 774600"/>
                <a:gd name="connsiteY130" fmla="*/ 259825 h 259829"/>
                <a:gd name="connsiteX131" fmla="*/ 658068 w 774600"/>
                <a:gd name="connsiteY131" fmla="*/ 255311 h 259829"/>
                <a:gd name="connsiteX132" fmla="*/ 631327 w 774600"/>
                <a:gd name="connsiteY132" fmla="*/ 241940 h 259829"/>
                <a:gd name="connsiteX133" fmla="*/ 612572 w 774600"/>
                <a:gd name="connsiteY133" fmla="*/ 219538 h 259829"/>
                <a:gd name="connsiteX134" fmla="*/ 605787 w 774600"/>
                <a:gd name="connsiteY134" fmla="*/ 188273 h 259829"/>
                <a:gd name="connsiteX135" fmla="*/ 647640 w 774600"/>
                <a:gd name="connsiteY135" fmla="*/ 188273 h 259829"/>
                <a:gd name="connsiteX136" fmla="*/ 652859 w 774600"/>
                <a:gd name="connsiteY136" fmla="*/ 208249 h 259829"/>
                <a:gd name="connsiteX137" fmla="*/ 667786 w 774600"/>
                <a:gd name="connsiteY137" fmla="*/ 221619 h 259829"/>
                <a:gd name="connsiteX138" fmla="*/ 690028 w 774600"/>
                <a:gd name="connsiteY138" fmla="*/ 226483 h 259829"/>
                <a:gd name="connsiteX139" fmla="*/ 712767 w 774600"/>
                <a:gd name="connsiteY139" fmla="*/ 221795 h 259829"/>
                <a:gd name="connsiteX140" fmla="*/ 727363 w 774600"/>
                <a:gd name="connsiteY140" fmla="*/ 207899 h 259829"/>
                <a:gd name="connsiteX141" fmla="*/ 732567 w 774600"/>
                <a:gd name="connsiteY141" fmla="*/ 185671 h 259829"/>
                <a:gd name="connsiteX142" fmla="*/ 726847 w 774600"/>
                <a:gd name="connsiteY142" fmla="*/ 161702 h 259829"/>
                <a:gd name="connsiteX143" fmla="*/ 710515 w 774600"/>
                <a:gd name="connsiteY143" fmla="*/ 148157 h 259829"/>
                <a:gd name="connsiteX144" fmla="*/ 685510 w 774600"/>
                <a:gd name="connsiteY144" fmla="*/ 143643 h 259829"/>
                <a:gd name="connsiteX145" fmla="*/ 660505 w 774600"/>
                <a:gd name="connsiteY145" fmla="*/ 143643 h 2598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</a:cxnLst>
              <a:rect l="l" t="t" r="r" b="b"/>
              <a:pathLst>
                <a:path w="774600" h="259829">
                  <a:moveTo>
                    <a:pt x="174372" y="223011"/>
                  </a:moveTo>
                  <a:lnTo>
                    <a:pt x="174372" y="256357"/>
                  </a:lnTo>
                  <a:lnTo>
                    <a:pt x="4859" y="256357"/>
                  </a:lnTo>
                  <a:lnTo>
                    <a:pt x="4859" y="227699"/>
                  </a:lnTo>
                  <a:lnTo>
                    <a:pt x="87193" y="137908"/>
                  </a:lnTo>
                  <a:cubicBezTo>
                    <a:pt x="96211" y="127719"/>
                    <a:pt x="103336" y="118920"/>
                    <a:pt x="108541" y="111508"/>
                  </a:cubicBezTo>
                  <a:cubicBezTo>
                    <a:pt x="113760" y="104095"/>
                    <a:pt x="117403" y="97442"/>
                    <a:pt x="119499" y="91537"/>
                  </a:cubicBezTo>
                  <a:cubicBezTo>
                    <a:pt x="121697" y="85516"/>
                    <a:pt x="122797" y="79669"/>
                    <a:pt x="122797" y="73993"/>
                  </a:cubicBezTo>
                  <a:cubicBezTo>
                    <a:pt x="122797" y="66002"/>
                    <a:pt x="121284" y="58998"/>
                    <a:pt x="118278" y="52977"/>
                  </a:cubicBezTo>
                  <a:cubicBezTo>
                    <a:pt x="115374" y="46838"/>
                    <a:pt x="111099" y="42033"/>
                    <a:pt x="105413" y="38560"/>
                  </a:cubicBezTo>
                  <a:cubicBezTo>
                    <a:pt x="99747" y="34971"/>
                    <a:pt x="92860" y="33176"/>
                    <a:pt x="84752" y="33176"/>
                  </a:cubicBezTo>
                  <a:cubicBezTo>
                    <a:pt x="75374" y="33176"/>
                    <a:pt x="67510" y="35204"/>
                    <a:pt x="61138" y="39256"/>
                  </a:cubicBezTo>
                  <a:cubicBezTo>
                    <a:pt x="54766" y="43307"/>
                    <a:pt x="49956" y="48925"/>
                    <a:pt x="46712" y="56104"/>
                  </a:cubicBezTo>
                  <a:cubicBezTo>
                    <a:pt x="43482" y="63166"/>
                    <a:pt x="41853" y="71274"/>
                    <a:pt x="41853" y="80418"/>
                  </a:cubicBezTo>
                  <a:lnTo>
                    <a:pt x="0" y="80418"/>
                  </a:lnTo>
                  <a:cubicBezTo>
                    <a:pt x="0" y="65715"/>
                    <a:pt x="3366" y="52281"/>
                    <a:pt x="10083" y="40126"/>
                  </a:cubicBezTo>
                  <a:cubicBezTo>
                    <a:pt x="16800" y="27855"/>
                    <a:pt x="26517" y="18127"/>
                    <a:pt x="39261" y="10948"/>
                  </a:cubicBezTo>
                  <a:cubicBezTo>
                    <a:pt x="51989" y="3653"/>
                    <a:pt x="67325" y="5"/>
                    <a:pt x="85272" y="5"/>
                  </a:cubicBezTo>
                  <a:cubicBezTo>
                    <a:pt x="102189" y="5"/>
                    <a:pt x="116546" y="2840"/>
                    <a:pt x="128346" y="8517"/>
                  </a:cubicBezTo>
                  <a:cubicBezTo>
                    <a:pt x="140160" y="14193"/>
                    <a:pt x="149129" y="22237"/>
                    <a:pt x="155277" y="32660"/>
                  </a:cubicBezTo>
                  <a:cubicBezTo>
                    <a:pt x="161527" y="43079"/>
                    <a:pt x="164654" y="55413"/>
                    <a:pt x="164654" y="69655"/>
                  </a:cubicBezTo>
                  <a:cubicBezTo>
                    <a:pt x="164654" y="77529"/>
                    <a:pt x="163385" y="85345"/>
                    <a:pt x="160827" y="93103"/>
                  </a:cubicBezTo>
                  <a:cubicBezTo>
                    <a:pt x="158283" y="100861"/>
                    <a:pt x="154645" y="108619"/>
                    <a:pt x="149888" y="116376"/>
                  </a:cubicBezTo>
                  <a:cubicBezTo>
                    <a:pt x="145267" y="124017"/>
                    <a:pt x="139757" y="131717"/>
                    <a:pt x="133400" y="139475"/>
                  </a:cubicBezTo>
                  <a:cubicBezTo>
                    <a:pt x="127028" y="147116"/>
                    <a:pt x="120019" y="154873"/>
                    <a:pt x="112378" y="162748"/>
                  </a:cubicBezTo>
                  <a:lnTo>
                    <a:pt x="57675" y="223015"/>
                  </a:lnTo>
                  <a:lnTo>
                    <a:pt x="174377" y="223015"/>
                  </a:lnTo>
                  <a:close/>
                  <a:moveTo>
                    <a:pt x="371848" y="108730"/>
                  </a:moveTo>
                  <a:lnTo>
                    <a:pt x="371848" y="150063"/>
                  </a:lnTo>
                  <a:cubicBezTo>
                    <a:pt x="371848" y="169864"/>
                    <a:pt x="369873" y="186765"/>
                    <a:pt x="365938" y="200778"/>
                  </a:cubicBezTo>
                  <a:cubicBezTo>
                    <a:pt x="362125" y="214674"/>
                    <a:pt x="356561" y="225963"/>
                    <a:pt x="349260" y="234645"/>
                  </a:cubicBezTo>
                  <a:cubicBezTo>
                    <a:pt x="341960" y="243327"/>
                    <a:pt x="333219" y="249698"/>
                    <a:pt x="323035" y="253750"/>
                  </a:cubicBezTo>
                  <a:cubicBezTo>
                    <a:pt x="312971" y="257801"/>
                    <a:pt x="301668" y="259830"/>
                    <a:pt x="289168" y="259830"/>
                  </a:cubicBezTo>
                  <a:cubicBezTo>
                    <a:pt x="279221" y="259830"/>
                    <a:pt x="269951" y="258555"/>
                    <a:pt x="261381" y="256011"/>
                  </a:cubicBezTo>
                  <a:cubicBezTo>
                    <a:pt x="252933" y="253463"/>
                    <a:pt x="245287" y="249470"/>
                    <a:pt x="238468" y="244027"/>
                  </a:cubicBezTo>
                  <a:cubicBezTo>
                    <a:pt x="231634" y="238584"/>
                    <a:pt x="225773" y="231581"/>
                    <a:pt x="220914" y="223011"/>
                  </a:cubicBezTo>
                  <a:cubicBezTo>
                    <a:pt x="216172" y="214329"/>
                    <a:pt x="212466" y="203964"/>
                    <a:pt x="209800" y="191921"/>
                  </a:cubicBezTo>
                  <a:cubicBezTo>
                    <a:pt x="207256" y="179878"/>
                    <a:pt x="205972" y="165929"/>
                    <a:pt x="205972" y="150063"/>
                  </a:cubicBezTo>
                  <a:lnTo>
                    <a:pt x="205972" y="108730"/>
                  </a:lnTo>
                  <a:cubicBezTo>
                    <a:pt x="205972" y="88813"/>
                    <a:pt x="207947" y="72028"/>
                    <a:pt x="211882" y="58366"/>
                  </a:cubicBezTo>
                  <a:cubicBezTo>
                    <a:pt x="215831" y="44587"/>
                    <a:pt x="221430" y="33414"/>
                    <a:pt x="228730" y="24844"/>
                  </a:cubicBezTo>
                  <a:cubicBezTo>
                    <a:pt x="236031" y="16162"/>
                    <a:pt x="244722" y="9849"/>
                    <a:pt x="254786" y="5914"/>
                  </a:cubicBezTo>
                  <a:cubicBezTo>
                    <a:pt x="264970" y="1975"/>
                    <a:pt x="276323" y="10"/>
                    <a:pt x="288827" y="10"/>
                  </a:cubicBezTo>
                  <a:cubicBezTo>
                    <a:pt x="298910" y="10"/>
                    <a:pt x="308166" y="1284"/>
                    <a:pt x="316614" y="3833"/>
                  </a:cubicBezTo>
                  <a:cubicBezTo>
                    <a:pt x="325184" y="6265"/>
                    <a:pt x="332825" y="10141"/>
                    <a:pt x="339542" y="15467"/>
                  </a:cubicBezTo>
                  <a:cubicBezTo>
                    <a:pt x="346376" y="20793"/>
                    <a:pt x="352164" y="27738"/>
                    <a:pt x="356906" y="36308"/>
                  </a:cubicBezTo>
                  <a:cubicBezTo>
                    <a:pt x="361765" y="44762"/>
                    <a:pt x="365476" y="55010"/>
                    <a:pt x="368020" y="67048"/>
                  </a:cubicBezTo>
                  <a:cubicBezTo>
                    <a:pt x="370578" y="78974"/>
                    <a:pt x="371848" y="92870"/>
                    <a:pt x="371848" y="108730"/>
                  </a:cubicBezTo>
                  <a:close/>
                  <a:moveTo>
                    <a:pt x="329995" y="155968"/>
                  </a:moveTo>
                  <a:lnTo>
                    <a:pt x="329995" y="102476"/>
                  </a:lnTo>
                  <a:cubicBezTo>
                    <a:pt x="329995" y="92403"/>
                    <a:pt x="329411" y="83546"/>
                    <a:pt x="328258" y="75905"/>
                  </a:cubicBezTo>
                  <a:cubicBezTo>
                    <a:pt x="327091" y="68147"/>
                    <a:pt x="325355" y="61605"/>
                    <a:pt x="323039" y="56279"/>
                  </a:cubicBezTo>
                  <a:cubicBezTo>
                    <a:pt x="320841" y="50837"/>
                    <a:pt x="318059" y="46440"/>
                    <a:pt x="314708" y="43079"/>
                  </a:cubicBezTo>
                  <a:cubicBezTo>
                    <a:pt x="311342" y="39606"/>
                    <a:pt x="307529" y="37116"/>
                    <a:pt x="303234" y="35613"/>
                  </a:cubicBezTo>
                  <a:cubicBezTo>
                    <a:pt x="298959" y="33993"/>
                    <a:pt x="294148" y="33181"/>
                    <a:pt x="288823" y="33181"/>
                  </a:cubicBezTo>
                  <a:cubicBezTo>
                    <a:pt x="282349" y="33181"/>
                    <a:pt x="276542" y="34455"/>
                    <a:pt x="271459" y="37004"/>
                  </a:cubicBezTo>
                  <a:cubicBezTo>
                    <a:pt x="266357" y="39436"/>
                    <a:pt x="262081" y="43371"/>
                    <a:pt x="258613" y="48813"/>
                  </a:cubicBezTo>
                  <a:cubicBezTo>
                    <a:pt x="255126" y="54256"/>
                    <a:pt x="252466" y="61435"/>
                    <a:pt x="250608" y="70350"/>
                  </a:cubicBezTo>
                  <a:cubicBezTo>
                    <a:pt x="248871" y="79149"/>
                    <a:pt x="248015" y="89859"/>
                    <a:pt x="248015" y="102480"/>
                  </a:cubicBezTo>
                  <a:lnTo>
                    <a:pt x="248015" y="155973"/>
                  </a:lnTo>
                  <a:cubicBezTo>
                    <a:pt x="248015" y="166162"/>
                    <a:pt x="248584" y="175136"/>
                    <a:pt x="249752" y="182894"/>
                  </a:cubicBezTo>
                  <a:cubicBezTo>
                    <a:pt x="250904" y="190652"/>
                    <a:pt x="252636" y="197310"/>
                    <a:pt x="254956" y="202865"/>
                  </a:cubicBezTo>
                  <a:cubicBezTo>
                    <a:pt x="257276" y="208307"/>
                    <a:pt x="260058" y="212821"/>
                    <a:pt x="263302" y="216410"/>
                  </a:cubicBezTo>
                  <a:cubicBezTo>
                    <a:pt x="266653" y="219883"/>
                    <a:pt x="270481" y="222432"/>
                    <a:pt x="274756" y="224051"/>
                  </a:cubicBezTo>
                  <a:cubicBezTo>
                    <a:pt x="279153" y="225671"/>
                    <a:pt x="283964" y="226483"/>
                    <a:pt x="289168" y="226483"/>
                  </a:cubicBezTo>
                  <a:cubicBezTo>
                    <a:pt x="295778" y="226483"/>
                    <a:pt x="301619" y="225209"/>
                    <a:pt x="306721" y="222660"/>
                  </a:cubicBezTo>
                  <a:cubicBezTo>
                    <a:pt x="311804" y="220112"/>
                    <a:pt x="316099" y="216060"/>
                    <a:pt x="319567" y="210501"/>
                  </a:cubicBezTo>
                  <a:cubicBezTo>
                    <a:pt x="323035" y="204830"/>
                    <a:pt x="325646" y="197476"/>
                    <a:pt x="327383" y="188443"/>
                  </a:cubicBezTo>
                  <a:cubicBezTo>
                    <a:pt x="329119" y="179411"/>
                    <a:pt x="329995" y="168585"/>
                    <a:pt x="329995" y="155963"/>
                  </a:cubicBezTo>
                  <a:close/>
                  <a:moveTo>
                    <a:pt x="578701" y="223006"/>
                  </a:moveTo>
                  <a:lnTo>
                    <a:pt x="578701" y="256352"/>
                  </a:lnTo>
                  <a:lnTo>
                    <a:pt x="409187" y="256352"/>
                  </a:lnTo>
                  <a:lnTo>
                    <a:pt x="409187" y="227694"/>
                  </a:lnTo>
                  <a:lnTo>
                    <a:pt x="491507" y="137904"/>
                  </a:lnTo>
                  <a:cubicBezTo>
                    <a:pt x="500539" y="127714"/>
                    <a:pt x="507670" y="118915"/>
                    <a:pt x="512874" y="111503"/>
                  </a:cubicBezTo>
                  <a:cubicBezTo>
                    <a:pt x="518078" y="104090"/>
                    <a:pt x="521736" y="97437"/>
                    <a:pt x="523813" y="91532"/>
                  </a:cubicBezTo>
                  <a:cubicBezTo>
                    <a:pt x="526011" y="85511"/>
                    <a:pt x="527110" y="79664"/>
                    <a:pt x="527110" y="73988"/>
                  </a:cubicBezTo>
                  <a:cubicBezTo>
                    <a:pt x="527110" y="65997"/>
                    <a:pt x="525617" y="58993"/>
                    <a:pt x="522592" y="52972"/>
                  </a:cubicBezTo>
                  <a:cubicBezTo>
                    <a:pt x="519708" y="46834"/>
                    <a:pt x="515413" y="42028"/>
                    <a:pt x="509746" y="38555"/>
                  </a:cubicBezTo>
                  <a:cubicBezTo>
                    <a:pt x="504080" y="34966"/>
                    <a:pt x="497193" y="33171"/>
                    <a:pt x="489085" y="33171"/>
                  </a:cubicBezTo>
                  <a:cubicBezTo>
                    <a:pt x="479708" y="33171"/>
                    <a:pt x="471823" y="35199"/>
                    <a:pt x="465452" y="39251"/>
                  </a:cubicBezTo>
                  <a:cubicBezTo>
                    <a:pt x="459095" y="43302"/>
                    <a:pt x="454289" y="48920"/>
                    <a:pt x="451040" y="56099"/>
                  </a:cubicBezTo>
                  <a:cubicBezTo>
                    <a:pt x="447796" y="63161"/>
                    <a:pt x="446181" y="71269"/>
                    <a:pt x="446181" y="80413"/>
                  </a:cubicBezTo>
                  <a:lnTo>
                    <a:pt x="404328" y="80413"/>
                  </a:lnTo>
                  <a:cubicBezTo>
                    <a:pt x="404328" y="65710"/>
                    <a:pt x="407679" y="52276"/>
                    <a:pt x="414391" y="40122"/>
                  </a:cubicBezTo>
                  <a:cubicBezTo>
                    <a:pt x="421108" y="27850"/>
                    <a:pt x="430846" y="18123"/>
                    <a:pt x="443569" y="10944"/>
                  </a:cubicBezTo>
                  <a:cubicBezTo>
                    <a:pt x="456313" y="3648"/>
                    <a:pt x="471648" y="0"/>
                    <a:pt x="489596" y="0"/>
                  </a:cubicBezTo>
                  <a:cubicBezTo>
                    <a:pt x="506497" y="0"/>
                    <a:pt x="520855" y="2836"/>
                    <a:pt x="532670" y="8512"/>
                  </a:cubicBezTo>
                  <a:cubicBezTo>
                    <a:pt x="544484" y="14188"/>
                    <a:pt x="553453" y="22232"/>
                    <a:pt x="559581" y="32656"/>
                  </a:cubicBezTo>
                  <a:cubicBezTo>
                    <a:pt x="565831" y="43074"/>
                    <a:pt x="568958" y="55409"/>
                    <a:pt x="568958" y="69650"/>
                  </a:cubicBezTo>
                  <a:cubicBezTo>
                    <a:pt x="568958" y="77524"/>
                    <a:pt x="567689" y="85340"/>
                    <a:pt x="565145" y="93098"/>
                  </a:cubicBezTo>
                  <a:cubicBezTo>
                    <a:pt x="562601" y="100856"/>
                    <a:pt x="558944" y="108614"/>
                    <a:pt x="554207" y="116372"/>
                  </a:cubicBezTo>
                  <a:cubicBezTo>
                    <a:pt x="549571" y="124013"/>
                    <a:pt x="544075" y="131712"/>
                    <a:pt x="537704" y="139470"/>
                  </a:cubicBezTo>
                  <a:cubicBezTo>
                    <a:pt x="531332" y="147111"/>
                    <a:pt x="524323" y="154869"/>
                    <a:pt x="516697" y="162743"/>
                  </a:cubicBezTo>
                  <a:lnTo>
                    <a:pt x="461979" y="223011"/>
                  </a:lnTo>
                  <a:lnTo>
                    <a:pt x="578701" y="223011"/>
                  </a:lnTo>
                  <a:close/>
                  <a:moveTo>
                    <a:pt x="660505" y="110982"/>
                  </a:moveTo>
                  <a:lnTo>
                    <a:pt x="685510" y="110982"/>
                  </a:lnTo>
                  <a:cubicBezTo>
                    <a:pt x="695233" y="110982"/>
                    <a:pt x="703287" y="109304"/>
                    <a:pt x="709639" y="105948"/>
                  </a:cubicBezTo>
                  <a:cubicBezTo>
                    <a:pt x="716132" y="102592"/>
                    <a:pt x="720943" y="97957"/>
                    <a:pt x="724065" y="92052"/>
                  </a:cubicBezTo>
                  <a:cubicBezTo>
                    <a:pt x="727193" y="86148"/>
                    <a:pt x="728754" y="79373"/>
                    <a:pt x="728754" y="71731"/>
                  </a:cubicBezTo>
                  <a:cubicBezTo>
                    <a:pt x="728754" y="64090"/>
                    <a:pt x="727295" y="56911"/>
                    <a:pt x="724411" y="51240"/>
                  </a:cubicBezTo>
                  <a:cubicBezTo>
                    <a:pt x="721628" y="45452"/>
                    <a:pt x="717353" y="40992"/>
                    <a:pt x="711565" y="37865"/>
                  </a:cubicBezTo>
                  <a:cubicBezTo>
                    <a:pt x="705879" y="34737"/>
                    <a:pt x="698652" y="33176"/>
                    <a:pt x="689858" y="33176"/>
                  </a:cubicBezTo>
                  <a:cubicBezTo>
                    <a:pt x="682441" y="33176"/>
                    <a:pt x="675724" y="34679"/>
                    <a:pt x="669712" y="37690"/>
                  </a:cubicBezTo>
                  <a:cubicBezTo>
                    <a:pt x="663803" y="40584"/>
                    <a:pt x="659114" y="44752"/>
                    <a:pt x="655626" y="50195"/>
                  </a:cubicBezTo>
                  <a:cubicBezTo>
                    <a:pt x="652159" y="55520"/>
                    <a:pt x="650422" y="61887"/>
                    <a:pt x="650422" y="69300"/>
                  </a:cubicBezTo>
                  <a:lnTo>
                    <a:pt x="608394" y="69300"/>
                  </a:lnTo>
                  <a:cubicBezTo>
                    <a:pt x="608394" y="55866"/>
                    <a:pt x="611916" y="43945"/>
                    <a:pt x="618992" y="33521"/>
                  </a:cubicBezTo>
                  <a:cubicBezTo>
                    <a:pt x="626050" y="23103"/>
                    <a:pt x="635670" y="14937"/>
                    <a:pt x="647810" y="9032"/>
                  </a:cubicBezTo>
                  <a:cubicBezTo>
                    <a:pt x="660092" y="3011"/>
                    <a:pt x="673866" y="0"/>
                    <a:pt x="689148" y="0"/>
                  </a:cubicBezTo>
                  <a:cubicBezTo>
                    <a:pt x="705480" y="0"/>
                    <a:pt x="719717" y="2724"/>
                    <a:pt x="731876" y="8161"/>
                  </a:cubicBezTo>
                  <a:cubicBezTo>
                    <a:pt x="744138" y="13487"/>
                    <a:pt x="753705" y="21479"/>
                    <a:pt x="760524" y="32130"/>
                  </a:cubicBezTo>
                  <a:cubicBezTo>
                    <a:pt x="767358" y="42782"/>
                    <a:pt x="770777" y="55982"/>
                    <a:pt x="770777" y="71727"/>
                  </a:cubicBezTo>
                  <a:cubicBezTo>
                    <a:pt x="770777" y="78906"/>
                    <a:pt x="769094" y="86201"/>
                    <a:pt x="765743" y="93609"/>
                  </a:cubicBezTo>
                  <a:cubicBezTo>
                    <a:pt x="762378" y="101021"/>
                    <a:pt x="757397" y="107792"/>
                    <a:pt x="750802" y="113930"/>
                  </a:cubicBezTo>
                  <a:cubicBezTo>
                    <a:pt x="744206" y="119951"/>
                    <a:pt x="735982" y="124869"/>
                    <a:pt x="726137" y="128692"/>
                  </a:cubicBezTo>
                  <a:cubicBezTo>
                    <a:pt x="716298" y="132398"/>
                    <a:pt x="704892" y="134251"/>
                    <a:pt x="691925" y="134251"/>
                  </a:cubicBezTo>
                  <a:lnTo>
                    <a:pt x="660495" y="134251"/>
                  </a:lnTo>
                  <a:lnTo>
                    <a:pt x="660495" y="110978"/>
                  </a:lnTo>
                  <a:close/>
                  <a:moveTo>
                    <a:pt x="660505" y="143633"/>
                  </a:moveTo>
                  <a:lnTo>
                    <a:pt x="660505" y="120705"/>
                  </a:lnTo>
                  <a:lnTo>
                    <a:pt x="691935" y="120705"/>
                  </a:lnTo>
                  <a:cubicBezTo>
                    <a:pt x="706755" y="120705"/>
                    <a:pt x="719381" y="122442"/>
                    <a:pt x="729790" y="125914"/>
                  </a:cubicBezTo>
                  <a:cubicBezTo>
                    <a:pt x="740335" y="129387"/>
                    <a:pt x="748905" y="134193"/>
                    <a:pt x="755500" y="140331"/>
                  </a:cubicBezTo>
                  <a:cubicBezTo>
                    <a:pt x="762095" y="146352"/>
                    <a:pt x="766906" y="153239"/>
                    <a:pt x="769911" y="160997"/>
                  </a:cubicBezTo>
                  <a:cubicBezTo>
                    <a:pt x="773039" y="168755"/>
                    <a:pt x="774600" y="176975"/>
                    <a:pt x="774600" y="185661"/>
                  </a:cubicBezTo>
                  <a:cubicBezTo>
                    <a:pt x="774600" y="197471"/>
                    <a:pt x="772470" y="208006"/>
                    <a:pt x="768175" y="217271"/>
                  </a:cubicBezTo>
                  <a:cubicBezTo>
                    <a:pt x="764016" y="226420"/>
                    <a:pt x="758044" y="234178"/>
                    <a:pt x="750296" y="240545"/>
                  </a:cubicBezTo>
                  <a:cubicBezTo>
                    <a:pt x="742533" y="246911"/>
                    <a:pt x="733447" y="251717"/>
                    <a:pt x="723024" y="254961"/>
                  </a:cubicBezTo>
                  <a:cubicBezTo>
                    <a:pt x="712718" y="258205"/>
                    <a:pt x="701487" y="259825"/>
                    <a:pt x="689328" y="259825"/>
                  </a:cubicBezTo>
                  <a:cubicBezTo>
                    <a:pt x="678457" y="259825"/>
                    <a:pt x="668029" y="258322"/>
                    <a:pt x="658068" y="255311"/>
                  </a:cubicBezTo>
                  <a:cubicBezTo>
                    <a:pt x="648107" y="252300"/>
                    <a:pt x="639192" y="247845"/>
                    <a:pt x="631327" y="241940"/>
                  </a:cubicBezTo>
                  <a:cubicBezTo>
                    <a:pt x="623443" y="235919"/>
                    <a:pt x="617193" y="228453"/>
                    <a:pt x="612572" y="219538"/>
                  </a:cubicBezTo>
                  <a:cubicBezTo>
                    <a:pt x="608054" y="210506"/>
                    <a:pt x="605787" y="200087"/>
                    <a:pt x="605787" y="188273"/>
                  </a:cubicBezTo>
                  <a:lnTo>
                    <a:pt x="647640" y="188273"/>
                  </a:lnTo>
                  <a:cubicBezTo>
                    <a:pt x="647640" y="195802"/>
                    <a:pt x="649377" y="202456"/>
                    <a:pt x="652859" y="208249"/>
                  </a:cubicBezTo>
                  <a:cubicBezTo>
                    <a:pt x="656449" y="213920"/>
                    <a:pt x="661429" y="218380"/>
                    <a:pt x="667786" y="221619"/>
                  </a:cubicBezTo>
                  <a:cubicBezTo>
                    <a:pt x="674279" y="224864"/>
                    <a:pt x="681682" y="226483"/>
                    <a:pt x="690028" y="226483"/>
                  </a:cubicBezTo>
                  <a:cubicBezTo>
                    <a:pt x="698822" y="226483"/>
                    <a:pt x="706415" y="224922"/>
                    <a:pt x="712767" y="221795"/>
                  </a:cubicBezTo>
                  <a:cubicBezTo>
                    <a:pt x="719138" y="218667"/>
                    <a:pt x="723997" y="214037"/>
                    <a:pt x="727363" y="207899"/>
                  </a:cubicBezTo>
                  <a:cubicBezTo>
                    <a:pt x="730831" y="201761"/>
                    <a:pt x="732567" y="194353"/>
                    <a:pt x="732567" y="185671"/>
                  </a:cubicBezTo>
                  <a:cubicBezTo>
                    <a:pt x="732567" y="175827"/>
                    <a:pt x="730660" y="167840"/>
                    <a:pt x="726847" y="161702"/>
                  </a:cubicBezTo>
                  <a:cubicBezTo>
                    <a:pt x="723019" y="155564"/>
                    <a:pt x="717572" y="151050"/>
                    <a:pt x="710515" y="148157"/>
                  </a:cubicBezTo>
                  <a:cubicBezTo>
                    <a:pt x="703457" y="145146"/>
                    <a:pt x="695111" y="143643"/>
                    <a:pt x="685510" y="143643"/>
                  </a:cubicBezTo>
                  <a:lnTo>
                    <a:pt x="660505" y="143643"/>
                  </a:lnTo>
                  <a:close/>
                </a:path>
              </a:pathLst>
            </a:custGeom>
            <a:solidFill>
              <a:schemeClr val="tx1"/>
            </a:solidFill>
            <a:ln w="4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pic>
        <p:nvPicPr>
          <p:cNvPr id="389" name="Рисунок 388">
            <a:extLst>
              <a:ext uri="{FF2B5EF4-FFF2-40B4-BE49-F238E27FC236}">
                <a16:creationId xmlns:a16="http://schemas.microsoft.com/office/drawing/2014/main" id="{B78B384F-F3A2-4E10-8405-6E2FAB593BD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03721" y="6049020"/>
            <a:ext cx="1688608" cy="472507"/>
          </a:xfrm>
          <a:prstGeom prst="rect">
            <a:avLst/>
          </a:prstGeom>
        </p:spPr>
      </p:pic>
      <p:grpSp>
        <p:nvGrpSpPr>
          <p:cNvPr id="15" name="Группа 14">
            <a:extLst>
              <a:ext uri="{FF2B5EF4-FFF2-40B4-BE49-F238E27FC236}">
                <a16:creationId xmlns:a16="http://schemas.microsoft.com/office/drawing/2014/main" id="{A5EEE52A-6C20-4B09-9716-EF6B27E1D77D}"/>
              </a:ext>
            </a:extLst>
          </p:cNvPr>
          <p:cNvGrpSpPr/>
          <p:nvPr/>
        </p:nvGrpSpPr>
        <p:grpSpPr>
          <a:xfrm>
            <a:off x="654740" y="1543202"/>
            <a:ext cx="6197473" cy="1865439"/>
            <a:chOff x="654740" y="1543202"/>
            <a:chExt cx="6197473" cy="1865439"/>
          </a:xfrm>
        </p:grpSpPr>
        <p:sp>
          <p:nvSpPr>
            <p:cNvPr id="49" name="Shape_фон">
              <a:extLst>
                <a:ext uri="{FF2B5EF4-FFF2-40B4-BE49-F238E27FC236}">
                  <a16:creationId xmlns:a16="http://schemas.microsoft.com/office/drawing/2014/main" id="{CDC90171-EDEF-4C56-8C0E-FA2F98A77B21}"/>
                </a:ext>
              </a:extLst>
            </p:cNvPr>
            <p:cNvSpPr/>
            <p:nvPr/>
          </p:nvSpPr>
          <p:spPr>
            <a:xfrm>
              <a:off x="2192329" y="1767579"/>
              <a:ext cx="4659884" cy="1496984"/>
            </a:xfrm>
            <a:prstGeom prst="roundRect">
              <a:avLst>
                <a:gd name="adj" fmla="val 8571"/>
              </a:avLst>
            </a:prstGeom>
            <a:solidFill>
              <a:schemeClr val="bg1"/>
            </a:solidFill>
            <a:ln w="12700" cap="flat">
              <a:noFill/>
              <a:prstDash val="solid"/>
              <a:miter/>
            </a:ln>
            <a:effectLst>
              <a:outerShdw blurRad="1003300" sx="102000" sy="102000" algn="ctr" rotWithShape="0">
                <a:schemeClr val="tx1">
                  <a:alpha val="20000"/>
                </a:schemeClr>
              </a:outerShdw>
            </a:effectLst>
          </p:spPr>
          <p:txBody>
            <a:bodyPr lIns="0" tIns="0" rIns="0" bIns="0" anchor="ctr"/>
            <a:lstStyle/>
            <a:p>
              <a:pPr marL="0" marR="0" lvl="0" indent="0" algn="ctr" defTabSz="309563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itchFamily="2" charset="0"/>
                <a:ea typeface="Roboto" pitchFamily="2" charset="0"/>
                <a:cs typeface="Poppins Bold"/>
                <a:sym typeface="Poppins Bold"/>
              </a:endParaRPr>
            </a:p>
          </p:txBody>
        </p:sp>
        <p:grpSp>
          <p:nvGrpSpPr>
            <p:cNvPr id="22" name="Группа 21">
              <a:extLst>
                <a:ext uri="{FF2B5EF4-FFF2-40B4-BE49-F238E27FC236}">
                  <a16:creationId xmlns:a16="http://schemas.microsoft.com/office/drawing/2014/main" id="{B0EA3A29-E704-4F37-A27C-A69523438320}"/>
                </a:ext>
              </a:extLst>
            </p:cNvPr>
            <p:cNvGrpSpPr/>
            <p:nvPr/>
          </p:nvGrpSpPr>
          <p:grpSpPr>
            <a:xfrm>
              <a:off x="654740" y="1543202"/>
              <a:ext cx="1858478" cy="1865439"/>
              <a:chOff x="8757491" y="1749491"/>
              <a:chExt cx="2788657" cy="2799101"/>
            </a:xfrm>
          </p:grpSpPr>
          <p:sp>
            <p:nvSpPr>
              <p:cNvPr id="23" name="Shape_фон">
                <a:extLst>
                  <a:ext uri="{FF2B5EF4-FFF2-40B4-BE49-F238E27FC236}">
                    <a16:creationId xmlns:a16="http://schemas.microsoft.com/office/drawing/2014/main" id="{BDB9C9D3-1F91-41ED-9551-D00AF3E0C567}"/>
                  </a:ext>
                </a:extLst>
              </p:cNvPr>
              <p:cNvSpPr/>
              <p:nvPr/>
            </p:nvSpPr>
            <p:spPr>
              <a:xfrm>
                <a:off x="8757491" y="1749491"/>
                <a:ext cx="2788657" cy="2799101"/>
              </a:xfrm>
              <a:prstGeom prst="roundRect">
                <a:avLst>
                  <a:gd name="adj" fmla="val 8571"/>
                </a:avLst>
              </a:prstGeom>
              <a:solidFill>
                <a:schemeClr val="bg1"/>
              </a:solidFill>
              <a:ln w="12700" cap="flat">
                <a:noFill/>
                <a:prstDash val="solid"/>
                <a:miter/>
              </a:ln>
              <a:effectLst>
                <a:outerShdw blurRad="1003300" sx="102000" sy="102000" algn="ctr" rotWithShape="0">
                  <a:schemeClr val="tx1">
                    <a:alpha val="20000"/>
                  </a:schemeClr>
                </a:outerShdw>
              </a:effectLst>
            </p:spPr>
            <p:txBody>
              <a:bodyPr lIns="0" tIns="0" rIns="0" bIns="0" anchor="ctr"/>
              <a:lstStyle/>
              <a:p>
                <a:pPr marL="0" marR="0" lvl="0" indent="0" algn="ctr" defTabSz="309563" rtl="0" eaLnBrk="1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Roboto" pitchFamily="2" charset="0"/>
                  <a:ea typeface="Roboto" pitchFamily="2" charset="0"/>
                  <a:cs typeface="Poppins Bold"/>
                  <a:sym typeface="Poppins Bold"/>
                </a:endParaRPr>
              </a:p>
            </p:txBody>
          </p:sp>
          <p:sp>
            <p:nvSpPr>
              <p:cNvPr id="24" name="Описание">
                <a:extLst>
                  <a:ext uri="{FF2B5EF4-FFF2-40B4-BE49-F238E27FC236}">
                    <a16:creationId xmlns:a16="http://schemas.microsoft.com/office/drawing/2014/main" id="{8F2F2703-83BB-432A-B389-E8186CD83E8F}"/>
                  </a:ext>
                </a:extLst>
              </p:cNvPr>
              <p:cNvSpPr txBox="1"/>
              <p:nvPr/>
            </p:nvSpPr>
            <p:spPr>
              <a:xfrm>
                <a:off x="8826878" y="1955305"/>
                <a:ext cx="2649887" cy="46182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40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D0D0D">
                        <a:lumMod val="75000"/>
                        <a:lumOff val="25000"/>
                      </a:srgbClr>
                    </a:solidFill>
                    <a:effectLst/>
                    <a:uLnTx/>
                    <a:uFillTx/>
                    <a:latin typeface="SB Sans Text" panose="020B0503040504020204" pitchFamily="34" charset="-52"/>
                    <a:ea typeface="Roboto Light" panose="02000000000000000000" pitchFamily="2" charset="0"/>
                    <a:cs typeface="SB Sans Text" panose="020B0503040504020204" pitchFamily="34" charset="-52"/>
                  </a:rPr>
                  <a:t>«Единый клиент»</a:t>
                </a:r>
              </a:p>
            </p:txBody>
          </p:sp>
          <p:grpSp>
            <p:nvGrpSpPr>
              <p:cNvPr id="25" name="ЕК_Лого">
                <a:extLst>
                  <a:ext uri="{FF2B5EF4-FFF2-40B4-BE49-F238E27FC236}">
                    <a16:creationId xmlns:a16="http://schemas.microsoft.com/office/drawing/2014/main" id="{1FD023CC-95D4-4285-83D4-A35BF192E878}"/>
                  </a:ext>
                </a:extLst>
              </p:cNvPr>
              <p:cNvGrpSpPr/>
              <p:nvPr/>
            </p:nvGrpSpPr>
            <p:grpSpPr>
              <a:xfrm>
                <a:off x="9252369" y="2484399"/>
                <a:ext cx="1798900" cy="1785141"/>
                <a:chOff x="9141588" y="2080803"/>
                <a:chExt cx="2020578" cy="2005124"/>
              </a:xfrm>
            </p:grpSpPr>
            <p:sp>
              <p:nvSpPr>
                <p:cNvPr id="26" name="Полилиния: фигура 25">
                  <a:extLst>
                    <a:ext uri="{FF2B5EF4-FFF2-40B4-BE49-F238E27FC236}">
                      <a16:creationId xmlns:a16="http://schemas.microsoft.com/office/drawing/2014/main" id="{DD589AD8-C06A-420C-B608-FFF4FE94BFCC}"/>
                    </a:ext>
                  </a:extLst>
                </p:cNvPr>
                <p:cNvSpPr/>
                <p:nvPr/>
              </p:nvSpPr>
              <p:spPr>
                <a:xfrm>
                  <a:off x="10289981" y="2794439"/>
                  <a:ext cx="184663" cy="294906"/>
                </a:xfrm>
                <a:custGeom>
                  <a:avLst/>
                  <a:gdLst>
                    <a:gd name="connsiteX0" fmla="*/ 15893 w 184663"/>
                    <a:gd name="connsiteY0" fmla="*/ 4498 h 294906"/>
                    <a:gd name="connsiteX1" fmla="*/ 6956 w 184663"/>
                    <a:gd name="connsiteY1" fmla="*/ 9719 h 294906"/>
                    <a:gd name="connsiteX2" fmla="*/ 2856 w 184663"/>
                    <a:gd name="connsiteY2" fmla="*/ 19246 h 294906"/>
                    <a:gd name="connsiteX3" fmla="*/ 18902 w 184663"/>
                    <a:gd name="connsiteY3" fmla="*/ 271287 h 294906"/>
                    <a:gd name="connsiteX4" fmla="*/ 23680 w 184663"/>
                    <a:gd name="connsiteY4" fmla="*/ 278986 h 294906"/>
                    <a:gd name="connsiteX5" fmla="*/ 31143 w 184663"/>
                    <a:gd name="connsiteY5" fmla="*/ 284118 h 294906"/>
                    <a:gd name="connsiteX6" fmla="*/ 122137 w 184663"/>
                    <a:gd name="connsiteY6" fmla="*/ 294736 h 294906"/>
                    <a:gd name="connsiteX7" fmla="*/ 165525 w 184663"/>
                    <a:gd name="connsiteY7" fmla="*/ 291138 h 294906"/>
                    <a:gd name="connsiteX8" fmla="*/ 171897 w 184663"/>
                    <a:gd name="connsiteY8" fmla="*/ 286684 h 294906"/>
                    <a:gd name="connsiteX9" fmla="*/ 175554 w 184663"/>
                    <a:gd name="connsiteY9" fmla="*/ 279811 h 294906"/>
                    <a:gd name="connsiteX10" fmla="*/ 184373 w 184663"/>
                    <a:gd name="connsiteY10" fmla="*/ 163805 h 294906"/>
                    <a:gd name="connsiteX11" fmla="*/ 137062 w 184663"/>
                    <a:gd name="connsiteY11" fmla="*/ 23434 h 294906"/>
                    <a:gd name="connsiteX12" fmla="*/ 15923 w 184663"/>
                    <a:gd name="connsiteY12" fmla="*/ 4498 h 294906"/>
                    <a:gd name="connsiteX13" fmla="*/ 151456 w 184663"/>
                    <a:gd name="connsiteY13" fmla="*/ 162389 h 294906"/>
                    <a:gd name="connsiteX14" fmla="*/ 145350 w 184663"/>
                    <a:gd name="connsiteY14" fmla="*/ 261229 h 294906"/>
                    <a:gd name="connsiteX15" fmla="*/ 48958 w 184663"/>
                    <a:gd name="connsiteY15" fmla="*/ 255507 h 294906"/>
                    <a:gd name="connsiteX16" fmla="*/ 34918 w 184663"/>
                    <a:gd name="connsiteY16" fmla="*/ 34937 h 294906"/>
                    <a:gd name="connsiteX17" fmla="*/ 115088 w 184663"/>
                    <a:gd name="connsiteY17" fmla="*/ 48063 h 294906"/>
                    <a:gd name="connsiteX18" fmla="*/ 151456 w 184663"/>
                    <a:gd name="connsiteY18" fmla="*/ 162359 h 29490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</a:cxnLst>
                  <a:rect l="l" t="t" r="r" b="b"/>
                  <a:pathLst>
                    <a:path w="184663" h="294906">
                      <a:moveTo>
                        <a:pt x="15893" y="4498"/>
                      </a:moveTo>
                      <a:cubicBezTo>
                        <a:pt x="12442" y="5235"/>
                        <a:pt x="9286" y="7064"/>
                        <a:pt x="6956" y="9719"/>
                      </a:cubicBezTo>
                      <a:cubicBezTo>
                        <a:pt x="4626" y="12373"/>
                        <a:pt x="3181" y="15706"/>
                        <a:pt x="2856" y="19246"/>
                      </a:cubicBezTo>
                      <a:cubicBezTo>
                        <a:pt x="-7172" y="130828"/>
                        <a:pt x="11882" y="250345"/>
                        <a:pt x="18902" y="271287"/>
                      </a:cubicBezTo>
                      <a:cubicBezTo>
                        <a:pt x="19934" y="274148"/>
                        <a:pt x="21557" y="276773"/>
                        <a:pt x="23680" y="278986"/>
                      </a:cubicBezTo>
                      <a:cubicBezTo>
                        <a:pt x="25774" y="281198"/>
                        <a:pt x="28311" y="282938"/>
                        <a:pt x="31143" y="284118"/>
                      </a:cubicBezTo>
                      <a:cubicBezTo>
                        <a:pt x="46185" y="291344"/>
                        <a:pt x="88453" y="294736"/>
                        <a:pt x="122137" y="294736"/>
                      </a:cubicBezTo>
                      <a:cubicBezTo>
                        <a:pt x="136708" y="295385"/>
                        <a:pt x="151279" y="294176"/>
                        <a:pt x="165525" y="291138"/>
                      </a:cubicBezTo>
                      <a:cubicBezTo>
                        <a:pt x="167974" y="290165"/>
                        <a:pt x="170156" y="288660"/>
                        <a:pt x="171897" y="286684"/>
                      </a:cubicBezTo>
                      <a:cubicBezTo>
                        <a:pt x="173637" y="284708"/>
                        <a:pt x="174876" y="282348"/>
                        <a:pt x="175554" y="279811"/>
                      </a:cubicBezTo>
                      <a:cubicBezTo>
                        <a:pt x="178858" y="267187"/>
                        <a:pt x="180657" y="239697"/>
                        <a:pt x="184373" y="163805"/>
                      </a:cubicBezTo>
                      <a:cubicBezTo>
                        <a:pt x="187175" y="106258"/>
                        <a:pt x="169537" y="53520"/>
                        <a:pt x="137062" y="23434"/>
                      </a:cubicBezTo>
                      <a:cubicBezTo>
                        <a:pt x="98776" y="-11843"/>
                        <a:pt x="24034" y="2669"/>
                        <a:pt x="15923" y="4498"/>
                      </a:cubicBezTo>
                      <a:close/>
                      <a:moveTo>
                        <a:pt x="151456" y="162389"/>
                      </a:moveTo>
                      <a:cubicBezTo>
                        <a:pt x="149244" y="207901"/>
                        <a:pt x="147444" y="243296"/>
                        <a:pt x="145350" y="261229"/>
                      </a:cubicBezTo>
                      <a:cubicBezTo>
                        <a:pt x="113111" y="262792"/>
                        <a:pt x="80784" y="260875"/>
                        <a:pt x="48958" y="255507"/>
                      </a:cubicBezTo>
                      <a:cubicBezTo>
                        <a:pt x="35302" y="182829"/>
                        <a:pt x="30582" y="108765"/>
                        <a:pt x="34918" y="34937"/>
                      </a:cubicBezTo>
                      <a:cubicBezTo>
                        <a:pt x="57571" y="32017"/>
                        <a:pt x="96535" y="31132"/>
                        <a:pt x="115088" y="48063"/>
                      </a:cubicBezTo>
                      <a:cubicBezTo>
                        <a:pt x="140041" y="71719"/>
                        <a:pt x="154258" y="114429"/>
                        <a:pt x="151456" y="162359"/>
                      </a:cubicBezTo>
                      <a:close/>
                    </a:path>
                  </a:pathLst>
                </a:custGeom>
                <a:solidFill>
                  <a:srgbClr val="000000"/>
                </a:solidFill>
                <a:ln w="2948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D0D0D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7" name="Полилиния: фигура 26">
                  <a:extLst>
                    <a:ext uri="{FF2B5EF4-FFF2-40B4-BE49-F238E27FC236}">
                      <a16:creationId xmlns:a16="http://schemas.microsoft.com/office/drawing/2014/main" id="{CA414586-E66B-43FC-98F2-9A2A2AC62ECF}"/>
                    </a:ext>
                  </a:extLst>
                </p:cNvPr>
                <p:cNvSpPr/>
                <p:nvPr/>
              </p:nvSpPr>
              <p:spPr>
                <a:xfrm>
                  <a:off x="9768388" y="2275873"/>
                  <a:ext cx="369594" cy="581022"/>
                </a:xfrm>
                <a:custGeom>
                  <a:avLst/>
                  <a:gdLst>
                    <a:gd name="connsiteX0" fmla="*/ 293084 w 369594"/>
                    <a:gd name="connsiteY0" fmla="*/ 253885 h 581022"/>
                    <a:gd name="connsiteX1" fmla="*/ 285061 w 369594"/>
                    <a:gd name="connsiteY1" fmla="*/ 253885 h 581022"/>
                    <a:gd name="connsiteX2" fmla="*/ 234152 w 369594"/>
                    <a:gd name="connsiteY2" fmla="*/ 243856 h 581022"/>
                    <a:gd name="connsiteX3" fmla="*/ 229137 w 369594"/>
                    <a:gd name="connsiteY3" fmla="*/ 230318 h 581022"/>
                    <a:gd name="connsiteX4" fmla="*/ 230730 w 369594"/>
                    <a:gd name="connsiteY4" fmla="*/ 215983 h 581022"/>
                    <a:gd name="connsiteX5" fmla="*/ 241467 w 369594"/>
                    <a:gd name="connsiteY5" fmla="*/ 199849 h 581022"/>
                    <a:gd name="connsiteX6" fmla="*/ 257512 w 369594"/>
                    <a:gd name="connsiteY6" fmla="*/ 174689 h 581022"/>
                    <a:gd name="connsiteX7" fmla="*/ 270431 w 369594"/>
                    <a:gd name="connsiteY7" fmla="*/ 118234 h 581022"/>
                    <a:gd name="connsiteX8" fmla="*/ 266774 w 369594"/>
                    <a:gd name="connsiteY8" fmla="*/ 72309 h 581022"/>
                    <a:gd name="connsiteX9" fmla="*/ 244977 w 369594"/>
                    <a:gd name="connsiteY9" fmla="*/ 31723 h 581022"/>
                    <a:gd name="connsiteX10" fmla="*/ 215038 w 369594"/>
                    <a:gd name="connsiteY10" fmla="*/ 9217 h 581022"/>
                    <a:gd name="connsiteX11" fmla="*/ 178699 w 369594"/>
                    <a:gd name="connsiteY11" fmla="*/ 103 h 581022"/>
                    <a:gd name="connsiteX12" fmla="*/ 141682 w 369594"/>
                    <a:gd name="connsiteY12" fmla="*/ 5825 h 581022"/>
                    <a:gd name="connsiteX13" fmla="*/ 109797 w 369594"/>
                    <a:gd name="connsiteY13" fmla="*/ 25499 h 581022"/>
                    <a:gd name="connsiteX14" fmla="*/ 79741 w 369594"/>
                    <a:gd name="connsiteY14" fmla="*/ 111125 h 581022"/>
                    <a:gd name="connsiteX15" fmla="*/ 90950 w 369594"/>
                    <a:gd name="connsiteY15" fmla="*/ 172388 h 581022"/>
                    <a:gd name="connsiteX16" fmla="*/ 119619 w 369594"/>
                    <a:gd name="connsiteY16" fmla="*/ 212502 h 581022"/>
                    <a:gd name="connsiteX17" fmla="*/ 126934 w 369594"/>
                    <a:gd name="connsiteY17" fmla="*/ 220407 h 581022"/>
                    <a:gd name="connsiteX18" fmla="*/ 125637 w 369594"/>
                    <a:gd name="connsiteY18" fmla="*/ 246776 h 581022"/>
                    <a:gd name="connsiteX19" fmla="*/ 90478 w 369594"/>
                    <a:gd name="connsiteY19" fmla="*/ 256805 h 581022"/>
                    <a:gd name="connsiteX20" fmla="*/ 82750 w 369594"/>
                    <a:gd name="connsiteY20" fmla="*/ 256805 h 581022"/>
                    <a:gd name="connsiteX21" fmla="*/ 10308 w 369594"/>
                    <a:gd name="connsiteY21" fmla="*/ 290283 h 581022"/>
                    <a:gd name="connsiteX22" fmla="*/ 50393 w 369594"/>
                    <a:gd name="connsiteY22" fmla="*/ 560966 h 581022"/>
                    <a:gd name="connsiteX23" fmla="*/ 75140 w 369594"/>
                    <a:gd name="connsiteY23" fmla="*/ 581023 h 581022"/>
                    <a:gd name="connsiteX24" fmla="*/ 252409 w 369594"/>
                    <a:gd name="connsiteY24" fmla="*/ 581023 h 581022"/>
                    <a:gd name="connsiteX25" fmla="*/ 311843 w 369594"/>
                    <a:gd name="connsiteY25" fmla="*/ 580521 h 581022"/>
                    <a:gd name="connsiteX26" fmla="*/ 323671 w 369594"/>
                    <a:gd name="connsiteY26" fmla="*/ 576244 h 581022"/>
                    <a:gd name="connsiteX27" fmla="*/ 331871 w 369594"/>
                    <a:gd name="connsiteY27" fmla="*/ 566688 h 581022"/>
                    <a:gd name="connsiteX28" fmla="*/ 365231 w 369594"/>
                    <a:gd name="connsiteY28" fmla="*/ 297598 h 581022"/>
                    <a:gd name="connsiteX29" fmla="*/ 335765 w 369594"/>
                    <a:gd name="connsiteY29" fmla="*/ 264828 h 581022"/>
                    <a:gd name="connsiteX30" fmla="*/ 293084 w 369594"/>
                    <a:gd name="connsiteY30" fmla="*/ 253885 h 581022"/>
                    <a:gd name="connsiteX31" fmla="*/ 304499 w 369594"/>
                    <a:gd name="connsiteY31" fmla="*/ 548046 h 581022"/>
                    <a:gd name="connsiteX32" fmla="*/ 134751 w 369594"/>
                    <a:gd name="connsiteY32" fmla="*/ 548046 h 581022"/>
                    <a:gd name="connsiteX33" fmla="*/ 81127 w 369594"/>
                    <a:gd name="connsiteY33" fmla="*/ 548046 h 581022"/>
                    <a:gd name="connsiteX34" fmla="*/ 38447 w 369594"/>
                    <a:gd name="connsiteY34" fmla="*/ 308128 h 581022"/>
                    <a:gd name="connsiteX35" fmla="*/ 83251 w 369594"/>
                    <a:gd name="connsiteY35" fmla="*/ 289693 h 581022"/>
                    <a:gd name="connsiteX36" fmla="*/ 92159 w 369594"/>
                    <a:gd name="connsiteY36" fmla="*/ 289693 h 581022"/>
                    <a:gd name="connsiteX37" fmla="*/ 153776 w 369594"/>
                    <a:gd name="connsiteY37" fmla="*/ 265123 h 581022"/>
                    <a:gd name="connsiteX38" fmla="*/ 155073 w 369594"/>
                    <a:gd name="connsiteY38" fmla="*/ 201854 h 581022"/>
                    <a:gd name="connsiteX39" fmla="*/ 144248 w 369594"/>
                    <a:gd name="connsiteY39" fmla="*/ 189938 h 581022"/>
                    <a:gd name="connsiteX40" fmla="*/ 122097 w 369594"/>
                    <a:gd name="connsiteY40" fmla="*/ 159852 h 581022"/>
                    <a:gd name="connsiteX41" fmla="*/ 113278 w 369594"/>
                    <a:gd name="connsiteY41" fmla="*/ 110417 h 581022"/>
                    <a:gd name="connsiteX42" fmla="*/ 133306 w 369594"/>
                    <a:gd name="connsiteY42" fmla="*/ 48653 h 581022"/>
                    <a:gd name="connsiteX43" fmla="*/ 152448 w 369594"/>
                    <a:gd name="connsiteY43" fmla="*/ 36648 h 581022"/>
                    <a:gd name="connsiteX44" fmla="*/ 174777 w 369594"/>
                    <a:gd name="connsiteY44" fmla="*/ 33197 h 581022"/>
                    <a:gd name="connsiteX45" fmla="*/ 199553 w 369594"/>
                    <a:gd name="connsiteY45" fmla="*/ 38094 h 581022"/>
                    <a:gd name="connsiteX46" fmla="*/ 219758 w 369594"/>
                    <a:gd name="connsiteY46" fmla="*/ 53255 h 581022"/>
                    <a:gd name="connsiteX47" fmla="*/ 234594 w 369594"/>
                    <a:gd name="connsiteY47" fmla="*/ 81276 h 581022"/>
                    <a:gd name="connsiteX48" fmla="*/ 237190 w 369594"/>
                    <a:gd name="connsiteY48" fmla="*/ 112895 h 581022"/>
                    <a:gd name="connsiteX49" fmla="*/ 225981 w 369594"/>
                    <a:gd name="connsiteY49" fmla="*/ 163038 h 581022"/>
                    <a:gd name="connsiteX50" fmla="*/ 215363 w 369594"/>
                    <a:gd name="connsiteY50" fmla="*/ 178789 h 581022"/>
                    <a:gd name="connsiteX51" fmla="*/ 199022 w 369594"/>
                    <a:gd name="connsiteY51" fmla="*/ 204863 h 581022"/>
                    <a:gd name="connsiteX52" fmla="*/ 195925 w 369594"/>
                    <a:gd name="connsiteY52" fmla="*/ 234506 h 581022"/>
                    <a:gd name="connsiteX53" fmla="*/ 206455 w 369594"/>
                    <a:gd name="connsiteY53" fmla="*/ 262409 h 581022"/>
                    <a:gd name="connsiteX54" fmla="*/ 285209 w 369594"/>
                    <a:gd name="connsiteY54" fmla="*/ 287481 h 581022"/>
                    <a:gd name="connsiteX55" fmla="*/ 292435 w 369594"/>
                    <a:gd name="connsiteY55" fmla="*/ 287481 h 581022"/>
                    <a:gd name="connsiteX56" fmla="*/ 317477 w 369594"/>
                    <a:gd name="connsiteY56" fmla="*/ 292878 h 581022"/>
                    <a:gd name="connsiteX57" fmla="*/ 335116 w 369594"/>
                    <a:gd name="connsiteY57" fmla="*/ 311431 h 581022"/>
                    <a:gd name="connsiteX58" fmla="*/ 304440 w 369594"/>
                    <a:gd name="connsiteY58" fmla="*/ 548046 h 5810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</a:cxnLst>
                  <a:rect l="l" t="t" r="r" b="b"/>
                  <a:pathLst>
                    <a:path w="369594" h="581022">
                      <a:moveTo>
                        <a:pt x="293084" y="253885"/>
                      </a:moveTo>
                      <a:lnTo>
                        <a:pt x="285061" y="253885"/>
                      </a:lnTo>
                      <a:cubicBezTo>
                        <a:pt x="268839" y="253885"/>
                        <a:pt x="241467" y="253885"/>
                        <a:pt x="234152" y="243856"/>
                      </a:cubicBezTo>
                      <a:cubicBezTo>
                        <a:pt x="231438" y="239786"/>
                        <a:pt x="229727" y="235155"/>
                        <a:pt x="229137" y="230318"/>
                      </a:cubicBezTo>
                      <a:cubicBezTo>
                        <a:pt x="228547" y="225480"/>
                        <a:pt x="229078" y="220555"/>
                        <a:pt x="230730" y="215983"/>
                      </a:cubicBezTo>
                      <a:cubicBezTo>
                        <a:pt x="233385" y="210054"/>
                        <a:pt x="237013" y="204597"/>
                        <a:pt x="241467" y="199849"/>
                      </a:cubicBezTo>
                      <a:cubicBezTo>
                        <a:pt x="248192" y="192416"/>
                        <a:pt x="253619" y="183921"/>
                        <a:pt x="257512" y="174689"/>
                      </a:cubicBezTo>
                      <a:cubicBezTo>
                        <a:pt x="263765" y="156372"/>
                        <a:pt x="268101" y="137465"/>
                        <a:pt x="270431" y="118234"/>
                      </a:cubicBezTo>
                      <a:cubicBezTo>
                        <a:pt x="272408" y="102837"/>
                        <a:pt x="271169" y="87204"/>
                        <a:pt x="266774" y="72309"/>
                      </a:cubicBezTo>
                      <a:cubicBezTo>
                        <a:pt x="262409" y="57413"/>
                        <a:pt x="254976" y="43609"/>
                        <a:pt x="244977" y="31723"/>
                      </a:cubicBezTo>
                      <a:cubicBezTo>
                        <a:pt x="236600" y="22284"/>
                        <a:pt x="226424" y="14645"/>
                        <a:pt x="215038" y="9217"/>
                      </a:cubicBezTo>
                      <a:cubicBezTo>
                        <a:pt x="203653" y="3790"/>
                        <a:pt x="191294" y="693"/>
                        <a:pt x="178699" y="103"/>
                      </a:cubicBezTo>
                      <a:cubicBezTo>
                        <a:pt x="166105" y="-487"/>
                        <a:pt x="153510" y="1460"/>
                        <a:pt x="141682" y="5825"/>
                      </a:cubicBezTo>
                      <a:cubicBezTo>
                        <a:pt x="129854" y="10191"/>
                        <a:pt x="119000" y="16886"/>
                        <a:pt x="109797" y="25499"/>
                      </a:cubicBezTo>
                      <a:cubicBezTo>
                        <a:pt x="88826" y="48919"/>
                        <a:pt x="78030" y="79712"/>
                        <a:pt x="79741" y="111125"/>
                      </a:cubicBezTo>
                      <a:cubicBezTo>
                        <a:pt x="79653" y="132067"/>
                        <a:pt x="83458" y="152832"/>
                        <a:pt x="90950" y="172388"/>
                      </a:cubicBezTo>
                      <a:cubicBezTo>
                        <a:pt x="97940" y="187431"/>
                        <a:pt x="107644" y="201028"/>
                        <a:pt x="119619" y="212502"/>
                      </a:cubicBezTo>
                      <a:lnTo>
                        <a:pt x="126934" y="220407"/>
                      </a:lnTo>
                      <a:cubicBezTo>
                        <a:pt x="127937" y="229197"/>
                        <a:pt x="127495" y="238105"/>
                        <a:pt x="125637" y="246776"/>
                      </a:cubicBezTo>
                      <a:cubicBezTo>
                        <a:pt x="119413" y="255183"/>
                        <a:pt x="97675" y="256097"/>
                        <a:pt x="90478" y="256805"/>
                      </a:cubicBezTo>
                      <a:lnTo>
                        <a:pt x="82750" y="256805"/>
                      </a:lnTo>
                      <a:cubicBezTo>
                        <a:pt x="63695" y="256805"/>
                        <a:pt x="31928" y="256805"/>
                        <a:pt x="10308" y="290283"/>
                      </a:cubicBezTo>
                      <a:cubicBezTo>
                        <a:pt x="-21046" y="338508"/>
                        <a:pt x="26944" y="518167"/>
                        <a:pt x="50393" y="560966"/>
                      </a:cubicBezTo>
                      <a:cubicBezTo>
                        <a:pt x="53608" y="566983"/>
                        <a:pt x="61218" y="581023"/>
                        <a:pt x="75140" y="581023"/>
                      </a:cubicBezTo>
                      <a:lnTo>
                        <a:pt x="252409" y="581023"/>
                      </a:lnTo>
                      <a:cubicBezTo>
                        <a:pt x="283881" y="581023"/>
                        <a:pt x="305620" y="581023"/>
                        <a:pt x="311843" y="580521"/>
                      </a:cubicBezTo>
                      <a:cubicBezTo>
                        <a:pt x="316091" y="580138"/>
                        <a:pt x="320161" y="578663"/>
                        <a:pt x="323671" y="576244"/>
                      </a:cubicBezTo>
                      <a:cubicBezTo>
                        <a:pt x="327181" y="573826"/>
                        <a:pt x="330013" y="570522"/>
                        <a:pt x="331871" y="566688"/>
                      </a:cubicBezTo>
                      <a:cubicBezTo>
                        <a:pt x="355232" y="527989"/>
                        <a:pt x="379772" y="328893"/>
                        <a:pt x="365231" y="297598"/>
                      </a:cubicBezTo>
                      <a:cubicBezTo>
                        <a:pt x="358860" y="284000"/>
                        <a:pt x="348595" y="272585"/>
                        <a:pt x="335765" y="264828"/>
                      </a:cubicBezTo>
                      <a:cubicBezTo>
                        <a:pt x="322934" y="257041"/>
                        <a:pt x="308068" y="253236"/>
                        <a:pt x="293084" y="253885"/>
                      </a:cubicBezTo>
                      <a:close/>
                      <a:moveTo>
                        <a:pt x="304499" y="548046"/>
                      </a:moveTo>
                      <a:cubicBezTo>
                        <a:pt x="279841" y="548548"/>
                        <a:pt x="193565" y="548046"/>
                        <a:pt x="134751" y="548046"/>
                      </a:cubicBezTo>
                      <a:lnTo>
                        <a:pt x="81127" y="548046"/>
                      </a:lnTo>
                      <a:cubicBezTo>
                        <a:pt x="59979" y="516781"/>
                        <a:pt x="18301" y="339128"/>
                        <a:pt x="38447" y="308128"/>
                      </a:cubicBezTo>
                      <a:cubicBezTo>
                        <a:pt x="50363" y="289781"/>
                        <a:pt x="65613" y="289781"/>
                        <a:pt x="83251" y="289693"/>
                      </a:cubicBezTo>
                      <a:lnTo>
                        <a:pt x="92159" y="289693"/>
                      </a:lnTo>
                      <a:cubicBezTo>
                        <a:pt x="105992" y="289103"/>
                        <a:pt x="138467" y="287776"/>
                        <a:pt x="153776" y="265123"/>
                      </a:cubicBezTo>
                      <a:cubicBezTo>
                        <a:pt x="162683" y="251879"/>
                        <a:pt x="163804" y="211676"/>
                        <a:pt x="155073" y="201854"/>
                      </a:cubicBezTo>
                      <a:cubicBezTo>
                        <a:pt x="151563" y="197754"/>
                        <a:pt x="147847" y="193743"/>
                        <a:pt x="144248" y="189938"/>
                      </a:cubicBezTo>
                      <a:cubicBezTo>
                        <a:pt x="135134" y="181325"/>
                        <a:pt x="127642" y="171120"/>
                        <a:pt x="122097" y="159852"/>
                      </a:cubicBezTo>
                      <a:cubicBezTo>
                        <a:pt x="116168" y="144072"/>
                        <a:pt x="113160" y="127318"/>
                        <a:pt x="113278" y="110417"/>
                      </a:cubicBezTo>
                      <a:cubicBezTo>
                        <a:pt x="111626" y="88001"/>
                        <a:pt x="118823" y="65820"/>
                        <a:pt x="133306" y="48653"/>
                      </a:cubicBezTo>
                      <a:cubicBezTo>
                        <a:pt x="138821" y="43403"/>
                        <a:pt x="145340" y="39303"/>
                        <a:pt x="152448" y="36648"/>
                      </a:cubicBezTo>
                      <a:cubicBezTo>
                        <a:pt x="159586" y="33994"/>
                        <a:pt x="167167" y="32814"/>
                        <a:pt x="174777" y="33197"/>
                      </a:cubicBezTo>
                      <a:cubicBezTo>
                        <a:pt x="183301" y="32961"/>
                        <a:pt x="191766" y="34613"/>
                        <a:pt x="199553" y="38094"/>
                      </a:cubicBezTo>
                      <a:cubicBezTo>
                        <a:pt x="207340" y="41574"/>
                        <a:pt x="214242" y="46736"/>
                        <a:pt x="219758" y="53255"/>
                      </a:cubicBezTo>
                      <a:cubicBezTo>
                        <a:pt x="226542" y="61484"/>
                        <a:pt x="231615" y="71040"/>
                        <a:pt x="234594" y="81276"/>
                      </a:cubicBezTo>
                      <a:cubicBezTo>
                        <a:pt x="237603" y="91540"/>
                        <a:pt x="238458" y="102277"/>
                        <a:pt x="237190" y="112895"/>
                      </a:cubicBezTo>
                      <a:cubicBezTo>
                        <a:pt x="235213" y="129944"/>
                        <a:pt x="231438" y="146756"/>
                        <a:pt x="225981" y="163038"/>
                      </a:cubicBezTo>
                      <a:cubicBezTo>
                        <a:pt x="223297" y="168819"/>
                        <a:pt x="219699" y="174128"/>
                        <a:pt x="215363" y="178789"/>
                      </a:cubicBezTo>
                      <a:cubicBezTo>
                        <a:pt x="208402" y="186428"/>
                        <a:pt x="202886" y="195247"/>
                        <a:pt x="199022" y="204863"/>
                      </a:cubicBezTo>
                      <a:cubicBezTo>
                        <a:pt x="195689" y="214361"/>
                        <a:pt x="194627" y="224537"/>
                        <a:pt x="195925" y="234506"/>
                      </a:cubicBezTo>
                      <a:cubicBezTo>
                        <a:pt x="197223" y="244505"/>
                        <a:pt x="200821" y="254062"/>
                        <a:pt x="206455" y="262409"/>
                      </a:cubicBezTo>
                      <a:cubicBezTo>
                        <a:pt x="223799" y="288189"/>
                        <a:pt x="260757" y="287687"/>
                        <a:pt x="285209" y="287481"/>
                      </a:cubicBezTo>
                      <a:lnTo>
                        <a:pt x="292435" y="287481"/>
                      </a:lnTo>
                      <a:cubicBezTo>
                        <a:pt x="301137" y="286714"/>
                        <a:pt x="309867" y="288601"/>
                        <a:pt x="317477" y="292878"/>
                      </a:cubicBezTo>
                      <a:cubicBezTo>
                        <a:pt x="325087" y="297155"/>
                        <a:pt x="331252" y="303615"/>
                        <a:pt x="335116" y="311431"/>
                      </a:cubicBezTo>
                      <a:cubicBezTo>
                        <a:pt x="345144" y="337299"/>
                        <a:pt x="320987" y="516751"/>
                        <a:pt x="304440" y="548046"/>
                      </a:cubicBezTo>
                      <a:close/>
                    </a:path>
                  </a:pathLst>
                </a:custGeom>
                <a:solidFill>
                  <a:srgbClr val="000000"/>
                </a:solidFill>
                <a:ln w="2948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D0D0D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8" name="Полилиния: фигура 27">
                  <a:extLst>
                    <a:ext uri="{FF2B5EF4-FFF2-40B4-BE49-F238E27FC236}">
                      <a16:creationId xmlns:a16="http://schemas.microsoft.com/office/drawing/2014/main" id="{C54B7D57-B30D-4395-B266-D12335B785EB}"/>
                    </a:ext>
                  </a:extLst>
                </p:cNvPr>
                <p:cNvSpPr/>
                <p:nvPr/>
              </p:nvSpPr>
              <p:spPr>
                <a:xfrm>
                  <a:off x="10491629" y="2418533"/>
                  <a:ext cx="389206" cy="1132074"/>
                </a:xfrm>
                <a:custGeom>
                  <a:avLst/>
                  <a:gdLst>
                    <a:gd name="connsiteX0" fmla="*/ 389148 w 389206"/>
                    <a:gd name="connsiteY0" fmla="*/ 396833 h 1132074"/>
                    <a:gd name="connsiteX1" fmla="*/ 387850 w 389206"/>
                    <a:gd name="connsiteY1" fmla="*/ 389695 h 1132074"/>
                    <a:gd name="connsiteX2" fmla="*/ 383662 w 389206"/>
                    <a:gd name="connsiteY2" fmla="*/ 383796 h 1132074"/>
                    <a:gd name="connsiteX3" fmla="*/ 377350 w 389206"/>
                    <a:gd name="connsiteY3" fmla="*/ 380227 h 1132074"/>
                    <a:gd name="connsiteX4" fmla="*/ 370123 w 389206"/>
                    <a:gd name="connsiteY4" fmla="*/ 379696 h 1132074"/>
                    <a:gd name="connsiteX5" fmla="*/ 328446 w 389206"/>
                    <a:gd name="connsiteY5" fmla="*/ 371378 h 1132074"/>
                    <a:gd name="connsiteX6" fmla="*/ 290956 w 389206"/>
                    <a:gd name="connsiteY6" fmla="*/ 323742 h 1132074"/>
                    <a:gd name="connsiteX7" fmla="*/ 290160 w 389206"/>
                    <a:gd name="connsiteY7" fmla="*/ 299969 h 1132074"/>
                    <a:gd name="connsiteX8" fmla="*/ 283730 w 389206"/>
                    <a:gd name="connsiteY8" fmla="*/ 260769 h 1132074"/>
                    <a:gd name="connsiteX9" fmla="*/ 273436 w 389206"/>
                    <a:gd name="connsiteY9" fmla="*/ 253867 h 1132074"/>
                    <a:gd name="connsiteX10" fmla="*/ 261077 w 389206"/>
                    <a:gd name="connsiteY10" fmla="*/ 252834 h 1132074"/>
                    <a:gd name="connsiteX11" fmla="*/ 238041 w 389206"/>
                    <a:gd name="connsiteY11" fmla="*/ 246021 h 1132074"/>
                    <a:gd name="connsiteX12" fmla="*/ 236242 w 389206"/>
                    <a:gd name="connsiteY12" fmla="*/ 229680 h 1132074"/>
                    <a:gd name="connsiteX13" fmla="*/ 287446 w 389206"/>
                    <a:gd name="connsiteY13" fmla="*/ 98748 h 1132074"/>
                    <a:gd name="connsiteX14" fmla="*/ 272993 w 389206"/>
                    <a:gd name="connsiteY14" fmla="*/ 52941 h 1132074"/>
                    <a:gd name="connsiteX15" fmla="*/ 241757 w 389206"/>
                    <a:gd name="connsiteY15" fmla="*/ 16455 h 1132074"/>
                    <a:gd name="connsiteX16" fmla="*/ 141560 w 389206"/>
                    <a:gd name="connsiteY16" fmla="*/ 6426 h 1132074"/>
                    <a:gd name="connsiteX17" fmla="*/ 131738 w 389206"/>
                    <a:gd name="connsiteY17" fmla="*/ 14125 h 1132074"/>
                    <a:gd name="connsiteX18" fmla="*/ 130027 w 389206"/>
                    <a:gd name="connsiteY18" fmla="*/ 26484 h 1132074"/>
                    <a:gd name="connsiteX19" fmla="*/ 131945 w 389206"/>
                    <a:gd name="connsiteY19" fmla="*/ 106683 h 1132074"/>
                    <a:gd name="connsiteX20" fmla="*/ 98467 w 389206"/>
                    <a:gd name="connsiteY20" fmla="*/ 159215 h 1132074"/>
                    <a:gd name="connsiteX21" fmla="*/ 94101 w 389206"/>
                    <a:gd name="connsiteY21" fmla="*/ 167179 h 1132074"/>
                    <a:gd name="connsiteX22" fmla="*/ 94573 w 389206"/>
                    <a:gd name="connsiteY22" fmla="*/ 176263 h 1132074"/>
                    <a:gd name="connsiteX23" fmla="*/ 129349 w 389206"/>
                    <a:gd name="connsiteY23" fmla="*/ 230506 h 1132074"/>
                    <a:gd name="connsiteX24" fmla="*/ 128051 w 389206"/>
                    <a:gd name="connsiteY24" fmla="*/ 244841 h 1132074"/>
                    <a:gd name="connsiteX25" fmla="*/ 82156 w 389206"/>
                    <a:gd name="connsiteY25" fmla="*/ 260267 h 1132074"/>
                    <a:gd name="connsiteX26" fmla="*/ 6706 w 389206"/>
                    <a:gd name="connsiteY26" fmla="*/ 295574 h 1132074"/>
                    <a:gd name="connsiteX27" fmla="*/ 187 w 389206"/>
                    <a:gd name="connsiteY27" fmla="*/ 342590 h 1132074"/>
                    <a:gd name="connsiteX28" fmla="*/ 187 w 389206"/>
                    <a:gd name="connsiteY28" fmla="*/ 354034 h 1132074"/>
                    <a:gd name="connsiteX29" fmla="*/ 2488 w 389206"/>
                    <a:gd name="connsiteY29" fmla="*/ 395624 h 1132074"/>
                    <a:gd name="connsiteX30" fmla="*/ 6676 w 389206"/>
                    <a:gd name="connsiteY30" fmla="*/ 405741 h 1132074"/>
                    <a:gd name="connsiteX31" fmla="*/ 16233 w 389206"/>
                    <a:gd name="connsiteY31" fmla="*/ 411079 h 1132074"/>
                    <a:gd name="connsiteX32" fmla="*/ 55728 w 389206"/>
                    <a:gd name="connsiteY32" fmla="*/ 414088 h 1132074"/>
                    <a:gd name="connsiteX33" fmla="*/ 153123 w 389206"/>
                    <a:gd name="connsiteY33" fmla="*/ 432434 h 1132074"/>
                    <a:gd name="connsiteX34" fmla="*/ 234383 w 389206"/>
                    <a:gd name="connsiteY34" fmla="*/ 731286 h 1132074"/>
                    <a:gd name="connsiteX35" fmla="*/ 235150 w 389206"/>
                    <a:gd name="connsiteY35" fmla="*/ 738129 h 1132074"/>
                    <a:gd name="connsiteX36" fmla="*/ 238631 w 389206"/>
                    <a:gd name="connsiteY36" fmla="*/ 744057 h 1132074"/>
                    <a:gd name="connsiteX37" fmla="*/ 244206 w 389206"/>
                    <a:gd name="connsiteY37" fmla="*/ 748098 h 1132074"/>
                    <a:gd name="connsiteX38" fmla="*/ 250931 w 389206"/>
                    <a:gd name="connsiteY38" fmla="*/ 749514 h 1132074"/>
                    <a:gd name="connsiteX39" fmla="*/ 251727 w 389206"/>
                    <a:gd name="connsiteY39" fmla="*/ 749514 h 1132074"/>
                    <a:gd name="connsiteX40" fmla="*/ 328386 w 389206"/>
                    <a:gd name="connsiteY40" fmla="*/ 734766 h 1132074"/>
                    <a:gd name="connsiteX41" fmla="*/ 271342 w 389206"/>
                    <a:gd name="connsiteY41" fmla="*/ 911475 h 1132074"/>
                    <a:gd name="connsiteX42" fmla="*/ 145808 w 389206"/>
                    <a:gd name="connsiteY42" fmla="*/ 1048277 h 1132074"/>
                    <a:gd name="connsiteX43" fmla="*/ 112330 w 389206"/>
                    <a:gd name="connsiteY43" fmla="*/ 990819 h 1132074"/>
                    <a:gd name="connsiteX44" fmla="*/ 82982 w 389206"/>
                    <a:gd name="connsiteY44" fmla="*/ 1101989 h 1132074"/>
                    <a:gd name="connsiteX45" fmla="*/ 193915 w 389206"/>
                    <a:gd name="connsiteY45" fmla="*/ 1132075 h 1132074"/>
                    <a:gd name="connsiteX46" fmla="*/ 162060 w 389206"/>
                    <a:gd name="connsiteY46" fmla="*/ 1077242 h 1132074"/>
                    <a:gd name="connsiteX47" fmla="*/ 361658 w 389206"/>
                    <a:gd name="connsiteY47" fmla="*/ 678518 h 1132074"/>
                    <a:gd name="connsiteX48" fmla="*/ 366967 w 389206"/>
                    <a:gd name="connsiteY48" fmla="*/ 647754 h 1132074"/>
                    <a:gd name="connsiteX49" fmla="*/ 389207 w 389206"/>
                    <a:gd name="connsiteY49" fmla="*/ 396803 h 1132074"/>
                    <a:gd name="connsiteX50" fmla="*/ 334433 w 389206"/>
                    <a:gd name="connsiteY50" fmla="*/ 642975 h 1132074"/>
                    <a:gd name="connsiteX51" fmla="*/ 330628 w 389206"/>
                    <a:gd name="connsiteY51" fmla="*/ 667634 h 1132074"/>
                    <a:gd name="connsiteX52" fmla="*/ 328711 w 389206"/>
                    <a:gd name="connsiteY52" fmla="*/ 676541 h 1132074"/>
                    <a:gd name="connsiteX53" fmla="*/ 328711 w 389206"/>
                    <a:gd name="connsiteY53" fmla="*/ 677043 h 1132074"/>
                    <a:gd name="connsiteX54" fmla="*/ 268599 w 389206"/>
                    <a:gd name="connsiteY54" fmla="*/ 715240 h 1132074"/>
                    <a:gd name="connsiteX55" fmla="*/ 167104 w 389206"/>
                    <a:gd name="connsiteY55" fmla="*/ 402437 h 1132074"/>
                    <a:gd name="connsiteX56" fmla="*/ 56258 w 389206"/>
                    <a:gd name="connsiteY56" fmla="*/ 379991 h 1132074"/>
                    <a:gd name="connsiteX57" fmla="*/ 34314 w 389206"/>
                    <a:gd name="connsiteY57" fmla="*/ 378988 h 1132074"/>
                    <a:gd name="connsiteX58" fmla="*/ 32809 w 389206"/>
                    <a:gd name="connsiteY58" fmla="*/ 352029 h 1132074"/>
                    <a:gd name="connsiteX59" fmla="*/ 32809 w 389206"/>
                    <a:gd name="connsiteY59" fmla="*/ 340997 h 1132074"/>
                    <a:gd name="connsiteX60" fmla="*/ 35021 w 389206"/>
                    <a:gd name="connsiteY60" fmla="*/ 310912 h 1132074"/>
                    <a:gd name="connsiteX61" fmla="*/ 85135 w 389206"/>
                    <a:gd name="connsiteY61" fmla="*/ 292270 h 1132074"/>
                    <a:gd name="connsiteX62" fmla="*/ 156780 w 389206"/>
                    <a:gd name="connsiteY62" fmla="*/ 259589 h 1132074"/>
                    <a:gd name="connsiteX63" fmla="*/ 152179 w 389206"/>
                    <a:gd name="connsiteY63" fmla="*/ 205553 h 1132074"/>
                    <a:gd name="connsiteX64" fmla="*/ 128936 w 389206"/>
                    <a:gd name="connsiteY64" fmla="*/ 173461 h 1132074"/>
                    <a:gd name="connsiteX65" fmla="*/ 162414 w 389206"/>
                    <a:gd name="connsiteY65" fmla="*/ 117331 h 1132074"/>
                    <a:gd name="connsiteX66" fmla="*/ 164921 w 389206"/>
                    <a:gd name="connsiteY66" fmla="*/ 34418 h 1132074"/>
                    <a:gd name="connsiteX67" fmla="*/ 221051 w 389206"/>
                    <a:gd name="connsiteY67" fmla="*/ 42234 h 1132074"/>
                    <a:gd name="connsiteX68" fmla="*/ 243468 w 389206"/>
                    <a:gd name="connsiteY68" fmla="*/ 68279 h 1132074"/>
                    <a:gd name="connsiteX69" fmla="*/ 254116 w 389206"/>
                    <a:gd name="connsiteY69" fmla="*/ 100961 h 1132074"/>
                    <a:gd name="connsiteX70" fmla="*/ 212439 w 389206"/>
                    <a:gd name="connsiteY70" fmla="*/ 205641 h 1132074"/>
                    <a:gd name="connsiteX71" fmla="*/ 205330 w 389206"/>
                    <a:gd name="connsiteY71" fmla="*/ 252067 h 1132074"/>
                    <a:gd name="connsiteX72" fmla="*/ 256948 w 389206"/>
                    <a:gd name="connsiteY72" fmla="*/ 285663 h 1132074"/>
                    <a:gd name="connsiteX73" fmla="*/ 256948 w 389206"/>
                    <a:gd name="connsiteY73" fmla="*/ 298494 h 1132074"/>
                    <a:gd name="connsiteX74" fmla="*/ 258659 w 389206"/>
                    <a:gd name="connsiteY74" fmla="*/ 330969 h 1132074"/>
                    <a:gd name="connsiteX75" fmla="*/ 314789 w 389206"/>
                    <a:gd name="connsiteY75" fmla="*/ 401139 h 1132074"/>
                    <a:gd name="connsiteX76" fmla="*/ 354874 w 389206"/>
                    <a:gd name="connsiteY76" fmla="*/ 412761 h 1132074"/>
                    <a:gd name="connsiteX77" fmla="*/ 334522 w 389206"/>
                    <a:gd name="connsiteY77" fmla="*/ 642946 h 11320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</a:cxnLst>
                  <a:rect l="l" t="t" r="r" b="b"/>
                  <a:pathLst>
                    <a:path w="389206" h="1132074">
                      <a:moveTo>
                        <a:pt x="389148" y="396833"/>
                      </a:moveTo>
                      <a:cubicBezTo>
                        <a:pt x="389236" y="394385"/>
                        <a:pt x="388794" y="391966"/>
                        <a:pt x="387850" y="389695"/>
                      </a:cubicBezTo>
                      <a:cubicBezTo>
                        <a:pt x="386906" y="387453"/>
                        <a:pt x="385461" y="385418"/>
                        <a:pt x="383662" y="383796"/>
                      </a:cubicBezTo>
                      <a:cubicBezTo>
                        <a:pt x="381833" y="382144"/>
                        <a:pt x="379680" y="380935"/>
                        <a:pt x="377350" y="380227"/>
                      </a:cubicBezTo>
                      <a:cubicBezTo>
                        <a:pt x="375019" y="379519"/>
                        <a:pt x="372542" y="379342"/>
                        <a:pt x="370123" y="379696"/>
                      </a:cubicBezTo>
                      <a:cubicBezTo>
                        <a:pt x="355700" y="381230"/>
                        <a:pt x="341158" y="378309"/>
                        <a:pt x="328446" y="371378"/>
                      </a:cubicBezTo>
                      <a:cubicBezTo>
                        <a:pt x="302991" y="359845"/>
                        <a:pt x="297268" y="350436"/>
                        <a:pt x="290956" y="323742"/>
                      </a:cubicBezTo>
                      <a:cubicBezTo>
                        <a:pt x="289777" y="315867"/>
                        <a:pt x="289511" y="307903"/>
                        <a:pt x="290160" y="299969"/>
                      </a:cubicBezTo>
                      <a:cubicBezTo>
                        <a:pt x="290661" y="285132"/>
                        <a:pt x="291163" y="271092"/>
                        <a:pt x="283730" y="260769"/>
                      </a:cubicBezTo>
                      <a:cubicBezTo>
                        <a:pt x="280928" y="257642"/>
                        <a:pt x="277388" y="255253"/>
                        <a:pt x="273436" y="253867"/>
                      </a:cubicBezTo>
                      <a:cubicBezTo>
                        <a:pt x="269483" y="252480"/>
                        <a:pt x="265236" y="252126"/>
                        <a:pt x="261077" y="252834"/>
                      </a:cubicBezTo>
                      <a:cubicBezTo>
                        <a:pt x="242642" y="252834"/>
                        <a:pt x="238926" y="250534"/>
                        <a:pt x="238041" y="246021"/>
                      </a:cubicBezTo>
                      <a:cubicBezTo>
                        <a:pt x="236979" y="240623"/>
                        <a:pt x="236389" y="235166"/>
                        <a:pt x="236242" y="229680"/>
                      </a:cubicBezTo>
                      <a:cubicBezTo>
                        <a:pt x="276327" y="198297"/>
                        <a:pt x="290750" y="141960"/>
                        <a:pt x="287446" y="98748"/>
                      </a:cubicBezTo>
                      <a:cubicBezTo>
                        <a:pt x="285765" y="82644"/>
                        <a:pt x="280839" y="67070"/>
                        <a:pt x="272993" y="52941"/>
                      </a:cubicBezTo>
                      <a:cubicBezTo>
                        <a:pt x="265148" y="38783"/>
                        <a:pt x="254529" y="26395"/>
                        <a:pt x="241757" y="16455"/>
                      </a:cubicBezTo>
                      <a:cubicBezTo>
                        <a:pt x="205891" y="-11507"/>
                        <a:pt x="147754" y="4126"/>
                        <a:pt x="141560" y="6426"/>
                      </a:cubicBezTo>
                      <a:cubicBezTo>
                        <a:pt x="137431" y="7636"/>
                        <a:pt x="133891" y="10379"/>
                        <a:pt x="131738" y="14125"/>
                      </a:cubicBezTo>
                      <a:cubicBezTo>
                        <a:pt x="129585" y="17871"/>
                        <a:pt x="128966" y="22295"/>
                        <a:pt x="130027" y="26484"/>
                      </a:cubicBezTo>
                      <a:cubicBezTo>
                        <a:pt x="135248" y="47426"/>
                        <a:pt x="138935" y="87953"/>
                        <a:pt x="131945" y="106683"/>
                      </a:cubicBezTo>
                      <a:cubicBezTo>
                        <a:pt x="124630" y="126356"/>
                        <a:pt x="113215" y="144260"/>
                        <a:pt x="98467" y="159215"/>
                      </a:cubicBezTo>
                      <a:cubicBezTo>
                        <a:pt x="96314" y="161427"/>
                        <a:pt x="94780" y="164170"/>
                        <a:pt x="94101" y="167179"/>
                      </a:cubicBezTo>
                      <a:cubicBezTo>
                        <a:pt x="93423" y="170187"/>
                        <a:pt x="93571" y="173343"/>
                        <a:pt x="94573" y="176263"/>
                      </a:cubicBezTo>
                      <a:cubicBezTo>
                        <a:pt x="101063" y="197146"/>
                        <a:pt x="113067" y="215876"/>
                        <a:pt x="129349" y="230506"/>
                      </a:cubicBezTo>
                      <a:cubicBezTo>
                        <a:pt x="129555" y="235314"/>
                        <a:pt x="129113" y="240151"/>
                        <a:pt x="128051" y="244841"/>
                      </a:cubicBezTo>
                      <a:cubicBezTo>
                        <a:pt x="121326" y="255459"/>
                        <a:pt x="106106" y="257878"/>
                        <a:pt x="82156" y="260267"/>
                      </a:cubicBezTo>
                      <a:cubicBezTo>
                        <a:pt x="55905" y="262981"/>
                        <a:pt x="23223" y="266373"/>
                        <a:pt x="6706" y="295574"/>
                      </a:cubicBezTo>
                      <a:cubicBezTo>
                        <a:pt x="-609" y="308493"/>
                        <a:pt x="-226" y="327341"/>
                        <a:pt x="187" y="342590"/>
                      </a:cubicBezTo>
                      <a:lnTo>
                        <a:pt x="187" y="354034"/>
                      </a:lnTo>
                      <a:lnTo>
                        <a:pt x="2488" y="395624"/>
                      </a:lnTo>
                      <a:cubicBezTo>
                        <a:pt x="2694" y="399369"/>
                        <a:pt x="4169" y="402938"/>
                        <a:pt x="6676" y="405741"/>
                      </a:cubicBezTo>
                      <a:cubicBezTo>
                        <a:pt x="9183" y="408543"/>
                        <a:pt x="12546" y="410430"/>
                        <a:pt x="16233" y="411079"/>
                      </a:cubicBezTo>
                      <a:cubicBezTo>
                        <a:pt x="29299" y="412967"/>
                        <a:pt x="42513" y="413970"/>
                        <a:pt x="55728" y="414088"/>
                      </a:cubicBezTo>
                      <a:cubicBezTo>
                        <a:pt x="89146" y="412908"/>
                        <a:pt x="122417" y="419191"/>
                        <a:pt x="153123" y="432434"/>
                      </a:cubicBezTo>
                      <a:cubicBezTo>
                        <a:pt x="240312" y="474436"/>
                        <a:pt x="245415" y="618199"/>
                        <a:pt x="234383" y="731286"/>
                      </a:cubicBezTo>
                      <a:cubicBezTo>
                        <a:pt x="234148" y="733586"/>
                        <a:pt x="234413" y="735917"/>
                        <a:pt x="235150" y="738129"/>
                      </a:cubicBezTo>
                      <a:cubicBezTo>
                        <a:pt x="235888" y="740341"/>
                        <a:pt x="237068" y="742347"/>
                        <a:pt x="238631" y="744057"/>
                      </a:cubicBezTo>
                      <a:cubicBezTo>
                        <a:pt x="240194" y="745768"/>
                        <a:pt x="242082" y="747154"/>
                        <a:pt x="244206" y="748098"/>
                      </a:cubicBezTo>
                      <a:cubicBezTo>
                        <a:pt x="246329" y="749042"/>
                        <a:pt x="248600" y="749514"/>
                        <a:pt x="250931" y="749514"/>
                      </a:cubicBezTo>
                      <a:lnTo>
                        <a:pt x="251727" y="749514"/>
                      </a:lnTo>
                      <a:cubicBezTo>
                        <a:pt x="287712" y="747803"/>
                        <a:pt x="311839" y="744205"/>
                        <a:pt x="328386" y="734766"/>
                      </a:cubicBezTo>
                      <a:cubicBezTo>
                        <a:pt x="322310" y="797091"/>
                        <a:pt x="302843" y="857380"/>
                        <a:pt x="271342" y="911475"/>
                      </a:cubicBezTo>
                      <a:cubicBezTo>
                        <a:pt x="239840" y="965571"/>
                        <a:pt x="197012" y="1012233"/>
                        <a:pt x="145808" y="1048277"/>
                      </a:cubicBezTo>
                      <a:lnTo>
                        <a:pt x="112330" y="990819"/>
                      </a:lnTo>
                      <a:lnTo>
                        <a:pt x="82982" y="1101989"/>
                      </a:lnTo>
                      <a:lnTo>
                        <a:pt x="193915" y="1132075"/>
                      </a:lnTo>
                      <a:lnTo>
                        <a:pt x="162060" y="1077242"/>
                      </a:lnTo>
                      <a:cubicBezTo>
                        <a:pt x="291723" y="987811"/>
                        <a:pt x="370801" y="831099"/>
                        <a:pt x="361658" y="678518"/>
                      </a:cubicBezTo>
                      <a:cubicBezTo>
                        <a:pt x="363663" y="669492"/>
                        <a:pt x="365374" y="659257"/>
                        <a:pt x="366967" y="647754"/>
                      </a:cubicBezTo>
                      <a:cubicBezTo>
                        <a:pt x="378205" y="568941"/>
                        <a:pt x="385520" y="484347"/>
                        <a:pt x="389207" y="396803"/>
                      </a:cubicBezTo>
                      <a:close/>
                      <a:moveTo>
                        <a:pt x="334433" y="642975"/>
                      </a:moveTo>
                      <a:cubicBezTo>
                        <a:pt x="333135" y="652502"/>
                        <a:pt x="331926" y="660525"/>
                        <a:pt x="330628" y="667634"/>
                      </a:cubicBezTo>
                      <a:cubicBezTo>
                        <a:pt x="329153" y="670377"/>
                        <a:pt x="328505" y="673474"/>
                        <a:pt x="328711" y="676541"/>
                      </a:cubicBezTo>
                      <a:lnTo>
                        <a:pt x="328711" y="677043"/>
                      </a:lnTo>
                      <a:cubicBezTo>
                        <a:pt x="321809" y="707129"/>
                        <a:pt x="310276" y="712644"/>
                        <a:pt x="268599" y="715240"/>
                      </a:cubicBezTo>
                      <a:cubicBezTo>
                        <a:pt x="281931" y="546613"/>
                        <a:pt x="247863" y="441430"/>
                        <a:pt x="167104" y="402437"/>
                      </a:cubicBezTo>
                      <a:cubicBezTo>
                        <a:pt x="132269" y="386804"/>
                        <a:pt x="94426" y="379135"/>
                        <a:pt x="56258" y="379991"/>
                      </a:cubicBezTo>
                      <a:cubicBezTo>
                        <a:pt x="48649" y="379991"/>
                        <a:pt x="41216" y="379991"/>
                        <a:pt x="34314" y="378988"/>
                      </a:cubicBezTo>
                      <a:lnTo>
                        <a:pt x="32809" y="352029"/>
                      </a:lnTo>
                      <a:lnTo>
                        <a:pt x="32809" y="340997"/>
                      </a:lnTo>
                      <a:cubicBezTo>
                        <a:pt x="31865" y="330910"/>
                        <a:pt x="32603" y="320763"/>
                        <a:pt x="35021" y="310912"/>
                      </a:cubicBezTo>
                      <a:cubicBezTo>
                        <a:pt x="42543" y="297579"/>
                        <a:pt x="58972" y="294984"/>
                        <a:pt x="85135" y="292270"/>
                      </a:cubicBezTo>
                      <a:cubicBezTo>
                        <a:pt x="111298" y="289557"/>
                        <a:pt x="141354" y="286460"/>
                        <a:pt x="156780" y="259589"/>
                      </a:cubicBezTo>
                      <a:cubicBezTo>
                        <a:pt x="160673" y="252864"/>
                        <a:pt x="168814" y="218177"/>
                        <a:pt x="152179" y="205553"/>
                      </a:cubicBezTo>
                      <a:cubicBezTo>
                        <a:pt x="141855" y="196969"/>
                        <a:pt x="133862" y="185938"/>
                        <a:pt x="128936" y="173461"/>
                      </a:cubicBezTo>
                      <a:cubicBezTo>
                        <a:pt x="143389" y="156914"/>
                        <a:pt x="154715" y="137889"/>
                        <a:pt x="162414" y="117331"/>
                      </a:cubicBezTo>
                      <a:cubicBezTo>
                        <a:pt x="171440" y="93469"/>
                        <a:pt x="168519" y="57189"/>
                        <a:pt x="164921" y="34418"/>
                      </a:cubicBezTo>
                      <a:cubicBezTo>
                        <a:pt x="182147" y="31822"/>
                        <a:pt x="206923" y="31203"/>
                        <a:pt x="221051" y="42234"/>
                      </a:cubicBezTo>
                      <a:cubicBezTo>
                        <a:pt x="230166" y="49343"/>
                        <a:pt x="237805" y="58192"/>
                        <a:pt x="243468" y="68279"/>
                      </a:cubicBezTo>
                      <a:cubicBezTo>
                        <a:pt x="249131" y="78367"/>
                        <a:pt x="252759" y="89487"/>
                        <a:pt x="254116" y="100961"/>
                      </a:cubicBezTo>
                      <a:cubicBezTo>
                        <a:pt x="256712" y="135235"/>
                        <a:pt x="244796" y="182664"/>
                        <a:pt x="212439" y="205641"/>
                      </a:cubicBezTo>
                      <a:cubicBezTo>
                        <a:pt x="208221" y="208650"/>
                        <a:pt x="198222" y="215670"/>
                        <a:pt x="205330" y="252067"/>
                      </a:cubicBezTo>
                      <a:cubicBezTo>
                        <a:pt x="211347" y="282832"/>
                        <a:pt x="241403" y="285545"/>
                        <a:pt x="256948" y="285663"/>
                      </a:cubicBezTo>
                      <a:lnTo>
                        <a:pt x="256948" y="298494"/>
                      </a:lnTo>
                      <a:cubicBezTo>
                        <a:pt x="256122" y="309348"/>
                        <a:pt x="256682" y="320262"/>
                        <a:pt x="258659" y="330969"/>
                      </a:cubicBezTo>
                      <a:cubicBezTo>
                        <a:pt x="266563" y="364358"/>
                        <a:pt x="277388" y="384297"/>
                        <a:pt x="314789" y="401139"/>
                      </a:cubicBezTo>
                      <a:cubicBezTo>
                        <a:pt x="327384" y="407304"/>
                        <a:pt x="340952" y="411227"/>
                        <a:pt x="354874" y="412761"/>
                      </a:cubicBezTo>
                      <a:cubicBezTo>
                        <a:pt x="351452" y="493668"/>
                        <a:pt x="344462" y="570858"/>
                        <a:pt x="334522" y="642946"/>
                      </a:cubicBezTo>
                      <a:close/>
                    </a:path>
                  </a:pathLst>
                </a:custGeom>
                <a:solidFill>
                  <a:srgbClr val="000000"/>
                </a:solidFill>
                <a:ln w="2948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D0D0D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29" name="Полилиния: фигура 28">
                  <a:extLst>
                    <a:ext uri="{FF2B5EF4-FFF2-40B4-BE49-F238E27FC236}">
                      <a16:creationId xmlns:a16="http://schemas.microsoft.com/office/drawing/2014/main" id="{D94331C9-7600-42D5-80C5-48B59AB53436}"/>
                    </a:ext>
                  </a:extLst>
                </p:cNvPr>
                <p:cNvSpPr/>
                <p:nvPr/>
              </p:nvSpPr>
              <p:spPr>
                <a:xfrm>
                  <a:off x="9410517" y="2575586"/>
                  <a:ext cx="369442" cy="1013749"/>
                </a:xfrm>
                <a:custGeom>
                  <a:avLst/>
                  <a:gdLst>
                    <a:gd name="connsiteX0" fmla="*/ 292935 w 369442"/>
                    <a:gd name="connsiteY0" fmla="*/ 253525 h 1013749"/>
                    <a:gd name="connsiteX1" fmla="*/ 285207 w 369442"/>
                    <a:gd name="connsiteY1" fmla="*/ 253525 h 1013749"/>
                    <a:gd name="connsiteX2" fmla="*/ 234298 w 369442"/>
                    <a:gd name="connsiteY2" fmla="*/ 243497 h 1013749"/>
                    <a:gd name="connsiteX3" fmla="*/ 229136 w 369442"/>
                    <a:gd name="connsiteY3" fmla="*/ 229988 h 1013749"/>
                    <a:gd name="connsiteX4" fmla="*/ 230581 w 369442"/>
                    <a:gd name="connsiteY4" fmla="*/ 215623 h 1013749"/>
                    <a:gd name="connsiteX5" fmla="*/ 241288 w 369442"/>
                    <a:gd name="connsiteY5" fmla="*/ 199489 h 1013749"/>
                    <a:gd name="connsiteX6" fmla="*/ 257334 w 369442"/>
                    <a:gd name="connsiteY6" fmla="*/ 174329 h 1013749"/>
                    <a:gd name="connsiteX7" fmla="*/ 270253 w 369442"/>
                    <a:gd name="connsiteY7" fmla="*/ 117874 h 1013749"/>
                    <a:gd name="connsiteX8" fmla="*/ 266655 w 369442"/>
                    <a:gd name="connsiteY8" fmla="*/ 72185 h 1013749"/>
                    <a:gd name="connsiteX9" fmla="*/ 245093 w 369442"/>
                    <a:gd name="connsiteY9" fmla="*/ 31746 h 1013749"/>
                    <a:gd name="connsiteX10" fmla="*/ 213562 w 369442"/>
                    <a:gd name="connsiteY10" fmla="*/ 8032 h 1013749"/>
                    <a:gd name="connsiteX11" fmla="*/ 174952 w 369442"/>
                    <a:gd name="connsiteY11" fmla="*/ 38 h 1013749"/>
                    <a:gd name="connsiteX12" fmla="*/ 139646 w 369442"/>
                    <a:gd name="connsiteY12" fmla="*/ 6203 h 1013749"/>
                    <a:gd name="connsiteX13" fmla="*/ 109619 w 369442"/>
                    <a:gd name="connsiteY13" fmla="*/ 25788 h 1013749"/>
                    <a:gd name="connsiteX14" fmla="*/ 79563 w 369442"/>
                    <a:gd name="connsiteY14" fmla="*/ 111415 h 1013749"/>
                    <a:gd name="connsiteX15" fmla="*/ 90801 w 369442"/>
                    <a:gd name="connsiteY15" fmla="*/ 172677 h 1013749"/>
                    <a:gd name="connsiteX16" fmla="*/ 119471 w 369442"/>
                    <a:gd name="connsiteY16" fmla="*/ 212792 h 1013749"/>
                    <a:gd name="connsiteX17" fmla="*/ 126786 w 369442"/>
                    <a:gd name="connsiteY17" fmla="*/ 220726 h 1013749"/>
                    <a:gd name="connsiteX18" fmla="*/ 125488 w 369442"/>
                    <a:gd name="connsiteY18" fmla="*/ 247095 h 1013749"/>
                    <a:gd name="connsiteX19" fmla="*/ 90329 w 369442"/>
                    <a:gd name="connsiteY19" fmla="*/ 257124 h 1013749"/>
                    <a:gd name="connsiteX20" fmla="*/ 82601 w 369442"/>
                    <a:gd name="connsiteY20" fmla="*/ 257124 h 1013749"/>
                    <a:gd name="connsiteX21" fmla="*/ 10159 w 369442"/>
                    <a:gd name="connsiteY21" fmla="*/ 290601 h 1013749"/>
                    <a:gd name="connsiteX22" fmla="*/ 48032 w 369442"/>
                    <a:gd name="connsiteY22" fmla="*/ 557391 h 1013749"/>
                    <a:gd name="connsiteX23" fmla="*/ 247836 w 369442"/>
                    <a:gd name="connsiteY23" fmla="*/ 958917 h 1013749"/>
                    <a:gd name="connsiteX24" fmla="*/ 215981 w 369442"/>
                    <a:gd name="connsiteY24" fmla="*/ 1013750 h 1013749"/>
                    <a:gd name="connsiteX25" fmla="*/ 326914 w 369442"/>
                    <a:gd name="connsiteY25" fmla="*/ 983664 h 1013749"/>
                    <a:gd name="connsiteX26" fmla="*/ 298068 w 369442"/>
                    <a:gd name="connsiteY26" fmla="*/ 872495 h 1013749"/>
                    <a:gd name="connsiteX27" fmla="*/ 264590 w 369442"/>
                    <a:gd name="connsiteY27" fmla="*/ 929952 h 1013749"/>
                    <a:gd name="connsiteX28" fmla="*/ 80713 w 369442"/>
                    <a:gd name="connsiteY28" fmla="*/ 580752 h 1013749"/>
                    <a:gd name="connsiteX29" fmla="*/ 252674 w 369442"/>
                    <a:gd name="connsiteY29" fmla="*/ 580752 h 1013749"/>
                    <a:gd name="connsiteX30" fmla="*/ 312108 w 369442"/>
                    <a:gd name="connsiteY30" fmla="*/ 580250 h 1013749"/>
                    <a:gd name="connsiteX31" fmla="*/ 323935 w 369442"/>
                    <a:gd name="connsiteY31" fmla="*/ 575973 h 1013749"/>
                    <a:gd name="connsiteX32" fmla="*/ 332135 w 369442"/>
                    <a:gd name="connsiteY32" fmla="*/ 566417 h 1013749"/>
                    <a:gd name="connsiteX33" fmla="*/ 365112 w 369442"/>
                    <a:gd name="connsiteY33" fmla="*/ 297238 h 1013749"/>
                    <a:gd name="connsiteX34" fmla="*/ 335645 w 369442"/>
                    <a:gd name="connsiteY34" fmla="*/ 264468 h 1013749"/>
                    <a:gd name="connsiteX35" fmla="*/ 292965 w 369442"/>
                    <a:gd name="connsiteY35" fmla="*/ 253525 h 1013749"/>
                    <a:gd name="connsiteX36" fmla="*/ 304350 w 369442"/>
                    <a:gd name="connsiteY36" fmla="*/ 547864 h 1013749"/>
                    <a:gd name="connsiteX37" fmla="*/ 134602 w 369442"/>
                    <a:gd name="connsiteY37" fmla="*/ 547864 h 1013749"/>
                    <a:gd name="connsiteX38" fmla="*/ 80979 w 369442"/>
                    <a:gd name="connsiteY38" fmla="*/ 547864 h 1013749"/>
                    <a:gd name="connsiteX39" fmla="*/ 38298 w 369442"/>
                    <a:gd name="connsiteY39" fmla="*/ 308152 h 1013749"/>
                    <a:gd name="connsiteX40" fmla="*/ 83102 w 369442"/>
                    <a:gd name="connsiteY40" fmla="*/ 289717 h 1013749"/>
                    <a:gd name="connsiteX41" fmla="*/ 91833 w 369442"/>
                    <a:gd name="connsiteY41" fmla="*/ 289717 h 1013749"/>
                    <a:gd name="connsiteX42" fmla="*/ 153450 w 369442"/>
                    <a:gd name="connsiteY42" fmla="*/ 265147 h 1013749"/>
                    <a:gd name="connsiteX43" fmla="*/ 154748 w 369442"/>
                    <a:gd name="connsiteY43" fmla="*/ 201878 h 1013749"/>
                    <a:gd name="connsiteX44" fmla="*/ 143923 w 369442"/>
                    <a:gd name="connsiteY44" fmla="*/ 189932 h 1013749"/>
                    <a:gd name="connsiteX45" fmla="*/ 121771 w 369442"/>
                    <a:gd name="connsiteY45" fmla="*/ 159847 h 1013749"/>
                    <a:gd name="connsiteX46" fmla="*/ 112952 w 369442"/>
                    <a:gd name="connsiteY46" fmla="*/ 110412 h 1013749"/>
                    <a:gd name="connsiteX47" fmla="*/ 132980 w 369442"/>
                    <a:gd name="connsiteY47" fmla="*/ 48648 h 1013749"/>
                    <a:gd name="connsiteX48" fmla="*/ 152181 w 369442"/>
                    <a:gd name="connsiteY48" fmla="*/ 36377 h 1013749"/>
                    <a:gd name="connsiteX49" fmla="*/ 174657 w 369442"/>
                    <a:gd name="connsiteY49" fmla="*/ 32808 h 1013749"/>
                    <a:gd name="connsiteX50" fmla="*/ 199434 w 369442"/>
                    <a:gd name="connsiteY50" fmla="*/ 37705 h 1013749"/>
                    <a:gd name="connsiteX51" fmla="*/ 219638 w 369442"/>
                    <a:gd name="connsiteY51" fmla="*/ 52865 h 1013749"/>
                    <a:gd name="connsiteX52" fmla="*/ 234475 w 369442"/>
                    <a:gd name="connsiteY52" fmla="*/ 80857 h 1013749"/>
                    <a:gd name="connsiteX53" fmla="*/ 237070 w 369442"/>
                    <a:gd name="connsiteY53" fmla="*/ 112417 h 1013749"/>
                    <a:gd name="connsiteX54" fmla="*/ 225862 w 369442"/>
                    <a:gd name="connsiteY54" fmla="*/ 162531 h 1013749"/>
                    <a:gd name="connsiteX55" fmla="*/ 215243 w 369442"/>
                    <a:gd name="connsiteY55" fmla="*/ 178282 h 1013749"/>
                    <a:gd name="connsiteX56" fmla="*/ 198903 w 369442"/>
                    <a:gd name="connsiteY56" fmla="*/ 204356 h 1013749"/>
                    <a:gd name="connsiteX57" fmla="*/ 195806 w 369442"/>
                    <a:gd name="connsiteY57" fmla="*/ 233999 h 1013749"/>
                    <a:gd name="connsiteX58" fmla="*/ 206336 w 369442"/>
                    <a:gd name="connsiteY58" fmla="*/ 261902 h 1013749"/>
                    <a:gd name="connsiteX59" fmla="*/ 285591 w 369442"/>
                    <a:gd name="connsiteY59" fmla="*/ 287180 h 1013749"/>
                    <a:gd name="connsiteX60" fmla="*/ 292817 w 369442"/>
                    <a:gd name="connsiteY60" fmla="*/ 287180 h 1013749"/>
                    <a:gd name="connsiteX61" fmla="*/ 317594 w 369442"/>
                    <a:gd name="connsiteY61" fmla="*/ 292932 h 1013749"/>
                    <a:gd name="connsiteX62" fmla="*/ 334908 w 369442"/>
                    <a:gd name="connsiteY62" fmla="*/ 311544 h 1013749"/>
                    <a:gd name="connsiteX63" fmla="*/ 304350 w 369442"/>
                    <a:gd name="connsiteY63" fmla="*/ 547834 h 101374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</a:cxnLst>
                  <a:rect l="l" t="t" r="r" b="b"/>
                  <a:pathLst>
                    <a:path w="369442" h="1013749">
                      <a:moveTo>
                        <a:pt x="292935" y="253525"/>
                      </a:moveTo>
                      <a:lnTo>
                        <a:pt x="285207" y="253525"/>
                      </a:lnTo>
                      <a:cubicBezTo>
                        <a:pt x="268867" y="253525"/>
                        <a:pt x="241613" y="253525"/>
                        <a:pt x="234298" y="243497"/>
                      </a:cubicBezTo>
                      <a:cubicBezTo>
                        <a:pt x="231555" y="239456"/>
                        <a:pt x="229785" y="234825"/>
                        <a:pt x="229136" y="229988"/>
                      </a:cubicBezTo>
                      <a:cubicBezTo>
                        <a:pt x="228487" y="225150"/>
                        <a:pt x="228988" y="220225"/>
                        <a:pt x="230581" y="215623"/>
                      </a:cubicBezTo>
                      <a:cubicBezTo>
                        <a:pt x="233236" y="209695"/>
                        <a:pt x="236864" y="204238"/>
                        <a:pt x="241288" y="199489"/>
                      </a:cubicBezTo>
                      <a:cubicBezTo>
                        <a:pt x="248013" y="192086"/>
                        <a:pt x="253440" y="183561"/>
                        <a:pt x="257334" y="174329"/>
                      </a:cubicBezTo>
                      <a:cubicBezTo>
                        <a:pt x="263617" y="156012"/>
                        <a:pt x="267952" y="137105"/>
                        <a:pt x="270253" y="117874"/>
                      </a:cubicBezTo>
                      <a:cubicBezTo>
                        <a:pt x="272200" y="102566"/>
                        <a:pt x="270990" y="86992"/>
                        <a:pt x="266655" y="72185"/>
                      </a:cubicBezTo>
                      <a:cubicBezTo>
                        <a:pt x="262319" y="57378"/>
                        <a:pt x="254974" y="43604"/>
                        <a:pt x="245093" y="31746"/>
                      </a:cubicBezTo>
                      <a:cubicBezTo>
                        <a:pt x="236451" y="21629"/>
                        <a:pt x="225685" y="13518"/>
                        <a:pt x="213562" y="8032"/>
                      </a:cubicBezTo>
                      <a:cubicBezTo>
                        <a:pt x="201439" y="2546"/>
                        <a:pt x="188255" y="-168"/>
                        <a:pt x="174952" y="38"/>
                      </a:cubicBezTo>
                      <a:cubicBezTo>
                        <a:pt x="162888" y="-316"/>
                        <a:pt x="150884" y="1779"/>
                        <a:pt x="139646" y="6203"/>
                      </a:cubicBezTo>
                      <a:cubicBezTo>
                        <a:pt x="128408" y="10627"/>
                        <a:pt x="118202" y="17293"/>
                        <a:pt x="109619" y="25788"/>
                      </a:cubicBezTo>
                      <a:cubicBezTo>
                        <a:pt x="88648" y="49208"/>
                        <a:pt x="77852" y="80002"/>
                        <a:pt x="79563" y="111415"/>
                      </a:cubicBezTo>
                      <a:cubicBezTo>
                        <a:pt x="79504" y="132357"/>
                        <a:pt x="83309" y="153122"/>
                        <a:pt x="90801" y="172677"/>
                      </a:cubicBezTo>
                      <a:cubicBezTo>
                        <a:pt x="97791" y="187720"/>
                        <a:pt x="107495" y="201318"/>
                        <a:pt x="119471" y="212792"/>
                      </a:cubicBezTo>
                      <a:lnTo>
                        <a:pt x="126786" y="220726"/>
                      </a:lnTo>
                      <a:cubicBezTo>
                        <a:pt x="127788" y="229516"/>
                        <a:pt x="127346" y="238423"/>
                        <a:pt x="125488" y="247095"/>
                      </a:cubicBezTo>
                      <a:cubicBezTo>
                        <a:pt x="119382" y="255531"/>
                        <a:pt x="97526" y="256416"/>
                        <a:pt x="90329" y="257124"/>
                      </a:cubicBezTo>
                      <a:lnTo>
                        <a:pt x="82601" y="257124"/>
                      </a:lnTo>
                      <a:cubicBezTo>
                        <a:pt x="63547" y="257124"/>
                        <a:pt x="31809" y="257124"/>
                        <a:pt x="10159" y="290601"/>
                      </a:cubicBezTo>
                      <a:cubicBezTo>
                        <a:pt x="-19897" y="337323"/>
                        <a:pt x="23993" y="507750"/>
                        <a:pt x="48032" y="557391"/>
                      </a:cubicBezTo>
                      <a:cubicBezTo>
                        <a:pt x="37797" y="710091"/>
                        <a:pt x="117288" y="868690"/>
                        <a:pt x="247836" y="958917"/>
                      </a:cubicBezTo>
                      <a:lnTo>
                        <a:pt x="215981" y="1013750"/>
                      </a:lnTo>
                      <a:lnTo>
                        <a:pt x="326914" y="983664"/>
                      </a:lnTo>
                      <a:lnTo>
                        <a:pt x="298068" y="872495"/>
                      </a:lnTo>
                      <a:lnTo>
                        <a:pt x="264590" y="929952"/>
                      </a:lnTo>
                      <a:cubicBezTo>
                        <a:pt x="150766" y="850461"/>
                        <a:pt x="79504" y="715105"/>
                        <a:pt x="80713" y="580752"/>
                      </a:cubicBezTo>
                      <a:lnTo>
                        <a:pt x="252674" y="580752"/>
                      </a:lnTo>
                      <a:cubicBezTo>
                        <a:pt x="284146" y="580752"/>
                        <a:pt x="305884" y="580752"/>
                        <a:pt x="312108" y="580250"/>
                      </a:cubicBezTo>
                      <a:cubicBezTo>
                        <a:pt x="316355" y="579867"/>
                        <a:pt x="320425" y="578392"/>
                        <a:pt x="323935" y="575973"/>
                      </a:cubicBezTo>
                      <a:cubicBezTo>
                        <a:pt x="327445" y="573555"/>
                        <a:pt x="330277" y="570251"/>
                        <a:pt x="332135" y="566417"/>
                      </a:cubicBezTo>
                      <a:cubicBezTo>
                        <a:pt x="354876" y="527807"/>
                        <a:pt x="379623" y="328622"/>
                        <a:pt x="365112" y="297238"/>
                      </a:cubicBezTo>
                      <a:cubicBezTo>
                        <a:pt x="358740" y="283641"/>
                        <a:pt x="348476" y="272226"/>
                        <a:pt x="335645" y="264468"/>
                      </a:cubicBezTo>
                      <a:cubicBezTo>
                        <a:pt x="322815" y="256681"/>
                        <a:pt x="307949" y="252876"/>
                        <a:pt x="292965" y="253525"/>
                      </a:cubicBezTo>
                      <a:close/>
                      <a:moveTo>
                        <a:pt x="304350" y="547864"/>
                      </a:moveTo>
                      <a:cubicBezTo>
                        <a:pt x="279692" y="548365"/>
                        <a:pt x="193417" y="547864"/>
                        <a:pt x="134602" y="547864"/>
                      </a:cubicBezTo>
                      <a:lnTo>
                        <a:pt x="80979" y="547864"/>
                      </a:lnTo>
                      <a:cubicBezTo>
                        <a:pt x="59830" y="516893"/>
                        <a:pt x="18153" y="339122"/>
                        <a:pt x="38298" y="308152"/>
                      </a:cubicBezTo>
                      <a:cubicBezTo>
                        <a:pt x="50215" y="289894"/>
                        <a:pt x="65464" y="289805"/>
                        <a:pt x="83102" y="289717"/>
                      </a:cubicBezTo>
                      <a:lnTo>
                        <a:pt x="91833" y="289717"/>
                      </a:lnTo>
                      <a:cubicBezTo>
                        <a:pt x="105667" y="289127"/>
                        <a:pt x="138141" y="287799"/>
                        <a:pt x="153450" y="265147"/>
                      </a:cubicBezTo>
                      <a:cubicBezTo>
                        <a:pt x="162358" y="251903"/>
                        <a:pt x="163478" y="211700"/>
                        <a:pt x="154748" y="201878"/>
                      </a:cubicBezTo>
                      <a:cubicBezTo>
                        <a:pt x="151238" y="197778"/>
                        <a:pt x="147521" y="193767"/>
                        <a:pt x="143923" y="189932"/>
                      </a:cubicBezTo>
                      <a:cubicBezTo>
                        <a:pt x="134808" y="181320"/>
                        <a:pt x="127317" y="171114"/>
                        <a:pt x="121771" y="159847"/>
                      </a:cubicBezTo>
                      <a:cubicBezTo>
                        <a:pt x="115843" y="144066"/>
                        <a:pt x="112834" y="127283"/>
                        <a:pt x="112952" y="110412"/>
                      </a:cubicBezTo>
                      <a:cubicBezTo>
                        <a:pt x="111300" y="87995"/>
                        <a:pt x="118497" y="65814"/>
                        <a:pt x="132980" y="48648"/>
                      </a:cubicBezTo>
                      <a:cubicBezTo>
                        <a:pt x="138466" y="43279"/>
                        <a:pt x="145014" y="39120"/>
                        <a:pt x="152181" y="36377"/>
                      </a:cubicBezTo>
                      <a:cubicBezTo>
                        <a:pt x="159349" y="33664"/>
                        <a:pt x="167018" y="32425"/>
                        <a:pt x="174657" y="32808"/>
                      </a:cubicBezTo>
                      <a:cubicBezTo>
                        <a:pt x="183182" y="32572"/>
                        <a:pt x="191647" y="34224"/>
                        <a:pt x="199434" y="37705"/>
                      </a:cubicBezTo>
                      <a:cubicBezTo>
                        <a:pt x="207221" y="41185"/>
                        <a:pt x="214123" y="46347"/>
                        <a:pt x="219638" y="52865"/>
                      </a:cubicBezTo>
                      <a:cubicBezTo>
                        <a:pt x="226422" y="61095"/>
                        <a:pt x="231466" y="70622"/>
                        <a:pt x="234475" y="80857"/>
                      </a:cubicBezTo>
                      <a:cubicBezTo>
                        <a:pt x="237483" y="91092"/>
                        <a:pt x="238368" y="101828"/>
                        <a:pt x="237070" y="112417"/>
                      </a:cubicBezTo>
                      <a:cubicBezTo>
                        <a:pt x="235094" y="129466"/>
                        <a:pt x="231348" y="146279"/>
                        <a:pt x="225862" y="162531"/>
                      </a:cubicBezTo>
                      <a:cubicBezTo>
                        <a:pt x="223178" y="168312"/>
                        <a:pt x="219579" y="173621"/>
                        <a:pt x="215243" y="178282"/>
                      </a:cubicBezTo>
                      <a:cubicBezTo>
                        <a:pt x="208282" y="185921"/>
                        <a:pt x="202767" y="194740"/>
                        <a:pt x="198903" y="204356"/>
                      </a:cubicBezTo>
                      <a:cubicBezTo>
                        <a:pt x="195570" y="213853"/>
                        <a:pt x="194508" y="224029"/>
                        <a:pt x="195806" y="233999"/>
                      </a:cubicBezTo>
                      <a:cubicBezTo>
                        <a:pt x="197104" y="243998"/>
                        <a:pt x="200702" y="253555"/>
                        <a:pt x="206336" y="261902"/>
                      </a:cubicBezTo>
                      <a:cubicBezTo>
                        <a:pt x="224181" y="287180"/>
                        <a:pt x="261139" y="287180"/>
                        <a:pt x="285591" y="287180"/>
                      </a:cubicBezTo>
                      <a:lnTo>
                        <a:pt x="292817" y="287180"/>
                      </a:lnTo>
                      <a:cubicBezTo>
                        <a:pt x="301460" y="286590"/>
                        <a:pt x="310072" y="288596"/>
                        <a:pt x="317594" y="292932"/>
                      </a:cubicBezTo>
                      <a:cubicBezTo>
                        <a:pt x="325086" y="297268"/>
                        <a:pt x="331132" y="303757"/>
                        <a:pt x="334908" y="311544"/>
                      </a:cubicBezTo>
                      <a:cubicBezTo>
                        <a:pt x="344730" y="337293"/>
                        <a:pt x="320868" y="516274"/>
                        <a:pt x="304350" y="547834"/>
                      </a:cubicBezTo>
                      <a:close/>
                    </a:path>
                  </a:pathLst>
                </a:custGeom>
                <a:solidFill>
                  <a:srgbClr val="000000"/>
                </a:solidFill>
                <a:ln w="2948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D0D0D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30" name="Полилиния: фигура 29">
                  <a:extLst>
                    <a:ext uri="{FF2B5EF4-FFF2-40B4-BE49-F238E27FC236}">
                      <a16:creationId xmlns:a16="http://schemas.microsoft.com/office/drawing/2014/main" id="{4DB51B40-4C87-4695-B3C9-00A2079101F1}"/>
                    </a:ext>
                  </a:extLst>
                </p:cNvPr>
                <p:cNvSpPr/>
                <p:nvPr/>
              </p:nvSpPr>
              <p:spPr>
                <a:xfrm>
                  <a:off x="9141588" y="2080803"/>
                  <a:ext cx="2020578" cy="2005124"/>
                </a:xfrm>
                <a:custGeom>
                  <a:avLst/>
                  <a:gdLst>
                    <a:gd name="connsiteX0" fmla="*/ 1010289 w 2020578"/>
                    <a:gd name="connsiteY0" fmla="*/ 0 h 2005124"/>
                    <a:gd name="connsiteX1" fmla="*/ 0 w 2020578"/>
                    <a:gd name="connsiteY1" fmla="*/ 1002562 h 2005124"/>
                    <a:gd name="connsiteX2" fmla="*/ 1010289 w 2020578"/>
                    <a:gd name="connsiteY2" fmla="*/ 2005124 h 2005124"/>
                    <a:gd name="connsiteX3" fmla="*/ 2020579 w 2020578"/>
                    <a:gd name="connsiteY3" fmla="*/ 1002562 h 2005124"/>
                    <a:gd name="connsiteX4" fmla="*/ 1010289 w 2020578"/>
                    <a:gd name="connsiteY4" fmla="*/ 0 h 2005124"/>
                    <a:gd name="connsiteX5" fmla="*/ 1212513 w 2020578"/>
                    <a:gd name="connsiteY5" fmla="*/ 1827854 h 2005124"/>
                    <a:gd name="connsiteX6" fmla="*/ 1204283 w 2020578"/>
                    <a:gd name="connsiteY6" fmla="*/ 1953182 h 2005124"/>
                    <a:gd name="connsiteX7" fmla="*/ 843550 w 2020578"/>
                    <a:gd name="connsiteY7" fmla="*/ 1958403 h 2005124"/>
                    <a:gd name="connsiteX8" fmla="*/ 829923 w 2020578"/>
                    <a:gd name="connsiteY8" fmla="*/ 1827382 h 2005124"/>
                    <a:gd name="connsiteX9" fmla="*/ 819894 w 2020578"/>
                    <a:gd name="connsiteY9" fmla="*/ 1441401 h 2005124"/>
                    <a:gd name="connsiteX10" fmla="*/ 883428 w 2020578"/>
                    <a:gd name="connsiteY10" fmla="*/ 1414736 h 2005124"/>
                    <a:gd name="connsiteX11" fmla="*/ 895050 w 2020578"/>
                    <a:gd name="connsiteY11" fmla="*/ 1414736 h 2005124"/>
                    <a:gd name="connsiteX12" fmla="*/ 972210 w 2020578"/>
                    <a:gd name="connsiteY12" fmla="*/ 1384651 h 2005124"/>
                    <a:gd name="connsiteX13" fmla="*/ 974305 w 2020578"/>
                    <a:gd name="connsiteY13" fmla="*/ 1307549 h 2005124"/>
                    <a:gd name="connsiteX14" fmla="*/ 960176 w 2020578"/>
                    <a:gd name="connsiteY14" fmla="*/ 1292004 h 2005124"/>
                    <a:gd name="connsiteX15" fmla="*/ 930120 w 2020578"/>
                    <a:gd name="connsiteY15" fmla="*/ 1251212 h 2005124"/>
                    <a:gd name="connsiteX16" fmla="*/ 918086 w 2020578"/>
                    <a:gd name="connsiteY16" fmla="*/ 1184138 h 2005124"/>
                    <a:gd name="connsiteX17" fmla="*/ 946254 w 2020578"/>
                    <a:gd name="connsiteY17" fmla="*/ 1098807 h 2005124"/>
                    <a:gd name="connsiteX18" fmla="*/ 973331 w 2020578"/>
                    <a:gd name="connsiteY18" fmla="*/ 1081404 h 2005124"/>
                    <a:gd name="connsiteX19" fmla="*/ 1005098 w 2020578"/>
                    <a:gd name="connsiteY19" fmla="*/ 1076243 h 2005124"/>
                    <a:gd name="connsiteX20" fmla="*/ 1039962 w 2020578"/>
                    <a:gd name="connsiteY20" fmla="*/ 1083351 h 2005124"/>
                    <a:gd name="connsiteX21" fmla="*/ 1068426 w 2020578"/>
                    <a:gd name="connsiteY21" fmla="*/ 1104706 h 2005124"/>
                    <a:gd name="connsiteX22" fmla="*/ 1089250 w 2020578"/>
                    <a:gd name="connsiteY22" fmla="*/ 1143611 h 2005124"/>
                    <a:gd name="connsiteX23" fmla="*/ 1092789 w 2020578"/>
                    <a:gd name="connsiteY23" fmla="*/ 1187619 h 2005124"/>
                    <a:gd name="connsiteX24" fmla="*/ 1077658 w 2020578"/>
                    <a:gd name="connsiteY24" fmla="*/ 1254279 h 2005124"/>
                    <a:gd name="connsiteX25" fmla="*/ 1062822 w 2020578"/>
                    <a:gd name="connsiteY25" fmla="*/ 1276549 h 2005124"/>
                    <a:gd name="connsiteX26" fmla="*/ 1042174 w 2020578"/>
                    <a:gd name="connsiteY26" fmla="*/ 1309348 h 2005124"/>
                    <a:gd name="connsiteX27" fmla="*/ 1038370 w 2020578"/>
                    <a:gd name="connsiteY27" fmla="*/ 1346070 h 2005124"/>
                    <a:gd name="connsiteX28" fmla="*/ 1051407 w 2020578"/>
                    <a:gd name="connsiteY28" fmla="*/ 1380610 h 2005124"/>
                    <a:gd name="connsiteX29" fmla="*/ 1151014 w 2020578"/>
                    <a:gd name="connsiteY29" fmla="*/ 1411285 h 2005124"/>
                    <a:gd name="connsiteX30" fmla="*/ 1161043 w 2020578"/>
                    <a:gd name="connsiteY30" fmla="*/ 1411285 h 2005124"/>
                    <a:gd name="connsiteX31" fmla="*/ 1196408 w 2020578"/>
                    <a:gd name="connsiteY31" fmla="*/ 1419633 h 2005124"/>
                    <a:gd name="connsiteX32" fmla="*/ 1221155 w 2020578"/>
                    <a:gd name="connsiteY32" fmla="*/ 1446267 h 2005124"/>
                    <a:gd name="connsiteX33" fmla="*/ 1212542 w 2020578"/>
                    <a:gd name="connsiteY33" fmla="*/ 1827854 h 2005124"/>
                    <a:gd name="connsiteX34" fmla="*/ 1238174 w 2020578"/>
                    <a:gd name="connsiteY34" fmla="*/ 1945749 h 2005124"/>
                    <a:gd name="connsiteX35" fmla="*/ 1245990 w 2020578"/>
                    <a:gd name="connsiteY35" fmla="*/ 1824934 h 2005124"/>
                    <a:gd name="connsiteX36" fmla="*/ 1251388 w 2020578"/>
                    <a:gd name="connsiteY36" fmla="*/ 1432522 h 2005124"/>
                    <a:gd name="connsiteX37" fmla="*/ 1161190 w 2020578"/>
                    <a:gd name="connsiteY37" fmla="*/ 1377896 h 2005124"/>
                    <a:gd name="connsiteX38" fmla="*/ 1151161 w 2020578"/>
                    <a:gd name="connsiteY38" fmla="*/ 1377896 h 2005124"/>
                    <a:gd name="connsiteX39" fmla="*/ 1079428 w 2020578"/>
                    <a:gd name="connsiteY39" fmla="*/ 1361762 h 2005124"/>
                    <a:gd name="connsiteX40" fmla="*/ 1071788 w 2020578"/>
                    <a:gd name="connsiteY40" fmla="*/ 1341587 h 2005124"/>
                    <a:gd name="connsiteX41" fmla="*/ 1074030 w 2020578"/>
                    <a:gd name="connsiteY41" fmla="*/ 1320143 h 2005124"/>
                    <a:gd name="connsiteX42" fmla="*/ 1089073 w 2020578"/>
                    <a:gd name="connsiteY42" fmla="*/ 1297284 h 2005124"/>
                    <a:gd name="connsiteX43" fmla="*/ 1109100 w 2020578"/>
                    <a:gd name="connsiteY43" fmla="*/ 1265606 h 2005124"/>
                    <a:gd name="connsiteX44" fmla="*/ 1125943 w 2020578"/>
                    <a:gd name="connsiteY44" fmla="*/ 1192132 h 2005124"/>
                    <a:gd name="connsiteX45" fmla="*/ 1121312 w 2020578"/>
                    <a:gd name="connsiteY45" fmla="*/ 1134054 h 2005124"/>
                    <a:gd name="connsiteX46" fmla="*/ 1093881 w 2020578"/>
                    <a:gd name="connsiteY46" fmla="*/ 1082673 h 2005124"/>
                    <a:gd name="connsiteX47" fmla="*/ 1055949 w 2020578"/>
                    <a:gd name="connsiteY47" fmla="*/ 1054239 h 2005124"/>
                    <a:gd name="connsiteX48" fmla="*/ 1009936 w 2020578"/>
                    <a:gd name="connsiteY48" fmla="*/ 1042794 h 2005124"/>
                    <a:gd name="connsiteX49" fmla="*/ 963096 w 2020578"/>
                    <a:gd name="connsiteY49" fmla="*/ 1050168 h 2005124"/>
                    <a:gd name="connsiteX50" fmla="*/ 922805 w 2020578"/>
                    <a:gd name="connsiteY50" fmla="*/ 1075181 h 2005124"/>
                    <a:gd name="connsiteX51" fmla="*/ 885227 w 2020578"/>
                    <a:gd name="connsiteY51" fmla="*/ 1184463 h 2005124"/>
                    <a:gd name="connsiteX52" fmla="*/ 899857 w 2020578"/>
                    <a:gd name="connsiteY52" fmla="*/ 1263275 h 2005124"/>
                    <a:gd name="connsiteX53" fmla="*/ 936639 w 2020578"/>
                    <a:gd name="connsiteY53" fmla="*/ 1314215 h 2005124"/>
                    <a:gd name="connsiteX54" fmla="*/ 947464 w 2020578"/>
                    <a:gd name="connsiteY54" fmla="*/ 1325954 h 2005124"/>
                    <a:gd name="connsiteX55" fmla="*/ 945369 w 2020578"/>
                    <a:gd name="connsiteY55" fmla="*/ 1366068 h 2005124"/>
                    <a:gd name="connsiteX56" fmla="*/ 894371 w 2020578"/>
                    <a:gd name="connsiteY56" fmla="*/ 1381495 h 2005124"/>
                    <a:gd name="connsiteX57" fmla="*/ 884343 w 2020578"/>
                    <a:gd name="connsiteY57" fmla="*/ 1381495 h 2005124"/>
                    <a:gd name="connsiteX58" fmla="*/ 793053 w 2020578"/>
                    <a:gd name="connsiteY58" fmla="*/ 1423290 h 2005124"/>
                    <a:gd name="connsiteX59" fmla="*/ 797359 w 2020578"/>
                    <a:gd name="connsiteY59" fmla="*/ 1827530 h 2005124"/>
                    <a:gd name="connsiteX60" fmla="*/ 810190 w 2020578"/>
                    <a:gd name="connsiteY60" fmla="*/ 1952061 h 2005124"/>
                    <a:gd name="connsiteX61" fmla="*/ 33183 w 2020578"/>
                    <a:gd name="connsiteY61" fmla="*/ 1002562 h 2005124"/>
                    <a:gd name="connsiteX62" fmla="*/ 1010172 w 2020578"/>
                    <a:gd name="connsiteY62" fmla="*/ 32888 h 2005124"/>
                    <a:gd name="connsiteX63" fmla="*/ 1987190 w 2020578"/>
                    <a:gd name="connsiteY63" fmla="*/ 1002562 h 2005124"/>
                    <a:gd name="connsiteX64" fmla="*/ 1238439 w 2020578"/>
                    <a:gd name="connsiteY64" fmla="*/ 1945779 h 2005124"/>
                    <a:gd name="connsiteX65" fmla="*/ 1238144 w 2020578"/>
                    <a:gd name="connsiteY65" fmla="*/ 1945779 h 200512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</a:cxnLst>
                  <a:rect l="l" t="t" r="r" b="b"/>
                  <a:pathLst>
                    <a:path w="2020578" h="2005124">
                      <a:moveTo>
                        <a:pt x="1010289" y="0"/>
                      </a:moveTo>
                      <a:cubicBezTo>
                        <a:pt x="453232" y="0"/>
                        <a:pt x="0" y="449840"/>
                        <a:pt x="0" y="1002562"/>
                      </a:cubicBezTo>
                      <a:cubicBezTo>
                        <a:pt x="0" y="1555284"/>
                        <a:pt x="453232" y="2005124"/>
                        <a:pt x="1010289" y="2005124"/>
                      </a:cubicBezTo>
                      <a:cubicBezTo>
                        <a:pt x="1567347" y="2005124"/>
                        <a:pt x="2020579" y="1555284"/>
                        <a:pt x="2020579" y="1002562"/>
                      </a:cubicBezTo>
                      <a:cubicBezTo>
                        <a:pt x="2020579" y="449840"/>
                        <a:pt x="1567317" y="0"/>
                        <a:pt x="1010289" y="0"/>
                      </a:cubicBezTo>
                      <a:close/>
                      <a:moveTo>
                        <a:pt x="1212513" y="1827854"/>
                      </a:moveTo>
                      <a:cubicBezTo>
                        <a:pt x="1209829" y="1873838"/>
                        <a:pt x="1207085" y="1915604"/>
                        <a:pt x="1204283" y="1953182"/>
                      </a:cubicBezTo>
                      <a:cubicBezTo>
                        <a:pt x="1085386" y="1977044"/>
                        <a:pt x="963096" y="1978814"/>
                        <a:pt x="843550" y="1958403"/>
                      </a:cubicBezTo>
                      <a:cubicBezTo>
                        <a:pt x="838831" y="1917699"/>
                        <a:pt x="834229" y="1873573"/>
                        <a:pt x="829923" y="1827382"/>
                      </a:cubicBezTo>
                      <a:cubicBezTo>
                        <a:pt x="807477" y="1586756"/>
                        <a:pt x="809069" y="1458538"/>
                        <a:pt x="819894" y="1441401"/>
                      </a:cubicBezTo>
                      <a:cubicBezTo>
                        <a:pt x="837238" y="1414825"/>
                        <a:pt x="859979" y="1414736"/>
                        <a:pt x="883428" y="1414736"/>
                      </a:cubicBezTo>
                      <a:lnTo>
                        <a:pt x="895050" y="1414736"/>
                      </a:lnTo>
                      <a:cubicBezTo>
                        <a:pt x="912599" y="1414028"/>
                        <a:pt x="953569" y="1412318"/>
                        <a:pt x="972210" y="1384651"/>
                      </a:cubicBezTo>
                      <a:cubicBezTo>
                        <a:pt x="983330" y="1368103"/>
                        <a:pt x="983242" y="1317990"/>
                        <a:pt x="974305" y="1307549"/>
                      </a:cubicBezTo>
                      <a:cubicBezTo>
                        <a:pt x="969703" y="1302239"/>
                        <a:pt x="964896" y="1297019"/>
                        <a:pt x="960176" y="1292004"/>
                      </a:cubicBezTo>
                      <a:cubicBezTo>
                        <a:pt x="947817" y="1280294"/>
                        <a:pt x="937612" y="1266490"/>
                        <a:pt x="930120" y="1251212"/>
                      </a:cubicBezTo>
                      <a:cubicBezTo>
                        <a:pt x="922038" y="1229768"/>
                        <a:pt x="917968" y="1207056"/>
                        <a:pt x="918086" y="1184138"/>
                      </a:cubicBezTo>
                      <a:cubicBezTo>
                        <a:pt x="917378" y="1148861"/>
                        <a:pt x="928114" y="1117773"/>
                        <a:pt x="946254" y="1098807"/>
                      </a:cubicBezTo>
                      <a:cubicBezTo>
                        <a:pt x="953982" y="1091197"/>
                        <a:pt x="963185" y="1085298"/>
                        <a:pt x="973331" y="1081404"/>
                      </a:cubicBezTo>
                      <a:cubicBezTo>
                        <a:pt x="983448" y="1077511"/>
                        <a:pt x="994273" y="1075771"/>
                        <a:pt x="1005098" y="1076243"/>
                      </a:cubicBezTo>
                      <a:cubicBezTo>
                        <a:pt x="1017103" y="1076007"/>
                        <a:pt x="1029019" y="1078425"/>
                        <a:pt x="1039962" y="1083351"/>
                      </a:cubicBezTo>
                      <a:cubicBezTo>
                        <a:pt x="1050905" y="1088277"/>
                        <a:pt x="1060639" y="1095562"/>
                        <a:pt x="1068426" y="1104706"/>
                      </a:cubicBezTo>
                      <a:cubicBezTo>
                        <a:pt x="1077953" y="1116091"/>
                        <a:pt x="1085061" y="1129365"/>
                        <a:pt x="1089250" y="1143611"/>
                      </a:cubicBezTo>
                      <a:cubicBezTo>
                        <a:pt x="1093438" y="1157887"/>
                        <a:pt x="1094647" y="1172871"/>
                        <a:pt x="1092789" y="1187619"/>
                      </a:cubicBezTo>
                      <a:cubicBezTo>
                        <a:pt x="1090076" y="1210301"/>
                        <a:pt x="1085002" y="1232659"/>
                        <a:pt x="1077658" y="1254279"/>
                      </a:cubicBezTo>
                      <a:cubicBezTo>
                        <a:pt x="1073912" y="1262450"/>
                        <a:pt x="1068927" y="1269941"/>
                        <a:pt x="1062822" y="1276549"/>
                      </a:cubicBezTo>
                      <a:cubicBezTo>
                        <a:pt x="1054061" y="1286164"/>
                        <a:pt x="1047071" y="1297284"/>
                        <a:pt x="1042174" y="1309348"/>
                      </a:cubicBezTo>
                      <a:cubicBezTo>
                        <a:pt x="1038075" y="1321117"/>
                        <a:pt x="1036747" y="1333711"/>
                        <a:pt x="1038370" y="1346070"/>
                      </a:cubicBezTo>
                      <a:cubicBezTo>
                        <a:pt x="1039962" y="1358458"/>
                        <a:pt x="1044446" y="1370286"/>
                        <a:pt x="1051407" y="1380610"/>
                      </a:cubicBezTo>
                      <a:cubicBezTo>
                        <a:pt x="1072762" y="1412200"/>
                        <a:pt x="1119837" y="1411698"/>
                        <a:pt x="1151014" y="1411285"/>
                      </a:cubicBezTo>
                      <a:lnTo>
                        <a:pt x="1161043" y="1411285"/>
                      </a:lnTo>
                      <a:cubicBezTo>
                        <a:pt x="1173401" y="1410518"/>
                        <a:pt x="1185701" y="1413409"/>
                        <a:pt x="1196408" y="1419633"/>
                      </a:cubicBezTo>
                      <a:cubicBezTo>
                        <a:pt x="1207115" y="1425856"/>
                        <a:pt x="1215728" y="1435118"/>
                        <a:pt x="1221155" y="1446267"/>
                      </a:cubicBezTo>
                      <a:cubicBezTo>
                        <a:pt x="1226877" y="1464614"/>
                        <a:pt x="1225166" y="1615308"/>
                        <a:pt x="1212542" y="1827854"/>
                      </a:cubicBezTo>
                      <a:close/>
                      <a:moveTo>
                        <a:pt x="1238174" y="1945749"/>
                      </a:moveTo>
                      <a:cubicBezTo>
                        <a:pt x="1241477" y="1899146"/>
                        <a:pt x="1244191" y="1855522"/>
                        <a:pt x="1245990" y="1824934"/>
                      </a:cubicBezTo>
                      <a:cubicBezTo>
                        <a:pt x="1248085" y="1788153"/>
                        <a:pt x="1266018" y="1464614"/>
                        <a:pt x="1251388" y="1432522"/>
                      </a:cubicBezTo>
                      <a:cubicBezTo>
                        <a:pt x="1235165" y="1397422"/>
                        <a:pt x="1202986" y="1378073"/>
                        <a:pt x="1161190" y="1377896"/>
                      </a:cubicBezTo>
                      <a:lnTo>
                        <a:pt x="1151161" y="1377896"/>
                      </a:lnTo>
                      <a:cubicBezTo>
                        <a:pt x="1127122" y="1377896"/>
                        <a:pt x="1091049" y="1378604"/>
                        <a:pt x="1079428" y="1361762"/>
                      </a:cubicBezTo>
                      <a:cubicBezTo>
                        <a:pt x="1075357" y="1355715"/>
                        <a:pt x="1072732" y="1348813"/>
                        <a:pt x="1071788" y="1341587"/>
                      </a:cubicBezTo>
                      <a:cubicBezTo>
                        <a:pt x="1070844" y="1334360"/>
                        <a:pt x="1071611" y="1327016"/>
                        <a:pt x="1074030" y="1320143"/>
                      </a:cubicBezTo>
                      <a:cubicBezTo>
                        <a:pt x="1077717" y="1311737"/>
                        <a:pt x="1082820" y="1304009"/>
                        <a:pt x="1089073" y="1297284"/>
                      </a:cubicBezTo>
                      <a:cubicBezTo>
                        <a:pt x="1097479" y="1287934"/>
                        <a:pt x="1104263" y="1277197"/>
                        <a:pt x="1109100" y="1265606"/>
                      </a:cubicBezTo>
                      <a:cubicBezTo>
                        <a:pt x="1117271" y="1241773"/>
                        <a:pt x="1122904" y="1217144"/>
                        <a:pt x="1125943" y="1192132"/>
                      </a:cubicBezTo>
                      <a:cubicBezTo>
                        <a:pt x="1128420" y="1172664"/>
                        <a:pt x="1126857" y="1152873"/>
                        <a:pt x="1121312" y="1134054"/>
                      </a:cubicBezTo>
                      <a:cubicBezTo>
                        <a:pt x="1115796" y="1115207"/>
                        <a:pt x="1106446" y="1097716"/>
                        <a:pt x="1093881" y="1082673"/>
                      </a:cubicBezTo>
                      <a:cubicBezTo>
                        <a:pt x="1083262" y="1070756"/>
                        <a:pt x="1070373" y="1061082"/>
                        <a:pt x="1055949" y="1054239"/>
                      </a:cubicBezTo>
                      <a:cubicBezTo>
                        <a:pt x="1041526" y="1047396"/>
                        <a:pt x="1025893" y="1043502"/>
                        <a:pt x="1009936" y="1042794"/>
                      </a:cubicBezTo>
                      <a:cubicBezTo>
                        <a:pt x="993978" y="1042086"/>
                        <a:pt x="978080" y="1044594"/>
                        <a:pt x="963096" y="1050168"/>
                      </a:cubicBezTo>
                      <a:cubicBezTo>
                        <a:pt x="948142" y="1055714"/>
                        <a:pt x="934426" y="1064238"/>
                        <a:pt x="922805" y="1075181"/>
                      </a:cubicBezTo>
                      <a:cubicBezTo>
                        <a:pt x="898058" y="1100459"/>
                        <a:pt x="884313" y="1140248"/>
                        <a:pt x="885227" y="1184463"/>
                      </a:cubicBezTo>
                      <a:cubicBezTo>
                        <a:pt x="885227" y="1211392"/>
                        <a:pt x="890183" y="1238116"/>
                        <a:pt x="899857" y="1263275"/>
                      </a:cubicBezTo>
                      <a:cubicBezTo>
                        <a:pt x="908824" y="1282389"/>
                        <a:pt x="921301" y="1299673"/>
                        <a:pt x="936639" y="1314215"/>
                      </a:cubicBezTo>
                      <a:cubicBezTo>
                        <a:pt x="940444" y="1318226"/>
                        <a:pt x="944042" y="1322149"/>
                        <a:pt x="947464" y="1325954"/>
                      </a:cubicBezTo>
                      <a:cubicBezTo>
                        <a:pt x="949322" y="1339345"/>
                        <a:pt x="948614" y="1352943"/>
                        <a:pt x="945369" y="1366068"/>
                      </a:cubicBezTo>
                      <a:cubicBezTo>
                        <a:pt x="936167" y="1379813"/>
                        <a:pt x="905786" y="1381023"/>
                        <a:pt x="894371" y="1381495"/>
                      </a:cubicBezTo>
                      <a:lnTo>
                        <a:pt x="884343" y="1381495"/>
                      </a:lnTo>
                      <a:cubicBezTo>
                        <a:pt x="858799" y="1381495"/>
                        <a:pt x="820219" y="1381495"/>
                        <a:pt x="793053" y="1423290"/>
                      </a:cubicBezTo>
                      <a:cubicBezTo>
                        <a:pt x="767805" y="1461989"/>
                        <a:pt x="784942" y="1693177"/>
                        <a:pt x="797359" y="1827530"/>
                      </a:cubicBezTo>
                      <a:cubicBezTo>
                        <a:pt x="800869" y="1864931"/>
                        <a:pt x="805264" y="1907729"/>
                        <a:pt x="810190" y="1952061"/>
                      </a:cubicBezTo>
                      <a:cubicBezTo>
                        <a:pt x="366957" y="1860034"/>
                        <a:pt x="33183" y="1469451"/>
                        <a:pt x="33183" y="1002562"/>
                      </a:cubicBezTo>
                      <a:cubicBezTo>
                        <a:pt x="33183" y="467892"/>
                        <a:pt x="471461" y="32888"/>
                        <a:pt x="1010172" y="32888"/>
                      </a:cubicBezTo>
                      <a:cubicBezTo>
                        <a:pt x="1548883" y="32888"/>
                        <a:pt x="1987190" y="467892"/>
                        <a:pt x="1987190" y="1002562"/>
                      </a:cubicBezTo>
                      <a:cubicBezTo>
                        <a:pt x="1987278" y="1459629"/>
                        <a:pt x="1667426" y="1843517"/>
                        <a:pt x="1238439" y="1945779"/>
                      </a:cubicBezTo>
                      <a:lnTo>
                        <a:pt x="1238144" y="1945779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2948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D0D0D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35" name="Полилиния: фигура 34">
                  <a:extLst>
                    <a:ext uri="{FF2B5EF4-FFF2-40B4-BE49-F238E27FC236}">
                      <a16:creationId xmlns:a16="http://schemas.microsoft.com/office/drawing/2014/main" id="{27F67ACD-56B8-4584-AF29-348D3DDE1E0E}"/>
                    </a:ext>
                  </a:extLst>
                </p:cNvPr>
                <p:cNvSpPr/>
                <p:nvPr/>
              </p:nvSpPr>
              <p:spPr>
                <a:xfrm>
                  <a:off x="9675491" y="2958774"/>
                  <a:ext cx="165943" cy="166002"/>
                </a:xfrm>
                <a:custGeom>
                  <a:avLst/>
                  <a:gdLst>
                    <a:gd name="connsiteX0" fmla="*/ 82972 w 165943"/>
                    <a:gd name="connsiteY0" fmla="*/ 166002 h 166002"/>
                    <a:gd name="connsiteX1" fmla="*/ 165943 w 165943"/>
                    <a:gd name="connsiteY1" fmla="*/ 83001 h 166002"/>
                    <a:gd name="connsiteX2" fmla="*/ 82972 w 165943"/>
                    <a:gd name="connsiteY2" fmla="*/ 0 h 166002"/>
                    <a:gd name="connsiteX3" fmla="*/ 0 w 165943"/>
                    <a:gd name="connsiteY3" fmla="*/ 83001 h 166002"/>
                    <a:gd name="connsiteX4" fmla="*/ 82972 w 165943"/>
                    <a:gd name="connsiteY4" fmla="*/ 166002 h 16600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65943" h="166002">
                      <a:moveTo>
                        <a:pt x="82972" y="166002"/>
                      </a:moveTo>
                      <a:cubicBezTo>
                        <a:pt x="128808" y="166002"/>
                        <a:pt x="165943" y="128838"/>
                        <a:pt x="165943" y="83001"/>
                      </a:cubicBezTo>
                      <a:cubicBezTo>
                        <a:pt x="165943" y="37165"/>
                        <a:pt x="128808" y="0"/>
                        <a:pt x="82972" y="0"/>
                      </a:cubicBezTo>
                      <a:cubicBezTo>
                        <a:pt x="37135" y="0"/>
                        <a:pt x="0" y="37165"/>
                        <a:pt x="0" y="83001"/>
                      </a:cubicBezTo>
                      <a:cubicBezTo>
                        <a:pt x="0" y="128838"/>
                        <a:pt x="37135" y="166002"/>
                        <a:pt x="82972" y="166002"/>
                      </a:cubicBezTo>
                      <a:close/>
                    </a:path>
                  </a:pathLst>
                </a:custGeom>
                <a:solidFill>
                  <a:schemeClr val="accent1"/>
                </a:solidFill>
                <a:ln w="2948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D0D0D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36" name="Полилиния: фигура 35">
                  <a:extLst>
                    <a:ext uri="{FF2B5EF4-FFF2-40B4-BE49-F238E27FC236}">
                      <a16:creationId xmlns:a16="http://schemas.microsoft.com/office/drawing/2014/main" id="{789C0DB5-5502-4DD3-B92C-812CFB143A9B}"/>
                    </a:ext>
                  </a:extLst>
                </p:cNvPr>
                <p:cNvSpPr/>
                <p:nvPr/>
              </p:nvSpPr>
              <p:spPr>
                <a:xfrm>
                  <a:off x="10029322" y="2652667"/>
                  <a:ext cx="165943" cy="166002"/>
                </a:xfrm>
                <a:custGeom>
                  <a:avLst/>
                  <a:gdLst>
                    <a:gd name="connsiteX0" fmla="*/ 82972 w 165943"/>
                    <a:gd name="connsiteY0" fmla="*/ 166002 h 166002"/>
                    <a:gd name="connsiteX1" fmla="*/ 165943 w 165943"/>
                    <a:gd name="connsiteY1" fmla="*/ 83001 h 166002"/>
                    <a:gd name="connsiteX2" fmla="*/ 82972 w 165943"/>
                    <a:gd name="connsiteY2" fmla="*/ 0 h 166002"/>
                    <a:gd name="connsiteX3" fmla="*/ 0 w 165943"/>
                    <a:gd name="connsiteY3" fmla="*/ 83001 h 166002"/>
                    <a:gd name="connsiteX4" fmla="*/ 82972 w 165943"/>
                    <a:gd name="connsiteY4" fmla="*/ 166002 h 16600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65943" h="166002">
                      <a:moveTo>
                        <a:pt x="82972" y="166002"/>
                      </a:moveTo>
                      <a:cubicBezTo>
                        <a:pt x="128808" y="166002"/>
                        <a:pt x="165943" y="128838"/>
                        <a:pt x="165943" y="83001"/>
                      </a:cubicBezTo>
                      <a:cubicBezTo>
                        <a:pt x="165943" y="37165"/>
                        <a:pt x="128808" y="0"/>
                        <a:pt x="82972" y="0"/>
                      </a:cubicBezTo>
                      <a:cubicBezTo>
                        <a:pt x="37135" y="0"/>
                        <a:pt x="0" y="37165"/>
                        <a:pt x="0" y="83001"/>
                      </a:cubicBezTo>
                      <a:cubicBezTo>
                        <a:pt x="0" y="128838"/>
                        <a:pt x="37135" y="166002"/>
                        <a:pt x="82972" y="166002"/>
                      </a:cubicBezTo>
                      <a:close/>
                    </a:path>
                  </a:pathLst>
                </a:custGeom>
                <a:solidFill>
                  <a:schemeClr val="accent1"/>
                </a:solidFill>
                <a:ln w="2948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D0D0D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44" name="Полилиния: фигура 43">
                  <a:extLst>
                    <a:ext uri="{FF2B5EF4-FFF2-40B4-BE49-F238E27FC236}">
                      <a16:creationId xmlns:a16="http://schemas.microsoft.com/office/drawing/2014/main" id="{078BBF57-DAF4-4DC3-84D0-5FDB2E9ACFB9}"/>
                    </a:ext>
                  </a:extLst>
                </p:cNvPr>
                <p:cNvSpPr/>
                <p:nvPr/>
              </p:nvSpPr>
              <p:spPr>
                <a:xfrm>
                  <a:off x="10364807" y="2361249"/>
                  <a:ext cx="165943" cy="166002"/>
                </a:xfrm>
                <a:custGeom>
                  <a:avLst/>
                  <a:gdLst>
                    <a:gd name="connsiteX0" fmla="*/ 82972 w 165943"/>
                    <a:gd name="connsiteY0" fmla="*/ 166002 h 166002"/>
                    <a:gd name="connsiteX1" fmla="*/ 165943 w 165943"/>
                    <a:gd name="connsiteY1" fmla="*/ 83001 h 166002"/>
                    <a:gd name="connsiteX2" fmla="*/ 82972 w 165943"/>
                    <a:gd name="connsiteY2" fmla="*/ 0 h 166002"/>
                    <a:gd name="connsiteX3" fmla="*/ 0 w 165943"/>
                    <a:gd name="connsiteY3" fmla="*/ 83001 h 166002"/>
                    <a:gd name="connsiteX4" fmla="*/ 82972 w 165943"/>
                    <a:gd name="connsiteY4" fmla="*/ 166002 h 16600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65943" h="166002">
                      <a:moveTo>
                        <a:pt x="82972" y="166002"/>
                      </a:moveTo>
                      <a:cubicBezTo>
                        <a:pt x="128808" y="166002"/>
                        <a:pt x="165943" y="128838"/>
                        <a:pt x="165943" y="83001"/>
                      </a:cubicBezTo>
                      <a:cubicBezTo>
                        <a:pt x="165943" y="37165"/>
                        <a:pt x="128808" y="0"/>
                        <a:pt x="82972" y="0"/>
                      </a:cubicBezTo>
                      <a:cubicBezTo>
                        <a:pt x="37135" y="0"/>
                        <a:pt x="0" y="37165"/>
                        <a:pt x="0" y="83001"/>
                      </a:cubicBezTo>
                      <a:cubicBezTo>
                        <a:pt x="0" y="128838"/>
                        <a:pt x="37135" y="166002"/>
                        <a:pt x="82972" y="166002"/>
                      </a:cubicBezTo>
                      <a:close/>
                    </a:path>
                  </a:pathLst>
                </a:custGeom>
                <a:solidFill>
                  <a:schemeClr val="accent1"/>
                </a:solidFill>
                <a:ln w="2948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D0D0D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</p:grpSp>
        </p:grpSp>
        <p:sp>
          <p:nvSpPr>
            <p:cNvPr id="99" name="Motion design">
              <a:extLst>
                <a:ext uri="{FF2B5EF4-FFF2-40B4-BE49-F238E27FC236}">
                  <a16:creationId xmlns:a16="http://schemas.microsoft.com/office/drawing/2014/main" id="{FCFB55BB-A6B2-478B-B4D1-3C55972C2A86}"/>
                </a:ext>
              </a:extLst>
            </p:cNvPr>
            <p:cNvSpPr txBox="1"/>
            <p:nvPr/>
          </p:nvSpPr>
          <p:spPr>
            <a:xfrm>
              <a:off x="2717854" y="1805828"/>
              <a:ext cx="3949164" cy="1375248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</a:ext>
            </a:extLst>
          </p:spPr>
          <p:txBody>
            <a:bodyPr wrap="square" lIns="0" tIns="0" rIns="0" bIns="0" anchor="ctr">
              <a:spAutoFit/>
            </a:bodyPr>
            <a:lstStyle>
              <a:lvl1pPr>
                <a:lnSpc>
                  <a:spcPct val="130000"/>
                </a:lnSpc>
                <a:defRPr sz="3000">
                  <a:latin typeface="+mn-lt"/>
                  <a:ea typeface="+mn-ea"/>
                  <a:cs typeface="+mn-cs"/>
                  <a:sym typeface="Poppins SemiBold"/>
                </a:defRPr>
              </a:lvl1pPr>
            </a:lstStyle>
            <a:p>
              <a:pPr marL="285750" indent="-285750" defTabSz="309563" hangingPunct="0">
                <a:buClr>
                  <a:schemeClr val="accent1"/>
                </a:buClr>
                <a:buFont typeface="Arial" panose="020B0604020202020204" pitchFamily="34" charset="0"/>
                <a:buChar char="•"/>
                <a:defRPr/>
              </a:pPr>
              <a:r>
                <a:rPr lang="ru-RU" sz="1400" dirty="0">
                  <a:solidFill>
                    <a:srgbClr val="0D0D0D"/>
                  </a:solidFill>
                  <a:latin typeface="SB Sans Text Light" panose="020B0303040504020204" pitchFamily="34" charset="-52"/>
                  <a:ea typeface="Roboto Light" panose="02000000000000000000" pitchFamily="2" charset="0"/>
                  <a:cs typeface="SB Sans Text Light" panose="020B0303040504020204" pitchFamily="34" charset="-52"/>
                </a:rPr>
                <a:t>отбирает данные: проверяет наличие действующих согласий, возраст клиента, заполненность и корректность записей;</a:t>
              </a:r>
            </a:p>
            <a:p>
              <a:pPr marL="285750" indent="-285750" defTabSz="309563" hangingPunct="0">
                <a:buClr>
                  <a:schemeClr val="accent1"/>
                </a:buClr>
                <a:buFont typeface="Arial" panose="020B0604020202020204" pitchFamily="34" charset="0"/>
                <a:buChar char="•"/>
                <a:defRPr/>
              </a:pPr>
              <a:r>
                <a:rPr lang="ru-RU" sz="1400" dirty="0">
                  <a:solidFill>
                    <a:srgbClr val="0D0D0D"/>
                  </a:solidFill>
                  <a:latin typeface="SB Sans Text Light" panose="020B0303040504020204" pitchFamily="34" charset="-52"/>
                  <a:ea typeface="Roboto Light" panose="02000000000000000000" pitchFamily="2" charset="0"/>
                  <a:cs typeface="SB Sans Text Light" panose="020B0303040504020204" pitchFamily="34" charset="-52"/>
                </a:rPr>
                <a:t>отправляет данные в онлайн- и офлайн-режиме. </a:t>
              </a:r>
            </a:p>
          </p:txBody>
        </p:sp>
      </p:grpSp>
      <p:grpSp>
        <p:nvGrpSpPr>
          <p:cNvPr id="16" name="Группа 15">
            <a:extLst>
              <a:ext uri="{FF2B5EF4-FFF2-40B4-BE49-F238E27FC236}">
                <a16:creationId xmlns:a16="http://schemas.microsoft.com/office/drawing/2014/main" id="{0976CABF-6516-4404-88F8-42D2B33E0E5C}"/>
              </a:ext>
            </a:extLst>
          </p:cNvPr>
          <p:cNvGrpSpPr/>
          <p:nvPr/>
        </p:nvGrpSpPr>
        <p:grpSpPr>
          <a:xfrm>
            <a:off x="654740" y="3777669"/>
            <a:ext cx="6514840" cy="1865439"/>
            <a:chOff x="654740" y="3777669"/>
            <a:chExt cx="6514840" cy="1865439"/>
          </a:xfrm>
        </p:grpSpPr>
        <p:sp>
          <p:nvSpPr>
            <p:cNvPr id="64" name="Shape_фон">
              <a:extLst>
                <a:ext uri="{FF2B5EF4-FFF2-40B4-BE49-F238E27FC236}">
                  <a16:creationId xmlns:a16="http://schemas.microsoft.com/office/drawing/2014/main" id="{39AF9E01-56B6-4B2A-8C7E-A0C47DA93C66}"/>
                </a:ext>
              </a:extLst>
            </p:cNvPr>
            <p:cNvSpPr/>
            <p:nvPr/>
          </p:nvSpPr>
          <p:spPr>
            <a:xfrm>
              <a:off x="2183409" y="3999934"/>
              <a:ext cx="4659884" cy="1496984"/>
            </a:xfrm>
            <a:prstGeom prst="roundRect">
              <a:avLst>
                <a:gd name="adj" fmla="val 8571"/>
              </a:avLst>
            </a:prstGeom>
            <a:solidFill>
              <a:schemeClr val="bg1"/>
            </a:solidFill>
            <a:ln w="12700" cap="flat">
              <a:noFill/>
              <a:prstDash val="solid"/>
              <a:miter/>
            </a:ln>
            <a:effectLst>
              <a:outerShdw blurRad="1003300" sx="102000" sy="102000" algn="ctr" rotWithShape="0">
                <a:schemeClr val="tx1">
                  <a:alpha val="20000"/>
                </a:schemeClr>
              </a:outerShdw>
            </a:effectLst>
          </p:spPr>
          <p:txBody>
            <a:bodyPr lIns="0" tIns="0" rIns="0" bIns="0" anchor="ctr"/>
            <a:lstStyle/>
            <a:p>
              <a:pPr marL="0" marR="0" lvl="0" indent="0" algn="ctr" defTabSz="309563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itchFamily="2" charset="0"/>
                <a:ea typeface="Roboto" pitchFamily="2" charset="0"/>
                <a:cs typeface="Poppins Bold"/>
                <a:sym typeface="Poppins Bold"/>
              </a:endParaRPr>
            </a:p>
          </p:txBody>
        </p:sp>
        <p:sp>
          <p:nvSpPr>
            <p:cNvPr id="66" name="Shape_фон">
              <a:extLst>
                <a:ext uri="{FF2B5EF4-FFF2-40B4-BE49-F238E27FC236}">
                  <a16:creationId xmlns:a16="http://schemas.microsoft.com/office/drawing/2014/main" id="{76DC8635-936E-41E5-A7A9-F484FC8B544F}"/>
                </a:ext>
              </a:extLst>
            </p:cNvPr>
            <p:cNvSpPr/>
            <p:nvPr/>
          </p:nvSpPr>
          <p:spPr>
            <a:xfrm>
              <a:off x="654740" y="3777669"/>
              <a:ext cx="1858478" cy="1865439"/>
            </a:xfrm>
            <a:prstGeom prst="roundRect">
              <a:avLst>
                <a:gd name="adj" fmla="val 8571"/>
              </a:avLst>
            </a:prstGeom>
            <a:solidFill>
              <a:schemeClr val="bg1"/>
            </a:solidFill>
            <a:ln w="12700" cap="flat">
              <a:noFill/>
              <a:prstDash val="solid"/>
              <a:miter/>
            </a:ln>
            <a:effectLst>
              <a:outerShdw blurRad="1003300" sx="102000" sy="102000" algn="ctr" rotWithShape="0">
                <a:schemeClr val="tx1">
                  <a:alpha val="20000"/>
                </a:schemeClr>
              </a:outerShdw>
            </a:effectLst>
          </p:spPr>
          <p:txBody>
            <a:bodyPr lIns="0" tIns="0" rIns="0" bIns="0" anchor="ctr"/>
            <a:lstStyle/>
            <a:p>
              <a:pPr marL="0" marR="0" lvl="0" indent="0" algn="ctr" defTabSz="309563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itchFamily="2" charset="0"/>
                <a:ea typeface="Roboto" pitchFamily="2" charset="0"/>
                <a:cs typeface="Poppins Bold"/>
                <a:sym typeface="Poppins Bold"/>
              </a:endParaRPr>
            </a:p>
          </p:txBody>
        </p:sp>
        <p:sp>
          <p:nvSpPr>
            <p:cNvPr id="67" name="Описание">
              <a:extLst>
                <a:ext uri="{FF2B5EF4-FFF2-40B4-BE49-F238E27FC236}">
                  <a16:creationId xmlns:a16="http://schemas.microsoft.com/office/drawing/2014/main" id="{090C038F-15B3-45A0-B786-424857E33963}"/>
                </a:ext>
              </a:extLst>
            </p:cNvPr>
            <p:cNvSpPr txBox="1"/>
            <p:nvPr/>
          </p:nvSpPr>
          <p:spPr>
            <a:xfrm>
              <a:off x="1232762" y="3976883"/>
              <a:ext cx="702436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400" i="0" u="none" strike="noStrike" kern="1200" cap="none" spc="0" normalizeH="0" baseline="0" noProof="0" dirty="0">
                  <a:ln>
                    <a:noFill/>
                  </a:ln>
                  <a:solidFill>
                    <a:srgbClr val="0D0D0D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SB Sans Text" panose="020B0503040504020204" pitchFamily="34" charset="-52"/>
                  <a:ea typeface="Roboto Light" panose="02000000000000000000" pitchFamily="2" charset="0"/>
                  <a:cs typeface="SB Sans Text" panose="020B0503040504020204" pitchFamily="34" charset="-52"/>
                </a:rPr>
                <a:t>СБСЖ</a:t>
              </a:r>
            </a:p>
          </p:txBody>
        </p:sp>
        <p:grpSp>
          <p:nvGrpSpPr>
            <p:cNvPr id="8" name="Рисунок 97">
              <a:extLst>
                <a:ext uri="{FF2B5EF4-FFF2-40B4-BE49-F238E27FC236}">
                  <a16:creationId xmlns:a16="http://schemas.microsoft.com/office/drawing/2014/main" id="{300C8757-6B33-4F0D-B3B3-3E198F20402B}"/>
                </a:ext>
              </a:extLst>
            </p:cNvPr>
            <p:cNvGrpSpPr/>
            <p:nvPr/>
          </p:nvGrpSpPr>
          <p:grpSpPr>
            <a:xfrm>
              <a:off x="1078052" y="4388957"/>
              <a:ext cx="1011854" cy="1011852"/>
              <a:chOff x="3432974" y="6049020"/>
              <a:chExt cx="473234" cy="473233"/>
            </a:xfrm>
            <a:solidFill>
              <a:srgbClr val="21A038"/>
            </a:solidFill>
          </p:grpSpPr>
          <p:pic>
            <p:nvPicPr>
              <p:cNvPr id="13" name="Рисунок 12">
                <a:extLst>
                  <a:ext uri="{FF2B5EF4-FFF2-40B4-BE49-F238E27FC236}">
                    <a16:creationId xmlns:a16="http://schemas.microsoft.com/office/drawing/2014/main" id="{3AA590B1-8DD0-4B5F-B01D-94E9BCCB132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3432974" y="6049020"/>
                <a:ext cx="473234" cy="473233"/>
              </a:xfrm>
              <a:custGeom>
                <a:avLst/>
                <a:gdLst>
                  <a:gd name="connsiteX0" fmla="*/ -169 w 473234"/>
                  <a:gd name="connsiteY0" fmla="*/ -169 h 473233"/>
                  <a:gd name="connsiteX1" fmla="*/ 473065 w 473234"/>
                  <a:gd name="connsiteY1" fmla="*/ -169 h 473233"/>
                  <a:gd name="connsiteX2" fmla="*/ 473065 w 473234"/>
                  <a:gd name="connsiteY2" fmla="*/ 473065 h 473233"/>
                  <a:gd name="connsiteX3" fmla="*/ -169 w 473234"/>
                  <a:gd name="connsiteY3" fmla="*/ 473065 h 4732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73234" h="473233">
                    <a:moveTo>
                      <a:pt x="-169" y="-169"/>
                    </a:moveTo>
                    <a:lnTo>
                      <a:pt x="473065" y="-169"/>
                    </a:lnTo>
                    <a:lnTo>
                      <a:pt x="473065" y="473065"/>
                    </a:lnTo>
                    <a:lnTo>
                      <a:pt x="-169" y="473065"/>
                    </a:lnTo>
                    <a:close/>
                  </a:path>
                </a:pathLst>
              </a:custGeom>
            </p:spPr>
          </p:pic>
          <p:sp>
            <p:nvSpPr>
              <p:cNvPr id="14" name="Полилиния: фигура 13">
                <a:extLst>
                  <a:ext uri="{FF2B5EF4-FFF2-40B4-BE49-F238E27FC236}">
                    <a16:creationId xmlns:a16="http://schemas.microsoft.com/office/drawing/2014/main" id="{CB07FC5C-379E-4F38-9706-3D0B4D202DF7}"/>
                  </a:ext>
                </a:extLst>
              </p:cNvPr>
              <p:cNvSpPr/>
              <p:nvPr/>
            </p:nvSpPr>
            <p:spPr>
              <a:xfrm>
                <a:off x="3582374" y="6145853"/>
                <a:ext cx="295665" cy="199164"/>
              </a:xfrm>
              <a:custGeom>
                <a:avLst/>
                <a:gdLst>
                  <a:gd name="connsiteX0" fmla="*/ 267840 w 295665"/>
                  <a:gd name="connsiteY0" fmla="*/ -381 h 199164"/>
                  <a:gd name="connsiteX1" fmla="*/ 295266 w 295665"/>
                  <a:gd name="connsiteY1" fmla="*/ 45053 h 199164"/>
                  <a:gd name="connsiteX2" fmla="*/ 86712 w 295665"/>
                  <a:gd name="connsiteY2" fmla="*/ 198784 h 199164"/>
                  <a:gd name="connsiteX3" fmla="*/ -399 w 295665"/>
                  <a:gd name="connsiteY3" fmla="*/ 144128 h 199164"/>
                  <a:gd name="connsiteX4" fmla="*/ -399 w 295665"/>
                  <a:gd name="connsiteY4" fmla="*/ 78461 h 199164"/>
                  <a:gd name="connsiteX5" fmla="*/ 86712 w 295665"/>
                  <a:gd name="connsiteY5" fmla="*/ 133072 h 1991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95665" h="199164">
                    <a:moveTo>
                      <a:pt x="267840" y="-381"/>
                    </a:moveTo>
                    <a:cubicBezTo>
                      <a:pt x="278719" y="13645"/>
                      <a:pt x="287924" y="28892"/>
                      <a:pt x="295266" y="45053"/>
                    </a:cubicBezTo>
                    <a:lnTo>
                      <a:pt x="86712" y="198784"/>
                    </a:lnTo>
                    <a:lnTo>
                      <a:pt x="-399" y="144128"/>
                    </a:lnTo>
                    <a:lnTo>
                      <a:pt x="-399" y="78461"/>
                    </a:lnTo>
                    <a:lnTo>
                      <a:pt x="86712" y="133072"/>
                    </a:lnTo>
                    <a:close/>
                  </a:path>
                </a:pathLst>
              </a:custGeom>
              <a:solidFill>
                <a:srgbClr val="21A038"/>
              </a:solidFill>
              <a:ln w="1512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</p:grpSp>
        <p:sp>
          <p:nvSpPr>
            <p:cNvPr id="100" name="Motion design">
              <a:extLst>
                <a:ext uri="{FF2B5EF4-FFF2-40B4-BE49-F238E27FC236}">
                  <a16:creationId xmlns:a16="http://schemas.microsoft.com/office/drawing/2014/main" id="{618ABDFA-948C-49F9-B24E-7C27B691E940}"/>
                </a:ext>
              </a:extLst>
            </p:cNvPr>
            <p:cNvSpPr txBox="1"/>
            <p:nvPr/>
          </p:nvSpPr>
          <p:spPr>
            <a:xfrm>
              <a:off x="2717854" y="4623263"/>
              <a:ext cx="4451726" cy="254942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</a:ext>
            </a:extLst>
          </p:spPr>
          <p:txBody>
            <a:bodyPr wrap="square" lIns="0" tIns="0" rIns="0" bIns="0" anchor="ctr">
              <a:spAutoFit/>
            </a:bodyPr>
            <a:lstStyle>
              <a:lvl1pPr>
                <a:lnSpc>
                  <a:spcPct val="130000"/>
                </a:lnSpc>
                <a:defRPr sz="3000">
                  <a:latin typeface="+mn-lt"/>
                  <a:ea typeface="+mn-ea"/>
                  <a:cs typeface="+mn-cs"/>
                  <a:sym typeface="Poppins SemiBold"/>
                </a:defRPr>
              </a:lvl1pPr>
            </a:lstStyle>
            <a:p>
              <a:pPr marL="342900" indent="-342900" defTabSz="309563" hangingPunct="0">
                <a:buClr>
                  <a:schemeClr val="bg2"/>
                </a:buClr>
                <a:buFont typeface="Arial" panose="020B0604020202020204" pitchFamily="34" charset="0"/>
                <a:buChar char="•"/>
                <a:defRPr/>
              </a:pPr>
              <a:r>
                <a:rPr lang="ru-RU" sz="1400" dirty="0">
                  <a:solidFill>
                    <a:srgbClr val="0D0D0D"/>
                  </a:solidFill>
                  <a:latin typeface="SB Sans Text Light" panose="020B0303040504020204" pitchFamily="34" charset="-52"/>
                  <a:ea typeface="Roboto Light" panose="02000000000000000000" pitchFamily="2" charset="0"/>
                  <a:cs typeface="SB Sans Text Light" panose="020B0303040504020204" pitchFamily="34" charset="-52"/>
                </a:rPr>
                <a:t>обеспечивает интеграцию.</a:t>
              </a:r>
            </a:p>
          </p:txBody>
        </p:sp>
      </p:grpSp>
      <p:grpSp>
        <p:nvGrpSpPr>
          <p:cNvPr id="17" name="Группа 16">
            <a:extLst>
              <a:ext uri="{FF2B5EF4-FFF2-40B4-BE49-F238E27FC236}">
                <a16:creationId xmlns:a16="http://schemas.microsoft.com/office/drawing/2014/main" id="{29590B6D-C07F-40A9-A20E-D8B4FE44B827}"/>
              </a:ext>
            </a:extLst>
          </p:cNvPr>
          <p:cNvGrpSpPr/>
          <p:nvPr/>
        </p:nvGrpSpPr>
        <p:grpSpPr>
          <a:xfrm>
            <a:off x="8187371" y="1767579"/>
            <a:ext cx="3020082" cy="3729339"/>
            <a:chOff x="8187371" y="1767579"/>
            <a:chExt cx="3020082" cy="3729339"/>
          </a:xfrm>
        </p:grpSpPr>
        <p:sp>
          <p:nvSpPr>
            <p:cNvPr id="101" name="Shape_фон">
              <a:extLst>
                <a:ext uri="{FF2B5EF4-FFF2-40B4-BE49-F238E27FC236}">
                  <a16:creationId xmlns:a16="http://schemas.microsoft.com/office/drawing/2014/main" id="{71DE9C4A-030C-49A4-B27F-52A5AC7B6B9A}"/>
                </a:ext>
              </a:extLst>
            </p:cNvPr>
            <p:cNvSpPr/>
            <p:nvPr/>
          </p:nvSpPr>
          <p:spPr>
            <a:xfrm>
              <a:off x="8187371" y="1767579"/>
              <a:ext cx="3020082" cy="3729339"/>
            </a:xfrm>
            <a:prstGeom prst="roundRect">
              <a:avLst>
                <a:gd name="adj" fmla="val 8571"/>
              </a:avLst>
            </a:prstGeom>
            <a:solidFill>
              <a:schemeClr val="bg1"/>
            </a:solidFill>
            <a:ln w="12700" cap="flat">
              <a:noFill/>
              <a:prstDash val="solid"/>
              <a:miter/>
            </a:ln>
            <a:effectLst>
              <a:outerShdw blurRad="1003300" sx="102000" sy="102000" algn="ctr" rotWithShape="0">
                <a:schemeClr val="tx1">
                  <a:alpha val="20000"/>
                </a:schemeClr>
              </a:outerShdw>
            </a:effectLst>
          </p:spPr>
          <p:txBody>
            <a:bodyPr lIns="0" tIns="0" rIns="0" bIns="0" anchor="ctr"/>
            <a:lstStyle/>
            <a:p>
              <a:pPr marL="0" marR="0" lvl="0" indent="0" algn="ctr" defTabSz="309563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itchFamily="2" charset="0"/>
                <a:ea typeface="Roboto" pitchFamily="2" charset="0"/>
                <a:cs typeface="Poppins Bold"/>
                <a:sym typeface="Poppins Bold"/>
              </a:endParaRPr>
            </a:p>
          </p:txBody>
        </p:sp>
        <p:sp>
          <p:nvSpPr>
            <p:cNvPr id="103" name="Описание">
              <a:extLst>
                <a:ext uri="{FF2B5EF4-FFF2-40B4-BE49-F238E27FC236}">
                  <a16:creationId xmlns:a16="http://schemas.microsoft.com/office/drawing/2014/main" id="{A1C867CC-699E-4150-976E-1E4AEA24214E}"/>
                </a:ext>
              </a:extLst>
            </p:cNvPr>
            <p:cNvSpPr txBox="1"/>
            <p:nvPr/>
          </p:nvSpPr>
          <p:spPr>
            <a:xfrm>
              <a:off x="8478244" y="2664266"/>
              <a:ext cx="2438242" cy="251286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285750" marR="0" lvl="0" indent="-285750" defTabSz="914400" rtl="0" eaLnBrk="1" fontAlgn="auto" latinLnBrk="0" hangingPunct="1">
                <a:lnSpc>
                  <a:spcPct val="112857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ru-RU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D0D0D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SB Sans Text Light" panose="020B0303040504020204" pitchFamily="34" charset="-52"/>
                  <a:ea typeface="Roboto Light" panose="02000000000000000000" pitchFamily="2" charset="0"/>
                  <a:cs typeface="SB Sans Text Light" panose="020B0303040504020204" pitchFamily="34" charset="-52"/>
                </a:rPr>
                <a:t>В обратном потоке </a:t>
              </a:r>
              <a:br>
                <a:rPr kumimoji="0" lang="ru-RU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D0D0D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SB Sans Text Light" panose="020B0303040504020204" pitchFamily="34" charset="-52"/>
                  <a:ea typeface="Roboto Light" panose="02000000000000000000" pitchFamily="2" charset="0"/>
                  <a:cs typeface="SB Sans Text Light" panose="020B0303040504020204" pitchFamily="34" charset="-52"/>
                </a:rPr>
              </a:br>
              <a:r>
                <a:rPr kumimoji="0" lang="ru-RU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D0D0D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SB Sans Text Light" panose="020B0303040504020204" pitchFamily="34" charset="-52"/>
                  <a:ea typeface="Roboto Light" panose="02000000000000000000" pitchFamily="2" charset="0"/>
                  <a:cs typeface="SB Sans Text Light" panose="020B0303040504020204" pitchFamily="34" charset="-52"/>
                </a:rPr>
                <a:t>в банк отправляются только значимые изменения персональных данных по клиентам.</a:t>
              </a:r>
            </a:p>
            <a:p>
              <a:pPr marL="285750" marR="0" lvl="0" indent="-285750" defTabSz="914400" rtl="0" eaLnBrk="1" fontAlgn="auto" latinLnBrk="0" hangingPunct="1">
                <a:lnSpc>
                  <a:spcPct val="112857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ru-RU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D0D0D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SB Sans Text Light" panose="020B0303040504020204" pitchFamily="34" charset="-52"/>
                  <a:ea typeface="Roboto Light" panose="02000000000000000000" pitchFamily="2" charset="0"/>
                  <a:cs typeface="SB Sans Text Light" panose="020B0303040504020204" pitchFamily="34" charset="-52"/>
                </a:rPr>
                <a:t>Данные принудительно отправляются в банк на случай потерь. </a:t>
              </a:r>
            </a:p>
          </p:txBody>
        </p:sp>
        <p:grpSp>
          <p:nvGrpSpPr>
            <p:cNvPr id="104" name="Группа 103">
              <a:extLst>
                <a:ext uri="{FF2B5EF4-FFF2-40B4-BE49-F238E27FC236}">
                  <a16:creationId xmlns:a16="http://schemas.microsoft.com/office/drawing/2014/main" id="{81343036-EB1D-419B-8D2E-557D8158184F}"/>
                </a:ext>
              </a:extLst>
            </p:cNvPr>
            <p:cNvGrpSpPr/>
            <p:nvPr/>
          </p:nvGrpSpPr>
          <p:grpSpPr>
            <a:xfrm>
              <a:off x="8327384" y="1974642"/>
              <a:ext cx="2745843" cy="460454"/>
              <a:chOff x="6510195" y="1556711"/>
              <a:chExt cx="5051622" cy="847113"/>
            </a:xfrm>
          </p:grpSpPr>
          <p:sp>
            <p:nvSpPr>
              <p:cNvPr id="105" name="Rounded Rectangle">
                <a:extLst>
                  <a:ext uri="{FF2B5EF4-FFF2-40B4-BE49-F238E27FC236}">
                    <a16:creationId xmlns:a16="http://schemas.microsoft.com/office/drawing/2014/main" id="{974D8DA2-1C9B-4A2C-A692-37953679BBFA}"/>
                  </a:ext>
                </a:extLst>
              </p:cNvPr>
              <p:cNvSpPr/>
              <p:nvPr/>
            </p:nvSpPr>
            <p:spPr>
              <a:xfrm>
                <a:off x="6510195" y="1556711"/>
                <a:ext cx="5051622" cy="847113"/>
              </a:xfrm>
              <a:prstGeom prst="roundRect">
                <a:avLst>
                  <a:gd name="adj" fmla="val 50000"/>
                </a:avLst>
              </a:prstGeom>
              <a:solidFill>
                <a:schemeClr val="bg1"/>
              </a:solidFill>
              <a:ln w="12700" cap="flat">
                <a:noFill/>
                <a:prstDash val="dash"/>
                <a:miter/>
              </a:ln>
              <a:effectLst>
                <a:outerShdw blurRad="1003300" sx="102000" sy="102000" algn="ctr" rotWithShape="0">
                  <a:schemeClr val="tx1">
                    <a:alpha val="15000"/>
                  </a:schemeClr>
                </a:outerShdw>
              </a:effectLst>
            </p:spPr>
            <p:txBody>
              <a:bodyPr lIns="0" tIns="0" rIns="0" bIns="0" anchor="ctr"/>
              <a:lstStyle/>
              <a:p>
                <a:pPr algn="ctr" defTabSz="309563" hangingPunct="0"/>
                <a:endParaRPr sz="1200" dirty="0">
                  <a:solidFill>
                    <a:srgbClr val="FFFFFF"/>
                  </a:solidFill>
                  <a:latin typeface="Roboto" pitchFamily="2" charset="0"/>
                  <a:ea typeface="Roboto" pitchFamily="2" charset="0"/>
                  <a:cs typeface="Poppins Bold"/>
                  <a:sym typeface="Poppins Bold"/>
                </a:endParaRPr>
              </a:p>
            </p:txBody>
          </p:sp>
          <p:sp>
            <p:nvSpPr>
              <p:cNvPr id="106" name="Motion design">
                <a:extLst>
                  <a:ext uri="{FF2B5EF4-FFF2-40B4-BE49-F238E27FC236}">
                    <a16:creationId xmlns:a16="http://schemas.microsoft.com/office/drawing/2014/main" id="{32D50902-A4E2-4027-ABF9-FEC246CCA9D2}"/>
                  </a:ext>
                </a:extLst>
              </p:cNvPr>
              <p:cNvSpPr txBox="1"/>
              <p:nvPr/>
            </p:nvSpPr>
            <p:spPr>
              <a:xfrm>
                <a:off x="7938340" y="1733454"/>
                <a:ext cx="3335115" cy="472447"/>
              </a:xfrm>
              <a:prstGeom prst="rect">
                <a:avLst/>
              </a:prstGeom>
              <a:ln w="12700">
                <a:miter lim="400000"/>
              </a:ln>
              <a:extLst>
                <a:ext uri="{C572A759-6A51-4108-AA02-DFA0A04FC94B}">
  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  </a:ext>
              </a:extLst>
            </p:spPr>
            <p:txBody>
              <a:bodyPr wrap="square" lIns="0" tIns="0" rIns="0" bIns="0" anchor="ctr">
                <a:spAutoFit/>
              </a:bodyPr>
              <a:lstStyle>
                <a:lvl1pPr>
                  <a:lnSpc>
                    <a:spcPct val="130000"/>
                  </a:lnSpc>
                  <a:defRPr sz="3000">
                    <a:latin typeface="+mn-lt"/>
                    <a:ea typeface="+mn-ea"/>
                    <a:cs typeface="+mn-cs"/>
                    <a:sym typeface="Poppins SemiBold"/>
                  </a:defRPr>
                </a:lvl1pPr>
              </a:lstStyle>
              <a:p>
                <a:pPr defTabSz="309563" hangingPunct="0">
                  <a:buClrTx/>
                  <a:defRPr/>
                </a:pPr>
                <a:r>
                  <a:rPr lang="ru-RU" sz="1400" dirty="0">
                    <a:solidFill>
                      <a:srgbClr val="0D0D0D"/>
                    </a:solidFill>
                    <a:latin typeface="SB Sans Text" panose="020B0503040504020204" pitchFamily="34" charset="-52"/>
                    <a:ea typeface="Roboto Light" panose="02000000000000000000" pitchFamily="2" charset="0"/>
                    <a:cs typeface="SB Sans Text" panose="020B0503040504020204" pitchFamily="34" charset="-52"/>
                  </a:rPr>
                  <a:t>Особенности</a:t>
                </a:r>
              </a:p>
            </p:txBody>
          </p:sp>
          <p:sp>
            <p:nvSpPr>
              <p:cNvPr id="107" name="Circle">
                <a:extLst>
                  <a:ext uri="{FF2B5EF4-FFF2-40B4-BE49-F238E27FC236}">
                    <a16:creationId xmlns:a16="http://schemas.microsoft.com/office/drawing/2014/main" id="{A016DB4F-D5BD-4E19-8976-028371848413}"/>
                  </a:ext>
                </a:extLst>
              </p:cNvPr>
              <p:cNvSpPr/>
              <p:nvPr/>
            </p:nvSpPr>
            <p:spPr>
              <a:xfrm>
                <a:off x="6636379" y="1662600"/>
                <a:ext cx="635335" cy="635335"/>
              </a:xfrm>
              <a:prstGeom prst="ellipse">
                <a:avLst/>
              </a:prstGeom>
              <a:solidFill>
                <a:schemeClr val="accent1"/>
              </a:solidFill>
              <a:ln w="12700">
                <a:miter lim="400000"/>
              </a:ln>
            </p:spPr>
            <p:txBody>
              <a:bodyPr lIns="0" tIns="0" rIns="0" bIns="0" anchor="ctr"/>
              <a:lstStyle/>
              <a:p>
                <a:pPr algn="ctr" defTabSz="309563" hangingPunct="0">
                  <a:buClrTx/>
                  <a:defRPr sz="3200">
                    <a:solidFill>
                      <a:srgbClr val="FFFFFF"/>
                    </a:solidFill>
                    <a:latin typeface="Poppins Bold"/>
                    <a:ea typeface="Poppins Bold"/>
                    <a:cs typeface="Poppins Bold"/>
                    <a:sym typeface="Poppins Bold"/>
                  </a:defRPr>
                </a:pPr>
                <a:endParaRPr sz="1200" dirty="0">
                  <a:solidFill>
                    <a:srgbClr val="FFFFFF"/>
                  </a:solidFill>
                  <a:latin typeface="Roboto" pitchFamily="2" charset="0"/>
                  <a:ea typeface="Roboto" pitchFamily="2" charset="0"/>
                  <a:cs typeface="Poppins Bold"/>
                  <a:sym typeface="Poppins Bold"/>
                </a:endParaRPr>
              </a:p>
            </p:txBody>
          </p:sp>
          <p:pic>
            <p:nvPicPr>
              <p:cNvPr id="108" name="Рисунок 107">
                <a:extLst>
                  <a:ext uri="{FF2B5EF4-FFF2-40B4-BE49-F238E27FC236}">
                    <a16:creationId xmlns:a16="http://schemas.microsoft.com/office/drawing/2014/main" id="{92164EF3-09BE-4E6E-A991-636471BD71D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>
                <a:extLst>
                  <a:ext uri="{96DAC541-7B7A-43D3-8B79-37D633B846F1}">
                    <asvg:svgBlip xmlns:asvg="http://schemas.microsoft.com/office/drawing/2016/SVG/main" r:embed="rId6"/>
                  </a:ext>
                </a:extLst>
              </a:blip>
              <a:srcRect/>
              <a:stretch/>
            </p:blipFill>
            <p:spPr>
              <a:xfrm>
                <a:off x="6786836" y="1874084"/>
                <a:ext cx="330367" cy="217346"/>
              </a:xfrm>
              <a:prstGeom prst="rect">
                <a:avLst/>
              </a:prstGeom>
            </p:spPr>
          </p:pic>
        </p:grpSp>
      </p:grpSp>
    </p:spTree>
    <p:extLst>
      <p:ext uri="{BB962C8B-B14F-4D97-AF65-F5344CB8AC3E}">
        <p14:creationId xmlns:p14="http://schemas.microsoft.com/office/powerpoint/2010/main" val="2322597112"/>
      </p:ext>
    </p:extLst>
  </p:cSld>
  <p:clrMapOvr>
    <a:masterClrMapping/>
  </p:clrMapOvr>
  <p:transition spd="slow">
    <p:push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5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42" presetClass="path" presetSubtype="0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1719 -0.00023 L -1.25E-6 1.85185E-6 " pathEditMode="relative" rAng="0" ptsTypes="AA">
                                      <p:cBhvr>
                                        <p:cTn id="9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859" y="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25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42" presetClass="path" presetSubtype="0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1666 -0.00046 L 3.75E-6 1.85185E-6 " pathEditMode="relative" rAng="0" ptsTypes="AA">
                                      <p:cBhvr>
                                        <p:cTn id="16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833" y="23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IGHTSLIDE_SLIDE_COLLAPSED" val="TRU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IGHTSLIDE_SLIDE_COLLAPSED" val="TRU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IGHTSLIDE_SLIDE_COLLAPSED" val="TRU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IGHTSLIDE_SLIDE_COLLAPSED" val="TRU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S_SHAPE_LOCK" val="TRUE"/>
</p:tagLst>
</file>

<file path=ppt/theme/theme1.xml><?xml version="1.0" encoding="utf-8"?>
<a:theme xmlns:a="http://schemas.openxmlformats.org/drawingml/2006/main" name="Тема Office">
  <a:themeElements>
    <a:clrScheme name="CDIConf_Сбер">
      <a:dk1>
        <a:srgbClr val="0D0D0D"/>
      </a:dk1>
      <a:lt1>
        <a:srgbClr val="FFFFFF"/>
      </a:lt1>
      <a:dk2>
        <a:srgbClr val="F6F6F6"/>
      </a:dk2>
      <a:lt2>
        <a:srgbClr val="21A038"/>
      </a:lt2>
      <a:accent1>
        <a:srgbClr val="EC4741"/>
      </a:accent1>
      <a:accent2>
        <a:srgbClr val="006D3F"/>
      </a:accent2>
      <a:accent3>
        <a:srgbClr val="41B857"/>
      </a:accent3>
      <a:accent4>
        <a:srgbClr val="5169F6"/>
      </a:accent4>
      <a:accent5>
        <a:srgbClr val="F9C344"/>
      </a:accent5>
      <a:accent6>
        <a:srgbClr val="432C9C"/>
      </a:accent6>
      <a:hlink>
        <a:srgbClr val="0C0C0C"/>
      </a:hlink>
      <a:folHlink>
        <a:srgbClr val="0C0C0C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Тема Office">
  <a:themeElements>
    <a:clrScheme name="CDIConf_Сбер">
      <a:dk1>
        <a:srgbClr val="0D0D0D"/>
      </a:dk1>
      <a:lt1>
        <a:srgbClr val="FFFFFF"/>
      </a:lt1>
      <a:dk2>
        <a:srgbClr val="F6F6F6"/>
      </a:dk2>
      <a:lt2>
        <a:srgbClr val="21A038"/>
      </a:lt2>
      <a:accent1>
        <a:srgbClr val="EC4741"/>
      </a:accent1>
      <a:accent2>
        <a:srgbClr val="006D3F"/>
      </a:accent2>
      <a:accent3>
        <a:srgbClr val="41B857"/>
      </a:accent3>
      <a:accent4>
        <a:srgbClr val="5169F6"/>
      </a:accent4>
      <a:accent5>
        <a:srgbClr val="F9C344"/>
      </a:accent5>
      <a:accent6>
        <a:srgbClr val="432C9C"/>
      </a:accent6>
      <a:hlink>
        <a:srgbClr val="0C0C0C"/>
      </a:hlink>
      <a:folHlink>
        <a:srgbClr val="0C0C0C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3804</TotalTime>
  <Words>793</Words>
  <Application>Microsoft Office PowerPoint</Application>
  <PresentationFormat>Широкоэкранный</PresentationFormat>
  <Paragraphs>158</Paragraphs>
  <Slides>22</Slides>
  <Notes>10</Notes>
  <HiddenSlides>0</HiddenSlides>
  <MMClips>0</MMClips>
  <ScaleCrop>false</ScaleCrop>
  <HeadingPairs>
    <vt:vector size="6" baseType="variant">
      <vt:variant>
        <vt:lpstr>Использованные шрифты</vt:lpstr>
      </vt:variant>
      <vt:variant>
        <vt:i4>11</vt:i4>
      </vt:variant>
      <vt:variant>
        <vt:lpstr>Тема</vt:lpstr>
      </vt:variant>
      <vt:variant>
        <vt:i4>2</vt:i4>
      </vt:variant>
      <vt:variant>
        <vt:lpstr>Заголовки слайдов</vt:lpstr>
      </vt:variant>
      <vt:variant>
        <vt:i4>22</vt:i4>
      </vt:variant>
    </vt:vector>
  </HeadingPairs>
  <TitlesOfParts>
    <vt:vector size="35" baseType="lpstr">
      <vt:lpstr>SB Sans Text Medium</vt:lpstr>
      <vt:lpstr>Calibri Light</vt:lpstr>
      <vt:lpstr>Arial</vt:lpstr>
      <vt:lpstr>Roboto Light</vt:lpstr>
      <vt:lpstr>Calibri</vt:lpstr>
      <vt:lpstr>Akrobat Bold</vt:lpstr>
      <vt:lpstr>SB Sans Text</vt:lpstr>
      <vt:lpstr>SB Sans Text Light</vt:lpstr>
      <vt:lpstr>Poppins Bold</vt:lpstr>
      <vt:lpstr>Roboto</vt:lpstr>
      <vt:lpstr>Akrobat</vt:lpstr>
      <vt:lpstr>Тема Office</vt:lpstr>
      <vt:lpstr>1_Тема Office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Dmitry Loktev</dc:creator>
  <cp:lastModifiedBy>HFLabs</cp:lastModifiedBy>
  <cp:revision>168</cp:revision>
  <dcterms:created xsi:type="dcterms:W3CDTF">2023-08-12T09:31:16Z</dcterms:created>
  <dcterms:modified xsi:type="dcterms:W3CDTF">2023-09-18T14:11:52Z</dcterms:modified>
</cp:coreProperties>
</file>